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xml" ContentType="application/vnd.openxmlformats-officedocument.drawingml.chartshape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62" r:id="rId4"/>
  </p:sldMasterIdLst>
  <p:notesMasterIdLst>
    <p:notesMasterId r:id="rId81"/>
  </p:notesMasterIdLst>
  <p:handoutMasterIdLst>
    <p:handoutMasterId r:id="rId82"/>
  </p:handoutMasterIdLst>
  <p:sldIdLst>
    <p:sldId id="2145706638" r:id="rId5"/>
    <p:sldId id="2145706639" r:id="rId6"/>
    <p:sldId id="1042" r:id="rId7"/>
    <p:sldId id="2145706631" r:id="rId8"/>
    <p:sldId id="2145706630" r:id="rId9"/>
    <p:sldId id="1001" r:id="rId10"/>
    <p:sldId id="2145706634" r:id="rId11"/>
    <p:sldId id="1007" r:id="rId12"/>
    <p:sldId id="276" r:id="rId13"/>
    <p:sldId id="1008" r:id="rId14"/>
    <p:sldId id="2145706628" r:id="rId15"/>
    <p:sldId id="2145706629" r:id="rId16"/>
    <p:sldId id="1049" r:id="rId17"/>
    <p:sldId id="1039" r:id="rId18"/>
    <p:sldId id="265" r:id="rId19"/>
    <p:sldId id="1033" r:id="rId20"/>
    <p:sldId id="1052" r:id="rId21"/>
    <p:sldId id="1053" r:id="rId22"/>
    <p:sldId id="498" r:id="rId23"/>
    <p:sldId id="261" r:id="rId24"/>
    <p:sldId id="1015" r:id="rId25"/>
    <p:sldId id="999" r:id="rId26"/>
    <p:sldId id="1055" r:id="rId27"/>
    <p:sldId id="266" r:id="rId28"/>
    <p:sldId id="267" r:id="rId29"/>
    <p:sldId id="2145706625" r:id="rId30"/>
    <p:sldId id="2145706635" r:id="rId31"/>
    <p:sldId id="310" r:id="rId32"/>
    <p:sldId id="430" r:id="rId33"/>
    <p:sldId id="1009" r:id="rId34"/>
    <p:sldId id="1010" r:id="rId35"/>
    <p:sldId id="1023" r:id="rId36"/>
    <p:sldId id="405" r:id="rId37"/>
    <p:sldId id="409" r:id="rId38"/>
    <p:sldId id="1011" r:id="rId39"/>
    <p:sldId id="273" r:id="rId40"/>
    <p:sldId id="386" r:id="rId41"/>
    <p:sldId id="283" r:id="rId42"/>
    <p:sldId id="422" r:id="rId43"/>
    <p:sldId id="1038" r:id="rId44"/>
    <p:sldId id="285" r:id="rId45"/>
    <p:sldId id="440" r:id="rId46"/>
    <p:sldId id="434" r:id="rId47"/>
    <p:sldId id="438" r:id="rId48"/>
    <p:sldId id="1054" r:id="rId49"/>
    <p:sldId id="389" r:id="rId50"/>
    <p:sldId id="2145706623" r:id="rId51"/>
    <p:sldId id="394" r:id="rId52"/>
    <p:sldId id="565" r:id="rId53"/>
    <p:sldId id="380" r:id="rId54"/>
    <p:sldId id="638" r:id="rId55"/>
    <p:sldId id="2145706627" r:id="rId56"/>
    <p:sldId id="2145706626" r:id="rId57"/>
    <p:sldId id="1041" r:id="rId58"/>
    <p:sldId id="1025" r:id="rId59"/>
    <p:sldId id="414" r:id="rId60"/>
    <p:sldId id="995" r:id="rId61"/>
    <p:sldId id="996" r:id="rId62"/>
    <p:sldId id="270" r:id="rId63"/>
    <p:sldId id="269" r:id="rId64"/>
    <p:sldId id="1074" r:id="rId65"/>
    <p:sldId id="2145706624" r:id="rId66"/>
    <p:sldId id="1075" r:id="rId67"/>
    <p:sldId id="1076" r:id="rId68"/>
    <p:sldId id="407" r:id="rId69"/>
    <p:sldId id="1030" r:id="rId70"/>
    <p:sldId id="2145706640" r:id="rId71"/>
    <p:sldId id="1044" r:id="rId72"/>
    <p:sldId id="2145706622" r:id="rId73"/>
    <p:sldId id="2145706642" r:id="rId74"/>
    <p:sldId id="2145706644" r:id="rId75"/>
    <p:sldId id="2145706641" r:id="rId76"/>
    <p:sldId id="1046" r:id="rId77"/>
    <p:sldId id="2145706643" r:id="rId78"/>
    <p:sldId id="1027" r:id="rId79"/>
    <p:sldId id="1028" r:id="rId80"/>
  </p:sldIdLst>
  <p:sldSz cx="12192000" cy="6858000"/>
  <p:notesSz cx="6858000" cy="9144000"/>
  <p:embeddedFontLst>
    <p:embeddedFont>
      <p:font typeface="Ubuntu" panose="020B0504030602030204" pitchFamily="34" charset="0"/>
      <p:regular r:id="rId83"/>
      <p:bold r:id="rId84"/>
      <p:italic r:id="rId85"/>
      <p:boldItalic r:id="rId86"/>
    </p:embeddedFont>
    <p:embeddedFont>
      <p:font typeface="Ubuntu Light" panose="020B0304030602030204" pitchFamily="34" charset="0"/>
      <p:regular r:id="rId87"/>
      <p:italic r:id="rId88"/>
    </p:embeddedFont>
    <p:embeddedFont>
      <p:font typeface="Ubuntu Medium" panose="020B0604030602030204" pitchFamily="34" charset="0"/>
      <p:regular r:id="rId89"/>
      <p:italic r:id="rId90"/>
    </p:embeddedFont>
    <p:embeddedFont>
      <p:font typeface="Verdana" panose="020B0604030504040204" pitchFamily="34" charset="0"/>
      <p:regular r:id="rId91"/>
      <p:bold r:id="rId92"/>
      <p:italic r:id="rId93"/>
      <p:boldItalic r:id="rId94"/>
    </p:embeddedFont>
  </p:embeddedFontLst>
  <p:custDataLst>
    <p:tags r:id="rId9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bout the template" id="{2AC87FFF-C56C-4F81-A530-CF4D1204AE80}">
          <p14:sldIdLst>
            <p14:sldId id="2145706638"/>
            <p14:sldId id="2145706639"/>
          </p14:sldIdLst>
        </p14:section>
        <p14:section name="Layouts" id="{488E0A91-8EC8-4254-9B9D-B822E7B72AE5}">
          <p14:sldIdLst>
            <p14:sldId id="1042"/>
            <p14:sldId id="2145706631"/>
            <p14:sldId id="2145706630"/>
            <p14:sldId id="1001"/>
            <p14:sldId id="2145706634"/>
            <p14:sldId id="1007"/>
            <p14:sldId id="276"/>
            <p14:sldId id="1008"/>
            <p14:sldId id="2145706628"/>
            <p14:sldId id="2145706629"/>
            <p14:sldId id="1049"/>
            <p14:sldId id="1039"/>
            <p14:sldId id="265"/>
            <p14:sldId id="1033"/>
            <p14:sldId id="1052"/>
            <p14:sldId id="1053"/>
            <p14:sldId id="498"/>
            <p14:sldId id="261"/>
            <p14:sldId id="1015"/>
            <p14:sldId id="999"/>
            <p14:sldId id="1055"/>
            <p14:sldId id="266"/>
            <p14:sldId id="267"/>
            <p14:sldId id="2145706625"/>
            <p14:sldId id="2145706635"/>
            <p14:sldId id="310"/>
            <p14:sldId id="430"/>
            <p14:sldId id="1009"/>
            <p14:sldId id="1010"/>
            <p14:sldId id="1023"/>
            <p14:sldId id="405"/>
            <p14:sldId id="409"/>
            <p14:sldId id="1011"/>
            <p14:sldId id="273"/>
            <p14:sldId id="386"/>
            <p14:sldId id="283"/>
            <p14:sldId id="422"/>
            <p14:sldId id="1038"/>
            <p14:sldId id="285"/>
            <p14:sldId id="440"/>
            <p14:sldId id="434"/>
            <p14:sldId id="438"/>
            <p14:sldId id="1054"/>
            <p14:sldId id="389"/>
            <p14:sldId id="2145706623"/>
            <p14:sldId id="394"/>
            <p14:sldId id="565"/>
            <p14:sldId id="380"/>
            <p14:sldId id="638"/>
            <p14:sldId id="2145706627"/>
            <p14:sldId id="2145706626"/>
            <p14:sldId id="1041"/>
          </p14:sldIdLst>
        </p14:section>
        <p14:section name="Graphic elements" id="{C0DD4031-6DBF-4075-A497-22BD71697F2E}">
          <p14:sldIdLst>
            <p14:sldId id="1025"/>
            <p14:sldId id="414"/>
            <p14:sldId id="995"/>
            <p14:sldId id="996"/>
            <p14:sldId id="270"/>
            <p14:sldId id="269"/>
            <p14:sldId id="1074"/>
            <p14:sldId id="2145706624"/>
            <p14:sldId id="1075"/>
            <p14:sldId id="1076"/>
            <p14:sldId id="407"/>
            <p14:sldId id="1030"/>
          </p14:sldIdLst>
        </p14:section>
        <p14:section name="RWC23 slide options" id="{6D020CD6-6950-413C-8EB5-64CF96C2D38D}">
          <p14:sldIdLst>
            <p14:sldId id="2145706640"/>
            <p14:sldId id="1044"/>
            <p14:sldId id="2145706622"/>
            <p14:sldId id="2145706642"/>
            <p14:sldId id="2145706644"/>
            <p14:sldId id="2145706641"/>
            <p14:sldId id="1046"/>
            <p14:sldId id="2145706643"/>
            <p14:sldId id="1027"/>
            <p14:sldId id="1028"/>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78C3D"/>
    <a:srgbClr val="272936"/>
    <a:srgbClr val="173340"/>
    <a:srgbClr val="ECECEC"/>
    <a:srgbClr val="D9D9D9"/>
    <a:srgbClr val="2B0A3D"/>
    <a:srgbClr val="0070AD"/>
    <a:srgbClr val="12ABDB"/>
    <a:srgbClr val="3380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32" autoAdjust="0"/>
    <p:restoredTop sz="96988" autoAdjust="0"/>
  </p:normalViewPr>
  <p:slideViewPr>
    <p:cSldViewPr snapToObjects="1">
      <p:cViewPr varScale="1">
        <p:scale>
          <a:sx n="79" d="100"/>
          <a:sy n="79" d="100"/>
        </p:scale>
        <p:origin x="102" y="1062"/>
      </p:cViewPr>
      <p:guideLst>
        <p:guide orient="horz" pos="2341"/>
        <p:guide pos="3840"/>
      </p:guideLst>
    </p:cSldViewPr>
  </p:slideViewPr>
  <p:outlineViewPr>
    <p:cViewPr>
      <p:scale>
        <a:sx n="33" d="100"/>
        <a:sy n="33" d="100"/>
      </p:scale>
      <p:origin x="0" y="-24476"/>
    </p:cViewPr>
  </p:outlineViewPr>
  <p:notesTextViewPr>
    <p:cViewPr>
      <p:scale>
        <a:sx n="1" d="1"/>
        <a:sy n="1" d="1"/>
      </p:scale>
      <p:origin x="0" y="0"/>
    </p:cViewPr>
  </p:notesTextViewPr>
  <p:sorterViewPr>
    <p:cViewPr>
      <p:scale>
        <a:sx n="170" d="100"/>
        <a:sy n="170" d="100"/>
      </p:scale>
      <p:origin x="0" y="-76968"/>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font" Target="fonts/font2.fntdata"/><Relationship Id="rId89" Type="http://schemas.openxmlformats.org/officeDocument/2006/relationships/font" Target="fonts/font7.fntdata"/><Relationship Id="rId97"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font" Target="fonts/font5.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handoutMaster" Target="handoutMasters/handoutMaster1.xml"/><Relationship Id="rId90" Type="http://schemas.openxmlformats.org/officeDocument/2006/relationships/font" Target="fonts/font8.fntdata"/><Relationship Id="rId95"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font" Target="fonts/font3.fntdata"/><Relationship Id="rId93" Type="http://schemas.openxmlformats.org/officeDocument/2006/relationships/font" Target="fonts/font11.fntdata"/><Relationship Id="rId98"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font" Target="fonts/font1.fntdata"/><Relationship Id="rId88" Type="http://schemas.openxmlformats.org/officeDocument/2006/relationships/font" Target="fonts/font6.fntdata"/><Relationship Id="rId91" Type="http://schemas.openxmlformats.org/officeDocument/2006/relationships/font" Target="fonts/font9.fntdata"/><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notesMaster" Target="notesMasters/notesMaster1.xml"/><Relationship Id="rId86" Type="http://schemas.openxmlformats.org/officeDocument/2006/relationships/font" Target="fonts/font4.fntdata"/><Relationship Id="rId94" Type="http://schemas.openxmlformats.org/officeDocument/2006/relationships/font" Target="fonts/font12.fntdata"/><Relationship Id="rId9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652523933918841E-2"/>
          <c:y val="0.11959946595460615"/>
          <c:w val="0.91869495213216235"/>
          <c:h val="0.80736520084522145"/>
        </c:manualLayout>
      </c:layout>
      <c:barChart>
        <c:barDir val="col"/>
        <c:grouping val="clustered"/>
        <c:varyColors val="0"/>
        <c:ser>
          <c:idx val="0"/>
          <c:order val="0"/>
          <c:tx>
            <c:strRef>
              <c:f>Sheet1!$B$1</c:f>
              <c:strCache>
                <c:ptCount val="1"/>
                <c:pt idx="0">
                  <c:v>Sales</c:v>
                </c:pt>
              </c:strCache>
            </c:strRef>
          </c:tx>
          <c:spPr>
            <a:solidFill>
              <a:schemeClr val="accent1"/>
            </a:solidFill>
            <a:ln w="12700">
              <a:noFill/>
            </a:ln>
            <a:effectLst/>
          </c:spPr>
          <c:invertIfNegative val="0"/>
          <c:dPt>
            <c:idx val="0"/>
            <c:invertIfNegative val="0"/>
            <c:bubble3D val="0"/>
            <c:spPr>
              <a:solidFill>
                <a:schemeClr val="accent1"/>
              </a:solidFill>
              <a:ln w="12700">
                <a:noFill/>
              </a:ln>
              <a:effectLst/>
            </c:spPr>
            <c:extLst>
              <c:ext xmlns:c16="http://schemas.microsoft.com/office/drawing/2014/chart" uri="{C3380CC4-5D6E-409C-BE32-E72D297353CC}">
                <c16:uniqueId val="{00000001-C16F-47A7-9861-D1AB0D9FAD2A}"/>
              </c:ext>
            </c:extLst>
          </c:dPt>
          <c:dPt>
            <c:idx val="1"/>
            <c:invertIfNegative val="0"/>
            <c:bubble3D val="0"/>
            <c:spPr>
              <a:solidFill>
                <a:schemeClr val="accent1"/>
              </a:solidFill>
              <a:ln w="12700">
                <a:noFill/>
              </a:ln>
              <a:effectLst/>
            </c:spPr>
            <c:extLst>
              <c:ext xmlns:c16="http://schemas.microsoft.com/office/drawing/2014/chart" uri="{C3380CC4-5D6E-409C-BE32-E72D297353CC}">
                <c16:uniqueId val="{00000003-C16F-47A7-9861-D1AB0D9FAD2A}"/>
              </c:ext>
            </c:extLst>
          </c:dPt>
          <c:dPt>
            <c:idx val="2"/>
            <c:invertIfNegative val="0"/>
            <c:bubble3D val="0"/>
            <c:spPr>
              <a:solidFill>
                <a:schemeClr val="accent1"/>
              </a:solidFill>
              <a:ln w="12700">
                <a:noFill/>
              </a:ln>
              <a:effectLst/>
            </c:spPr>
            <c:extLst>
              <c:ext xmlns:c16="http://schemas.microsoft.com/office/drawing/2014/chart" uri="{C3380CC4-5D6E-409C-BE32-E72D297353CC}">
                <c16:uniqueId val="{00000005-C16F-47A7-9861-D1AB0D9FAD2A}"/>
              </c:ext>
            </c:extLst>
          </c:dPt>
          <c:dPt>
            <c:idx val="3"/>
            <c:invertIfNegative val="0"/>
            <c:bubble3D val="0"/>
            <c:spPr>
              <a:solidFill>
                <a:schemeClr val="accent1"/>
              </a:solidFill>
              <a:ln w="12700">
                <a:noFill/>
              </a:ln>
              <a:effectLst/>
            </c:spPr>
            <c:extLst>
              <c:ext xmlns:c16="http://schemas.microsoft.com/office/drawing/2014/chart" uri="{C3380CC4-5D6E-409C-BE32-E72D297353CC}">
                <c16:uniqueId val="{00000007-C16F-47A7-9861-D1AB0D9FAD2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ser>
          <c:idx val="1"/>
          <c:order val="1"/>
          <c:tx>
            <c:strRef>
              <c:f>Sheet1!$C$1</c:f>
              <c:strCache>
                <c:ptCount val="1"/>
                <c:pt idx="0">
                  <c:v>Costs</c:v>
                </c:pt>
              </c:strCache>
            </c:strRef>
          </c:tx>
          <c:spPr>
            <a:solidFill>
              <a:schemeClr val="accent2"/>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C$2:$C$5</c:f>
              <c:numCache>
                <c:formatCode>0.0</c:formatCode>
                <c:ptCount val="4"/>
                <c:pt idx="0">
                  <c:v>6.6</c:v>
                </c:pt>
                <c:pt idx="1">
                  <c:v>2.6</c:v>
                </c:pt>
                <c:pt idx="2">
                  <c:v>1.1000000000000001</c:v>
                </c:pt>
                <c:pt idx="3">
                  <c:v>1</c:v>
                </c:pt>
              </c:numCache>
            </c:numRef>
          </c:val>
          <c:extLst>
            <c:ext xmlns:c16="http://schemas.microsoft.com/office/drawing/2014/chart" uri="{C3380CC4-5D6E-409C-BE32-E72D297353CC}">
              <c16:uniqueId val="{00000009-97CA-5D40-BCD8-BB07AD52A7AE}"/>
            </c:ext>
          </c:extLst>
        </c:ser>
        <c:dLbls>
          <c:showLegendKey val="0"/>
          <c:showVal val="0"/>
          <c:showCatName val="0"/>
          <c:showSerName val="0"/>
          <c:showPercent val="0"/>
          <c:showBubbleSize val="0"/>
        </c:dLbls>
        <c:gapWidth val="40"/>
        <c:overlap val="-8"/>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rgbClr val="595959"/>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Ubuntu" panose="020B0504030602030204" pitchFamily="34" charset="0"/>
                <a:ea typeface="+mn-ea"/>
                <a:cs typeface="+mn-cs"/>
              </a:defRPr>
            </a:pPr>
            <a:endParaRPr lang="en-US"/>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338091"/>
              </a:solidFill>
            </c:spPr>
            <c:extLst>
              <c:ext xmlns:c16="http://schemas.microsoft.com/office/drawing/2014/chart" uri="{C3380CC4-5D6E-409C-BE32-E72D297353CC}">
                <c16:uniqueId val="{00000001-8A63-4841-89B9-F680C33D4742}"/>
              </c:ext>
            </c:extLst>
          </c:dPt>
          <c:dPt>
            <c:idx val="1"/>
            <c:bubble3D val="0"/>
            <c:spPr>
              <a:solidFill>
                <a:schemeClr val="bg1"/>
              </a:solidFill>
            </c:spPr>
            <c:extLst>
              <c:ext xmlns:c16="http://schemas.microsoft.com/office/drawing/2014/chart" uri="{C3380CC4-5D6E-409C-BE32-E72D297353CC}">
                <c16:uniqueId val="{00000003-8A63-4841-89B9-F680C33D4742}"/>
              </c:ext>
            </c:extLst>
          </c:dPt>
          <c:cat>
            <c:numRef>
              <c:f>Tabelle1!$A$2:$A$5</c:f>
              <c:numCache>
                <c:formatCode>General</c:formatCode>
                <c:ptCount val="4"/>
              </c:numCache>
            </c:numRef>
          </c:cat>
          <c:val>
            <c:numRef>
              <c:f>Tabelle1!$B$2:$B$5</c:f>
              <c:numCache>
                <c:formatCode>General</c:formatCode>
                <c:ptCount val="4"/>
                <c:pt idx="0">
                  <c:v>60</c:v>
                </c:pt>
                <c:pt idx="1">
                  <c:v>25</c:v>
                </c:pt>
              </c:numCache>
            </c:numRef>
          </c:val>
          <c:extLst>
            <c:ext xmlns:c16="http://schemas.microsoft.com/office/drawing/2014/chart" uri="{C3380CC4-5D6E-409C-BE32-E72D297353CC}">
              <c16:uniqueId val="{00000004-8A63-4841-89B9-F680C33D4742}"/>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rgbClr val="32A860"/>
            </a:solidFill>
            <a:ln>
              <a:noFill/>
            </a:ln>
          </c:spPr>
          <c:dPt>
            <c:idx val="0"/>
            <c:bubble3D val="0"/>
            <c:spPr>
              <a:solidFill>
                <a:srgbClr val="176036"/>
              </a:solidFill>
              <a:ln>
                <a:noFill/>
              </a:ln>
            </c:spPr>
            <c:extLst>
              <c:ext xmlns:c16="http://schemas.microsoft.com/office/drawing/2014/chart" uri="{C3380CC4-5D6E-409C-BE32-E72D297353CC}">
                <c16:uniqueId val="{00000001-1220-4B6F-B6C5-AF42EDED42F5}"/>
              </c:ext>
            </c:extLst>
          </c:dPt>
          <c:dPt>
            <c:idx val="1"/>
            <c:bubble3D val="0"/>
            <c:spPr>
              <a:solidFill>
                <a:schemeClr val="bg1"/>
              </a:solidFill>
              <a:ln>
                <a:noFill/>
              </a:ln>
            </c:spPr>
            <c:extLst>
              <c:ext xmlns:c16="http://schemas.microsoft.com/office/drawing/2014/chart" uri="{C3380CC4-5D6E-409C-BE32-E72D297353CC}">
                <c16:uniqueId val="{00000003-1220-4B6F-B6C5-AF42EDED42F5}"/>
              </c:ext>
            </c:extLst>
          </c:dPt>
          <c:cat>
            <c:numRef>
              <c:f>Tabelle1!$A$2:$A$5</c:f>
              <c:numCache>
                <c:formatCode>General</c:formatCode>
                <c:ptCount val="4"/>
              </c:numCache>
            </c:numRef>
          </c:cat>
          <c:val>
            <c:numRef>
              <c:f>Tabelle1!$B$2:$B$5</c:f>
              <c:numCache>
                <c:formatCode>General</c:formatCode>
                <c:ptCount val="4"/>
                <c:pt idx="0">
                  <c:v>60</c:v>
                </c:pt>
                <c:pt idx="1">
                  <c:v>20</c:v>
                </c:pt>
              </c:numCache>
            </c:numRef>
          </c:val>
          <c:extLst>
            <c:ext xmlns:c16="http://schemas.microsoft.com/office/drawing/2014/chart" uri="{C3380CC4-5D6E-409C-BE32-E72D297353CC}">
              <c16:uniqueId val="{00000004-1220-4B6F-B6C5-AF42EDED42F5}"/>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0"/>
          <c:w val="0.99591210971510991"/>
          <c:h val="0.99591178914990386"/>
        </c:manualLayout>
      </c:layout>
      <c:doughnutChart>
        <c:varyColors val="1"/>
        <c:ser>
          <c:idx val="0"/>
          <c:order val="0"/>
          <c:tx>
            <c:strRef>
              <c:f>Tabelle1!$B$1</c:f>
              <c:strCache>
                <c:ptCount val="1"/>
                <c:pt idx="0">
                  <c:v>EDIT</c:v>
                </c:pt>
              </c:strCache>
            </c:strRef>
          </c:tx>
          <c:spPr>
            <a:ln>
              <a:solidFill>
                <a:schemeClr val="bg1"/>
              </a:solidFill>
            </a:ln>
          </c:spPr>
          <c:dPt>
            <c:idx val="0"/>
            <c:bubble3D val="0"/>
            <c:spPr>
              <a:solidFill>
                <a:srgbClr val="007D74"/>
              </a:solidFill>
              <a:ln w="19050">
                <a:solidFill>
                  <a:schemeClr val="bg1"/>
                </a:solidFill>
              </a:ln>
              <a:effectLst/>
            </c:spPr>
            <c:extLst>
              <c:ext xmlns:c16="http://schemas.microsoft.com/office/drawing/2014/chart" uri="{C3380CC4-5D6E-409C-BE32-E72D297353CC}">
                <c16:uniqueId val="{00000001-AE6E-45E3-A4A7-8B5720CCBFE0}"/>
              </c:ext>
            </c:extLst>
          </c:dPt>
          <c:dPt>
            <c:idx val="1"/>
            <c:bubble3D val="0"/>
            <c:spPr>
              <a:solidFill>
                <a:schemeClr val="bg2"/>
              </a:solidFill>
              <a:ln w="19050">
                <a:noFill/>
              </a:ln>
              <a:effectLst/>
            </c:spPr>
            <c:extLst>
              <c:ext xmlns:c16="http://schemas.microsoft.com/office/drawing/2014/chart" uri="{C3380CC4-5D6E-409C-BE32-E72D297353CC}">
                <c16:uniqueId val="{00000003-AE6E-45E3-A4A7-8B5720CCBFE0}"/>
              </c:ext>
            </c:extLst>
          </c:dPt>
          <c:cat>
            <c:numRef>
              <c:f>Tabelle1!$A$2:$A$3</c:f>
              <c:numCache>
                <c:formatCode>General</c:formatCode>
                <c:ptCount val="2"/>
              </c:numCache>
            </c:numRef>
          </c:cat>
          <c:val>
            <c:numRef>
              <c:f>Tabelle1!$B$2:$B$3</c:f>
              <c:numCache>
                <c:formatCode>General</c:formatCode>
                <c:ptCount val="2"/>
                <c:pt idx="0">
                  <c:v>83</c:v>
                </c:pt>
                <c:pt idx="1">
                  <c:v>25</c:v>
                </c:pt>
              </c:numCache>
            </c:numRef>
          </c:val>
          <c:extLst>
            <c:ext xmlns:c16="http://schemas.microsoft.com/office/drawing/2014/chart" uri="{C3380CC4-5D6E-409C-BE32-E72D297353CC}">
              <c16:uniqueId val="{00000004-AE6E-45E3-A4A7-8B5720CCBFE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0"/>
          <c:w val="0.99591210971510991"/>
          <c:h val="0.99591178914990386"/>
        </c:manualLayout>
      </c:layout>
      <c:doughnutChart>
        <c:varyColors val="1"/>
        <c:ser>
          <c:idx val="0"/>
          <c:order val="0"/>
          <c:tx>
            <c:strRef>
              <c:f>Tabelle1!$B$1</c:f>
              <c:strCache>
                <c:ptCount val="1"/>
                <c:pt idx="0">
                  <c:v>EDIT</c:v>
                </c:pt>
              </c:strCache>
            </c:strRef>
          </c:tx>
          <c:spPr>
            <a:ln>
              <a:noFill/>
            </a:ln>
          </c:spPr>
          <c:dPt>
            <c:idx val="0"/>
            <c:bubble3D val="0"/>
            <c:spPr>
              <a:solidFill>
                <a:srgbClr val="9E4780"/>
              </a:solidFill>
              <a:ln w="19050">
                <a:noFill/>
              </a:ln>
              <a:effectLst/>
            </c:spPr>
            <c:extLst>
              <c:ext xmlns:c16="http://schemas.microsoft.com/office/drawing/2014/chart" uri="{C3380CC4-5D6E-409C-BE32-E72D297353CC}">
                <c16:uniqueId val="{00000001-0690-4F05-88A8-C5ED96FF77F5}"/>
              </c:ext>
            </c:extLst>
          </c:dPt>
          <c:dPt>
            <c:idx val="1"/>
            <c:bubble3D val="0"/>
            <c:spPr>
              <a:solidFill>
                <a:schemeClr val="bg2"/>
              </a:solidFill>
              <a:ln w="19050">
                <a:noFill/>
              </a:ln>
              <a:effectLst/>
            </c:spPr>
            <c:extLst>
              <c:ext xmlns:c16="http://schemas.microsoft.com/office/drawing/2014/chart" uri="{C3380CC4-5D6E-409C-BE32-E72D297353CC}">
                <c16:uniqueId val="{00000003-0690-4F05-88A8-C5ED96FF77F5}"/>
              </c:ext>
            </c:extLst>
          </c:dPt>
          <c:cat>
            <c:numRef>
              <c:f>Tabelle1!$A$2:$A$3</c:f>
              <c:numCache>
                <c:formatCode>General</c:formatCode>
                <c:ptCount val="2"/>
              </c:numCache>
            </c:numRef>
          </c:cat>
          <c:val>
            <c:numRef>
              <c:f>Tabelle1!$B$2:$B$3</c:f>
              <c:numCache>
                <c:formatCode>General</c:formatCode>
                <c:ptCount val="2"/>
                <c:pt idx="0">
                  <c:v>56</c:v>
                </c:pt>
                <c:pt idx="1">
                  <c:v>75</c:v>
                </c:pt>
              </c:numCache>
            </c:numRef>
          </c:val>
          <c:extLst>
            <c:ext xmlns:c16="http://schemas.microsoft.com/office/drawing/2014/chart" uri="{C3380CC4-5D6E-409C-BE32-E72D297353CC}">
              <c16:uniqueId val="{00000004-0690-4F05-88A8-C5ED96FF77F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652523933918841E-2"/>
          <c:y val="0.11959946595460615"/>
          <c:w val="0.91869495213216235"/>
          <c:h val="0.80736520084522145"/>
        </c:manualLayout>
      </c:layout>
      <c:barChart>
        <c:barDir val="col"/>
        <c:grouping val="clustered"/>
        <c:varyColors val="0"/>
        <c:ser>
          <c:idx val="0"/>
          <c:order val="0"/>
          <c:tx>
            <c:strRef>
              <c:f>Sheet1!$B$1</c:f>
              <c:strCache>
                <c:ptCount val="1"/>
                <c:pt idx="0">
                  <c:v>Sales</c:v>
                </c:pt>
              </c:strCache>
            </c:strRef>
          </c:tx>
          <c:spPr>
            <a:solidFill>
              <a:srgbClr val="2EA657"/>
            </a:solidFill>
            <a:ln w="12700">
              <a:noFill/>
            </a:ln>
            <a:effectLst/>
          </c:spPr>
          <c:invertIfNegative val="0"/>
          <c:dPt>
            <c:idx val="0"/>
            <c:invertIfNegative val="0"/>
            <c:bubble3D val="0"/>
            <c:spPr>
              <a:solidFill>
                <a:srgbClr val="2EA657"/>
              </a:solidFill>
              <a:ln w="1270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2EA657"/>
              </a:solidFill>
              <a:ln w="1270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2EA657"/>
              </a:solidFill>
              <a:ln w="1270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2EA657"/>
              </a:solidFill>
              <a:ln w="12700">
                <a:noFill/>
              </a:ln>
              <a:effectLst/>
            </c:spPr>
            <c:extLst>
              <c:ext xmlns:c16="http://schemas.microsoft.com/office/drawing/2014/chart" uri="{C3380CC4-5D6E-409C-BE32-E72D297353CC}">
                <c16:uniqueId val="{00000007-C16F-47A7-9861-D1AB0D9FAD2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ser>
          <c:idx val="1"/>
          <c:order val="1"/>
          <c:tx>
            <c:strRef>
              <c:f>Sheet1!$C$1</c:f>
              <c:strCache>
                <c:ptCount val="1"/>
                <c:pt idx="0">
                  <c:v>Column1</c:v>
                </c:pt>
              </c:strCache>
            </c:strRef>
          </c:tx>
          <c:spPr>
            <a:solidFill>
              <a:srgbClr val="00BFBF"/>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C$2:$C$5</c:f>
              <c:numCache>
                <c:formatCode>0.0</c:formatCode>
                <c:ptCount val="4"/>
                <c:pt idx="0">
                  <c:v>6.6</c:v>
                </c:pt>
                <c:pt idx="1">
                  <c:v>2.6</c:v>
                </c:pt>
                <c:pt idx="2">
                  <c:v>1.1000000000000001</c:v>
                </c:pt>
                <c:pt idx="3">
                  <c:v>1</c:v>
                </c:pt>
              </c:numCache>
            </c:numRef>
          </c:val>
          <c:extLst>
            <c:ext xmlns:c16="http://schemas.microsoft.com/office/drawing/2014/chart" uri="{C3380CC4-5D6E-409C-BE32-E72D297353CC}">
              <c16:uniqueId val="{00000009-93A3-C14C-B0C2-CC5EF1B80929}"/>
            </c:ext>
          </c:extLst>
        </c:ser>
        <c:dLbls>
          <c:showLegendKey val="0"/>
          <c:showVal val="0"/>
          <c:showCatName val="0"/>
          <c:showSerName val="0"/>
          <c:showPercent val="0"/>
          <c:showBubbleSize val="0"/>
        </c:dLbls>
        <c:gapWidth val="40"/>
        <c:overlap val="-5"/>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rgbClr val="595959"/>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Ubuntu" panose="020B0504030602030204" pitchFamily="34" charset="0"/>
                <a:ea typeface="+mn-ea"/>
                <a:cs typeface="+mn-cs"/>
              </a:defRPr>
            </a:pPr>
            <a:endParaRPr lang="en-US"/>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latin typeface="Ubuntu" panose="020B0504030602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652523933918841E-2"/>
          <c:y val="0.11959946595460615"/>
          <c:w val="0.91869495213216235"/>
          <c:h val="0.80736520084522145"/>
        </c:manualLayout>
      </c:layout>
      <c:barChart>
        <c:barDir val="col"/>
        <c:grouping val="clustered"/>
        <c:varyColors val="0"/>
        <c:ser>
          <c:idx val="0"/>
          <c:order val="0"/>
          <c:tx>
            <c:strRef>
              <c:f>Sheet1!$B$1</c:f>
              <c:strCache>
                <c:ptCount val="1"/>
                <c:pt idx="0">
                  <c:v>Sales</c:v>
                </c:pt>
              </c:strCache>
            </c:strRef>
          </c:tx>
          <c:spPr>
            <a:solidFill>
              <a:srgbClr val="A12980"/>
            </a:solidFill>
            <a:ln w="12700">
              <a:noFill/>
            </a:ln>
            <a:effectLst/>
          </c:spPr>
          <c:invertIfNegative val="0"/>
          <c:dPt>
            <c:idx val="0"/>
            <c:invertIfNegative val="0"/>
            <c:bubble3D val="0"/>
            <c:spPr>
              <a:solidFill>
                <a:srgbClr val="A12980"/>
              </a:solidFill>
              <a:ln w="1270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A12980"/>
              </a:solidFill>
              <a:ln w="1270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A12980"/>
              </a:solidFill>
              <a:ln w="1270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A12980"/>
              </a:solidFill>
              <a:ln w="12700">
                <a:noFill/>
              </a:ln>
              <a:effectLst/>
            </c:spPr>
            <c:extLst>
              <c:ext xmlns:c16="http://schemas.microsoft.com/office/drawing/2014/chart" uri="{C3380CC4-5D6E-409C-BE32-E72D297353CC}">
                <c16:uniqueId val="{00000007-C16F-47A7-9861-D1AB0D9FAD2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ser>
          <c:idx val="1"/>
          <c:order val="1"/>
          <c:tx>
            <c:strRef>
              <c:f>Sheet1!$C$1</c:f>
              <c:strCache>
                <c:ptCount val="1"/>
                <c:pt idx="0">
                  <c:v>Column1</c:v>
                </c:pt>
              </c:strCache>
            </c:strRef>
          </c:tx>
          <c:spPr>
            <a:solidFill>
              <a:srgbClr val="E557AD"/>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C$2:$C$5</c:f>
              <c:numCache>
                <c:formatCode>0.0</c:formatCode>
                <c:ptCount val="4"/>
                <c:pt idx="0">
                  <c:v>6.6</c:v>
                </c:pt>
                <c:pt idx="1">
                  <c:v>2.6</c:v>
                </c:pt>
                <c:pt idx="2">
                  <c:v>1.1000000000000001</c:v>
                </c:pt>
                <c:pt idx="3">
                  <c:v>1</c:v>
                </c:pt>
              </c:numCache>
            </c:numRef>
          </c:val>
          <c:extLst>
            <c:ext xmlns:c16="http://schemas.microsoft.com/office/drawing/2014/chart" uri="{C3380CC4-5D6E-409C-BE32-E72D297353CC}">
              <c16:uniqueId val="{00000009-A393-0043-8466-E97FF180871C}"/>
            </c:ext>
          </c:extLst>
        </c:ser>
        <c:dLbls>
          <c:showLegendKey val="0"/>
          <c:showVal val="0"/>
          <c:showCatName val="0"/>
          <c:showSerName val="0"/>
          <c:showPercent val="0"/>
          <c:showBubbleSize val="0"/>
        </c:dLbls>
        <c:gapWidth val="40"/>
        <c:overlap val="-5"/>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rgbClr val="595959"/>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Ubuntu" panose="020B0504030602030204" pitchFamily="34" charset="0"/>
                <a:ea typeface="+mn-ea"/>
                <a:cs typeface="+mn-cs"/>
              </a:defRPr>
            </a:pPr>
            <a:endParaRPr lang="en-US"/>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latin typeface="Ubuntu" panose="020B0504030602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40B-4436-B38B-BD45775543F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40B-4436-B38B-BD45775543F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40B-4436-B38B-BD45775543F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40B-4436-B38B-BD45775543F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2EA657"/>
              </a:solidFill>
              <a:ln w="19050">
                <a:solidFill>
                  <a:schemeClr val="lt1"/>
                </a:solidFill>
              </a:ln>
              <a:effectLst/>
            </c:spPr>
            <c:extLst>
              <c:ext xmlns:c16="http://schemas.microsoft.com/office/drawing/2014/chart" uri="{C3380CC4-5D6E-409C-BE32-E72D297353CC}">
                <c16:uniqueId val="{00000001-BBC9-4EE1-85AD-7628E22EC4C5}"/>
              </c:ext>
            </c:extLst>
          </c:dPt>
          <c:dPt>
            <c:idx val="1"/>
            <c:bubble3D val="0"/>
            <c:spPr>
              <a:solidFill>
                <a:srgbClr val="00BFBF"/>
              </a:solidFill>
              <a:ln w="19050">
                <a:solidFill>
                  <a:schemeClr val="lt1"/>
                </a:solidFill>
              </a:ln>
              <a:effectLst/>
            </c:spPr>
            <c:extLst>
              <c:ext xmlns:c16="http://schemas.microsoft.com/office/drawing/2014/chart" uri="{C3380CC4-5D6E-409C-BE32-E72D297353CC}">
                <c16:uniqueId val="{00000003-BBC9-4EE1-85AD-7628E22EC4C5}"/>
              </c:ext>
            </c:extLst>
          </c:dPt>
          <c:dPt>
            <c:idx val="2"/>
            <c:bubble3D val="0"/>
            <c:spPr>
              <a:solidFill>
                <a:srgbClr val="0F878A"/>
              </a:solidFill>
              <a:ln w="19050">
                <a:solidFill>
                  <a:schemeClr val="lt1"/>
                </a:solidFill>
              </a:ln>
              <a:effectLst/>
            </c:spPr>
            <c:extLst>
              <c:ext xmlns:c16="http://schemas.microsoft.com/office/drawing/2014/chart" uri="{C3380CC4-5D6E-409C-BE32-E72D297353CC}">
                <c16:uniqueId val="{00000005-BBC9-4EE1-85AD-7628E22EC4C5}"/>
              </c:ext>
            </c:extLst>
          </c:dPt>
          <c:dPt>
            <c:idx val="3"/>
            <c:bubble3D val="0"/>
            <c:spPr>
              <a:solidFill>
                <a:srgbClr val="14596B"/>
              </a:solidFill>
              <a:ln w="19050">
                <a:solidFill>
                  <a:schemeClr val="lt1"/>
                </a:solidFill>
              </a:ln>
              <a:effectLst/>
            </c:spPr>
            <c:extLst>
              <c:ext xmlns:c16="http://schemas.microsoft.com/office/drawing/2014/chart" uri="{C3380CC4-5D6E-409C-BE32-E72D297353CC}">
                <c16:uniqueId val="{00000007-BBC9-4EE1-85AD-7628E22EC4C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BA2980"/>
              </a:solidFill>
              <a:ln w="19050">
                <a:solidFill>
                  <a:schemeClr val="lt1"/>
                </a:solidFill>
              </a:ln>
              <a:effectLst/>
            </c:spPr>
            <c:extLst>
              <c:ext xmlns:c16="http://schemas.microsoft.com/office/drawing/2014/chart" uri="{C3380CC4-5D6E-409C-BE32-E72D297353CC}">
                <c16:uniqueId val="{00000001-BBC9-4EE1-85AD-7628E22EC4C5}"/>
              </c:ext>
            </c:extLst>
          </c:dPt>
          <c:dPt>
            <c:idx val="1"/>
            <c:bubble3D val="0"/>
            <c:spPr>
              <a:solidFill>
                <a:srgbClr val="FFB24A"/>
              </a:solidFill>
              <a:ln w="19050">
                <a:solidFill>
                  <a:schemeClr val="lt1"/>
                </a:solidFill>
              </a:ln>
              <a:effectLst/>
            </c:spPr>
            <c:extLst>
              <c:ext xmlns:c16="http://schemas.microsoft.com/office/drawing/2014/chart" uri="{C3380CC4-5D6E-409C-BE32-E72D297353CC}">
                <c16:uniqueId val="{00000003-BBC9-4EE1-85AD-7628E22EC4C5}"/>
              </c:ext>
            </c:extLst>
          </c:dPt>
          <c:dPt>
            <c:idx val="2"/>
            <c:bubble3D val="0"/>
            <c:spPr>
              <a:solidFill>
                <a:srgbClr val="750D5C"/>
              </a:solidFill>
              <a:ln w="19050">
                <a:solidFill>
                  <a:schemeClr val="lt1"/>
                </a:solidFill>
              </a:ln>
              <a:effectLst/>
            </c:spPr>
            <c:extLst>
              <c:ext xmlns:c16="http://schemas.microsoft.com/office/drawing/2014/chart" uri="{C3380CC4-5D6E-409C-BE32-E72D297353CC}">
                <c16:uniqueId val="{00000005-BBC9-4EE1-85AD-7628E22EC4C5}"/>
              </c:ext>
            </c:extLst>
          </c:dPt>
          <c:dPt>
            <c:idx val="3"/>
            <c:bubble3D val="0"/>
            <c:spPr>
              <a:solidFill>
                <a:srgbClr val="FF304D"/>
              </a:solidFill>
              <a:ln w="19050">
                <a:solidFill>
                  <a:schemeClr val="lt1"/>
                </a:solidFill>
              </a:ln>
              <a:effectLst/>
            </c:spPr>
            <c:extLst>
              <c:ext xmlns:c16="http://schemas.microsoft.com/office/drawing/2014/chart" uri="{C3380CC4-5D6E-409C-BE32-E72D297353CC}">
                <c16:uniqueId val="{00000007-BBC9-4EE1-85AD-7628E22EC4C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hart</c:v>
                </c:pt>
              </c:strCache>
            </c:strRef>
          </c:tx>
          <c:spPr>
            <a:ln>
              <a:solidFill>
                <a:schemeClr val="bg1">
                  <a:lumMod val="95000"/>
                </a:schemeClr>
              </a:solidFill>
            </a:ln>
          </c:spPr>
          <c:dPt>
            <c:idx val="0"/>
            <c:bubble3D val="0"/>
            <c:spPr>
              <a:solidFill>
                <a:schemeClr val="accent4"/>
              </a:solidFill>
              <a:ln w="19050">
                <a:solidFill>
                  <a:schemeClr val="bg1">
                    <a:lumMod val="95000"/>
                  </a:schemeClr>
                </a:solidFill>
              </a:ln>
              <a:effectLst/>
            </c:spPr>
            <c:extLst>
              <c:ext xmlns:c16="http://schemas.microsoft.com/office/drawing/2014/chart" uri="{C3380CC4-5D6E-409C-BE32-E72D297353CC}">
                <c16:uniqueId val="{00000001-67C6-4714-9FD8-A442C6EB4BE8}"/>
              </c:ext>
            </c:extLst>
          </c:dPt>
          <c:dPt>
            <c:idx val="1"/>
            <c:bubble3D val="0"/>
            <c:spPr>
              <a:solidFill>
                <a:schemeClr val="accent1"/>
              </a:solidFill>
              <a:ln w="19050">
                <a:solidFill>
                  <a:schemeClr val="bg1">
                    <a:lumMod val="95000"/>
                  </a:schemeClr>
                </a:solidFill>
              </a:ln>
              <a:effectLst/>
            </c:spPr>
            <c:extLst>
              <c:ext xmlns:c16="http://schemas.microsoft.com/office/drawing/2014/chart" uri="{C3380CC4-5D6E-409C-BE32-E72D297353CC}">
                <c16:uniqueId val="{00000003-67C6-4714-9FD8-A442C6EB4BE8}"/>
              </c:ext>
            </c:extLst>
          </c:dPt>
          <c:dPt>
            <c:idx val="2"/>
            <c:bubble3D val="0"/>
            <c:spPr>
              <a:solidFill>
                <a:schemeClr val="accent2"/>
              </a:solidFill>
              <a:ln w="19050">
                <a:solidFill>
                  <a:schemeClr val="bg1">
                    <a:lumMod val="95000"/>
                  </a:schemeClr>
                </a:solidFill>
              </a:ln>
              <a:effectLst/>
            </c:spPr>
            <c:extLst>
              <c:ext xmlns:c16="http://schemas.microsoft.com/office/drawing/2014/chart" uri="{C3380CC4-5D6E-409C-BE32-E72D297353CC}">
                <c16:uniqueId val="{00000005-67C6-4714-9FD8-A442C6EB4BE8}"/>
              </c:ext>
            </c:extLst>
          </c:dPt>
          <c:dPt>
            <c:idx val="3"/>
            <c:bubble3D val="0"/>
            <c:spPr>
              <a:solidFill>
                <a:schemeClr val="accent2">
                  <a:lumMod val="60000"/>
                  <a:lumOff val="40000"/>
                </a:schemeClr>
              </a:solidFill>
              <a:ln w="19050">
                <a:solidFill>
                  <a:schemeClr val="bg1">
                    <a:lumMod val="95000"/>
                  </a:schemeClr>
                </a:solidFill>
              </a:ln>
              <a:effectLst/>
            </c:spPr>
            <c:extLst>
              <c:ext xmlns:c16="http://schemas.microsoft.com/office/drawing/2014/chart" uri="{C3380CC4-5D6E-409C-BE32-E72D297353CC}">
                <c16:uniqueId val="{00000007-67C6-4714-9FD8-A442C6EB4BE8}"/>
              </c:ext>
            </c:extLst>
          </c:dPt>
          <c:dPt>
            <c:idx val="4"/>
            <c:bubble3D val="0"/>
            <c:spPr>
              <a:solidFill>
                <a:srgbClr val="0F878A"/>
              </a:solidFill>
              <a:ln w="19050">
                <a:solidFill>
                  <a:schemeClr val="bg1">
                    <a:lumMod val="95000"/>
                  </a:schemeClr>
                </a:solidFill>
              </a:ln>
              <a:effectLst/>
            </c:spPr>
            <c:extLst>
              <c:ext xmlns:c16="http://schemas.microsoft.com/office/drawing/2014/chart" uri="{C3380CC4-5D6E-409C-BE32-E72D297353CC}">
                <c16:uniqueId val="{00000009-FF16-404B-BDC7-1BFE9901A3BF}"/>
              </c:ext>
            </c:extLst>
          </c:dPt>
          <c:dPt>
            <c:idx val="5"/>
            <c:bubble3D val="0"/>
            <c:spPr>
              <a:solidFill>
                <a:schemeClr val="accent6"/>
              </a:solidFill>
              <a:ln w="19050">
                <a:solidFill>
                  <a:schemeClr val="bg1">
                    <a:lumMod val="95000"/>
                  </a:schemeClr>
                </a:solidFill>
              </a:ln>
              <a:effectLst/>
            </c:spPr>
            <c:extLst>
              <c:ext xmlns:c16="http://schemas.microsoft.com/office/drawing/2014/chart" uri="{C3380CC4-5D6E-409C-BE32-E72D297353CC}">
                <c16:uniqueId val="{0000000B-FF16-404B-BDC7-1BFE9901A3BF}"/>
              </c:ext>
            </c:extLst>
          </c:dPt>
          <c:dLbls>
            <c:dLbl>
              <c:idx val="2"/>
              <c:numFmt formatCode="#,##0.0" sourceLinked="0"/>
              <c:spPr>
                <a:noFill/>
                <a:ln>
                  <a:noFill/>
                </a:ln>
                <a:effectLst/>
              </c:spPr>
              <c:txPr>
                <a:bodyPr rot="0" spcFirstLastPara="1" vertOverflow="ellipsis" horzOverflow="clip" vert="horz" wrap="none" lIns="0" tIns="0" rIns="0" bIns="0" anchor="ctr" anchorCtr="1">
                  <a:spAutoFit/>
                </a:bodyPr>
                <a:lstStyle/>
                <a:p>
                  <a:pPr>
                    <a:defRPr sz="1400" b="1"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5-67C6-4714-9FD8-A442C6EB4BE8}"/>
                </c:ext>
              </c:extLst>
            </c:dLbl>
            <c:dLbl>
              <c:idx val="3"/>
              <c:numFmt formatCode="#,##0.0" sourceLinked="0"/>
              <c:spPr>
                <a:noFill/>
                <a:ln>
                  <a:noFill/>
                </a:ln>
                <a:effectLst/>
              </c:spPr>
              <c:txPr>
                <a:bodyPr rot="0" spcFirstLastPara="1" vertOverflow="ellipsis" horzOverflow="clip" vert="horz" wrap="none" lIns="0" tIns="0" rIns="0" bIns="0" anchor="ctr" anchorCtr="1">
                  <a:spAutoFit/>
                </a:bodyPr>
                <a:lstStyle/>
                <a:p>
                  <a:pPr>
                    <a:defRPr sz="1400" b="1"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7-67C6-4714-9FD8-A442C6EB4BE8}"/>
                </c:ext>
              </c:extLst>
            </c:dLbl>
            <c:dLbl>
              <c:idx val="4"/>
              <c:numFmt formatCode="#,##0.0" sourceLinked="0"/>
              <c:spPr>
                <a:noFill/>
                <a:ln>
                  <a:noFill/>
                </a:ln>
                <a:effectLst/>
              </c:spPr>
              <c:txPr>
                <a:bodyPr rot="0" spcFirstLastPara="1" vertOverflow="ellipsis" horzOverflow="clip" vert="horz" wrap="none" lIns="0" tIns="0" rIns="0" bIns="0" anchor="ctr" anchorCtr="1">
                  <a:spAutoFit/>
                </a:bodyPr>
                <a:lstStyle/>
                <a:p>
                  <a:pPr>
                    <a:defRPr sz="1400" b="1"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9-FF16-404B-BDC7-1BFE9901A3BF}"/>
                </c:ext>
              </c:extLst>
            </c:dLbl>
            <c:numFmt formatCode="#,##0.0" sourceLinked="0"/>
            <c:spPr>
              <a:noFill/>
              <a:ln>
                <a:noFill/>
              </a:ln>
              <a:effectLst/>
            </c:spPr>
            <c:txPr>
              <a:bodyPr rot="0" spcFirstLastPara="1" vertOverflow="ellipsis" horzOverflow="clip" vert="horz" wrap="none" lIns="0" tIns="0" rIns="0" bIns="0" anchor="ctr" anchorCtr="1">
                <a:spAutoFit/>
              </a:bodyPr>
              <a:lstStyle/>
              <a:p>
                <a:pPr>
                  <a:defRPr sz="1400" b="1" i="0" u="none" strike="noStrike" kern="1200" baseline="0">
                    <a:solidFill>
                      <a:schemeClr val="bg1"/>
                    </a:solidFill>
                    <a:latin typeface="Ubuntu" panose="020B0504030602030204" pitchFamily="34" charset="0"/>
                    <a:ea typeface="+mn-ea"/>
                    <a:cs typeface="+mn-cs"/>
                  </a:defRPr>
                </a:pPr>
                <a:endParaRPr lang="en-US"/>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7</c:f>
              <c:strCache>
                <c:ptCount val="6"/>
                <c:pt idx="0">
                  <c:v>data 1</c:v>
                </c:pt>
                <c:pt idx="1">
                  <c:v>data 2</c:v>
                </c:pt>
                <c:pt idx="2">
                  <c:v>data 3</c:v>
                </c:pt>
                <c:pt idx="3">
                  <c:v>data 4</c:v>
                </c:pt>
                <c:pt idx="4">
                  <c:v>data 5</c:v>
                </c:pt>
                <c:pt idx="5">
                  <c:v>data 6</c:v>
                </c:pt>
              </c:strCache>
            </c:strRef>
          </c:cat>
          <c:val>
            <c:numRef>
              <c:f>Sheet1!$B$2:$B$7</c:f>
              <c:numCache>
                <c:formatCode>General</c:formatCode>
                <c:ptCount val="6"/>
                <c:pt idx="0">
                  <c:v>6</c:v>
                </c:pt>
                <c:pt idx="1">
                  <c:v>3.2</c:v>
                </c:pt>
                <c:pt idx="2">
                  <c:v>1.4</c:v>
                </c:pt>
                <c:pt idx="3">
                  <c:v>3</c:v>
                </c:pt>
                <c:pt idx="4">
                  <c:v>1</c:v>
                </c:pt>
                <c:pt idx="5">
                  <c:v>4</c:v>
                </c:pt>
              </c:numCache>
            </c:numRef>
          </c:val>
          <c:extLst>
            <c:ext xmlns:c16="http://schemas.microsoft.com/office/drawing/2014/chart" uri="{C3380CC4-5D6E-409C-BE32-E72D297353CC}">
              <c16:uniqueId val="{00000008-67C6-4714-9FD8-A442C6EB4BE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chart>
  <c:spPr>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FF304C"/>
          </a:solidFill>
          <a:prstDash val="solid"/>
          <a:round/>
          <a:headEnd type="none" w="med" len="med"/>
          <a:tailEnd type="none" w="med" len="med"/>
        </a14:hiddenLine>
      </a:ext>
    </a:ex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palte1</c:v>
                </c:pt>
              </c:strCache>
            </c:strRef>
          </c:tx>
          <c:spPr>
            <a:ln>
              <a:noFill/>
            </a:ln>
          </c:spPr>
          <c:dPt>
            <c:idx val="0"/>
            <c:bubble3D val="0"/>
            <c:spPr>
              <a:solidFill>
                <a:srgbClr val="E30021"/>
              </a:solidFill>
              <a:ln>
                <a:noFill/>
              </a:ln>
            </c:spPr>
            <c:extLst>
              <c:ext xmlns:c16="http://schemas.microsoft.com/office/drawing/2014/chart" uri="{C3380CC4-5D6E-409C-BE32-E72D297353CC}">
                <c16:uniqueId val="{00000001-CB5E-48D4-8910-94785C94A087}"/>
              </c:ext>
            </c:extLst>
          </c:dPt>
          <c:dPt>
            <c:idx val="1"/>
            <c:bubble3D val="0"/>
            <c:spPr>
              <a:solidFill>
                <a:schemeClr val="bg1"/>
              </a:solidFill>
              <a:ln>
                <a:noFill/>
              </a:ln>
            </c:spPr>
            <c:extLst>
              <c:ext xmlns:c16="http://schemas.microsoft.com/office/drawing/2014/chart" uri="{C3380CC4-5D6E-409C-BE32-E72D297353CC}">
                <c16:uniqueId val="{00000003-CB5E-48D4-8910-94785C94A087}"/>
              </c:ext>
            </c:extLst>
          </c:dPt>
          <c:cat>
            <c:numRef>
              <c:f>Tabelle1!$A$2:$A$5</c:f>
              <c:numCache>
                <c:formatCode>General</c:formatCode>
                <c:ptCount val="4"/>
              </c:numCache>
            </c:numRef>
          </c:cat>
          <c:val>
            <c:numRef>
              <c:f>Tabelle1!$B$2:$B$5</c:f>
              <c:numCache>
                <c:formatCode>General</c:formatCode>
                <c:ptCount val="4"/>
                <c:pt idx="0">
                  <c:v>80</c:v>
                </c:pt>
                <c:pt idx="1">
                  <c:v>10</c:v>
                </c:pt>
              </c:numCache>
            </c:numRef>
          </c:val>
          <c:extLst>
            <c:ext xmlns:c16="http://schemas.microsoft.com/office/drawing/2014/chart" uri="{C3380CC4-5D6E-409C-BE32-E72D297353CC}">
              <c16:uniqueId val="{00000004-CB5E-48D4-8910-94785C94A087}"/>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ln>
              <a:noFill/>
            </a:ln>
          </c:spPr>
          <c:dPt>
            <c:idx val="0"/>
            <c:bubble3D val="0"/>
            <c:spPr>
              <a:solidFill>
                <a:srgbClr val="9E4780"/>
              </a:solidFill>
              <a:ln>
                <a:noFill/>
              </a:ln>
            </c:spPr>
            <c:extLst>
              <c:ext xmlns:c16="http://schemas.microsoft.com/office/drawing/2014/chart" uri="{C3380CC4-5D6E-409C-BE32-E72D297353CC}">
                <c16:uniqueId val="{00000001-C6AD-410F-9B54-980502D7F6C9}"/>
              </c:ext>
            </c:extLst>
          </c:dPt>
          <c:dPt>
            <c:idx val="1"/>
            <c:bubble3D val="0"/>
            <c:spPr>
              <a:solidFill>
                <a:schemeClr val="bg1"/>
              </a:solidFill>
              <a:ln>
                <a:noFill/>
              </a:ln>
            </c:spPr>
            <c:extLst>
              <c:ext xmlns:c16="http://schemas.microsoft.com/office/drawing/2014/chart" uri="{C3380CC4-5D6E-409C-BE32-E72D297353CC}">
                <c16:uniqueId val="{00000003-C6AD-410F-9B54-980502D7F6C9}"/>
              </c:ext>
            </c:extLst>
          </c:dPt>
          <c:cat>
            <c:numRef>
              <c:f>Tabelle1!$A$2:$A$5</c:f>
              <c:numCache>
                <c:formatCode>General</c:formatCode>
                <c:ptCount val="4"/>
              </c:numCache>
            </c:numRef>
          </c:cat>
          <c:val>
            <c:numRef>
              <c:f>Tabelle1!$B$2:$B$5</c:f>
              <c:numCache>
                <c:formatCode>General</c:formatCode>
                <c:ptCount val="4"/>
                <c:pt idx="0">
                  <c:v>80</c:v>
                </c:pt>
                <c:pt idx="1">
                  <c:v>20</c:v>
                </c:pt>
              </c:numCache>
            </c:numRef>
          </c:val>
          <c:extLst>
            <c:ext xmlns:c16="http://schemas.microsoft.com/office/drawing/2014/chart" uri="{C3380CC4-5D6E-409C-BE32-E72D297353CC}">
              <c16:uniqueId val="{00000004-C6AD-410F-9B54-980502D7F6C9}"/>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cdr:y>
    </cdr:from>
    <cdr:to>
      <cdr:x>0</cdr:x>
      <cdr:y>0</cdr:y>
    </cdr:to>
    <cdr:sp macro="" textlink="">
      <cdr:nvSpPr>
        <cdr:cNvPr id="3" name="ee4p_colorscheme" descr="CGI Charts blue" hidden="1">
          <a:extLst xmlns:a="http://schemas.openxmlformats.org/drawingml/2006/main">
            <a:ext uri="{FF2B5EF4-FFF2-40B4-BE49-F238E27FC236}">
              <a16:creationId xmlns:a16="http://schemas.microsoft.com/office/drawing/2014/main" id="{E7ECCBAC-880E-4FFE-8394-4C1133223603}"/>
            </a:ext>
          </a:extLst>
        </cdr:cNvPr>
        <cdr:cNvSpPr/>
      </cdr:nvSpPr>
      <cdr:spPr>
        <a:xfrm xmlns:a="http://schemas.openxmlformats.org/drawingml/2006/main">
          <a:off x="-1270000" y="-1270000"/>
          <a:ext cx="0" cy="0"/>
        </a:xfrm>
        <a:prstGeom xmlns:a="http://schemas.openxmlformats.org/drawingml/2006/main" prst="rect">
          <a:avLst/>
        </a:prstGeom>
        <a:solidFill xmlns:a="http://schemas.openxmlformats.org/drawingml/2006/main">
          <a:schemeClr val="bg1"/>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de-DE"/>
            <a:t>CGI Charts blu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9156531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t>51</a:t>
            </a:fld>
            <a:endParaRPr lang="pt-BR"/>
          </a:p>
        </p:txBody>
      </p:sp>
    </p:spTree>
    <p:extLst>
      <p:ext uri="{BB962C8B-B14F-4D97-AF65-F5344CB8AC3E}">
        <p14:creationId xmlns:p14="http://schemas.microsoft.com/office/powerpoint/2010/main" val="39669567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2</a:t>
            </a:fld>
            <a:endParaRPr lang="pt-BR"/>
          </a:p>
        </p:txBody>
      </p:sp>
    </p:spTree>
    <p:extLst>
      <p:ext uri="{BB962C8B-B14F-4D97-AF65-F5344CB8AC3E}">
        <p14:creationId xmlns:p14="http://schemas.microsoft.com/office/powerpoint/2010/main" val="1005386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3</a:t>
            </a:fld>
            <a:endParaRPr lang="pt-BR"/>
          </a:p>
        </p:txBody>
      </p:sp>
    </p:spTree>
    <p:extLst>
      <p:ext uri="{BB962C8B-B14F-4D97-AF65-F5344CB8AC3E}">
        <p14:creationId xmlns:p14="http://schemas.microsoft.com/office/powerpoint/2010/main" val="40851645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5</a:t>
            </a:fld>
            <a:endParaRPr lang="pt-BR"/>
          </a:p>
        </p:txBody>
      </p:sp>
    </p:spTree>
    <p:extLst>
      <p:ext uri="{BB962C8B-B14F-4D97-AF65-F5344CB8AC3E}">
        <p14:creationId xmlns:p14="http://schemas.microsoft.com/office/powerpoint/2010/main" val="14585922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56</a:t>
            </a:fld>
            <a:endParaRPr lang="pt-BR"/>
          </a:p>
        </p:txBody>
      </p:sp>
    </p:spTree>
    <p:extLst>
      <p:ext uri="{BB962C8B-B14F-4D97-AF65-F5344CB8AC3E}">
        <p14:creationId xmlns:p14="http://schemas.microsoft.com/office/powerpoint/2010/main" val="259124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7</a:t>
            </a:fld>
            <a:endParaRPr lang="pt-BR"/>
          </a:p>
        </p:txBody>
      </p:sp>
    </p:spTree>
    <p:extLst>
      <p:ext uri="{BB962C8B-B14F-4D97-AF65-F5344CB8AC3E}">
        <p14:creationId xmlns:p14="http://schemas.microsoft.com/office/powerpoint/2010/main" val="20353196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8</a:t>
            </a:fld>
            <a:endParaRPr lang="pt-BR"/>
          </a:p>
        </p:txBody>
      </p:sp>
    </p:spTree>
    <p:extLst>
      <p:ext uri="{BB962C8B-B14F-4D97-AF65-F5344CB8AC3E}">
        <p14:creationId xmlns:p14="http://schemas.microsoft.com/office/powerpoint/2010/main" val="459072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1</a:t>
            </a:fld>
            <a:endParaRPr lang="pt-BR"/>
          </a:p>
        </p:txBody>
      </p:sp>
    </p:spTree>
    <p:extLst>
      <p:ext uri="{BB962C8B-B14F-4D97-AF65-F5344CB8AC3E}">
        <p14:creationId xmlns:p14="http://schemas.microsoft.com/office/powerpoint/2010/main" val="31525957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62</a:t>
            </a:fld>
            <a:endParaRPr lang="pt-BR"/>
          </a:p>
        </p:txBody>
      </p:sp>
    </p:spTree>
    <p:extLst>
      <p:ext uri="{BB962C8B-B14F-4D97-AF65-F5344CB8AC3E}">
        <p14:creationId xmlns:p14="http://schemas.microsoft.com/office/powerpoint/2010/main" val="23635183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3</a:t>
            </a:fld>
            <a:endParaRPr lang="pt-BR"/>
          </a:p>
        </p:txBody>
      </p:sp>
    </p:spTree>
    <p:extLst>
      <p:ext uri="{BB962C8B-B14F-4D97-AF65-F5344CB8AC3E}">
        <p14:creationId xmlns:p14="http://schemas.microsoft.com/office/powerpoint/2010/main" val="2804634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11171516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4</a:t>
            </a:fld>
            <a:endParaRPr lang="pt-BR"/>
          </a:p>
        </p:txBody>
      </p:sp>
    </p:spTree>
    <p:extLst>
      <p:ext uri="{BB962C8B-B14F-4D97-AF65-F5344CB8AC3E}">
        <p14:creationId xmlns:p14="http://schemas.microsoft.com/office/powerpoint/2010/main" val="29390998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5</a:t>
            </a:fld>
            <a:endParaRPr lang="pt-BR"/>
          </a:p>
        </p:txBody>
      </p:sp>
    </p:spTree>
    <p:extLst>
      <p:ext uri="{BB962C8B-B14F-4D97-AF65-F5344CB8AC3E}">
        <p14:creationId xmlns:p14="http://schemas.microsoft.com/office/powerpoint/2010/main" val="12119541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6</a:t>
            </a:fld>
            <a:endParaRPr lang="pt-BR"/>
          </a:p>
        </p:txBody>
      </p:sp>
    </p:spTree>
    <p:extLst>
      <p:ext uri="{BB962C8B-B14F-4D97-AF65-F5344CB8AC3E}">
        <p14:creationId xmlns:p14="http://schemas.microsoft.com/office/powerpoint/2010/main" val="31683152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73</a:t>
            </a:fld>
            <a:endParaRPr lang="pt-BR"/>
          </a:p>
        </p:txBody>
      </p:sp>
    </p:spTree>
    <p:extLst>
      <p:ext uri="{BB962C8B-B14F-4D97-AF65-F5344CB8AC3E}">
        <p14:creationId xmlns:p14="http://schemas.microsoft.com/office/powerpoint/2010/main" val="109361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891055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3479460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830761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312501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22171810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5</a:t>
            </a:fld>
            <a:endParaRPr lang="pt-BR"/>
          </a:p>
        </p:txBody>
      </p:sp>
    </p:spTree>
    <p:extLst>
      <p:ext uri="{BB962C8B-B14F-4D97-AF65-F5344CB8AC3E}">
        <p14:creationId xmlns:p14="http://schemas.microsoft.com/office/powerpoint/2010/main" val="35890362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0</a:t>
            </a:fld>
            <a:endParaRPr lang="pt-BR"/>
          </a:p>
        </p:txBody>
      </p:sp>
    </p:spTree>
    <p:extLst>
      <p:ext uri="{BB962C8B-B14F-4D97-AF65-F5344CB8AC3E}">
        <p14:creationId xmlns:p14="http://schemas.microsoft.com/office/powerpoint/2010/main" val="14588538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hyperlink" Target="http://www.youtube.com/capgeminimedia"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www.twitter.com/capgemini" TargetMode="External"/><Relationship Id="rId4" Type="http://schemas.openxmlformats.org/officeDocument/2006/relationships/hyperlink" Target="http://www.facebook.com/capgemini" TargetMode="External"/><Relationship Id="rId9"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1.png"/><Relationship Id="rId4" Type="http://schemas.openxmlformats.org/officeDocument/2006/relationships/image" Target="../media/image8.png"/><Relationship Id="rId9" Type="http://schemas.openxmlformats.org/officeDocument/2006/relationships/hyperlink" Target="http://www.twitter.com/capgemini"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7.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 Id="rId14" Type="http://schemas.openxmlformats.org/officeDocument/2006/relationships/image" Target="../media/image18.sv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7.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hyperlink" Target="http://www.youtube.com/capgeminimedia" TargetMode="External"/><Relationship Id="rId14" Type="http://schemas.openxmlformats.org/officeDocument/2006/relationships/image" Target="../media/image18.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Image 5" descr="Capgemini">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1291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ntent RH image 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3">
            <a:extLst>
              <a:ext uri="{FF2B5EF4-FFF2-40B4-BE49-F238E27FC236}">
                <a16:creationId xmlns:a16="http://schemas.microsoft.com/office/drawing/2014/main" id="{5C94FEA8-066A-4CC1-BFCC-10ED1764A21E}"/>
              </a:ext>
              <a:ext uri="{C183D7F6-B498-43B3-948B-1728B52AA6E4}">
                <adec:decorative xmlns:adec="http://schemas.microsoft.com/office/drawing/2017/decorative" val="1"/>
              </a:ext>
            </a:extLst>
          </p:cNvPr>
          <p:cNvSpPr>
            <a:spLocks noGrp="1"/>
          </p:cNvSpPr>
          <p:nvPr>
            <p:ph type="pic" sz="quarter" idx="10" hasCustomPrompt="1"/>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539693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5586E72C-F96D-4BE1-996B-39A71EA977D3}"/>
              </a:ext>
              <a:ext uri="{C183D7F6-B498-43B3-948B-1728B52AA6E4}">
                <adec:decorative xmlns:adec="http://schemas.microsoft.com/office/drawing/2017/decorative" val="1"/>
              </a:ext>
            </a:extLst>
          </p:cNvPr>
          <p:cNvSpPr>
            <a:spLocks noGrp="1"/>
          </p:cNvSpPr>
          <p:nvPr>
            <p:ph type="pic" sz="quarter" idx="10" hasCustomPrompt="1"/>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35237316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7" name="Image 6" descr="Capgemini">
            <a:extLst>
              <a:ext uri="{FF2B5EF4-FFF2-40B4-BE49-F238E27FC236}">
                <a16:creationId xmlns:a16="http://schemas.microsoft.com/office/drawing/2014/main" id="{873884F3-4760-488E-A25C-0D285C88AE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6017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8101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29147484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472295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pic>
        <p:nvPicPr>
          <p:cNvPr id="5" name="Image 4" descr="Capgemini">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345184349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3" name="Image 12" descr="Capgemini">
            <a:extLst>
              <a:ext uri="{FF2B5EF4-FFF2-40B4-BE49-F238E27FC236}">
                <a16:creationId xmlns:a16="http://schemas.microsoft.com/office/drawing/2014/main" id="{A0C8CF1B-496A-4A5B-A698-8344534684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4"/>
          </p:cNvPr>
          <p:cNvPicPr>
            <a:picLocks noChangeAspect="1" noChangeArrowheads="1"/>
          </p:cNvPicPr>
          <p:nvPr/>
        </p:nvPicPr>
        <p:blipFill>
          <a:blip r:embed="rId5" cstate="print"/>
          <a:srcRect/>
          <a:stretch>
            <a:fillRect/>
          </a:stretch>
        </p:blipFill>
        <p:spPr bwMode="auto">
          <a:xfrm>
            <a:off x="426720" y="4968013"/>
            <a:ext cx="333195" cy="333195"/>
          </a:xfrm>
          <a:prstGeom prst="rect">
            <a:avLst/>
          </a:prstGeom>
          <a:noFill/>
        </p:spPr>
      </p:pic>
      <p:pic>
        <p:nvPicPr>
          <p:cNvPr id="17" name="Picture 2" descr="LinkedIn">
            <a:hlinkClick r:id="rId6"/>
          </p:cNvPr>
          <p:cNvPicPr>
            <a:picLocks noChangeAspect="1" noChangeArrowheads="1"/>
          </p:cNvPicPr>
          <p:nvPr/>
        </p:nvPicPr>
        <p:blipFill>
          <a:blip r:embed="rId7" cstate="print"/>
          <a:srcRect/>
          <a:stretch>
            <a:fillRect/>
          </a:stretch>
        </p:blipFill>
        <p:spPr bwMode="auto">
          <a:xfrm>
            <a:off x="810097" y="4968013"/>
            <a:ext cx="333195" cy="333195"/>
          </a:xfrm>
          <a:prstGeom prst="rect">
            <a:avLst/>
          </a:prstGeom>
          <a:noFill/>
        </p:spPr>
      </p:pic>
      <p:pic>
        <p:nvPicPr>
          <p:cNvPr id="18" name="Picture 4" descr="SlideShare">
            <a:hlinkClick r:id="rId8"/>
          </p:cNvPr>
          <p:cNvPicPr>
            <a:picLocks noChangeAspect="1" noChangeArrowheads="1"/>
          </p:cNvPicPr>
          <p:nvPr/>
        </p:nvPicPr>
        <p:blipFill>
          <a:blip r:embed="rId9" cstate="print"/>
          <a:srcRect/>
          <a:stretch>
            <a:fillRect/>
          </a:stretch>
        </p:blipFill>
        <p:spPr bwMode="auto">
          <a:xfrm>
            <a:off x="1193474" y="4968013"/>
            <a:ext cx="333195" cy="333195"/>
          </a:xfrm>
          <a:prstGeom prst="rect">
            <a:avLst/>
          </a:prstGeom>
          <a:noFill/>
        </p:spPr>
      </p:pic>
      <p:pic>
        <p:nvPicPr>
          <p:cNvPr id="19" name="Picture 5" descr="Twitter">
            <a:hlinkClick r:id="rId10"/>
          </p:cNvPr>
          <p:cNvPicPr>
            <a:picLocks noChangeAspect="1" noChangeArrowheads="1"/>
          </p:cNvPicPr>
          <p:nvPr/>
        </p:nvPicPr>
        <p:blipFill>
          <a:blip r:embed="rId11" cstate="print"/>
          <a:srcRect/>
          <a:stretch>
            <a:fillRect/>
          </a:stretch>
        </p:blipFill>
        <p:spPr bwMode="auto">
          <a:xfrm>
            <a:off x="1576851" y="4968013"/>
            <a:ext cx="333195" cy="333195"/>
          </a:xfrm>
          <a:prstGeom prst="rect">
            <a:avLst/>
          </a:prstGeom>
          <a:noFill/>
        </p:spPr>
      </p:pic>
      <p:pic>
        <p:nvPicPr>
          <p:cNvPr id="20" name="Picture 6" descr="YouTube">
            <a:hlinkClick r:id="rId12"/>
          </p:cNvPr>
          <p:cNvPicPr>
            <a:picLocks noChangeAspect="1" noChangeArrowheads="1"/>
          </p:cNvPicPr>
          <p:nvPr userDrawn="1"/>
        </p:nvPicPr>
        <p:blipFill>
          <a:blip r:embed="rId13"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spTree>
    <p:extLst>
      <p:ext uri="{BB962C8B-B14F-4D97-AF65-F5344CB8AC3E}">
        <p14:creationId xmlns:p14="http://schemas.microsoft.com/office/powerpoint/2010/main" val="89736664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4" name="Image 23" descr="Capgemini">
            <a:extLst>
              <a:ext uri="{FF2B5EF4-FFF2-40B4-BE49-F238E27FC236}">
                <a16:creationId xmlns:a16="http://schemas.microsoft.com/office/drawing/2014/main" id="{67291309-8FC0-47AE-9F48-E59E45B7FC6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34473457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1_Diapositive de titre">
    <p:bg>
      <p:bgPr>
        <a:solidFill>
          <a:schemeClr val="tx1"/>
        </a:solidFill>
        <a:effectLst/>
      </p:bgPr>
    </p:bg>
    <p:spTree>
      <p:nvGrpSpPr>
        <p:cNvPr id="1" name=""/>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349DB72F-553D-4D29-B2DD-B7E31325C5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11" r="9658" b="211"/>
          <a:stretch/>
        </p:blipFill>
        <p:spPr>
          <a:xfrm>
            <a:off x="2855640" y="0"/>
            <a:ext cx="9336360" cy="6858000"/>
          </a:xfrm>
          <a:prstGeom prst="rect">
            <a:avLst/>
          </a:prstGeom>
        </p:spPr>
      </p:pic>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27878" y="1969095"/>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693514" y="5065439"/>
            <a:ext cx="8282188"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695401" y="2611159"/>
            <a:ext cx="6984776" cy="2492990"/>
          </a:xfrm>
        </p:spPr>
        <p:txBody>
          <a:bodyPr wrap="square" lIns="36000" rIns="36000" bIns="0" anchor="b" anchorCtr="0">
            <a:spAutoFit/>
          </a:bodyPr>
          <a:lstStyle>
            <a:lvl1pPr algn="l">
              <a:lnSpc>
                <a:spcPct val="100000"/>
              </a:lnSpc>
              <a:defRPr sz="5400" b="1" baseline="0">
                <a:solidFill>
                  <a:schemeClr val="bg1"/>
                </a:solidFill>
                <a:latin typeface="+mn-lt"/>
              </a:defRPr>
            </a:lvl1pPr>
          </a:lstStyle>
          <a:p>
            <a:r>
              <a:rPr lang="en-US" dirty="0"/>
              <a:t>Click to edit Master title style</a:t>
            </a:r>
            <a:endParaRPr lang="en-GB" dirty="0"/>
          </a:p>
        </p:txBody>
      </p:sp>
      <p:pic>
        <p:nvPicPr>
          <p:cNvPr id="8" name="Graphic 7">
            <a:extLst>
              <a:ext uri="{FF2B5EF4-FFF2-40B4-BE49-F238E27FC236}">
                <a16:creationId xmlns:a16="http://schemas.microsoft.com/office/drawing/2014/main" id="{B5786856-BAC8-4A02-BF57-BD299BE6C5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1384" y="620688"/>
            <a:ext cx="4191000" cy="962025"/>
          </a:xfrm>
          <a:prstGeom prst="rect">
            <a:avLst/>
          </a:prstGeom>
        </p:spPr>
      </p:pic>
    </p:spTree>
    <p:extLst>
      <p:ext uri="{BB962C8B-B14F-4D97-AF65-F5344CB8AC3E}">
        <p14:creationId xmlns:p14="http://schemas.microsoft.com/office/powerpoint/2010/main" val="14202518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FBB6F5A-C089-49EB-85DA-04CA2652AF6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027" t="2239" r="26258" b="22547"/>
          <a:stretch/>
        </p:blipFill>
        <p:spPr>
          <a:xfrm>
            <a:off x="0" y="0"/>
            <a:ext cx="4882211" cy="6858000"/>
          </a:xfrm>
          <a:prstGeom prst="rect">
            <a:avLst/>
          </a:prstGeom>
        </p:spPr>
      </p:pic>
      <p:sp>
        <p:nvSpPr>
          <p:cNvPr id="2" name="Title 1">
            <a:extLst>
              <a:ext uri="{FF2B5EF4-FFF2-40B4-BE49-F238E27FC236}">
                <a16:creationId xmlns:a16="http://schemas.microsoft.com/office/drawing/2014/main" id="{4774F36F-3194-40C1-BFCB-D2FC8CB290B2}"/>
              </a:ext>
            </a:extLst>
          </p:cNvPr>
          <p:cNvSpPr>
            <a:spLocks noGrp="1"/>
          </p:cNvSpPr>
          <p:nvPr>
            <p:ph type="title" hasCustomPrompt="1"/>
          </p:nvPr>
        </p:nvSpPr>
        <p:spPr>
          <a:xfrm>
            <a:off x="191344" y="9144"/>
            <a:ext cx="3056632" cy="827568"/>
          </a:xfrm>
          <a:prstGeom prst="rect">
            <a:avLst/>
          </a:prstGeom>
        </p:spPr>
        <p:txBody>
          <a:bodyPr/>
          <a:lstStyle>
            <a:lvl1pPr algn="l">
              <a:defRPr sz="4000">
                <a:solidFill>
                  <a:schemeClr val="bg1"/>
                </a:solidFill>
              </a:defRPr>
            </a:lvl1pPr>
          </a:lstStyle>
          <a:p>
            <a:r>
              <a:rPr lang="en-US" dirty="0"/>
              <a:t>Agenda</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dirty="0"/>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dirty="0"/>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dirty="0"/>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82967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Image 5" descr="Capgemini">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5229200"/>
            <a:ext cx="6699299"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933246"/>
            <a:ext cx="6699299" cy="2243691"/>
          </a:xfrm>
        </p:spPr>
        <p:txBody>
          <a:bodyPr wrap="square" lIns="36000" rIns="36000" bIns="0" anchor="b" anchorCtr="0">
            <a:spAutoFit/>
          </a:bodyPr>
          <a:lstStyle>
            <a:lvl1pPr algn="l">
              <a:lnSpc>
                <a:spcPct val="90000"/>
              </a:lnSpc>
              <a:defRPr sz="5400" b="1" baseline="0">
                <a:solidFill>
                  <a:schemeClr val="bg1"/>
                </a:solidFill>
                <a:latin typeface="+mn-lt"/>
              </a:defRPr>
            </a:lvl1pPr>
          </a:lstStyle>
          <a:p>
            <a:r>
              <a:rPr lang="en-US"/>
              <a:t>Click to edit Master title style</a:t>
            </a:r>
            <a:endParaRPr lang="en-GB" dirty="0"/>
          </a:p>
        </p:txBody>
      </p:sp>
      <p:pic>
        <p:nvPicPr>
          <p:cNvPr id="8" name="Graphic 7">
            <a:extLst>
              <a:ext uri="{FF2B5EF4-FFF2-40B4-BE49-F238E27FC236}">
                <a16:creationId xmlns:a16="http://schemas.microsoft.com/office/drawing/2014/main" id="{84BC735E-A9A3-4A52-8056-D6C0AF2637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302107524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6079" t="6949" r="40419" b="6949"/>
          <a:stretch/>
        </p:blipFill>
        <p:spPr bwMode="ltGray">
          <a:xfrm>
            <a:off x="0" y="0"/>
            <a:ext cx="2783632" cy="6858001"/>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0F4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dirty="0"/>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00E6E3"/>
                </a:solidFill>
                <a:latin typeface="Ubuntu" panose="020B0504030602030204" pitchFamily="34" charset="0"/>
              </a:defRPr>
            </a:lvl1pPr>
            <a:lvl5pPr>
              <a:defRPr/>
            </a:lvl5pPr>
          </a:lstStyle>
          <a:p>
            <a:pPr lvl="0"/>
            <a:r>
              <a:rPr lang="en-US" dirty="0"/>
              <a:t>SECTION SUBTITLE ALL CAPs</a:t>
            </a:r>
            <a:endParaRPr lang="en-GB" dirty="0"/>
          </a:p>
        </p:txBody>
      </p:sp>
      <p:grpSp>
        <p:nvGrpSpPr>
          <p:cNvPr id="8" name="Group 37">
            <a:extLst>
              <a:ext uri="{FF2B5EF4-FFF2-40B4-BE49-F238E27FC236}">
                <a16:creationId xmlns:a16="http://schemas.microsoft.com/office/drawing/2014/main" id="{A0131EFA-E3CA-4470-968C-AA4EF9936122}"/>
              </a:ext>
              <a:ext uri="{C183D7F6-B498-43B3-948B-1728B52AA6E4}">
                <adec:decorative xmlns:adec="http://schemas.microsoft.com/office/drawing/2017/decorative" val="1"/>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FE038D48-6B7B-4F99-AD46-1A717A987A8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099682C-62AB-45A8-A317-C09E541E1A7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0895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rotWithShape="1">
          <a:blip r:embed="rId12">
            <a:extLst>
              <a:ext uri="{28A0092B-C50C-407E-A947-70E740481C1C}">
                <a14:useLocalDpi xmlns:a14="http://schemas.microsoft.com/office/drawing/2010/main" val="0"/>
              </a:ext>
            </a:extLst>
          </a:blip>
          <a:srcRect l="6804" t="21979" r="11456" b="23098"/>
          <a:stretch/>
        </p:blipFill>
        <p:spPr>
          <a:xfrm rot="1808368" flipV="1">
            <a:off x="4394821" y="417955"/>
            <a:ext cx="8667942" cy="4117924"/>
          </a:xfrm>
          <a:prstGeom prst="rect">
            <a:avLst/>
          </a:prstGeom>
        </p:spPr>
      </p:pic>
      <p:pic>
        <p:nvPicPr>
          <p:cNvPr id="22" name="Graphic 21">
            <a:extLst>
              <a:ext uri="{FF2B5EF4-FFF2-40B4-BE49-F238E27FC236}">
                <a16:creationId xmlns:a16="http://schemas.microsoft.com/office/drawing/2014/main" id="{87C241BA-1CF8-46FC-BDFB-FE16C11962BA}"/>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219083458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3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3"/>
            <a:extLst>
              <a:ext uri="{FF2B5EF4-FFF2-40B4-BE49-F238E27FC236}">
                <a16:creationId xmlns:a16="http://schemas.microsoft.com/office/drawing/2014/main" id="{F6DF1D6E-8462-43E1-AFC5-8A5C855024F4}"/>
              </a:ext>
            </a:extLst>
          </p:cNvPr>
          <p:cNvPicPr>
            <a:picLocks noChangeAspect="1" noChangeArrowheads="1"/>
          </p:cNvPicPr>
          <p:nvPr/>
        </p:nvPicPr>
        <p:blipFill>
          <a:blip r:embed="rId4"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5"/>
            <a:extLst>
              <a:ext uri="{FF2B5EF4-FFF2-40B4-BE49-F238E27FC236}">
                <a16:creationId xmlns:a16="http://schemas.microsoft.com/office/drawing/2014/main" id="{DA74C6D2-FFE3-4CE8-B52D-0A33097AEEAF}"/>
              </a:ext>
            </a:extLst>
          </p:cNvPr>
          <p:cNvPicPr>
            <a:picLocks noChangeAspect="1" noChangeArrowheads="1"/>
          </p:cNvPicPr>
          <p:nvPr/>
        </p:nvPicPr>
        <p:blipFill>
          <a:blip r:embed="rId6"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7"/>
            <a:extLst>
              <a:ext uri="{FF2B5EF4-FFF2-40B4-BE49-F238E27FC236}">
                <a16:creationId xmlns:a16="http://schemas.microsoft.com/office/drawing/2014/main" id="{14E10122-92A2-4535-9737-8C1BE0EE0AEC}"/>
              </a:ext>
            </a:extLst>
          </p:cNvPr>
          <p:cNvPicPr>
            <a:picLocks noChangeAspect="1" noChangeArrowheads="1"/>
          </p:cNvPicPr>
          <p:nvPr/>
        </p:nvPicPr>
        <p:blipFill>
          <a:blip r:embed="rId8"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9"/>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0"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1"/>
            <a:extLst>
              <a:ext uri="{FF2B5EF4-FFF2-40B4-BE49-F238E27FC236}">
                <a16:creationId xmlns:a16="http://schemas.microsoft.com/office/drawing/2014/main" id="{BCC76D32-C587-45AA-A26C-ED5B038C867B}"/>
              </a:ext>
            </a:extLst>
          </p:cNvPr>
          <p:cNvPicPr>
            <a:picLocks noChangeAspect="1" noChangeArrowheads="1"/>
          </p:cNvPicPr>
          <p:nvPr/>
        </p:nvPicPr>
        <p:blipFill>
          <a:blip r:embed="rId12" cstate="print"/>
          <a:srcRect/>
          <a:stretch>
            <a:fillRect/>
          </a:stretch>
        </p:blipFill>
        <p:spPr bwMode="auto">
          <a:xfrm>
            <a:off x="426720" y="5328053"/>
            <a:ext cx="333195" cy="333195"/>
          </a:xfrm>
          <a:prstGeom prst="rect">
            <a:avLst/>
          </a:prstGeom>
          <a:noFill/>
        </p:spPr>
      </p:pic>
      <p:pic>
        <p:nvPicPr>
          <p:cNvPr id="25" name="Graphic 24">
            <a:extLst>
              <a:ext uri="{FF2B5EF4-FFF2-40B4-BE49-F238E27FC236}">
                <a16:creationId xmlns:a16="http://schemas.microsoft.com/office/drawing/2014/main" id="{A93746CB-8F5F-4B1D-978B-056949B18A0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7368083" y="5376781"/>
            <a:ext cx="4200525" cy="962025"/>
          </a:xfrm>
          <a:prstGeom prst="rect">
            <a:avLst/>
          </a:prstGeom>
        </p:spPr>
      </p:pic>
    </p:spTree>
    <p:extLst>
      <p:ext uri="{BB962C8B-B14F-4D97-AF65-F5344CB8AC3E}">
        <p14:creationId xmlns:p14="http://schemas.microsoft.com/office/powerpoint/2010/main" val="2457725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Section A – Narrow">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114F2D5-2CF8-48B0-90A4-B54FDB49D90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0"/>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3215"/>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 uri="{C183D7F6-B498-43B3-948B-1728B52AA6E4}">
                <adec:decorative xmlns:adec="http://schemas.microsoft.com/office/drawing/2017/decorative" val="1"/>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617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3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1750"/>
                                  </p:stCondLst>
                                  <p:iterate type="wd">
                                    <p:tmPct val="16667"/>
                                  </p:iterate>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2" dur="500" fill="hold"/>
                                        <p:tgtEl>
                                          <p:spTgt spid="14"/>
                                        </p:tgtEl>
                                        <p:attrNameLst>
                                          <p:attrName>ppt_x</p:attrName>
                                          <p:attrName>ppt_y</p:attrName>
                                        </p:attrNameLst>
                                      </p:cBhvr>
                                      <p:rCtr x="0" y="-1319"/>
                                    </p:animMotion>
                                  </p:childTnLst>
                                </p:cTn>
                              </p:par>
                              <p:par>
                                <p:cTn id="13" presetID="10" presetClass="entr" presetSubtype="0" fill="hold" grpId="1" nodeType="withEffect">
                                  <p:stCondLst>
                                    <p:cond delay="125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63" presetClass="path" presetSubtype="0" decel="100000" fill="hold" grpId="0" nodeType="withEffect">
                                  <p:stCondLst>
                                    <p:cond delay="1250"/>
                                  </p:stCondLst>
                                  <p:childTnLst>
                                    <p:animMotion origin="layout" path="M -0.05937 0 L -8.33333E-7 0 " pathEditMode="relative" rAng="0" ptsTypes="AA">
                                      <p:cBhvr>
                                        <p:cTn id="17" dur="1100" fill="hold"/>
                                        <p:tgtEl>
                                          <p:spTgt spid="20"/>
                                        </p:tgtEl>
                                        <p:attrNameLst>
                                          <p:attrName>ppt_x</p:attrName>
                                          <p:attrName>ppt_y</p:attrName>
                                        </p:attrNameLst>
                                      </p:cBhvr>
                                      <p:rCtr x="2969" y="0"/>
                                    </p:animMotion>
                                  </p:childTnLst>
                                </p:cTn>
                              </p:par>
                              <p:par>
                                <p:cTn id="18" presetID="22" presetClass="entr" presetSubtype="4" fill="hold" nodeType="withEffect">
                                  <p:stCondLst>
                                    <p:cond delay="200"/>
                                  </p:stCondLst>
                                  <p:childTnLst>
                                    <p:set>
                                      <p:cBhvr>
                                        <p:cTn id="19" dur="1" fill="hold">
                                          <p:stCondLst>
                                            <p:cond delay="0"/>
                                          </p:stCondLst>
                                        </p:cTn>
                                        <p:tgtEl>
                                          <p:spTgt spid="9"/>
                                        </p:tgtEl>
                                        <p:attrNameLst>
                                          <p:attrName>style.visibility</p:attrName>
                                        </p:attrNameLst>
                                      </p:cBhvr>
                                      <p:to>
                                        <p:strVal val="visible"/>
                                      </p:to>
                                    </p:set>
                                    <p:animEffect transition="in" filter="wipe(down)">
                                      <p:cBhvr>
                                        <p:cTn id="20" dur="2200"/>
                                        <p:tgtEl>
                                          <p:spTgt spid="9"/>
                                        </p:tgtEl>
                                      </p:cBhvr>
                                    </p:animEffect>
                                  </p:childTnLst>
                                </p:cTn>
                              </p:par>
                              <p:par>
                                <p:cTn id="21" presetID="22" presetClass="entr" presetSubtype="2" fill="hold" nodeType="withEffect">
                                  <p:stCondLst>
                                    <p:cond delay="2100"/>
                                  </p:stCondLst>
                                  <p:childTnLst>
                                    <p:set>
                                      <p:cBhvr>
                                        <p:cTn id="22" dur="1" fill="hold">
                                          <p:stCondLst>
                                            <p:cond delay="0"/>
                                          </p:stCondLst>
                                        </p:cTn>
                                        <p:tgtEl>
                                          <p:spTgt spid="8"/>
                                        </p:tgtEl>
                                        <p:attrNameLst>
                                          <p:attrName>style.visibility</p:attrName>
                                        </p:attrNameLst>
                                      </p:cBhvr>
                                      <p:to>
                                        <p:strVal val="visible"/>
                                      </p:to>
                                    </p:set>
                                    <p:animEffect transition="in" filter="wipe(right)">
                                      <p:cBhvr>
                                        <p:cTn id="23" dur="1250"/>
                                        <p:tgtEl>
                                          <p:spTgt spid="8"/>
                                        </p:tgtEl>
                                      </p:cBhvr>
                                    </p:animEffect>
                                  </p:childTnLst>
                                </p:cTn>
                              </p:par>
                              <p:par>
                                <p:cTn id="24" presetID="22" presetClass="entr" presetSubtype="4" fill="hold" nodeType="withEffect">
                                  <p:stCondLst>
                                    <p:cond delay="3300"/>
                                  </p:stCondLst>
                                  <p:childTnLst>
                                    <p:set>
                                      <p:cBhvr>
                                        <p:cTn id="25" dur="1" fill="hold">
                                          <p:stCondLst>
                                            <p:cond delay="0"/>
                                          </p:stCondLst>
                                        </p:cTn>
                                        <p:tgtEl>
                                          <p:spTgt spid="6"/>
                                        </p:tgtEl>
                                        <p:attrNameLst>
                                          <p:attrName>style.visibility</p:attrName>
                                        </p:attrNameLst>
                                      </p:cBhvr>
                                      <p:to>
                                        <p:strVal val="visible"/>
                                      </p:to>
                                    </p:set>
                                    <p:animEffect transition="in" filter="wipe(down)">
                                      <p:cBhvr>
                                        <p:cTn id="26" dur="1100"/>
                                        <p:tgtEl>
                                          <p:spTgt spid="6"/>
                                        </p:tgtEl>
                                      </p:cBhvr>
                                    </p:animEffect>
                                  </p:childTnLst>
                                </p:cTn>
                              </p:par>
                              <p:par>
                                <p:cTn id="27" presetID="10" presetClass="entr" presetSubtype="0" fill="hold" nodeType="withEffect">
                                  <p:stCondLst>
                                    <p:cond delay="20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1150"/>
                                        <p:tgtEl>
                                          <p:spTgt spid="17"/>
                                        </p:tgtEl>
                                      </p:cBhvr>
                                    </p:animEffect>
                                  </p:childTnLst>
                                </p:cTn>
                              </p:par>
                              <p:par>
                                <p:cTn id="30" presetID="6" presetClass="emph" presetSubtype="0" fill="hold" nodeType="withEffect">
                                  <p:stCondLst>
                                    <p:cond delay="0"/>
                                  </p:stCondLst>
                                  <p:childTnLst>
                                    <p:animScale>
                                      <p:cBhvr>
                                        <p:cTn id="31" dur="150" fill="hold"/>
                                        <p:tgtEl>
                                          <p:spTgt spid="17"/>
                                        </p:tgtEl>
                                      </p:cBhvr>
                                      <p:by x="110000" y="110000"/>
                                    </p:animScale>
                                  </p:childTnLst>
                                </p:cTn>
                              </p:par>
                              <p:par>
                                <p:cTn id="32" presetID="6" presetClass="emph" presetSubtype="0" decel="100000" fill="hold" nodeType="withEffect">
                                  <p:stCondLst>
                                    <p:cond delay="200"/>
                                  </p:stCondLst>
                                  <p:childTnLst>
                                    <p:animScale>
                                      <p:cBhvr>
                                        <p:cTn id="33" dur="3450" fill="hold"/>
                                        <p:tgtEl>
                                          <p:spTgt spid="17"/>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1"/>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00E6E3"/>
                </a:solidFill>
                <a:latin typeface="Ubuntu" panose="020B0504030602030204" pitchFamily="34" charset="0"/>
              </a:defRPr>
            </a:lvl1pPr>
            <a:lvl5pPr>
              <a:defRPr/>
            </a:lvl5pPr>
          </a:lstStyle>
          <a:p>
            <a:pPr lvl="0"/>
            <a:r>
              <a:rPr lang="en-US" dirty="0"/>
              <a:t>SECTION SUBTITLE ALL CAPs</a:t>
            </a:r>
            <a:endParaRPr lang="en-GB" dirty="0"/>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grpSp>
        <p:nvGrpSpPr>
          <p:cNvPr id="8" name="Group 37">
            <a:extLst>
              <a:ext uri="{FF2B5EF4-FFF2-40B4-BE49-F238E27FC236}">
                <a16:creationId xmlns:a16="http://schemas.microsoft.com/office/drawing/2014/main" id="{89B4162E-9D70-4209-8DF4-1DED4106593B}"/>
              </a:ext>
              <a:ext uri="{C183D7F6-B498-43B3-948B-1728B52AA6E4}">
                <adec:decorative xmlns:adec="http://schemas.microsoft.com/office/drawing/2017/decorative" val="1"/>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4827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4017" r:id="rId6"/>
    <p:sldLayoutId id="2147484018" r:id="rId7"/>
    <p:sldLayoutId id="2147483966" r:id="rId8"/>
    <p:sldLayoutId id="2147483967" r:id="rId9"/>
    <p:sldLayoutId id="2147483968" r:id="rId10"/>
    <p:sldLayoutId id="2147483969" r:id="rId11"/>
    <p:sldLayoutId id="2147483970" r:id="rId12"/>
    <p:sldLayoutId id="2147484026" r:id="rId13"/>
    <p:sldLayoutId id="2147483972" r:id="rId14"/>
    <p:sldLayoutId id="2147483973" r:id="rId15"/>
    <p:sldLayoutId id="2147483974" r:id="rId16"/>
    <p:sldLayoutId id="2147483975" r:id="rId17"/>
    <p:sldLayoutId id="2147483977" r:id="rId18"/>
    <p:sldLayoutId id="2147483978" r:id="rId19"/>
    <p:sldLayoutId id="2147483979" r:id="rId20"/>
    <p:sldLayoutId id="2147483980" r:id="rId21"/>
    <p:sldLayoutId id="2147483982" r:id="rId22"/>
    <p:sldLayoutId id="2147483981" r:id="rId23"/>
    <p:sldLayoutId id="2147483983" r:id="rId24"/>
    <p:sldLayoutId id="2147483987" r:id="rId25"/>
    <p:sldLayoutId id="2147483984" r:id="rId26"/>
    <p:sldLayoutId id="2147483985" r:id="rId27"/>
    <p:sldLayoutId id="2147484027" r:id="rId28"/>
    <p:sldLayoutId id="2147484031" r:id="rId29"/>
    <p:sldLayoutId id="2147484035" r:id="rId30"/>
    <p:sldLayoutId id="2147484032" r:id="rId31"/>
    <p:sldLayoutId id="2147484033" r:id="rId32"/>
    <p:sldLayoutId id="2147484034" r:id="rId3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capgemini.sharepoint.com/sites/office365-portal/CapgeminiApprovedPhotoLibrary/Forms/All%20Images.aspx" TargetMode="External"/><Relationship Id="rId1" Type="http://schemas.openxmlformats.org/officeDocument/2006/relationships/slideLayout" Target="../slideLayouts/slideLayout8.xml"/><Relationship Id="rId5" Type="http://schemas.openxmlformats.org/officeDocument/2006/relationships/image" Target="../media/image22.png"/><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23.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8.xml"/><Relationship Id="rId4" Type="http://schemas.openxmlformats.org/officeDocument/2006/relationships/hyperlink" Target="https://talent.capgemini.com/global/pages/about_us/global_functions/groupcybersecurity/for_your_use/cyber_knowledge_center/data_security/classification_guidelines/"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 Id="rId4" Type="http://schemas.openxmlformats.org/officeDocument/2006/relationships/chart" Target="../charts/chart3.xml"/></Relationships>
</file>

<file path=ppt/slides/_rels/slide3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4.xml"/><Relationship Id="rId4" Type="http://schemas.openxmlformats.org/officeDocument/2006/relationships/chart" Target="../charts/chart6.xml"/></Relationships>
</file>

<file path=ppt/slides/_rels/slide3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4.xml"/><Relationship Id="rId5" Type="http://schemas.openxmlformats.org/officeDocument/2006/relationships/chart" Target="../charts/chart11.xml"/><Relationship Id="rId4" Type="http://schemas.openxmlformats.org/officeDocument/2006/relationships/chart" Target="../charts/chart10.xml"/></Relationships>
</file>

<file path=ppt/slides/_rels/slide3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12.xml"/><Relationship Id="rId5" Type="http://schemas.openxmlformats.org/officeDocument/2006/relationships/slideLayout" Target="../slideLayouts/slideLayout27.xml"/><Relationship Id="rId4" Type="http://schemas.openxmlformats.org/officeDocument/2006/relationships/tags" Target="../tags/tag5.xml"/></Relationships>
</file>

<file path=ppt/slides/_rels/slide5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31.png"/><Relationship Id="rId5" Type="http://schemas.openxmlformats.org/officeDocument/2006/relationships/image" Target="../media/image36.png"/><Relationship Id="rId4" Type="http://schemas.openxmlformats.org/officeDocument/2006/relationships/image" Target="../media/image35.png"/></Relationships>
</file>

<file path=ppt/slides/_rels/slide5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59.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18" Type="http://schemas.openxmlformats.org/officeDocument/2006/relationships/image" Target="../media/image57.png"/><Relationship Id="rId3" Type="http://schemas.openxmlformats.org/officeDocument/2006/relationships/image" Target="../media/image42.svg"/><Relationship Id="rId21" Type="http://schemas.openxmlformats.org/officeDocument/2006/relationships/image" Target="../media/image60.svg"/><Relationship Id="rId7" Type="http://schemas.openxmlformats.org/officeDocument/2006/relationships/image" Target="../media/image46.svg"/><Relationship Id="rId12" Type="http://schemas.openxmlformats.org/officeDocument/2006/relationships/image" Target="../media/image51.png"/><Relationship Id="rId17" Type="http://schemas.openxmlformats.org/officeDocument/2006/relationships/image" Target="../media/image56.svg"/><Relationship Id="rId25" Type="http://schemas.openxmlformats.org/officeDocument/2006/relationships/image" Target="../media/image64.svg"/><Relationship Id="rId2" Type="http://schemas.openxmlformats.org/officeDocument/2006/relationships/image" Target="../media/image41.png"/><Relationship Id="rId16" Type="http://schemas.openxmlformats.org/officeDocument/2006/relationships/image" Target="../media/image55.png"/><Relationship Id="rId20" Type="http://schemas.openxmlformats.org/officeDocument/2006/relationships/image" Target="../media/image59.png"/><Relationship Id="rId1" Type="http://schemas.openxmlformats.org/officeDocument/2006/relationships/slideLayout" Target="../slideLayouts/slideLayout14.xml"/><Relationship Id="rId6" Type="http://schemas.openxmlformats.org/officeDocument/2006/relationships/image" Target="../media/image45.png"/><Relationship Id="rId11" Type="http://schemas.openxmlformats.org/officeDocument/2006/relationships/image" Target="../media/image50.svg"/><Relationship Id="rId24" Type="http://schemas.openxmlformats.org/officeDocument/2006/relationships/image" Target="../media/image63.png"/><Relationship Id="rId5" Type="http://schemas.openxmlformats.org/officeDocument/2006/relationships/image" Target="../media/image44.svg"/><Relationship Id="rId15" Type="http://schemas.openxmlformats.org/officeDocument/2006/relationships/image" Target="../media/image54.svg"/><Relationship Id="rId23" Type="http://schemas.openxmlformats.org/officeDocument/2006/relationships/image" Target="../media/image62.svg"/><Relationship Id="rId10" Type="http://schemas.openxmlformats.org/officeDocument/2006/relationships/image" Target="../media/image49.png"/><Relationship Id="rId19" Type="http://schemas.openxmlformats.org/officeDocument/2006/relationships/image" Target="../media/image58.svg"/><Relationship Id="rId4" Type="http://schemas.openxmlformats.org/officeDocument/2006/relationships/image" Target="../media/image43.png"/><Relationship Id="rId9" Type="http://schemas.openxmlformats.org/officeDocument/2006/relationships/image" Target="../media/image48.svg"/><Relationship Id="rId14" Type="http://schemas.openxmlformats.org/officeDocument/2006/relationships/image" Target="../media/image53.png"/><Relationship Id="rId22" Type="http://schemas.openxmlformats.org/officeDocument/2006/relationships/image" Target="../media/image6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svg"/><Relationship Id="rId7" Type="http://schemas.openxmlformats.org/officeDocument/2006/relationships/image" Target="../media/image70.svg"/><Relationship Id="rId12" Type="http://schemas.openxmlformats.org/officeDocument/2006/relationships/image" Target="../media/image75.svg"/><Relationship Id="rId2" Type="http://schemas.openxmlformats.org/officeDocument/2006/relationships/image" Target="../media/image65.png"/><Relationship Id="rId1" Type="http://schemas.openxmlformats.org/officeDocument/2006/relationships/slideLayout" Target="../slideLayouts/slideLayout14.xml"/><Relationship Id="rId6" Type="http://schemas.openxmlformats.org/officeDocument/2006/relationships/image" Target="../media/image69.png"/><Relationship Id="rId11" Type="http://schemas.openxmlformats.org/officeDocument/2006/relationships/image" Target="../media/image74.svg"/><Relationship Id="rId5" Type="http://schemas.openxmlformats.org/officeDocument/2006/relationships/image" Target="../media/image68.sv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svg"/></Relationships>
</file>

<file path=ppt/slides/_rels/slide61.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79.sv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image" Target="../media/image77.svg"/><Relationship Id="rId9" Type="http://schemas.openxmlformats.org/officeDocument/2006/relationships/image" Target="../media/image82.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85.sv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1.xml"/><Relationship Id="rId1" Type="http://schemas.openxmlformats.org/officeDocument/2006/relationships/slideLayout" Target="../slideLayouts/slideLayout14.xml"/><Relationship Id="rId4" Type="http://schemas.openxmlformats.org/officeDocument/2006/relationships/image" Target="../media/image87.sv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3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9.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70.xml.rels><?xml version="1.0" encoding="UTF-8" standalone="yes"?>
<Relationships xmlns="http://schemas.openxmlformats.org/package/2006/relationships"><Relationship Id="rId2" Type="http://schemas.openxmlformats.org/officeDocument/2006/relationships/image" Target="../media/image90.jpg"/><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3.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92.jpg"/><Relationship Id="rId1" Type="http://schemas.openxmlformats.org/officeDocument/2006/relationships/slideLayout" Target="../slideLayouts/slideLayout2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Layout" Target="../slideLayouts/slideLayout33.xml"/><Relationship Id="rId4" Type="http://schemas.openxmlformats.org/officeDocument/2006/relationships/tags" Target="../tags/tag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811EB-6283-40F4-AF28-479304873225}"/>
              </a:ext>
            </a:extLst>
          </p:cNvPr>
          <p:cNvSpPr>
            <a:spLocks noGrp="1"/>
          </p:cNvSpPr>
          <p:nvPr>
            <p:ph type="title"/>
          </p:nvPr>
        </p:nvSpPr>
        <p:spPr>
          <a:xfrm>
            <a:off x="404813" y="388188"/>
            <a:ext cx="10947772" cy="716711"/>
          </a:xfrm>
        </p:spPr>
        <p:txBody>
          <a:bodyPr/>
          <a:lstStyle/>
          <a:p>
            <a:r>
              <a:rPr lang="en-US" dirty="0"/>
              <a:t>TIPS</a:t>
            </a:r>
            <a:br>
              <a:rPr lang="en-US" dirty="0"/>
            </a:br>
            <a:r>
              <a:rPr lang="en-US" sz="2000" dirty="0">
                <a:solidFill>
                  <a:srgbClr val="A6001A"/>
                </a:solidFill>
                <a:latin typeface="+mn-lt"/>
              </a:rPr>
              <a:t>Read me and delete ME</a:t>
            </a:r>
            <a:endParaRPr lang="en-US" dirty="0">
              <a:solidFill>
                <a:srgbClr val="A6001A"/>
              </a:solidFill>
              <a:latin typeface="+mn-lt"/>
            </a:endParaRPr>
          </a:p>
        </p:txBody>
      </p:sp>
      <p:sp>
        <p:nvSpPr>
          <p:cNvPr id="3" name="Text Placeholder 2">
            <a:extLst>
              <a:ext uri="{FF2B5EF4-FFF2-40B4-BE49-F238E27FC236}">
                <a16:creationId xmlns:a16="http://schemas.microsoft.com/office/drawing/2014/main" id="{EEED96DD-0340-48A5-BA08-9D1265F1B26F}"/>
              </a:ext>
            </a:extLst>
          </p:cNvPr>
          <p:cNvSpPr>
            <a:spLocks noGrp="1"/>
          </p:cNvSpPr>
          <p:nvPr>
            <p:ph type="body" sz="quarter" idx="10"/>
          </p:nvPr>
        </p:nvSpPr>
        <p:spPr>
          <a:xfrm>
            <a:off x="404813" y="1572392"/>
            <a:ext cx="5133887" cy="4850069"/>
          </a:xfrm>
        </p:spPr>
        <p:txBody>
          <a:bodyPr/>
          <a:lstStyle/>
          <a:p>
            <a:r>
              <a:rPr lang="en-US" sz="1200" dirty="0">
                <a:latin typeface="+mj-lt"/>
              </a:rPr>
              <a:t>Photography</a:t>
            </a:r>
            <a:endParaRPr lang="en-US" sz="1100" dirty="0">
              <a:latin typeface="+mj-lt"/>
            </a:endParaRPr>
          </a:p>
          <a:p>
            <a:r>
              <a:rPr lang="en-US" sz="1100" dirty="0"/>
              <a:t>Photo inserted in this deck are given as example. </a:t>
            </a:r>
            <a:r>
              <a:rPr lang="en-US" sz="1100" dirty="0">
                <a:solidFill>
                  <a:srgbClr val="E30021"/>
                </a:solidFill>
              </a:rPr>
              <a:t>DO NOT forget to change the photography to better match your content</a:t>
            </a:r>
            <a:r>
              <a:rPr lang="en-US" sz="1100" dirty="0"/>
              <a:t>.</a:t>
            </a:r>
          </a:p>
          <a:p>
            <a:r>
              <a:rPr lang="en-US" sz="1100" dirty="0"/>
              <a:t>Click on the picture or picture placeholder to change/insert a photo (note, a filter has, sometimes, been added on top of the field to comply with accessibility.</a:t>
            </a:r>
          </a:p>
          <a:p>
            <a:r>
              <a:rPr lang="en-US" sz="1100" dirty="0"/>
              <a:t>Where to find photography:</a:t>
            </a:r>
          </a:p>
          <a:p>
            <a:pPr marL="285750" indent="-285750">
              <a:buFont typeface="Arial" panose="020B0604020202020204" pitchFamily="34" charset="0"/>
              <a:buChar char="•"/>
            </a:pPr>
            <a:r>
              <a:rPr lang="en-US" sz="1100" dirty="0"/>
              <a:t>Approved photo library (will be enriched from time to time): </a:t>
            </a:r>
            <a:r>
              <a:rPr lang="en-US" sz="1100" dirty="0">
                <a:hlinkClick r:id="rId2"/>
              </a:rPr>
              <a:t>https://capgemini.sharepoint.com/sites/office365-portal/CapgeminiApprovedPhotoLibrary/Forms/All%20Images.aspx</a:t>
            </a:r>
            <a:endParaRPr lang="en-US" sz="1100" dirty="0"/>
          </a:p>
          <a:p>
            <a:pPr marL="285750" indent="-285750">
              <a:buFont typeface="Arial" panose="020B0604020202020204" pitchFamily="34" charset="0"/>
              <a:buChar char="•"/>
            </a:pPr>
            <a:r>
              <a:rPr lang="en-US" sz="1100" dirty="0"/>
              <a:t>Under licence (check with your M&amp;C or design team):</a:t>
            </a:r>
          </a:p>
          <a:p>
            <a:pPr marL="647700" lvl="2" indent="-285750"/>
            <a:r>
              <a:rPr lang="en-US" sz="1100" dirty="0"/>
              <a:t>Getty images / iStock</a:t>
            </a:r>
          </a:p>
          <a:p>
            <a:pPr marL="647700" lvl="2" indent="-285750"/>
            <a:r>
              <a:rPr lang="en-US" sz="1100" dirty="0"/>
              <a:t>Shutterstock</a:t>
            </a:r>
          </a:p>
          <a:p>
            <a:pPr marL="647700" lvl="2" indent="-285750"/>
            <a:r>
              <a:rPr lang="en-US" sz="1100" dirty="0"/>
              <a:t>Adobe images</a:t>
            </a:r>
          </a:p>
          <a:p>
            <a:endParaRPr lang="en-US" sz="1100" dirty="0"/>
          </a:p>
          <a:p>
            <a:r>
              <a:rPr lang="en-US" sz="1200" dirty="0">
                <a:latin typeface="+mj-lt"/>
              </a:rPr>
              <a:t>The shape</a:t>
            </a:r>
          </a:p>
          <a:p>
            <a:r>
              <a:rPr lang="en-US" sz="1100" dirty="0"/>
              <a:t>You can flip/rotate the shape to better adapt to your content. You can also right-click on it to replace/insert a different one.</a:t>
            </a:r>
          </a:p>
          <a:p>
            <a:r>
              <a:rPr lang="en-US" sz="1100" dirty="0">
                <a:solidFill>
                  <a:srgbClr val="E30021"/>
                </a:solidFill>
              </a:rPr>
              <a:t>DO NOT overuse the shape</a:t>
            </a:r>
            <a:r>
              <a:rPr lang="en-US" sz="1100" dirty="0"/>
              <a:t>. It should be used as a punctuation only.</a:t>
            </a:r>
          </a:p>
          <a:p>
            <a:endParaRPr lang="en-US" sz="1100" dirty="0"/>
          </a:p>
        </p:txBody>
      </p:sp>
      <p:sp>
        <p:nvSpPr>
          <p:cNvPr id="12" name="Text Placeholder 2">
            <a:extLst>
              <a:ext uri="{FF2B5EF4-FFF2-40B4-BE49-F238E27FC236}">
                <a16:creationId xmlns:a16="http://schemas.microsoft.com/office/drawing/2014/main" id="{00836B3E-622C-4A61-88F8-83232F41FF14}"/>
              </a:ext>
            </a:extLst>
          </p:cNvPr>
          <p:cNvSpPr txBox="1">
            <a:spLocks/>
          </p:cNvSpPr>
          <p:nvPr/>
        </p:nvSpPr>
        <p:spPr>
          <a:xfrm>
            <a:off x="5928818" y="404664"/>
            <a:ext cx="4721498" cy="233943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latin typeface="+mj-lt"/>
              </a:rPr>
              <a:t>Color palette</a:t>
            </a:r>
          </a:p>
          <a:p>
            <a:r>
              <a:rPr lang="en-US" sz="1100" dirty="0"/>
              <a:t>Theme colors: Primary colors that </a:t>
            </a:r>
            <a:r>
              <a:rPr lang="en-US" sz="1100" dirty="0">
                <a:solidFill>
                  <a:schemeClr val="tx1"/>
                </a:solidFill>
                <a:latin typeface="Ubuntu" panose="020B0504030602030204" pitchFamily="34" charset="0"/>
              </a:rPr>
              <a:t>MUST be used as the hero colors on all front and back covers.</a:t>
            </a:r>
          </a:p>
          <a:p>
            <a:r>
              <a:rPr lang="en-US" sz="1100" dirty="0">
                <a:solidFill>
                  <a:schemeClr val="tx1"/>
                </a:solidFill>
                <a:latin typeface="Ubuntu" panose="020B0504030602030204" pitchFamily="34" charset="0"/>
              </a:rPr>
              <a:t>Custom colors: Secondary Cool and Warm primarily used for graphs, charts, diagrams and illustrations. It can also be used as background color for section break and/or to call out a word or short sentence</a:t>
            </a:r>
            <a:r>
              <a:rPr lang="en-US" sz="1100" dirty="0">
                <a:latin typeface="Ubuntu" panose="020B0504030602030204" pitchFamily="34" charset="0"/>
              </a:rPr>
              <a:t>. Secondary palette IS NOT allowed on covers and </a:t>
            </a:r>
            <a:r>
              <a:rPr lang="en-US" sz="1100" dirty="0">
                <a:solidFill>
                  <a:schemeClr val="tx1"/>
                </a:solidFill>
                <a:latin typeface="Ubuntu" panose="020B0504030602030204" pitchFamily="34" charset="0"/>
              </a:rPr>
              <a:t>cannot be mixed on a same type of element (e.g.: a graph, chart).</a:t>
            </a:r>
          </a:p>
          <a:p>
            <a:endParaRPr lang="en-US" sz="800" dirty="0"/>
          </a:p>
          <a:p>
            <a:r>
              <a:rPr lang="en-US" sz="1200" dirty="0">
                <a:latin typeface="+mj-lt"/>
              </a:rPr>
              <a:t>Content</a:t>
            </a:r>
            <a:endParaRPr lang="en-US" sz="1100" dirty="0">
              <a:latin typeface="+mj-lt"/>
            </a:endParaRPr>
          </a:p>
          <a:p>
            <a:r>
              <a:rPr lang="en-US" sz="1100" dirty="0"/>
              <a:t>Use the included layout options as a starting point for slide creation.</a:t>
            </a:r>
          </a:p>
        </p:txBody>
      </p:sp>
      <p:grpSp>
        <p:nvGrpSpPr>
          <p:cNvPr id="20" name="Group 19">
            <a:extLst>
              <a:ext uri="{FF2B5EF4-FFF2-40B4-BE49-F238E27FC236}">
                <a16:creationId xmlns:a16="http://schemas.microsoft.com/office/drawing/2014/main" id="{3179DE9C-A7E5-4D1D-B4A4-4E3A1019381C}"/>
              </a:ext>
              <a:ext uri="{C183D7F6-B498-43B3-948B-1728B52AA6E4}">
                <adec:decorative xmlns:adec="http://schemas.microsoft.com/office/drawing/2017/decorative" val="1"/>
              </a:ext>
            </a:extLst>
          </p:cNvPr>
          <p:cNvGrpSpPr/>
          <p:nvPr/>
        </p:nvGrpSpPr>
        <p:grpSpPr>
          <a:xfrm>
            <a:off x="10699837" y="738136"/>
            <a:ext cx="1138592" cy="1731654"/>
            <a:chOff x="10567239" y="1697347"/>
            <a:chExt cx="1138592" cy="1731654"/>
          </a:xfrm>
        </p:grpSpPr>
        <p:pic>
          <p:nvPicPr>
            <p:cNvPr id="9" name="Picture 8">
              <a:extLst>
                <a:ext uri="{FF2B5EF4-FFF2-40B4-BE49-F238E27FC236}">
                  <a16:creationId xmlns:a16="http://schemas.microsoft.com/office/drawing/2014/main" id="{1D4044AC-7513-4100-9E13-CF60F8C8CADE}"/>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b="32467"/>
            <a:stretch/>
          </p:blipFill>
          <p:spPr>
            <a:xfrm>
              <a:off x="10589910" y="1697347"/>
              <a:ext cx="1068060" cy="1731654"/>
            </a:xfrm>
            <a:prstGeom prst="rect">
              <a:avLst/>
            </a:prstGeom>
          </p:spPr>
        </p:pic>
        <p:sp>
          <p:nvSpPr>
            <p:cNvPr id="17" name="Rectangle 16">
              <a:extLst>
                <a:ext uri="{FF2B5EF4-FFF2-40B4-BE49-F238E27FC236}">
                  <a16:creationId xmlns:a16="http://schemas.microsoft.com/office/drawing/2014/main" id="{0B4A35D7-CD24-4351-A7E1-54867B5AB64B}"/>
                </a:ext>
              </a:extLst>
            </p:cNvPr>
            <p:cNvSpPr/>
            <p:nvPr/>
          </p:nvSpPr>
          <p:spPr>
            <a:xfrm>
              <a:off x="10567239" y="2531603"/>
              <a:ext cx="1138592" cy="665018"/>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21" name="Group 20">
            <a:extLst>
              <a:ext uri="{FF2B5EF4-FFF2-40B4-BE49-F238E27FC236}">
                <a16:creationId xmlns:a16="http://schemas.microsoft.com/office/drawing/2014/main" id="{321658F9-4B42-4887-80F1-99AE413FCE27}"/>
              </a:ext>
              <a:ext uri="{C183D7F6-B498-43B3-948B-1728B52AA6E4}">
                <adec:decorative xmlns:adec="http://schemas.microsoft.com/office/drawing/2017/decorative" val="1"/>
              </a:ext>
            </a:extLst>
          </p:cNvPr>
          <p:cNvGrpSpPr/>
          <p:nvPr/>
        </p:nvGrpSpPr>
        <p:grpSpPr>
          <a:xfrm>
            <a:off x="9428263" y="2839027"/>
            <a:ext cx="2444106" cy="1034787"/>
            <a:chOff x="9676031" y="2834926"/>
            <a:chExt cx="2444106" cy="1034787"/>
          </a:xfrm>
        </p:grpSpPr>
        <p:grpSp>
          <p:nvGrpSpPr>
            <p:cNvPr id="16" name="Group 15">
              <a:extLst>
                <a:ext uri="{FF2B5EF4-FFF2-40B4-BE49-F238E27FC236}">
                  <a16:creationId xmlns:a16="http://schemas.microsoft.com/office/drawing/2014/main" id="{022F2C6E-7F85-43B4-9620-553795962848}"/>
                </a:ext>
              </a:extLst>
            </p:cNvPr>
            <p:cNvGrpSpPr/>
            <p:nvPr/>
          </p:nvGrpSpPr>
          <p:grpSpPr>
            <a:xfrm>
              <a:off x="9676031" y="2834926"/>
              <a:ext cx="2444106" cy="565219"/>
              <a:chOff x="6403265" y="428045"/>
              <a:chExt cx="2444106" cy="565219"/>
            </a:xfrm>
          </p:grpSpPr>
          <p:pic>
            <p:nvPicPr>
              <p:cNvPr id="5" name="Picture 4">
                <a:extLst>
                  <a:ext uri="{FF2B5EF4-FFF2-40B4-BE49-F238E27FC236}">
                    <a16:creationId xmlns:a16="http://schemas.microsoft.com/office/drawing/2014/main" id="{AA7087C9-BED2-4D45-869A-A6B39399891D}"/>
                  </a:ext>
                </a:extLst>
              </p:cNvPr>
              <p:cNvPicPr>
                <a:picLocks noChangeAspect="1"/>
              </p:cNvPicPr>
              <p:nvPr/>
            </p:nvPicPr>
            <p:blipFill rotWithShape="1">
              <a:blip r:embed="rId4"/>
              <a:srcRect b="22529"/>
              <a:stretch/>
            </p:blipFill>
            <p:spPr>
              <a:xfrm>
                <a:off x="6403265" y="428045"/>
                <a:ext cx="2444106" cy="565219"/>
              </a:xfrm>
              <a:prstGeom prst="rect">
                <a:avLst/>
              </a:prstGeom>
            </p:spPr>
          </p:pic>
          <p:sp>
            <p:nvSpPr>
              <p:cNvPr id="14" name="Rectangle 13">
                <a:extLst>
                  <a:ext uri="{FF2B5EF4-FFF2-40B4-BE49-F238E27FC236}">
                    <a16:creationId xmlns:a16="http://schemas.microsoft.com/office/drawing/2014/main" id="{81C7AF5D-7D01-4D51-ABB8-1994BF775AEB}"/>
                  </a:ext>
                </a:extLst>
              </p:cNvPr>
              <p:cNvSpPr/>
              <p:nvPr/>
            </p:nvSpPr>
            <p:spPr>
              <a:xfrm>
                <a:off x="8554552" y="435602"/>
                <a:ext cx="217078" cy="116061"/>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5" name="Rectangle 14">
                <a:extLst>
                  <a:ext uri="{FF2B5EF4-FFF2-40B4-BE49-F238E27FC236}">
                    <a16:creationId xmlns:a16="http://schemas.microsoft.com/office/drawing/2014/main" id="{0C305D76-B619-4101-8BBE-B11FD77C290E}"/>
                  </a:ext>
                </a:extLst>
              </p:cNvPr>
              <p:cNvSpPr/>
              <p:nvPr/>
            </p:nvSpPr>
            <p:spPr>
              <a:xfrm>
                <a:off x="6884449" y="546178"/>
                <a:ext cx="345600" cy="318460"/>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pic>
          <p:nvPicPr>
            <p:cNvPr id="19" name="Picture 18">
              <a:extLst>
                <a:ext uri="{FF2B5EF4-FFF2-40B4-BE49-F238E27FC236}">
                  <a16:creationId xmlns:a16="http://schemas.microsoft.com/office/drawing/2014/main" id="{1DE378B3-C4F0-4638-9569-7C988B607517}"/>
                </a:ext>
              </a:extLst>
            </p:cNvPr>
            <p:cNvPicPr>
              <a:picLocks noChangeAspect="1"/>
            </p:cNvPicPr>
            <p:nvPr/>
          </p:nvPicPr>
          <p:blipFill rotWithShape="1">
            <a:blip r:embed="rId5"/>
            <a:srcRect l="6411" t="37635" r="7839" b="6994"/>
            <a:stretch/>
          </p:blipFill>
          <p:spPr>
            <a:xfrm>
              <a:off x="10157215" y="3389652"/>
              <a:ext cx="754381" cy="480061"/>
            </a:xfrm>
            <a:prstGeom prst="rect">
              <a:avLst/>
            </a:prstGeom>
          </p:spPr>
        </p:pic>
      </p:grpSp>
      <p:sp>
        <p:nvSpPr>
          <p:cNvPr id="23" name="TextBox 22">
            <a:extLst>
              <a:ext uri="{FF2B5EF4-FFF2-40B4-BE49-F238E27FC236}">
                <a16:creationId xmlns:a16="http://schemas.microsoft.com/office/drawing/2014/main" id="{6B133FB8-0CEC-472B-9E54-D2C84F5A945F}"/>
              </a:ext>
            </a:extLst>
          </p:cNvPr>
          <p:cNvSpPr txBox="1"/>
          <p:nvPr/>
        </p:nvSpPr>
        <p:spPr>
          <a:xfrm>
            <a:off x="5928818" y="2852936"/>
            <a:ext cx="5672632" cy="3554819"/>
          </a:xfrm>
          <a:prstGeom prst="rect">
            <a:avLst/>
          </a:prstGeom>
        </p:spPr>
        <p:txBody>
          <a:bodyPr vert="horz" lIns="0" tIns="0" rIns="0" bIns="0" rtlCol="0">
            <a:noAutofit/>
          </a:bodyPr>
          <a:lstStyle>
            <a:defPPr>
              <a:defRPr lang="pt-PT"/>
            </a:defPPr>
            <a:lvl1pPr indent="0">
              <a:lnSpc>
                <a:spcPct val="100000"/>
              </a:lnSpc>
              <a:spcBef>
                <a:spcPts val="0"/>
              </a:spcBef>
              <a:spcAft>
                <a:spcPts val="600"/>
              </a:spcAft>
              <a:buFont typeface="Arial" panose="020B0604020202020204" pitchFamily="34" charset="0"/>
              <a:buNone/>
              <a:defRPr sz="1100" b="1" baseline="0"/>
            </a:lvl1pPr>
            <a:lvl2pPr marL="177800" indent="-177800">
              <a:lnSpc>
                <a:spcPct val="100000"/>
              </a:lnSpc>
              <a:spcBef>
                <a:spcPts val="0"/>
              </a:spcBef>
              <a:spcAft>
                <a:spcPts val="600"/>
              </a:spcAft>
              <a:buClr>
                <a:schemeClr val="accent1"/>
              </a:buClr>
              <a:buFont typeface="Wingdings" panose="05000000000000000000" pitchFamily="2" charset="2"/>
              <a:buChar char="§"/>
              <a:defRPr baseline="0"/>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0" dirty="0">
                <a:latin typeface="+mj-lt"/>
              </a:rPr>
              <a:t>Accessibility: Best practices</a:t>
            </a:r>
          </a:p>
          <a:p>
            <a:pPr marL="171450" indent="-171450">
              <a:buFont typeface="Arial" panose="020B0604020202020204" pitchFamily="34" charset="0"/>
              <a:buChar char="•"/>
            </a:pPr>
            <a:r>
              <a:rPr lang="en-US" b="0" dirty="0"/>
              <a:t>Use the Accessibility checker</a:t>
            </a:r>
          </a:p>
          <a:p>
            <a:pPr marL="171450" indent="-171450">
              <a:buFont typeface="Arial" panose="020B0604020202020204" pitchFamily="34" charset="0"/>
              <a:buChar char="•"/>
            </a:pPr>
            <a:r>
              <a:rPr lang="en-US" b="0" dirty="0"/>
              <a:t>Make sure that content is well structured and clearly</a:t>
            </a:r>
            <a:br>
              <a:rPr lang="en-US" b="0" dirty="0"/>
            </a:br>
            <a:r>
              <a:rPr lang="en-US" b="0" dirty="0"/>
              <a:t>written (use headings and lists appropriately).</a:t>
            </a:r>
          </a:p>
          <a:p>
            <a:pPr marL="171450" indent="-171450">
              <a:buFont typeface="Arial" panose="020B0604020202020204" pitchFamily="34" charset="0"/>
              <a:buChar char="•"/>
            </a:pPr>
            <a:r>
              <a:rPr lang="en-US" b="0" dirty="0"/>
              <a:t>Give every slide a unique title</a:t>
            </a:r>
          </a:p>
          <a:p>
            <a:pPr marL="171450" indent="-171450">
              <a:buFont typeface="Arial" panose="020B0604020202020204" pitchFamily="34" charset="0"/>
              <a:buChar char="•"/>
            </a:pPr>
            <a:r>
              <a:rPr lang="en-US" b="0" dirty="0"/>
              <a:t>Make sure slide contents can be read in the order that you intend</a:t>
            </a:r>
          </a:p>
          <a:p>
            <a:pPr marL="171450" indent="-171450">
              <a:buFont typeface="Arial" panose="020B0604020202020204" pitchFamily="34" charset="0"/>
              <a:buChar char="•"/>
            </a:pPr>
            <a:r>
              <a:rPr lang="en-US" b="0" dirty="0"/>
              <a:t>Ensure that color is not the only means of conveying information</a:t>
            </a:r>
          </a:p>
          <a:p>
            <a:pPr marL="171450" indent="-171450">
              <a:buFont typeface="Arial" panose="020B0604020202020204" pitchFamily="34" charset="0"/>
              <a:buChar char="•"/>
            </a:pPr>
            <a:r>
              <a:rPr lang="en-US" b="0" dirty="0"/>
              <a:t>Ensure sufficient contrast between text and background colors</a:t>
            </a:r>
          </a:p>
          <a:p>
            <a:pPr marL="171450" indent="-171450">
              <a:buFont typeface="Arial" panose="020B0604020202020204" pitchFamily="34" charset="0"/>
              <a:buChar char="•"/>
            </a:pPr>
            <a:r>
              <a:rPr lang="en-US" b="0" dirty="0"/>
              <a:t>Describe the illustrations that convey information (e.g.: include alternative text). Otherwise, mark them as “decorative”.</a:t>
            </a:r>
          </a:p>
          <a:p>
            <a:pPr marL="171450" indent="-171450">
              <a:buFont typeface="Arial" panose="020B0604020202020204" pitchFamily="34" charset="0"/>
              <a:buChar char="•"/>
            </a:pPr>
            <a:r>
              <a:rPr lang="en-US" b="0" dirty="0"/>
              <a:t>Use a simple table structure for data only and specify column header information.</a:t>
            </a:r>
          </a:p>
          <a:p>
            <a:endParaRPr lang="en-US" b="0" dirty="0"/>
          </a:p>
          <a:p>
            <a:r>
              <a:rPr lang="en-US" sz="1200" b="0" dirty="0">
                <a:latin typeface="+mj-lt"/>
              </a:rPr>
              <a:t>To finalize</a:t>
            </a:r>
          </a:p>
          <a:p>
            <a:r>
              <a:rPr lang="en-US" b="0" dirty="0"/>
              <a:t>To lower the total weight of the presentation, </a:t>
            </a:r>
            <a:r>
              <a:rPr lang="en-US" dirty="0"/>
              <a:t>delete the unwanted </a:t>
            </a:r>
            <a:r>
              <a:rPr lang="en-US" b="0" dirty="0"/>
              <a:t>page/image and/or master slides</a:t>
            </a:r>
          </a:p>
          <a:p>
            <a:r>
              <a:rPr lang="en-US" b="0" dirty="0"/>
              <a:t>It is recommended to reduce the size and send a PDF copy to your stakeholder/s: </a:t>
            </a:r>
            <a:br>
              <a:rPr lang="en-US" b="0" dirty="0"/>
            </a:br>
            <a:r>
              <a:rPr lang="en-US" b="0" dirty="0"/>
              <a:t>‘Save as Adobe PDF.</a:t>
            </a:r>
          </a:p>
        </p:txBody>
      </p:sp>
    </p:spTree>
    <p:extLst>
      <p:ext uri="{BB962C8B-B14F-4D97-AF65-F5344CB8AC3E}">
        <p14:creationId xmlns:p14="http://schemas.microsoft.com/office/powerpoint/2010/main" val="19291025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131928-7220-4A26-AD51-3D758CA49D7D}"/>
              </a:ext>
            </a:extLst>
          </p:cNvPr>
          <p:cNvSpPr>
            <a:spLocks noGrp="1"/>
          </p:cNvSpPr>
          <p:nvPr>
            <p:ph type="title"/>
          </p:nvPr>
        </p:nvSpPr>
        <p:spPr/>
        <p:txBody>
          <a:bodyPr/>
          <a:lstStyle/>
          <a:p>
            <a:r>
              <a:rPr lang="en-US" dirty="0"/>
              <a:t>TITLE</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type="body" sz="quarter" idx="11"/>
          </p:nvPr>
        </p:nvSpPr>
        <p:spPr>
          <a:xfrm>
            <a:off x="404813" y="2924944"/>
            <a:ext cx="5784850" cy="2304255"/>
          </a:xfrm>
        </p:spPr>
        <p:txBody>
          <a:body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p:txBody>
      </p:sp>
      <p:sp>
        <p:nvSpPr>
          <p:cNvPr id="4" name="Picture Placeholder 3">
            <a:extLst>
              <a:ext uri="{FF2B5EF4-FFF2-40B4-BE49-F238E27FC236}">
                <a16:creationId xmlns:a16="http://schemas.microsoft.com/office/drawing/2014/main" id="{F7012E4A-A47F-4CAA-9B8C-8FB23A802FA2}"/>
              </a:ext>
            </a:extLst>
          </p:cNvPr>
          <p:cNvSpPr>
            <a:spLocks noGrp="1"/>
          </p:cNvSpPr>
          <p:nvPr>
            <p:ph type="pic" sz="quarter" idx="10"/>
          </p:nvPr>
        </p:nvSpPr>
        <p:spPr/>
      </p:sp>
      <p:sp>
        <p:nvSpPr>
          <p:cNvPr id="16" name="Graphic 1">
            <a:extLst>
              <a:ext uri="{FF2B5EF4-FFF2-40B4-BE49-F238E27FC236}">
                <a16:creationId xmlns:a16="http://schemas.microsoft.com/office/drawing/2014/main" id="{21B2CF7E-E8F6-4A2F-9828-4F9A39B0864F}"/>
              </a:ext>
              <a:ext uri="{C183D7F6-B498-43B3-948B-1728B52AA6E4}">
                <adec:decorative xmlns:adec="http://schemas.microsoft.com/office/drawing/2017/decorative" val="1"/>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3A6E1CC-AF54-4B04-82EF-310082A122F9}"/>
              </a:ext>
              <a:ext uri="{C183D7F6-B498-43B3-948B-1728B52AA6E4}">
                <adec:decorative xmlns:adec="http://schemas.microsoft.com/office/drawing/2017/decorative" val="1"/>
              </a:ext>
            </a:extLst>
          </p:cNvPr>
          <p:cNvPicPr>
            <a:picLocks noGrp="1" noChangeAspect="1"/>
          </p:cNvPicPr>
          <p:nvPr>
            <p:ph type="pic" sz="quarter" idx="13"/>
          </p:nvPr>
        </p:nvPicPr>
        <p:blipFill>
          <a:blip r:embed="rId2">
            <a:alphaModFix/>
            <a:extLst>
              <a:ext uri="{28A0092B-C50C-407E-A947-70E740481C1C}">
                <a14:useLocalDpi xmlns:a14="http://schemas.microsoft.com/office/drawing/2010/main" val="0"/>
              </a:ext>
            </a:extLst>
          </a:blip>
          <a:srcRect t="7821" b="7821"/>
          <a:stretch>
            <a:fillRect/>
          </a:stretch>
        </p:blipFill>
        <p:spPr/>
      </p:pic>
      <p:sp>
        <p:nvSpPr>
          <p:cNvPr id="6" name="Rectangle 5">
            <a:extLst>
              <a:ext uri="{FF2B5EF4-FFF2-40B4-BE49-F238E27FC236}">
                <a16:creationId xmlns:a16="http://schemas.microsoft.com/office/drawing/2014/main" id="{40BECF12-9287-9042-9DF2-3AF8488EE944}"/>
              </a:ex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 name="Title 3">
            <a:extLst>
              <a:ext uri="{FF2B5EF4-FFF2-40B4-BE49-F238E27FC236}">
                <a16:creationId xmlns:a16="http://schemas.microsoft.com/office/drawing/2014/main" id="{41A2EA20-9ECC-49E3-9F6F-A1C8AFEF2D29}"/>
              </a:ext>
            </a:extLst>
          </p:cNvPr>
          <p:cNvSpPr txBox="1">
            <a:spLocks noGrp="1"/>
          </p:cNvSpPr>
          <p:nvPr>
            <p:ph type="title" idx="4294967295"/>
          </p:nvPr>
        </p:nvSpPr>
        <p:spPr>
          <a:xfrm flipH="1">
            <a:off x="0" y="620713"/>
            <a:ext cx="12192000" cy="221615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t>HEADLINE</a:t>
            </a:r>
            <a:b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br>
            <a: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t>UBUNTU BOLD</a:t>
            </a:r>
          </a:p>
        </p:txBody>
      </p:sp>
      <p:sp>
        <p:nvSpPr>
          <p:cNvPr id="10" name="Graphic 1">
            <a:extLst>
              <a:ext uri="{FF2B5EF4-FFF2-40B4-BE49-F238E27FC236}">
                <a16:creationId xmlns:a16="http://schemas.microsoft.com/office/drawing/2014/main" id="{51F26A1E-B972-4E1E-8F40-2AEF4E906C2B}"/>
              </a:ext>
              <a:ext uri="{C183D7F6-B498-43B3-948B-1728B52AA6E4}">
                <adec:decorative xmlns:adec="http://schemas.microsoft.com/office/drawing/2017/decorative" val="1"/>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dirty="0"/>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a:solidFill>
                  <a:schemeClr val="bg1"/>
                </a:solidFill>
                <a:latin typeface="Ubuntu" panose="020B0504030602030204" pitchFamily="34" charset="0"/>
              </a:rPr>
              <a:t>Short chapter description lorem ipsum </a:t>
            </a:r>
            <a:r>
              <a:rPr lang="en-GB" sz="2000" err="1">
                <a:solidFill>
                  <a:schemeClr val="bg1"/>
                </a:solidFill>
                <a:latin typeface="Ubuntu" panose="020B0504030602030204" pitchFamily="34" charset="0"/>
              </a:rPr>
              <a:t>dolor</a:t>
            </a:r>
            <a:r>
              <a:rPr lang="en-GB" sz="2000">
                <a:solidFill>
                  <a:schemeClr val="bg1"/>
                </a:solidFill>
                <a:latin typeface="Ubuntu" panose="020B0504030602030204" pitchFamily="34" charset="0"/>
              </a:rPr>
              <a:t> sit </a:t>
            </a:r>
            <a:r>
              <a:rPr lang="en-GB" sz="2000" err="1">
                <a:solidFill>
                  <a:schemeClr val="bg1"/>
                </a:solidFill>
                <a:latin typeface="Ubuntu" panose="020B0504030602030204" pitchFamily="34" charset="0"/>
              </a:rPr>
              <a:t>ame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consectetur</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adipiscing</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eli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sed</a:t>
            </a:r>
            <a:r>
              <a:rPr lang="en-GB" sz="2000">
                <a:solidFill>
                  <a:schemeClr val="bg1"/>
                </a:solidFill>
                <a:latin typeface="Ubuntu" panose="020B0504030602030204" pitchFamily="34" charset="0"/>
              </a:rPr>
              <a:t> do </a:t>
            </a:r>
            <a:r>
              <a:rPr lang="en-GB" sz="2000" err="1">
                <a:solidFill>
                  <a:schemeClr val="bg1"/>
                </a:solidFill>
                <a:latin typeface="Ubuntu" panose="020B0504030602030204" pitchFamily="34" charset="0"/>
              </a:rPr>
              <a:t>eiusmod</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tempor</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incididun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u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labore</a:t>
            </a:r>
            <a:r>
              <a:rPr lang="en-GB" sz="2000">
                <a:solidFill>
                  <a:schemeClr val="bg1"/>
                </a:solidFill>
                <a:latin typeface="Ubuntu" panose="020B0504030602030204" pitchFamily="34" charset="0"/>
              </a:rPr>
              <a:t> et dolore magna </a:t>
            </a:r>
            <a:r>
              <a:rPr lang="en-GB" sz="2000" err="1">
                <a:solidFill>
                  <a:schemeClr val="bg1"/>
                </a:solidFill>
                <a:latin typeface="Ubuntu" panose="020B0504030602030204" pitchFamily="34" charset="0"/>
              </a:rPr>
              <a:t>aliqua</a:t>
            </a:r>
            <a:r>
              <a:rPr lang="en-GB" sz="2000">
                <a:solidFill>
                  <a:schemeClr val="bg1"/>
                </a:solidFill>
                <a:latin typeface="Ubuntu" panose="020B0504030602030204" pitchFamily="34" charset="0"/>
              </a:rPr>
              <a:t>.</a:t>
            </a:r>
          </a:p>
        </p:txBody>
      </p:sp>
      <p:grpSp>
        <p:nvGrpSpPr>
          <p:cNvPr id="9" name="Groupe 1">
            <a:extLst>
              <a:ext uri="{FF2B5EF4-FFF2-40B4-BE49-F238E27FC236}">
                <a16:creationId xmlns:a16="http://schemas.microsoft.com/office/drawing/2014/main" id="{EB23B925-A6B9-DE4D-8E01-87E20DE9FD11}"/>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1" name="Freeform 13">
              <a:extLst>
                <a:ext uri="{FF2B5EF4-FFF2-40B4-BE49-F238E27FC236}">
                  <a16:creationId xmlns:a16="http://schemas.microsoft.com/office/drawing/2014/main" id="{AC1841F6-7300-3245-B338-A8114A4DF22E}"/>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4">
              <a:extLst>
                <a:ext uri="{FF2B5EF4-FFF2-40B4-BE49-F238E27FC236}">
                  <a16:creationId xmlns:a16="http://schemas.microsoft.com/office/drawing/2014/main" id="{D807EB8E-FFE5-1E4B-8C0F-CC48572F5CBF}"/>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279100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7B4224E4-95EA-4DE2-B734-333DC4BF7A4F}"/>
              </a:ext>
              <a:ext uri="{C183D7F6-B498-43B3-948B-1728B52AA6E4}">
                <adec:decorative xmlns:adec="http://schemas.microsoft.com/office/drawing/2017/decorative" val="1"/>
              </a:ext>
            </a:extLst>
          </p:cNvPr>
          <p:cNvPicPr>
            <a:picLocks noGrp="1" noChangeAspect="1"/>
          </p:cNvPicPr>
          <p:nvPr>
            <p:ph type="pic" sz="quarter" idx="13"/>
          </p:nvPr>
        </p:nvPicPr>
        <p:blipFill>
          <a:blip r:embed="rId3">
            <a:alphaModFix amt="70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a:off x="0" y="0"/>
            <a:ext cx="12192000" cy="6858000"/>
          </a:xfrm>
        </p:spPr>
      </p:pic>
      <p:sp>
        <p:nvSpPr>
          <p:cNvPr id="8" name="Title 3">
            <a:extLst>
              <a:ext uri="{FF2B5EF4-FFF2-40B4-BE49-F238E27FC236}">
                <a16:creationId xmlns:a16="http://schemas.microsoft.com/office/drawing/2014/main" id="{41A2EA20-9ECC-49E3-9F6F-A1C8AFEF2D29}"/>
              </a:ext>
            </a:extLst>
          </p:cNvPr>
          <p:cNvSpPr txBox="1">
            <a:spLocks noGrp="1"/>
          </p:cNvSpPr>
          <p:nvPr>
            <p:ph type="title" idx="4294967295"/>
          </p:nvPr>
        </p:nvSpPr>
        <p:spPr>
          <a:xfrm flipH="1">
            <a:off x="0" y="898525"/>
            <a:ext cx="12192000" cy="221615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8000" b="1" i="0" u="none" strike="noStrike" kern="1200" cap="all" spc="0" normalizeH="0" baseline="0" noProof="0">
                <a:ln>
                  <a:noFill/>
                </a:ln>
                <a:solidFill>
                  <a:schemeClr val="bg1"/>
                </a:solidFill>
                <a:effectLst/>
                <a:uLnTx/>
                <a:uFillTx/>
                <a:latin typeface="Ubuntu" panose="020B0504030602030204" pitchFamily="34" charset="0"/>
                <a:ea typeface="+mj-ea"/>
                <a:cs typeface="+mj-cs"/>
              </a:rPr>
              <a:t>HEADLINE</a:t>
            </a:r>
            <a:br>
              <a:rPr kumimoji="0" lang="en-GB" sz="8000" b="1" i="0" u="none" strike="noStrike" kern="1200" cap="all" spc="0" normalizeH="0" baseline="0" noProof="0">
                <a:ln>
                  <a:noFill/>
                </a:ln>
                <a:solidFill>
                  <a:schemeClr val="bg1"/>
                </a:solidFill>
                <a:effectLst/>
                <a:uLnTx/>
                <a:uFillTx/>
                <a:latin typeface="Ubuntu" panose="020B0504030602030204" pitchFamily="34" charset="0"/>
                <a:ea typeface="+mj-ea"/>
                <a:cs typeface="+mj-cs"/>
              </a:rPr>
            </a:br>
            <a:r>
              <a:rPr kumimoji="0" lang="en-GB" sz="8000" b="1" i="0" u="none" strike="noStrike" kern="1200" cap="all" spc="0" normalizeH="0" baseline="0" noProof="0">
                <a:ln>
                  <a:noFill/>
                </a:ln>
                <a:solidFill>
                  <a:schemeClr val="bg1"/>
                </a:solidFill>
                <a:effectLst/>
                <a:uLnTx/>
                <a:uFillTx/>
                <a:latin typeface="Ubuntu" panose="020B0504030602030204" pitchFamily="34" charset="0"/>
                <a:ea typeface="+mj-ea"/>
                <a:cs typeface="+mj-cs"/>
              </a:rPr>
              <a:t>UBUNTU BOLD</a:t>
            </a:r>
          </a:p>
        </p:txBody>
      </p:sp>
      <p:sp>
        <p:nvSpPr>
          <p:cNvPr id="10" name="Graphic 1">
            <a:extLst>
              <a:ext uri="{FF2B5EF4-FFF2-40B4-BE49-F238E27FC236}">
                <a16:creationId xmlns:a16="http://schemas.microsoft.com/office/drawing/2014/main" id="{51F26A1E-B972-4E1E-8F40-2AEF4E906C2B}"/>
              </a:ext>
              <a:ext uri="{C183D7F6-B498-43B3-948B-1728B52AA6E4}">
                <adec:decorative xmlns:adec="http://schemas.microsoft.com/office/drawing/2017/decorative" val="1"/>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a:solidFill>
                  <a:schemeClr val="bg1"/>
                </a:solidFill>
                <a:latin typeface="Ubuntu" panose="020B0504030602030204" pitchFamily="34" charset="0"/>
              </a:rPr>
              <a:t>Short chapter description lorem ipsum </a:t>
            </a:r>
            <a:r>
              <a:rPr lang="en-GB" sz="2000" err="1">
                <a:solidFill>
                  <a:schemeClr val="bg1"/>
                </a:solidFill>
                <a:latin typeface="Ubuntu" panose="020B0504030602030204" pitchFamily="34" charset="0"/>
              </a:rPr>
              <a:t>dolor</a:t>
            </a:r>
            <a:r>
              <a:rPr lang="en-GB" sz="2000">
                <a:solidFill>
                  <a:schemeClr val="bg1"/>
                </a:solidFill>
                <a:latin typeface="Ubuntu" panose="020B0504030602030204" pitchFamily="34" charset="0"/>
              </a:rPr>
              <a:t> sit </a:t>
            </a:r>
            <a:r>
              <a:rPr lang="en-GB" sz="2000" err="1">
                <a:solidFill>
                  <a:schemeClr val="bg1"/>
                </a:solidFill>
                <a:latin typeface="Ubuntu" panose="020B0504030602030204" pitchFamily="34" charset="0"/>
              </a:rPr>
              <a:t>ame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consectetur</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adipiscing</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eli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sed</a:t>
            </a:r>
            <a:r>
              <a:rPr lang="en-GB" sz="2000">
                <a:solidFill>
                  <a:schemeClr val="bg1"/>
                </a:solidFill>
                <a:latin typeface="Ubuntu" panose="020B0504030602030204" pitchFamily="34" charset="0"/>
              </a:rPr>
              <a:t> do </a:t>
            </a:r>
            <a:r>
              <a:rPr lang="en-GB" sz="2000" err="1">
                <a:solidFill>
                  <a:schemeClr val="bg1"/>
                </a:solidFill>
                <a:latin typeface="Ubuntu" panose="020B0504030602030204" pitchFamily="34" charset="0"/>
              </a:rPr>
              <a:t>eiusmod</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tempor</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incididun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u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labore</a:t>
            </a:r>
            <a:r>
              <a:rPr lang="en-GB" sz="2000">
                <a:solidFill>
                  <a:schemeClr val="bg1"/>
                </a:solidFill>
                <a:latin typeface="Ubuntu" panose="020B0504030602030204" pitchFamily="34" charset="0"/>
              </a:rPr>
              <a:t> et dolore magna </a:t>
            </a:r>
            <a:r>
              <a:rPr lang="en-GB" sz="2000" err="1">
                <a:solidFill>
                  <a:schemeClr val="bg1"/>
                </a:solidFill>
                <a:latin typeface="Ubuntu" panose="020B0504030602030204" pitchFamily="34" charset="0"/>
              </a:rPr>
              <a:t>aliqua</a:t>
            </a:r>
            <a:r>
              <a:rPr lang="en-GB" sz="2000">
                <a:solidFill>
                  <a:schemeClr val="bg1"/>
                </a:solidFill>
                <a:latin typeface="Ubuntu" panose="020B0504030602030204" pitchFamily="34" charset="0"/>
              </a:rPr>
              <a:t>.</a:t>
            </a:r>
          </a:p>
        </p:txBody>
      </p:sp>
      <p:grpSp>
        <p:nvGrpSpPr>
          <p:cNvPr id="11" name="Group 37">
            <a:extLst>
              <a:ext uri="{FF2B5EF4-FFF2-40B4-BE49-F238E27FC236}">
                <a16:creationId xmlns:a16="http://schemas.microsoft.com/office/drawing/2014/main" id="{C75FF187-094A-434D-948E-9AE12DFF3F68}"/>
              </a:ext>
              <a:ext uri="{C183D7F6-B498-43B3-948B-1728B52AA6E4}">
                <adec:decorative xmlns:adec="http://schemas.microsoft.com/office/drawing/2017/decorative" val="1"/>
              </a:ext>
            </a:extLst>
          </p:cNvPr>
          <p:cNvGrpSpPr/>
          <p:nvPr/>
        </p:nvGrpSpPr>
        <p:grpSpPr>
          <a:xfrm>
            <a:off x="11559747" y="210928"/>
            <a:ext cx="413177" cy="382296"/>
            <a:chOff x="5481638" y="2859088"/>
            <a:chExt cx="1231900" cy="1139825"/>
          </a:xfrm>
          <a:solidFill>
            <a:schemeClr val="bg1"/>
          </a:solidFill>
        </p:grpSpPr>
        <p:sp>
          <p:nvSpPr>
            <p:cNvPr id="12" name="Freeform 320">
              <a:extLst>
                <a:ext uri="{FF2B5EF4-FFF2-40B4-BE49-F238E27FC236}">
                  <a16:creationId xmlns:a16="http://schemas.microsoft.com/office/drawing/2014/main" id="{777618F4-2B05-D04D-B23A-EAA7D72202D9}"/>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321">
              <a:extLst>
                <a:ext uri="{FF2B5EF4-FFF2-40B4-BE49-F238E27FC236}">
                  <a16:creationId xmlns:a16="http://schemas.microsoft.com/office/drawing/2014/main" id="{99202ECE-3286-F940-9F67-2810B672033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90860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a:t>TITLE UBUNTU CAPS</a:t>
            </a:r>
            <a:br>
              <a:rPr lang="en-GB"/>
            </a:br>
            <a:r>
              <a:rPr lang="en-GB"/>
              <a:t>(WORK FOR 1 OR 2 LINES OF TITLE)</a:t>
            </a:r>
          </a:p>
        </p:txBody>
      </p:sp>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r>
              <a:rPr lang="en-GB" dirty="0"/>
              <a:t>First level – Body Ubuntu regular</a:t>
            </a:r>
          </a:p>
          <a:p>
            <a:pPr lvl="1"/>
            <a:r>
              <a:rPr lang="en-GB" dirty="0"/>
              <a:t>Second level</a:t>
            </a:r>
          </a:p>
          <a:p>
            <a:pPr lvl="2"/>
            <a:r>
              <a:rPr lang="en-GB" dirty="0"/>
              <a:t>Third level</a:t>
            </a:r>
          </a:p>
          <a:p>
            <a:pPr lvl="3"/>
            <a:r>
              <a:rPr lang="en-GB" dirty="0"/>
              <a:t>Fourth level</a:t>
            </a:r>
          </a:p>
          <a:p>
            <a:pPr lvl="4"/>
            <a:r>
              <a:rPr lang="en-GB" dirty="0"/>
              <a:t>Fifth level</a:t>
            </a:r>
          </a:p>
          <a:p>
            <a:pPr lvl="1"/>
            <a:endParaRPr lang="en-GB" dirty="0"/>
          </a:p>
          <a:p>
            <a:endParaRPr lang="en-GB" dirty="0"/>
          </a:p>
          <a:p>
            <a:endParaRPr lang="en-GB" dirty="0"/>
          </a:p>
        </p:txBody>
      </p:sp>
    </p:spTree>
    <p:extLst>
      <p:ext uri="{BB962C8B-B14F-4D97-AF65-F5344CB8AC3E}">
        <p14:creationId xmlns:p14="http://schemas.microsoft.com/office/powerpoint/2010/main" val="26638867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8C6948-1A1E-45FF-83AE-95F699C903D6}"/>
              </a:ext>
            </a:extLst>
          </p:cNvPr>
          <p:cNvSpPr>
            <a:spLocks noGrp="1"/>
          </p:cNvSpPr>
          <p:nvPr>
            <p:ph type="title"/>
          </p:nvPr>
        </p:nvSpPr>
        <p:spPr/>
        <p:txBody>
          <a:bodyPr/>
          <a:lstStyle/>
          <a:p>
            <a:r>
              <a:rPr lang="en-GB"/>
              <a:t>TITLE UBUNTU CAPS</a:t>
            </a:r>
            <a:br>
              <a:rPr lang="en-GB"/>
            </a:br>
            <a:r>
              <a:rPr lang="en-GB"/>
              <a:t>(WORK FOR 1 OR 2 LINES OF TITLE)</a:t>
            </a:r>
          </a:p>
        </p:txBody>
      </p:sp>
      <p:sp>
        <p:nvSpPr>
          <p:cNvPr id="3" name="Espace réservé du texte 2">
            <a:extLst>
              <a:ext uri="{FF2B5EF4-FFF2-40B4-BE49-F238E27FC236}">
                <a16:creationId xmlns:a16="http://schemas.microsoft.com/office/drawing/2014/main" id="{A9DE5022-8AB1-4A66-A518-29859891238E}"/>
              </a:ext>
            </a:extLst>
          </p:cNvPr>
          <p:cNvSpPr>
            <a:spLocks noGrp="1"/>
          </p:cNvSpPr>
          <p:nvPr>
            <p:ph type="body" sz="quarter" idx="10"/>
          </p:nvPr>
        </p:nvSpPr>
        <p:spPr/>
        <p:txBody>
          <a:bodyPr/>
          <a:lstStyle/>
          <a:p>
            <a:r>
              <a:rPr lang="en-GB"/>
              <a:t>First level – Body Ubuntu regular</a:t>
            </a:r>
          </a:p>
          <a:p>
            <a:pPr lvl="1"/>
            <a:r>
              <a:rPr lang="en-GB"/>
              <a:t>Second level</a:t>
            </a:r>
          </a:p>
          <a:p>
            <a:pPr lvl="2"/>
            <a:r>
              <a:rPr lang="en-GB"/>
              <a:t>Third level</a:t>
            </a:r>
          </a:p>
          <a:p>
            <a:pPr lvl="3"/>
            <a:r>
              <a:rPr lang="en-GB"/>
              <a:t>Fourth level</a:t>
            </a:r>
          </a:p>
          <a:p>
            <a:pPr lvl="4"/>
            <a:r>
              <a:rPr lang="en-GB"/>
              <a:t>Fifth level</a:t>
            </a:r>
          </a:p>
          <a:p>
            <a:endParaRPr lang="en-GB"/>
          </a:p>
        </p:txBody>
      </p:sp>
    </p:spTree>
    <p:extLst>
      <p:ext uri="{BB962C8B-B14F-4D97-AF65-F5344CB8AC3E}">
        <p14:creationId xmlns:p14="http://schemas.microsoft.com/office/powerpoint/2010/main" val="998745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Title Ubuntu CAPS</a:t>
            </a:r>
            <a:br>
              <a:rPr lang="en-GB"/>
            </a:br>
            <a:r>
              <a:rPr lang="en-GB"/>
              <a:t>(Work for 1 or 2 lines of title)</a:t>
            </a:r>
          </a:p>
        </p:txBody>
      </p:sp>
      <p:sp>
        <p:nvSpPr>
          <p:cNvPr id="6" name="Text Placeholder 5"/>
          <p:cNvSpPr>
            <a:spLocks noGrp="1"/>
          </p:cNvSpPr>
          <p:nvPr>
            <p:ph type="body" sz="quarter" idx="11"/>
          </p:nvPr>
        </p:nvSpPr>
        <p:spPr/>
        <p:txBody>
          <a:bodyPr/>
          <a:lstStyle/>
          <a:p>
            <a:r>
              <a:rPr lang="en-GB" dirty="0"/>
              <a:t>Subtitle Ubuntu regular</a:t>
            </a:r>
          </a:p>
        </p:txBody>
      </p:sp>
      <p:sp>
        <p:nvSpPr>
          <p:cNvPr id="5" name="Text Placeholder 4"/>
          <p:cNvSpPr>
            <a:spLocks noGrp="1"/>
          </p:cNvSpPr>
          <p:nvPr>
            <p:ph type="body" sz="quarter" idx="10"/>
          </p:nvPr>
        </p:nvSpPr>
        <p:spPr/>
        <p:txBody>
          <a:bodyPr/>
          <a:lstStyle/>
          <a:p>
            <a:pPr lvl="1"/>
            <a:r>
              <a:rPr lang="en-GB" dirty="0"/>
              <a:t>Second level</a:t>
            </a:r>
          </a:p>
          <a:p>
            <a:pPr lvl="2"/>
            <a:r>
              <a:rPr lang="en-GB" dirty="0"/>
              <a:t>Third level</a:t>
            </a:r>
          </a:p>
          <a:p>
            <a:pPr lvl="3"/>
            <a:r>
              <a:rPr lang="en-GB" dirty="0"/>
              <a:t>Fourth level</a:t>
            </a:r>
          </a:p>
          <a:p>
            <a:pPr lvl="4"/>
            <a:r>
              <a:rPr lang="en-GB" dirty="0"/>
              <a:t>Fifth level</a:t>
            </a:r>
          </a:p>
          <a:p>
            <a:pPr lvl="1"/>
            <a:endParaRPr lang="en-GB" dirty="0"/>
          </a:p>
          <a:p>
            <a:endParaRPr lang="en-GB"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a:t>TITLE UBUNTU CAPS</a:t>
            </a:r>
            <a:br>
              <a:rPr lang="en-GB"/>
            </a:br>
            <a:r>
              <a:rPr lang="en-GB"/>
              <a:t>(WORK FOR 1 OR 2 LINES OF TITLE)</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p:txBody>
          <a:bodyPr/>
          <a:lstStyle/>
          <a:p>
            <a:r>
              <a:rPr lang="en-GB"/>
              <a:t>First level – Body text Ubuntu regular</a:t>
            </a:r>
          </a:p>
          <a:p>
            <a:pPr lvl="1"/>
            <a:r>
              <a:rPr lang="en-GB"/>
              <a:t>Second level</a:t>
            </a:r>
          </a:p>
          <a:p>
            <a:pPr lvl="2"/>
            <a:r>
              <a:rPr lang="en-GB"/>
              <a:t>Third level</a:t>
            </a:r>
          </a:p>
          <a:p>
            <a:pPr lvl="3"/>
            <a:r>
              <a:rPr lang="en-GB"/>
              <a:t>Fourth level</a:t>
            </a:r>
          </a:p>
          <a:p>
            <a:pPr lvl="4"/>
            <a:r>
              <a:rPr lang="en-GB"/>
              <a:t>Fifth level</a:t>
            </a:r>
          </a:p>
          <a:p>
            <a:endParaRPr lang="en-GB"/>
          </a:p>
        </p:txBody>
      </p:sp>
    </p:spTree>
    <p:extLst>
      <p:ext uri="{BB962C8B-B14F-4D97-AF65-F5344CB8AC3E}">
        <p14:creationId xmlns:p14="http://schemas.microsoft.com/office/powerpoint/2010/main" val="18317044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B1CDA-A65A-4505-A838-F8C3428F7F85}"/>
              </a:ext>
            </a:extLst>
          </p:cNvPr>
          <p:cNvSpPr>
            <a:spLocks noGrp="1"/>
          </p:cNvSpPr>
          <p:nvPr>
            <p:ph type="title"/>
          </p:nvPr>
        </p:nvSpPr>
        <p:spPr/>
        <p:txBody>
          <a:bodyPr/>
          <a:lstStyle/>
          <a:p>
            <a:r>
              <a:rPr lang="en-US"/>
              <a:t>Agenda</a:t>
            </a:r>
            <a:br>
              <a:rPr lang="en-US"/>
            </a:br>
            <a:endParaRPr lang="en-US"/>
          </a:p>
        </p:txBody>
      </p:sp>
      <p:sp>
        <p:nvSpPr>
          <p:cNvPr id="9" name="Text Placeholder 8">
            <a:extLst>
              <a:ext uri="{FF2B5EF4-FFF2-40B4-BE49-F238E27FC236}">
                <a16:creationId xmlns:a16="http://schemas.microsoft.com/office/drawing/2014/main" id="{817BE623-90DB-499D-B794-7835301F92C9}"/>
              </a:ext>
            </a:extLst>
          </p:cNvPr>
          <p:cNvSpPr>
            <a:spLocks noGrp="1"/>
          </p:cNvSpPr>
          <p:nvPr>
            <p:ph type="body" sz="quarter" idx="35"/>
          </p:nvPr>
        </p:nvSpPr>
        <p:spPr/>
        <p:txBody>
          <a:bodyPr/>
          <a:lstStyle/>
          <a:p>
            <a:r>
              <a:rPr lang="en-US"/>
              <a:t>1</a:t>
            </a:r>
          </a:p>
        </p:txBody>
      </p:sp>
      <p:sp>
        <p:nvSpPr>
          <p:cNvPr id="3" name="Text Placeholder 2">
            <a:extLst>
              <a:ext uri="{FF2B5EF4-FFF2-40B4-BE49-F238E27FC236}">
                <a16:creationId xmlns:a16="http://schemas.microsoft.com/office/drawing/2014/main" id="{4D9F070E-74C4-4FEB-81BB-E52C946314BC}"/>
              </a:ext>
            </a:extLst>
          </p:cNvPr>
          <p:cNvSpPr>
            <a:spLocks noGrp="1"/>
          </p:cNvSpPr>
          <p:nvPr>
            <p:ph type="body" sz="quarter" idx="29"/>
          </p:nvPr>
        </p:nvSpPr>
        <p:spPr/>
        <p:txBody>
          <a:bodyPr/>
          <a:lstStyle/>
          <a:p>
            <a:endParaRPr lang="en-US" dirty="0"/>
          </a:p>
        </p:txBody>
      </p:sp>
      <p:sp>
        <p:nvSpPr>
          <p:cNvPr id="4" name="Text Placeholder 3">
            <a:extLst>
              <a:ext uri="{FF2B5EF4-FFF2-40B4-BE49-F238E27FC236}">
                <a16:creationId xmlns:a16="http://schemas.microsoft.com/office/drawing/2014/main" id="{F9194E53-41D1-43EF-9C08-37C5436D7D29}"/>
              </a:ext>
            </a:extLst>
          </p:cNvPr>
          <p:cNvSpPr>
            <a:spLocks noGrp="1"/>
          </p:cNvSpPr>
          <p:nvPr>
            <p:ph type="body" sz="quarter" idx="30"/>
          </p:nvPr>
        </p:nvSpPr>
        <p:spPr/>
        <p:txBody>
          <a:bodyPr/>
          <a:lstStyle/>
          <a:p>
            <a:endParaRPr lang="en-US"/>
          </a:p>
        </p:txBody>
      </p:sp>
      <p:sp>
        <p:nvSpPr>
          <p:cNvPr id="10" name="Text Placeholder 9">
            <a:extLst>
              <a:ext uri="{FF2B5EF4-FFF2-40B4-BE49-F238E27FC236}">
                <a16:creationId xmlns:a16="http://schemas.microsoft.com/office/drawing/2014/main" id="{6AE51F66-D89A-4E7E-BEFB-A8C92BA2DB30}"/>
              </a:ext>
            </a:extLst>
          </p:cNvPr>
          <p:cNvSpPr>
            <a:spLocks noGrp="1"/>
          </p:cNvSpPr>
          <p:nvPr>
            <p:ph type="body" sz="quarter" idx="36"/>
          </p:nvPr>
        </p:nvSpPr>
        <p:spPr/>
        <p:txBody>
          <a:bodyPr/>
          <a:lstStyle/>
          <a:p>
            <a:r>
              <a:rPr lang="en-US"/>
              <a:t>2</a:t>
            </a:r>
          </a:p>
        </p:txBody>
      </p:sp>
      <p:sp>
        <p:nvSpPr>
          <p:cNvPr id="7" name="Text Placeholder 6">
            <a:extLst>
              <a:ext uri="{FF2B5EF4-FFF2-40B4-BE49-F238E27FC236}">
                <a16:creationId xmlns:a16="http://schemas.microsoft.com/office/drawing/2014/main" id="{FB37E86E-A356-4F10-9AB6-ADD2976E0E15}"/>
              </a:ext>
            </a:extLst>
          </p:cNvPr>
          <p:cNvSpPr>
            <a:spLocks noGrp="1"/>
          </p:cNvSpPr>
          <p:nvPr>
            <p:ph type="body" sz="quarter" idx="33"/>
          </p:nvPr>
        </p:nvSpPr>
        <p:spPr/>
        <p:txBody>
          <a:bodyPr/>
          <a:lstStyle/>
          <a:p>
            <a:endParaRPr lang="en-US"/>
          </a:p>
        </p:txBody>
      </p:sp>
      <p:sp>
        <p:nvSpPr>
          <p:cNvPr id="8" name="Text Placeholder 7">
            <a:extLst>
              <a:ext uri="{FF2B5EF4-FFF2-40B4-BE49-F238E27FC236}">
                <a16:creationId xmlns:a16="http://schemas.microsoft.com/office/drawing/2014/main" id="{41AD290F-0E09-413F-9CB2-83DBBF3C17E6}"/>
              </a:ext>
            </a:extLst>
          </p:cNvPr>
          <p:cNvSpPr>
            <a:spLocks noGrp="1"/>
          </p:cNvSpPr>
          <p:nvPr>
            <p:ph type="body" sz="quarter" idx="34"/>
          </p:nvPr>
        </p:nvSpPr>
        <p:spPr/>
        <p:txBody>
          <a:bodyPr/>
          <a:lstStyle/>
          <a:p>
            <a:endParaRPr lang="en-US"/>
          </a:p>
        </p:txBody>
      </p:sp>
      <p:sp>
        <p:nvSpPr>
          <p:cNvPr id="11" name="Text Placeholder 10">
            <a:extLst>
              <a:ext uri="{FF2B5EF4-FFF2-40B4-BE49-F238E27FC236}">
                <a16:creationId xmlns:a16="http://schemas.microsoft.com/office/drawing/2014/main" id="{44F4E94B-C856-4A62-9233-81D4A7F08259}"/>
              </a:ext>
            </a:extLst>
          </p:cNvPr>
          <p:cNvSpPr>
            <a:spLocks noGrp="1"/>
          </p:cNvSpPr>
          <p:nvPr>
            <p:ph type="body" sz="quarter" idx="37"/>
          </p:nvPr>
        </p:nvSpPr>
        <p:spPr/>
        <p:txBody>
          <a:bodyPr/>
          <a:lstStyle/>
          <a:p>
            <a:r>
              <a:rPr lang="en-US"/>
              <a:t>3</a:t>
            </a:r>
          </a:p>
        </p:txBody>
      </p:sp>
      <p:sp>
        <p:nvSpPr>
          <p:cNvPr id="5" name="Text Placeholder 4">
            <a:extLst>
              <a:ext uri="{FF2B5EF4-FFF2-40B4-BE49-F238E27FC236}">
                <a16:creationId xmlns:a16="http://schemas.microsoft.com/office/drawing/2014/main" id="{AD9C7A6D-63EB-4CB9-A85D-356C69FB9E9B}"/>
              </a:ext>
            </a:extLst>
          </p:cNvPr>
          <p:cNvSpPr>
            <a:spLocks noGrp="1"/>
          </p:cNvSpPr>
          <p:nvPr>
            <p:ph type="body" sz="quarter" idx="31"/>
          </p:nvPr>
        </p:nvSpPr>
        <p:spPr/>
        <p:txBody>
          <a:bodyPr/>
          <a:lstStyle/>
          <a:p>
            <a:endParaRPr lang="en-US"/>
          </a:p>
        </p:txBody>
      </p:sp>
      <p:sp>
        <p:nvSpPr>
          <p:cNvPr id="6" name="Text Placeholder 5">
            <a:extLst>
              <a:ext uri="{FF2B5EF4-FFF2-40B4-BE49-F238E27FC236}">
                <a16:creationId xmlns:a16="http://schemas.microsoft.com/office/drawing/2014/main" id="{930B3311-7EB3-4F6C-A542-5D01DB639813}"/>
              </a:ext>
            </a:extLst>
          </p:cNvPr>
          <p:cNvSpPr>
            <a:spLocks noGrp="1"/>
          </p:cNvSpPr>
          <p:nvPr>
            <p:ph type="body" sz="quarter" idx="32"/>
          </p:nvPr>
        </p:nvSpPr>
        <p:spPr/>
        <p:txBody>
          <a:bodyPr/>
          <a:lstStyle/>
          <a:p>
            <a:endParaRPr lang="en-US"/>
          </a:p>
        </p:txBody>
      </p:sp>
      <p:pic>
        <p:nvPicPr>
          <p:cNvPr id="124" name="Image 17">
            <a:extLst>
              <a:ext uri="{FF2B5EF4-FFF2-40B4-BE49-F238E27FC236}">
                <a16:creationId xmlns:a16="http://schemas.microsoft.com/office/drawing/2014/main" id="{C3171ACE-0676-4D9B-95C3-EFD1E2E02AEB}"/>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60166" y="1024601"/>
            <a:ext cx="8634519" cy="6104944"/>
          </a:xfrm>
          <a:prstGeom prst="rect">
            <a:avLst/>
          </a:prstGeom>
        </p:spPr>
      </p:pic>
    </p:spTree>
    <p:extLst>
      <p:ext uri="{BB962C8B-B14F-4D97-AF65-F5344CB8AC3E}">
        <p14:creationId xmlns:p14="http://schemas.microsoft.com/office/powerpoint/2010/main" val="42102335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B1CDA-A65A-4505-A838-F8C3428F7F85}"/>
              </a:ext>
            </a:extLst>
          </p:cNvPr>
          <p:cNvSpPr>
            <a:spLocks noGrp="1"/>
          </p:cNvSpPr>
          <p:nvPr>
            <p:ph type="title"/>
          </p:nvPr>
        </p:nvSpPr>
        <p:spPr/>
        <p:txBody>
          <a:bodyPr/>
          <a:lstStyle/>
          <a:p>
            <a:r>
              <a:rPr lang="en-US" dirty="0"/>
              <a:t>Agenda</a:t>
            </a:r>
            <a:br>
              <a:rPr lang="en-US" dirty="0"/>
            </a:br>
            <a:endParaRPr lang="en-US" dirty="0"/>
          </a:p>
        </p:txBody>
      </p:sp>
      <p:pic>
        <p:nvPicPr>
          <p:cNvPr id="4" name="Picture Placeholder 3">
            <a:extLst>
              <a:ext uri="{FF2B5EF4-FFF2-40B4-BE49-F238E27FC236}">
                <a16:creationId xmlns:a16="http://schemas.microsoft.com/office/drawing/2014/main" id="{B5888F89-7F6C-4B10-B190-4736F8C2A438}"/>
              </a:ext>
              <a:ext uri="{C183D7F6-B498-43B3-948B-1728B52AA6E4}">
                <adec:decorative xmlns:adec="http://schemas.microsoft.com/office/drawing/2017/decorative" val="1"/>
              </a:ext>
            </a:extLst>
          </p:cNvPr>
          <p:cNvPicPr>
            <a:picLocks noGrp="1" noChangeAspect="1"/>
          </p:cNvPicPr>
          <p:nvPr>
            <p:ph type="pic" sz="quarter" idx="19"/>
          </p:nvPr>
        </p:nvPicPr>
        <p:blipFill rotWithShape="1">
          <a:blip r:embed="rId2">
            <a:extLst>
              <a:ext uri="{28A0092B-C50C-407E-A947-70E740481C1C}">
                <a14:useLocalDpi xmlns:a14="http://schemas.microsoft.com/office/drawing/2010/main" val="0"/>
              </a:ext>
            </a:extLst>
          </a:blip>
          <a:srcRect l="14640" r="14640"/>
          <a:stretch/>
        </p:blipFill>
        <p:spPr/>
      </p:pic>
      <p:sp>
        <p:nvSpPr>
          <p:cNvPr id="6" name="Text Placeholder 5">
            <a:extLst>
              <a:ext uri="{FF2B5EF4-FFF2-40B4-BE49-F238E27FC236}">
                <a16:creationId xmlns:a16="http://schemas.microsoft.com/office/drawing/2014/main" id="{F2419B57-8F35-4F0F-A768-FC432CC119C4}"/>
              </a:ext>
            </a:extLst>
          </p:cNvPr>
          <p:cNvSpPr>
            <a:spLocks noGrp="1"/>
          </p:cNvSpPr>
          <p:nvPr>
            <p:ph type="body" sz="quarter" idx="11"/>
          </p:nvPr>
        </p:nvSpPr>
        <p:spPr/>
        <p:txBody>
          <a:bodyPr/>
          <a:lstStyle/>
          <a:p>
            <a:endParaRPr lang="en-US"/>
          </a:p>
        </p:txBody>
      </p:sp>
      <p:sp>
        <p:nvSpPr>
          <p:cNvPr id="7" name="Text Placeholder 6">
            <a:extLst>
              <a:ext uri="{FF2B5EF4-FFF2-40B4-BE49-F238E27FC236}">
                <a16:creationId xmlns:a16="http://schemas.microsoft.com/office/drawing/2014/main" id="{A19D1438-01AE-4496-88CA-74E48B21C886}"/>
              </a:ext>
            </a:extLst>
          </p:cNvPr>
          <p:cNvSpPr>
            <a:spLocks noGrp="1"/>
          </p:cNvSpPr>
          <p:nvPr>
            <p:ph type="body" sz="quarter" idx="12"/>
          </p:nvPr>
        </p:nvSpPr>
        <p:spPr/>
        <p:txBody>
          <a:bodyPr/>
          <a:lstStyle/>
          <a:p>
            <a:endParaRPr lang="en-US"/>
          </a:p>
        </p:txBody>
      </p:sp>
      <p:sp>
        <p:nvSpPr>
          <p:cNvPr id="8" name="Text Placeholder 7">
            <a:extLst>
              <a:ext uri="{FF2B5EF4-FFF2-40B4-BE49-F238E27FC236}">
                <a16:creationId xmlns:a16="http://schemas.microsoft.com/office/drawing/2014/main" id="{6DCB54A7-3799-4633-BB26-5F845D4636FD}"/>
              </a:ext>
            </a:extLst>
          </p:cNvPr>
          <p:cNvSpPr>
            <a:spLocks noGrp="1"/>
          </p:cNvSpPr>
          <p:nvPr>
            <p:ph type="body" sz="quarter" idx="13"/>
          </p:nvPr>
        </p:nvSpPr>
        <p:spPr/>
        <p:txBody>
          <a:bodyPr/>
          <a:lstStyle/>
          <a:p>
            <a:endParaRPr lang="en-US"/>
          </a:p>
        </p:txBody>
      </p:sp>
      <p:sp>
        <p:nvSpPr>
          <p:cNvPr id="9" name="Text Placeholder 8">
            <a:extLst>
              <a:ext uri="{FF2B5EF4-FFF2-40B4-BE49-F238E27FC236}">
                <a16:creationId xmlns:a16="http://schemas.microsoft.com/office/drawing/2014/main" id="{532F92FF-206B-4C3F-A62E-F3129D2BBB89}"/>
              </a:ext>
            </a:extLst>
          </p:cNvPr>
          <p:cNvSpPr>
            <a:spLocks noGrp="1"/>
          </p:cNvSpPr>
          <p:nvPr>
            <p:ph type="body" sz="quarter" idx="14"/>
          </p:nvPr>
        </p:nvSpPr>
        <p:spPr/>
        <p:txBody>
          <a:bodyPr/>
          <a:lstStyle/>
          <a:p>
            <a:endParaRPr lang="en-US"/>
          </a:p>
        </p:txBody>
      </p:sp>
      <p:sp>
        <p:nvSpPr>
          <p:cNvPr id="10" name="Text Placeholder 9">
            <a:extLst>
              <a:ext uri="{FF2B5EF4-FFF2-40B4-BE49-F238E27FC236}">
                <a16:creationId xmlns:a16="http://schemas.microsoft.com/office/drawing/2014/main" id="{6C6AD0ED-4D03-4C16-9672-815CE05A19D6}"/>
              </a:ext>
            </a:extLst>
          </p:cNvPr>
          <p:cNvSpPr>
            <a:spLocks noGrp="1"/>
          </p:cNvSpPr>
          <p:nvPr>
            <p:ph type="body" sz="quarter" idx="15"/>
          </p:nvPr>
        </p:nvSpPr>
        <p:spPr/>
        <p:txBody>
          <a:bodyPr/>
          <a:lstStyle/>
          <a:p>
            <a:endParaRPr lang="en-US"/>
          </a:p>
        </p:txBody>
      </p:sp>
      <p:sp>
        <p:nvSpPr>
          <p:cNvPr id="35" name="Text Placeholder 34">
            <a:extLst>
              <a:ext uri="{FF2B5EF4-FFF2-40B4-BE49-F238E27FC236}">
                <a16:creationId xmlns:a16="http://schemas.microsoft.com/office/drawing/2014/main" id="{2BFFED12-F7D0-410A-8B4C-47E4579CBC89}"/>
              </a:ext>
            </a:extLst>
          </p:cNvPr>
          <p:cNvSpPr>
            <a:spLocks noGrp="1"/>
          </p:cNvSpPr>
          <p:nvPr>
            <p:ph type="body" sz="quarter" idx="16"/>
          </p:nvPr>
        </p:nvSpPr>
        <p:spPr/>
        <p:txBody>
          <a:bodyPr/>
          <a:lstStyle/>
          <a:p>
            <a:endParaRPr lang="en-US"/>
          </a:p>
        </p:txBody>
      </p:sp>
      <p:sp>
        <p:nvSpPr>
          <p:cNvPr id="44" name="Text Placeholder 43">
            <a:extLst>
              <a:ext uri="{FF2B5EF4-FFF2-40B4-BE49-F238E27FC236}">
                <a16:creationId xmlns:a16="http://schemas.microsoft.com/office/drawing/2014/main" id="{0F4D96A2-1A84-4248-B4B1-0CD19B73A3E8}"/>
              </a:ext>
            </a:extLst>
          </p:cNvPr>
          <p:cNvSpPr>
            <a:spLocks noGrp="1"/>
          </p:cNvSpPr>
          <p:nvPr>
            <p:ph type="body" sz="quarter" idx="17"/>
          </p:nvPr>
        </p:nvSpPr>
        <p:spPr/>
        <p:txBody>
          <a:bodyPr/>
          <a:lstStyle/>
          <a:p>
            <a:endParaRPr lang="en-US"/>
          </a:p>
        </p:txBody>
      </p:sp>
      <p:sp>
        <p:nvSpPr>
          <p:cNvPr id="45" name="Text Placeholder 44">
            <a:extLst>
              <a:ext uri="{FF2B5EF4-FFF2-40B4-BE49-F238E27FC236}">
                <a16:creationId xmlns:a16="http://schemas.microsoft.com/office/drawing/2014/main" id="{0E4F3D1E-B964-415B-ACC1-7420C5387218}"/>
              </a:ext>
            </a:extLst>
          </p:cNvPr>
          <p:cNvSpPr>
            <a:spLocks noGrp="1"/>
          </p:cNvSpPr>
          <p:nvPr>
            <p:ph type="body" sz="quarter" idx="18"/>
          </p:nvPr>
        </p:nvSpPr>
        <p:spPr/>
        <p:txBody>
          <a:bodyPr/>
          <a:lstStyle/>
          <a:p>
            <a:endParaRPr lang="en-US"/>
          </a:p>
        </p:txBody>
      </p:sp>
      <p:grpSp>
        <p:nvGrpSpPr>
          <p:cNvPr id="11" name="Group 10">
            <a:extLst>
              <a:ext uri="{FF2B5EF4-FFF2-40B4-BE49-F238E27FC236}">
                <a16:creationId xmlns:a16="http://schemas.microsoft.com/office/drawing/2014/main" id="{A4FBE3E1-7683-4C6A-AFD4-F43B3842DD84}"/>
              </a:ext>
              <a:ext uri="{C183D7F6-B498-43B3-948B-1728B52AA6E4}">
                <adec:decorative xmlns:adec="http://schemas.microsoft.com/office/drawing/2017/decorative" val="1"/>
              </a:ext>
            </a:extLst>
          </p:cNvPr>
          <p:cNvGrpSpPr>
            <a:grpSpLocks noChangeAspect="1"/>
          </p:cNvGrpSpPr>
          <p:nvPr/>
        </p:nvGrpSpPr>
        <p:grpSpPr>
          <a:xfrm>
            <a:off x="5850604" y="1216432"/>
            <a:ext cx="533427" cy="504000"/>
            <a:chOff x="6230532" y="1335315"/>
            <a:chExt cx="1204015" cy="1137596"/>
          </a:xfrm>
          <a:solidFill>
            <a:srgbClr val="0F878A"/>
          </a:solidFill>
        </p:grpSpPr>
        <p:sp>
          <p:nvSpPr>
            <p:cNvPr id="12" name="Oval 20">
              <a:extLst>
                <a:ext uri="{FF2B5EF4-FFF2-40B4-BE49-F238E27FC236}">
                  <a16:creationId xmlns:a16="http://schemas.microsoft.com/office/drawing/2014/main" id="{04B19E0F-72EA-437F-AB72-8777AC1FC243}"/>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3" name="Text Placeholder 14">
              <a:extLst>
                <a:ext uri="{FF2B5EF4-FFF2-40B4-BE49-F238E27FC236}">
                  <a16:creationId xmlns:a16="http://schemas.microsoft.com/office/drawing/2014/main" id="{C4762BBC-6173-48FE-93FB-DA26856A8565}"/>
                </a:ext>
              </a:extLst>
            </p:cNvPr>
            <p:cNvSpPr txBox="1">
              <a:spLocks/>
            </p:cNvSpPr>
            <p:nvPr/>
          </p:nvSpPr>
          <p:spPr>
            <a:xfrm>
              <a:off x="6369574" y="1676284"/>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dirty="0">
                  <a:solidFill>
                    <a:schemeClr val="bg1"/>
                  </a:solidFill>
                  <a:latin typeface="+mj-lt"/>
                </a:rPr>
                <a:t>1</a:t>
              </a:r>
            </a:p>
          </p:txBody>
        </p:sp>
      </p:grpSp>
      <p:grpSp>
        <p:nvGrpSpPr>
          <p:cNvPr id="14" name="Group 13">
            <a:extLst>
              <a:ext uri="{FF2B5EF4-FFF2-40B4-BE49-F238E27FC236}">
                <a16:creationId xmlns:a16="http://schemas.microsoft.com/office/drawing/2014/main" id="{3F368651-FA8F-4643-8187-883C6B793D7A}"/>
              </a:ext>
              <a:ext uri="{C183D7F6-B498-43B3-948B-1728B52AA6E4}">
                <adec:decorative xmlns:adec="http://schemas.microsoft.com/office/drawing/2017/decorative" val="1"/>
              </a:ext>
            </a:extLst>
          </p:cNvPr>
          <p:cNvGrpSpPr>
            <a:grpSpLocks noChangeAspect="1"/>
          </p:cNvGrpSpPr>
          <p:nvPr/>
        </p:nvGrpSpPr>
        <p:grpSpPr>
          <a:xfrm>
            <a:off x="5850605" y="1888886"/>
            <a:ext cx="533427" cy="504000"/>
            <a:chOff x="6230534" y="1335315"/>
            <a:chExt cx="1204015" cy="1137595"/>
          </a:xfrm>
          <a:solidFill>
            <a:srgbClr val="0F878A"/>
          </a:solidFill>
        </p:grpSpPr>
        <p:sp>
          <p:nvSpPr>
            <p:cNvPr id="15" name="Oval 20">
              <a:extLst>
                <a:ext uri="{FF2B5EF4-FFF2-40B4-BE49-F238E27FC236}">
                  <a16:creationId xmlns:a16="http://schemas.microsoft.com/office/drawing/2014/main" id="{545F76F0-A3A2-4793-8EA3-4C96C5444B7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6" name="Text Placeholder 14">
              <a:extLst>
                <a:ext uri="{FF2B5EF4-FFF2-40B4-BE49-F238E27FC236}">
                  <a16:creationId xmlns:a16="http://schemas.microsoft.com/office/drawing/2014/main" id="{A38A4871-927A-4279-B8C8-567F1BC0C25F}"/>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2</a:t>
              </a:r>
            </a:p>
          </p:txBody>
        </p:sp>
      </p:grpSp>
      <p:grpSp>
        <p:nvGrpSpPr>
          <p:cNvPr id="17" name="Group 16">
            <a:extLst>
              <a:ext uri="{FF2B5EF4-FFF2-40B4-BE49-F238E27FC236}">
                <a16:creationId xmlns:a16="http://schemas.microsoft.com/office/drawing/2014/main" id="{791990B5-2445-4C11-B101-0F79B24CFB58}"/>
              </a:ext>
              <a:ext uri="{C183D7F6-B498-43B3-948B-1728B52AA6E4}">
                <adec:decorative xmlns:adec="http://schemas.microsoft.com/office/drawing/2017/decorative" val="1"/>
              </a:ext>
            </a:extLst>
          </p:cNvPr>
          <p:cNvGrpSpPr>
            <a:grpSpLocks noChangeAspect="1"/>
          </p:cNvGrpSpPr>
          <p:nvPr/>
        </p:nvGrpSpPr>
        <p:grpSpPr>
          <a:xfrm>
            <a:off x="5850605" y="2561340"/>
            <a:ext cx="533427" cy="504000"/>
            <a:chOff x="6230534" y="1335315"/>
            <a:chExt cx="1204015" cy="1137595"/>
          </a:xfrm>
          <a:solidFill>
            <a:srgbClr val="0F878A"/>
          </a:solidFill>
        </p:grpSpPr>
        <p:sp>
          <p:nvSpPr>
            <p:cNvPr id="18" name="Oval 20">
              <a:extLst>
                <a:ext uri="{FF2B5EF4-FFF2-40B4-BE49-F238E27FC236}">
                  <a16:creationId xmlns:a16="http://schemas.microsoft.com/office/drawing/2014/main" id="{B8D45998-ED56-4AAA-BB6C-A73A3FE24934}"/>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9" name="Text Placeholder 14">
              <a:extLst>
                <a:ext uri="{FF2B5EF4-FFF2-40B4-BE49-F238E27FC236}">
                  <a16:creationId xmlns:a16="http://schemas.microsoft.com/office/drawing/2014/main" id="{BA26E55C-B44A-41D1-8DD5-575AFCA0B84A}"/>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3</a:t>
              </a:r>
            </a:p>
          </p:txBody>
        </p:sp>
      </p:grpSp>
      <p:grpSp>
        <p:nvGrpSpPr>
          <p:cNvPr id="20" name="Group 19">
            <a:extLst>
              <a:ext uri="{FF2B5EF4-FFF2-40B4-BE49-F238E27FC236}">
                <a16:creationId xmlns:a16="http://schemas.microsoft.com/office/drawing/2014/main" id="{6A44A620-AD10-4155-85E7-6B76BE874E8A}"/>
              </a:ext>
              <a:ext uri="{C183D7F6-B498-43B3-948B-1728B52AA6E4}">
                <adec:decorative xmlns:adec="http://schemas.microsoft.com/office/drawing/2017/decorative" val="1"/>
              </a:ext>
            </a:extLst>
          </p:cNvPr>
          <p:cNvGrpSpPr>
            <a:grpSpLocks noChangeAspect="1"/>
          </p:cNvGrpSpPr>
          <p:nvPr/>
        </p:nvGrpSpPr>
        <p:grpSpPr>
          <a:xfrm>
            <a:off x="5850605" y="3233794"/>
            <a:ext cx="533427" cy="504000"/>
            <a:chOff x="6230534" y="1335315"/>
            <a:chExt cx="1204015" cy="1137595"/>
          </a:xfrm>
          <a:solidFill>
            <a:srgbClr val="0F878A"/>
          </a:solidFill>
        </p:grpSpPr>
        <p:sp>
          <p:nvSpPr>
            <p:cNvPr id="21" name="Oval 20">
              <a:extLst>
                <a:ext uri="{FF2B5EF4-FFF2-40B4-BE49-F238E27FC236}">
                  <a16:creationId xmlns:a16="http://schemas.microsoft.com/office/drawing/2014/main" id="{3D1A9D4A-4021-4E89-A8B4-375B38CED43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2" name="Text Placeholder 14">
              <a:extLst>
                <a:ext uri="{FF2B5EF4-FFF2-40B4-BE49-F238E27FC236}">
                  <a16:creationId xmlns:a16="http://schemas.microsoft.com/office/drawing/2014/main" id="{D5D55CC3-DF9F-4CF5-883A-420CD6D4C77D}"/>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4</a:t>
              </a:r>
            </a:p>
          </p:txBody>
        </p:sp>
      </p:grpSp>
      <p:grpSp>
        <p:nvGrpSpPr>
          <p:cNvPr id="23" name="Group 22">
            <a:extLst>
              <a:ext uri="{FF2B5EF4-FFF2-40B4-BE49-F238E27FC236}">
                <a16:creationId xmlns:a16="http://schemas.microsoft.com/office/drawing/2014/main" id="{EB0FBC42-A56A-48FD-BB05-3D614F1EC8AC}"/>
              </a:ext>
              <a:ext uri="{C183D7F6-B498-43B3-948B-1728B52AA6E4}">
                <adec:decorative xmlns:adec="http://schemas.microsoft.com/office/drawing/2017/decorative" val="1"/>
              </a:ext>
            </a:extLst>
          </p:cNvPr>
          <p:cNvGrpSpPr>
            <a:grpSpLocks noChangeAspect="1"/>
          </p:cNvGrpSpPr>
          <p:nvPr/>
        </p:nvGrpSpPr>
        <p:grpSpPr>
          <a:xfrm>
            <a:off x="5850605" y="3906248"/>
            <a:ext cx="533427" cy="504000"/>
            <a:chOff x="6230534" y="1335315"/>
            <a:chExt cx="1204015" cy="1137595"/>
          </a:xfrm>
          <a:solidFill>
            <a:srgbClr val="0F878A"/>
          </a:solidFill>
        </p:grpSpPr>
        <p:sp>
          <p:nvSpPr>
            <p:cNvPr id="24" name="Oval 20">
              <a:extLst>
                <a:ext uri="{FF2B5EF4-FFF2-40B4-BE49-F238E27FC236}">
                  <a16:creationId xmlns:a16="http://schemas.microsoft.com/office/drawing/2014/main" id="{8898A5A4-D063-49D0-8907-06E309059804}"/>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5" name="Text Placeholder 14">
              <a:extLst>
                <a:ext uri="{FF2B5EF4-FFF2-40B4-BE49-F238E27FC236}">
                  <a16:creationId xmlns:a16="http://schemas.microsoft.com/office/drawing/2014/main" id="{C36C358B-F576-40D1-9E43-477E92795780}"/>
                </a:ext>
              </a:extLst>
            </p:cNvPr>
            <p:cNvSpPr txBox="1">
              <a:spLocks/>
            </p:cNvSpPr>
            <p:nvPr/>
          </p:nvSpPr>
          <p:spPr>
            <a:xfrm>
              <a:off x="6369574" y="1662761"/>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5</a:t>
              </a:r>
            </a:p>
          </p:txBody>
        </p:sp>
      </p:grpSp>
      <p:grpSp>
        <p:nvGrpSpPr>
          <p:cNvPr id="26" name="Group 25">
            <a:extLst>
              <a:ext uri="{FF2B5EF4-FFF2-40B4-BE49-F238E27FC236}">
                <a16:creationId xmlns:a16="http://schemas.microsoft.com/office/drawing/2014/main" id="{4E641F85-726D-4DC0-B027-2C76ECAA9A0D}"/>
              </a:ext>
              <a:ext uri="{C183D7F6-B498-43B3-948B-1728B52AA6E4}">
                <adec:decorative xmlns:adec="http://schemas.microsoft.com/office/drawing/2017/decorative" val="1"/>
              </a:ext>
            </a:extLst>
          </p:cNvPr>
          <p:cNvGrpSpPr>
            <a:grpSpLocks noChangeAspect="1"/>
          </p:cNvGrpSpPr>
          <p:nvPr/>
        </p:nvGrpSpPr>
        <p:grpSpPr>
          <a:xfrm>
            <a:off x="5850605" y="4578702"/>
            <a:ext cx="533427" cy="504000"/>
            <a:chOff x="6230534" y="1335315"/>
            <a:chExt cx="1204015" cy="1137595"/>
          </a:xfrm>
          <a:solidFill>
            <a:srgbClr val="0F878A"/>
          </a:solidFill>
        </p:grpSpPr>
        <p:sp>
          <p:nvSpPr>
            <p:cNvPr id="27" name="Oval 20">
              <a:extLst>
                <a:ext uri="{FF2B5EF4-FFF2-40B4-BE49-F238E27FC236}">
                  <a16:creationId xmlns:a16="http://schemas.microsoft.com/office/drawing/2014/main" id="{580F2A56-E12A-4692-B92A-5CB3F7E32920}"/>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8" name="Text Placeholder 14">
              <a:extLst>
                <a:ext uri="{FF2B5EF4-FFF2-40B4-BE49-F238E27FC236}">
                  <a16:creationId xmlns:a16="http://schemas.microsoft.com/office/drawing/2014/main" id="{6A7C391A-D790-4721-A33E-2FFB7B070988}"/>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6</a:t>
              </a:r>
            </a:p>
          </p:txBody>
        </p:sp>
      </p:grpSp>
      <p:grpSp>
        <p:nvGrpSpPr>
          <p:cNvPr id="29" name="Group 28">
            <a:extLst>
              <a:ext uri="{FF2B5EF4-FFF2-40B4-BE49-F238E27FC236}">
                <a16:creationId xmlns:a16="http://schemas.microsoft.com/office/drawing/2014/main" id="{9DBB9F8F-9863-4541-ABBF-B1C66E1EC74E}"/>
              </a:ext>
              <a:ext uri="{C183D7F6-B498-43B3-948B-1728B52AA6E4}">
                <adec:decorative xmlns:adec="http://schemas.microsoft.com/office/drawing/2017/decorative" val="1"/>
              </a:ext>
            </a:extLst>
          </p:cNvPr>
          <p:cNvGrpSpPr>
            <a:grpSpLocks noChangeAspect="1"/>
          </p:cNvGrpSpPr>
          <p:nvPr/>
        </p:nvGrpSpPr>
        <p:grpSpPr>
          <a:xfrm>
            <a:off x="5850605" y="5251156"/>
            <a:ext cx="533427" cy="504000"/>
            <a:chOff x="6230534" y="1335315"/>
            <a:chExt cx="1204015" cy="1137595"/>
          </a:xfrm>
          <a:solidFill>
            <a:srgbClr val="0F878A"/>
          </a:solidFill>
        </p:grpSpPr>
        <p:sp>
          <p:nvSpPr>
            <p:cNvPr id="30" name="Oval 20">
              <a:extLst>
                <a:ext uri="{FF2B5EF4-FFF2-40B4-BE49-F238E27FC236}">
                  <a16:creationId xmlns:a16="http://schemas.microsoft.com/office/drawing/2014/main" id="{E12A8095-E345-40B6-9436-40660EC08B09}"/>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31" name="Text Placeholder 14">
              <a:extLst>
                <a:ext uri="{FF2B5EF4-FFF2-40B4-BE49-F238E27FC236}">
                  <a16:creationId xmlns:a16="http://schemas.microsoft.com/office/drawing/2014/main" id="{B4C20A2B-24F3-4C05-9DA8-ED7C71571FE5}"/>
                </a:ext>
              </a:extLst>
            </p:cNvPr>
            <p:cNvSpPr txBox="1">
              <a:spLocks/>
            </p:cNvSpPr>
            <p:nvPr/>
          </p:nvSpPr>
          <p:spPr>
            <a:xfrm>
              <a:off x="6369574" y="1676284"/>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7</a:t>
              </a:r>
            </a:p>
          </p:txBody>
        </p:sp>
      </p:grpSp>
      <p:grpSp>
        <p:nvGrpSpPr>
          <p:cNvPr id="32" name="Group 31">
            <a:extLst>
              <a:ext uri="{FF2B5EF4-FFF2-40B4-BE49-F238E27FC236}">
                <a16:creationId xmlns:a16="http://schemas.microsoft.com/office/drawing/2014/main" id="{8A44FDAA-257C-4133-AE48-82ED186D5C02}"/>
              </a:ext>
              <a:ext uri="{C183D7F6-B498-43B3-948B-1728B52AA6E4}">
                <adec:decorative xmlns:adec="http://schemas.microsoft.com/office/drawing/2017/decorative" val="1"/>
              </a:ext>
            </a:extLst>
          </p:cNvPr>
          <p:cNvGrpSpPr>
            <a:grpSpLocks noChangeAspect="1"/>
          </p:cNvGrpSpPr>
          <p:nvPr/>
        </p:nvGrpSpPr>
        <p:grpSpPr>
          <a:xfrm>
            <a:off x="5850605" y="5923613"/>
            <a:ext cx="533427" cy="504000"/>
            <a:chOff x="6230534" y="1335315"/>
            <a:chExt cx="1204015" cy="1137595"/>
          </a:xfrm>
          <a:solidFill>
            <a:srgbClr val="0F878A"/>
          </a:solidFill>
        </p:grpSpPr>
        <p:sp>
          <p:nvSpPr>
            <p:cNvPr id="33" name="Oval 20">
              <a:extLst>
                <a:ext uri="{FF2B5EF4-FFF2-40B4-BE49-F238E27FC236}">
                  <a16:creationId xmlns:a16="http://schemas.microsoft.com/office/drawing/2014/main" id="{95997A62-0D63-4428-8C40-45A19177ED2C}"/>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34" name="Text Placeholder 14">
              <a:extLst>
                <a:ext uri="{FF2B5EF4-FFF2-40B4-BE49-F238E27FC236}">
                  <a16:creationId xmlns:a16="http://schemas.microsoft.com/office/drawing/2014/main" id="{E78004E1-4D90-418C-8CD6-DB603AED0E36}"/>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8</a:t>
              </a:r>
            </a:p>
          </p:txBody>
        </p:sp>
      </p:grpSp>
    </p:spTree>
    <p:extLst>
      <p:ext uri="{BB962C8B-B14F-4D97-AF65-F5344CB8AC3E}">
        <p14:creationId xmlns:p14="http://schemas.microsoft.com/office/powerpoint/2010/main" val="9453572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C374D7BB-5E42-4F47-8479-75CA4EEB0EC4}"/>
              </a:ext>
              <a:ext uri="{C183D7F6-B498-43B3-948B-1728B52AA6E4}">
                <adec:decorative xmlns:adec="http://schemas.microsoft.com/office/drawing/2017/decorative" val="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5621" r="15621"/>
          <a:stretch>
            <a:fillRect/>
          </a:stretch>
        </p:blipFill>
        <p:spPr/>
      </p:pic>
      <p:sp>
        <p:nvSpPr>
          <p:cNvPr id="2" name="Title 1">
            <a:extLst>
              <a:ext uri="{FF2B5EF4-FFF2-40B4-BE49-F238E27FC236}">
                <a16:creationId xmlns:a16="http://schemas.microsoft.com/office/drawing/2014/main" id="{23BB51A4-47E3-45E5-A825-0E483FD06C7A}"/>
              </a:ext>
            </a:extLst>
          </p:cNvPr>
          <p:cNvSpPr>
            <a:spLocks noGrp="1"/>
          </p:cNvSpPr>
          <p:nvPr>
            <p:ph type="title"/>
          </p:nvPr>
        </p:nvSpPr>
        <p:spPr/>
        <p:txBody>
          <a:bodyPr/>
          <a:lstStyle/>
          <a:p>
            <a:r>
              <a:rPr lang="en-US"/>
              <a:t>AGENDA</a:t>
            </a:r>
          </a:p>
        </p:txBody>
      </p:sp>
      <p:sp>
        <p:nvSpPr>
          <p:cNvPr id="4" name="Text Placeholder 3">
            <a:extLst>
              <a:ext uri="{FF2B5EF4-FFF2-40B4-BE49-F238E27FC236}">
                <a16:creationId xmlns:a16="http://schemas.microsoft.com/office/drawing/2014/main" id="{A01B00ED-8843-4A11-8FCC-1D428729BDB5}"/>
              </a:ext>
            </a:extLst>
          </p:cNvPr>
          <p:cNvSpPr>
            <a:spLocks noGrp="1"/>
          </p:cNvSpPr>
          <p:nvPr>
            <p:ph type="body" sz="quarter" idx="12"/>
          </p:nvPr>
        </p:nvSpPr>
        <p:spPr/>
        <p:txBody>
          <a:bodyPr/>
          <a:lstStyle/>
          <a:p>
            <a:pPr marL="342900" indent="-342900">
              <a:buFont typeface="Arial" panose="020B0604020202020204" pitchFamily="34" charset="0"/>
              <a:buChar char="•"/>
            </a:pPr>
            <a:r>
              <a:rPr lang="en-US" dirty="0"/>
              <a:t>Text</a:t>
            </a:r>
          </a:p>
          <a:p>
            <a:pPr marL="342900" indent="-342900">
              <a:buFont typeface="Arial" panose="020B0604020202020204" pitchFamily="34" charset="0"/>
              <a:buChar char="•"/>
            </a:pPr>
            <a:r>
              <a:rPr lang="en-US" dirty="0"/>
              <a:t>Text</a:t>
            </a:r>
          </a:p>
          <a:p>
            <a:pPr marL="342900" indent="-342900">
              <a:buFont typeface="Arial" panose="020B0604020202020204" pitchFamily="34" charset="0"/>
              <a:buChar char="•"/>
            </a:pPr>
            <a:r>
              <a:rPr lang="en-US" dirty="0"/>
              <a:t>Text</a:t>
            </a:r>
          </a:p>
          <a:p>
            <a:pPr marL="342900" indent="-342900">
              <a:buFont typeface="Arial" panose="020B0604020202020204" pitchFamily="34" charset="0"/>
              <a:buChar char="•"/>
            </a:pPr>
            <a:r>
              <a:rPr lang="en-US" dirty="0"/>
              <a:t>Text</a:t>
            </a:r>
          </a:p>
        </p:txBody>
      </p:sp>
    </p:spTree>
    <p:extLst>
      <p:ext uri="{BB962C8B-B14F-4D97-AF65-F5344CB8AC3E}">
        <p14:creationId xmlns:p14="http://schemas.microsoft.com/office/powerpoint/2010/main" val="182855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5C9AB6D-C484-4F11-BBEC-DE748E63E897}"/>
              </a:ext>
            </a:extLst>
          </p:cNvPr>
          <p:cNvSpPr>
            <a:spLocks noGrp="1"/>
          </p:cNvSpPr>
          <p:nvPr>
            <p:ph type="title"/>
          </p:nvPr>
        </p:nvSpPr>
        <p:spPr/>
        <p:txBody>
          <a:bodyPr/>
          <a:lstStyle/>
          <a:p>
            <a:br>
              <a:rPr lang="en-US" dirty="0"/>
            </a:br>
            <a:r>
              <a:rPr lang="en-US" dirty="0"/>
              <a:t>HOW TO UPDATE THE FOOTER</a:t>
            </a:r>
            <a:br>
              <a:rPr lang="en-US" dirty="0"/>
            </a:br>
            <a:r>
              <a:rPr lang="en-US" sz="2000" dirty="0">
                <a:solidFill>
                  <a:srgbClr val="A6001A"/>
                </a:solidFill>
                <a:latin typeface="+mn-lt"/>
              </a:rPr>
              <a:t>Read me and delete ME</a:t>
            </a:r>
            <a:endParaRPr lang="en-US" dirty="0"/>
          </a:p>
        </p:txBody>
      </p:sp>
      <p:pic>
        <p:nvPicPr>
          <p:cNvPr id="11" name="Picture 10">
            <a:extLst>
              <a:ext uri="{FF2B5EF4-FFF2-40B4-BE49-F238E27FC236}">
                <a16:creationId xmlns:a16="http://schemas.microsoft.com/office/drawing/2014/main" id="{86BDC620-E490-42F9-B466-D59720E98F8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670127" y="1402940"/>
            <a:ext cx="4563590" cy="2536186"/>
          </a:xfrm>
          <a:prstGeom prst="rect">
            <a:avLst/>
          </a:prstGeom>
        </p:spPr>
      </p:pic>
      <p:sp>
        <p:nvSpPr>
          <p:cNvPr id="5" name="ZoneTexte 4">
            <a:extLst>
              <a:ext uri="{FF2B5EF4-FFF2-40B4-BE49-F238E27FC236}">
                <a16:creationId xmlns:a16="http://schemas.microsoft.com/office/drawing/2014/main" id="{1FA529A6-2944-4828-ABBF-0CDE49DF9908}"/>
              </a:ext>
            </a:extLst>
          </p:cNvPr>
          <p:cNvSpPr txBox="1"/>
          <p:nvPr/>
        </p:nvSpPr>
        <p:spPr>
          <a:xfrm>
            <a:off x="670046" y="4105544"/>
            <a:ext cx="4563671" cy="523220"/>
          </a:xfrm>
          <a:prstGeom prst="rect">
            <a:avLst/>
          </a:prstGeom>
          <a:noFill/>
        </p:spPr>
        <p:txBody>
          <a:bodyPr wrap="square" rtlCol="0">
            <a:spAutoFit/>
          </a:bodyPr>
          <a:lstStyle/>
          <a:p>
            <a:r>
              <a:rPr lang="en-US" sz="1400" dirty="0"/>
              <a:t>1. Go to the initial slide Master (View &gt; Slide master)</a:t>
            </a:r>
          </a:p>
          <a:p>
            <a:r>
              <a:rPr lang="en-US" sz="1400" dirty="0"/>
              <a:t>2. Select and update the text fields</a:t>
            </a:r>
          </a:p>
        </p:txBody>
      </p:sp>
      <p:sp>
        <p:nvSpPr>
          <p:cNvPr id="19" name="TextBox 18">
            <a:extLst>
              <a:ext uri="{FF2B5EF4-FFF2-40B4-BE49-F238E27FC236}">
                <a16:creationId xmlns:a16="http://schemas.microsoft.com/office/drawing/2014/main" id="{95DC17BF-00A3-4A44-8240-1013433078E0}"/>
              </a:ext>
            </a:extLst>
          </p:cNvPr>
          <p:cNvSpPr txBox="1"/>
          <p:nvPr/>
        </p:nvSpPr>
        <p:spPr>
          <a:xfrm>
            <a:off x="501538" y="5213540"/>
            <a:ext cx="6189344" cy="307777"/>
          </a:xfrm>
          <a:prstGeom prst="rect">
            <a:avLst/>
          </a:prstGeom>
          <a:noFill/>
        </p:spPr>
        <p:txBody>
          <a:bodyPr wrap="square">
            <a:spAutoFit/>
          </a:bodyPr>
          <a:lstStyle/>
          <a:p>
            <a:r>
              <a:rPr lang="en-US" sz="1400" dirty="0">
                <a:latin typeface="+mj-lt"/>
              </a:rPr>
              <a:t>A) Presentation Title | Author | Date</a:t>
            </a:r>
          </a:p>
        </p:txBody>
      </p:sp>
      <p:sp>
        <p:nvSpPr>
          <p:cNvPr id="2" name="Rectangle 1">
            <a:extLst>
              <a:ext uri="{FF2B5EF4-FFF2-40B4-BE49-F238E27FC236}">
                <a16:creationId xmlns:a16="http://schemas.microsoft.com/office/drawing/2014/main" id="{3EBEB82A-25B5-4673-9486-6551E332E3FF}"/>
              </a:ext>
              <a:ext uri="{C183D7F6-B498-43B3-948B-1728B52AA6E4}">
                <adec:decorative xmlns:adec="http://schemas.microsoft.com/office/drawing/2017/decorative" val="1"/>
              </a:ext>
            </a:extLst>
          </p:cNvPr>
          <p:cNvSpPr/>
          <p:nvPr/>
        </p:nvSpPr>
        <p:spPr>
          <a:xfrm>
            <a:off x="335360" y="6469812"/>
            <a:ext cx="1584176" cy="307777"/>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28" name="Group 27">
            <a:extLst>
              <a:ext uri="{FF2B5EF4-FFF2-40B4-BE49-F238E27FC236}">
                <a16:creationId xmlns:a16="http://schemas.microsoft.com/office/drawing/2014/main" id="{7A51DC3E-055C-43CD-8E95-D1FD7CCEA9D6}"/>
              </a:ext>
              <a:ext uri="{C183D7F6-B498-43B3-948B-1728B52AA6E4}">
                <adec:decorative xmlns:adec="http://schemas.microsoft.com/office/drawing/2017/decorative" val="1"/>
              </a:ext>
            </a:extLst>
          </p:cNvPr>
          <p:cNvGrpSpPr/>
          <p:nvPr/>
        </p:nvGrpSpPr>
        <p:grpSpPr>
          <a:xfrm>
            <a:off x="815844" y="5749290"/>
            <a:ext cx="647196" cy="720522"/>
            <a:chOff x="815844" y="5749290"/>
            <a:chExt cx="647196" cy="720522"/>
          </a:xfrm>
        </p:grpSpPr>
        <p:sp>
          <p:nvSpPr>
            <p:cNvPr id="15" name="Arrow: Down 14">
              <a:extLst>
                <a:ext uri="{FF2B5EF4-FFF2-40B4-BE49-F238E27FC236}">
                  <a16:creationId xmlns:a16="http://schemas.microsoft.com/office/drawing/2014/main" id="{7992D295-D24A-4CEF-B277-0DB49ACFAA01}"/>
                </a:ext>
                <a:ext uri="{C183D7F6-B498-43B3-948B-1728B52AA6E4}">
                  <adec:decorative xmlns:adec="http://schemas.microsoft.com/office/drawing/2017/decorative" val="0"/>
                </a:ext>
              </a:extLst>
            </p:cNvPr>
            <p:cNvSpPr/>
            <p:nvPr/>
          </p:nvSpPr>
          <p:spPr>
            <a:xfrm>
              <a:off x="815844" y="5749290"/>
              <a:ext cx="647196" cy="720522"/>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0" name="TextBox 19">
              <a:extLst>
                <a:ext uri="{FF2B5EF4-FFF2-40B4-BE49-F238E27FC236}">
                  <a16:creationId xmlns:a16="http://schemas.microsoft.com/office/drawing/2014/main" id="{ACD056E8-1B66-41CD-B313-78FA7E491B14}"/>
                </a:ext>
                <a:ext uri="{C183D7F6-B498-43B3-948B-1728B52AA6E4}">
                  <adec:decorative xmlns:adec="http://schemas.microsoft.com/office/drawing/2017/decorative" val="0"/>
                </a:ext>
              </a:extLst>
            </p:cNvPr>
            <p:cNvSpPr txBox="1"/>
            <p:nvPr/>
          </p:nvSpPr>
          <p:spPr>
            <a:xfrm>
              <a:off x="960063" y="5844051"/>
              <a:ext cx="360045" cy="369332"/>
            </a:xfrm>
            <a:prstGeom prst="rect">
              <a:avLst/>
            </a:prstGeom>
            <a:noFill/>
          </p:spPr>
          <p:txBody>
            <a:bodyPr wrap="square" rtlCol="0">
              <a:spAutoFit/>
            </a:bodyPr>
            <a:lstStyle/>
            <a:p>
              <a:pPr algn="ctr"/>
              <a:r>
                <a:rPr lang="en-US" dirty="0">
                  <a:solidFill>
                    <a:schemeClr val="bg1"/>
                  </a:solidFill>
                </a:rPr>
                <a:t>A</a:t>
              </a:r>
            </a:p>
          </p:txBody>
        </p:sp>
      </p:grpSp>
      <p:grpSp>
        <p:nvGrpSpPr>
          <p:cNvPr id="27" name="Group 26">
            <a:extLst>
              <a:ext uri="{FF2B5EF4-FFF2-40B4-BE49-F238E27FC236}">
                <a16:creationId xmlns:a16="http://schemas.microsoft.com/office/drawing/2014/main" id="{7083F5D0-ED65-4D3E-BFA9-713A92016C29}"/>
              </a:ext>
              <a:ext uri="{C183D7F6-B498-43B3-948B-1728B52AA6E4}">
                <adec:decorative xmlns:adec="http://schemas.microsoft.com/office/drawing/2017/decorative" val="1"/>
              </a:ext>
            </a:extLst>
          </p:cNvPr>
          <p:cNvGrpSpPr/>
          <p:nvPr/>
        </p:nvGrpSpPr>
        <p:grpSpPr>
          <a:xfrm>
            <a:off x="6795100" y="1258672"/>
            <a:ext cx="4756468" cy="3100386"/>
            <a:chOff x="6795100" y="549856"/>
            <a:chExt cx="4756468" cy="3100386"/>
          </a:xfrm>
        </p:grpSpPr>
        <p:pic>
          <p:nvPicPr>
            <p:cNvPr id="8" name="Picture 7">
              <a:extLst>
                <a:ext uri="{FF2B5EF4-FFF2-40B4-BE49-F238E27FC236}">
                  <a16:creationId xmlns:a16="http://schemas.microsoft.com/office/drawing/2014/main" id="{B2342280-DBFD-4126-955E-A958FC0A712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795100" y="549856"/>
              <a:ext cx="4756468" cy="3100386"/>
            </a:xfrm>
            <a:prstGeom prst="rect">
              <a:avLst/>
            </a:prstGeom>
          </p:spPr>
        </p:pic>
        <p:sp>
          <p:nvSpPr>
            <p:cNvPr id="12" name="Rectangle 11">
              <a:extLst>
                <a:ext uri="{FF2B5EF4-FFF2-40B4-BE49-F238E27FC236}">
                  <a16:creationId xmlns:a16="http://schemas.microsoft.com/office/drawing/2014/main" id="{AB4488A9-EBB6-4A72-9C2D-CEBE1AB881C1}"/>
                </a:ext>
              </a:extLst>
            </p:cNvPr>
            <p:cNvSpPr/>
            <p:nvPr/>
          </p:nvSpPr>
          <p:spPr>
            <a:xfrm>
              <a:off x="10206990" y="1990567"/>
              <a:ext cx="1085850" cy="117231"/>
            </a:xfrm>
            <a:prstGeom prst="rect">
              <a:avLst/>
            </a:prstGeom>
            <a:noFill/>
            <a:ln>
              <a:solidFill>
                <a:srgbClr val="A600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0" name="Group 29">
            <a:extLst>
              <a:ext uri="{FF2B5EF4-FFF2-40B4-BE49-F238E27FC236}">
                <a16:creationId xmlns:a16="http://schemas.microsoft.com/office/drawing/2014/main" id="{4565FEE5-A704-495E-8327-5935B54E7FBA}"/>
              </a:ext>
              <a:ext uri="{C183D7F6-B498-43B3-948B-1728B52AA6E4}">
                <adec:decorative xmlns:adec="http://schemas.microsoft.com/office/drawing/2017/decorative" val="1"/>
              </a:ext>
            </a:extLst>
          </p:cNvPr>
          <p:cNvGrpSpPr/>
          <p:nvPr/>
        </p:nvGrpSpPr>
        <p:grpSpPr>
          <a:xfrm>
            <a:off x="11311779" y="2436616"/>
            <a:ext cx="720522" cy="647196"/>
            <a:chOff x="11311779" y="1727800"/>
            <a:chExt cx="720522" cy="647196"/>
          </a:xfrm>
        </p:grpSpPr>
        <p:sp>
          <p:nvSpPr>
            <p:cNvPr id="23" name="Arrow: Down 22">
              <a:extLst>
                <a:ext uri="{FF2B5EF4-FFF2-40B4-BE49-F238E27FC236}">
                  <a16:creationId xmlns:a16="http://schemas.microsoft.com/office/drawing/2014/main" id="{C1969272-40DC-432A-8979-7D56F4752E9B}"/>
                </a:ext>
                <a:ext uri="{C183D7F6-B498-43B3-948B-1728B52AA6E4}">
                  <adec:decorative xmlns:adec="http://schemas.microsoft.com/office/drawing/2017/decorative" val="1"/>
                </a:ext>
              </a:extLst>
            </p:cNvPr>
            <p:cNvSpPr/>
            <p:nvPr/>
          </p:nvSpPr>
          <p:spPr>
            <a:xfrm rot="5400000">
              <a:off x="11348442" y="1691137"/>
              <a:ext cx="647196" cy="720522"/>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4" name="TextBox 23">
              <a:extLst>
                <a:ext uri="{FF2B5EF4-FFF2-40B4-BE49-F238E27FC236}">
                  <a16:creationId xmlns:a16="http://schemas.microsoft.com/office/drawing/2014/main" id="{24BEE6C5-E947-42F8-A376-9452688D501F}"/>
                </a:ext>
                <a:ext uri="{C183D7F6-B498-43B3-948B-1728B52AA6E4}">
                  <adec:decorative xmlns:adec="http://schemas.microsoft.com/office/drawing/2017/decorative" val="1"/>
                </a:ext>
              </a:extLst>
            </p:cNvPr>
            <p:cNvSpPr txBox="1"/>
            <p:nvPr/>
          </p:nvSpPr>
          <p:spPr>
            <a:xfrm>
              <a:off x="11555322" y="1855302"/>
              <a:ext cx="360045" cy="369332"/>
            </a:xfrm>
            <a:prstGeom prst="rect">
              <a:avLst/>
            </a:prstGeom>
            <a:noFill/>
          </p:spPr>
          <p:txBody>
            <a:bodyPr wrap="square" rtlCol="0">
              <a:spAutoFit/>
            </a:bodyPr>
            <a:lstStyle/>
            <a:p>
              <a:r>
                <a:rPr lang="en-US" dirty="0">
                  <a:solidFill>
                    <a:schemeClr val="bg1"/>
                  </a:solidFill>
                </a:rPr>
                <a:t>B</a:t>
              </a:r>
            </a:p>
          </p:txBody>
        </p:sp>
      </p:grpSp>
      <p:sp>
        <p:nvSpPr>
          <p:cNvPr id="17" name="TextBox 16">
            <a:extLst>
              <a:ext uri="{FF2B5EF4-FFF2-40B4-BE49-F238E27FC236}">
                <a16:creationId xmlns:a16="http://schemas.microsoft.com/office/drawing/2014/main" id="{9ED0C1AA-976D-4283-B56F-92171FBD8C2C}"/>
              </a:ext>
            </a:extLst>
          </p:cNvPr>
          <p:cNvSpPr txBox="1"/>
          <p:nvPr/>
        </p:nvSpPr>
        <p:spPr>
          <a:xfrm>
            <a:off x="6958284" y="4512832"/>
            <a:ext cx="5074017" cy="1384995"/>
          </a:xfrm>
          <a:prstGeom prst="rect">
            <a:avLst/>
          </a:prstGeom>
          <a:noFill/>
        </p:spPr>
        <p:txBody>
          <a:bodyPr wrap="square">
            <a:spAutoFit/>
          </a:bodyPr>
          <a:lstStyle/>
          <a:p>
            <a:r>
              <a:rPr lang="en-US" sz="1400" dirty="0">
                <a:latin typeface="+mj-lt"/>
              </a:rPr>
              <a:t>B) Data Security Classification (see definitions </a:t>
            </a:r>
            <a:r>
              <a:rPr lang="en-US" sz="1400" dirty="0">
                <a:latin typeface="+mj-lt"/>
                <a:hlinkClick r:id="rId4"/>
              </a:rPr>
              <a:t>here</a:t>
            </a:r>
            <a:r>
              <a:rPr lang="en-US" sz="1400" dirty="0">
                <a:latin typeface="+mj-lt"/>
              </a:rPr>
              <a:t>), </a:t>
            </a:r>
            <a:r>
              <a:rPr lang="en-US" sz="1400" dirty="0"/>
              <a:t>choose from:</a:t>
            </a:r>
          </a:p>
          <a:p>
            <a:pPr marL="742950" lvl="1" indent="-285750">
              <a:buFont typeface="Arial" panose="020B0604020202020204" pitchFamily="34" charset="0"/>
              <a:buChar char="•"/>
            </a:pPr>
            <a:r>
              <a:rPr lang="en-GB" sz="1400" dirty="0"/>
              <a:t>Public</a:t>
            </a:r>
          </a:p>
          <a:p>
            <a:pPr marL="742950" lvl="1" indent="-285750">
              <a:buFont typeface="Arial" panose="020B0604020202020204" pitchFamily="34" charset="0"/>
              <a:buChar char="•"/>
            </a:pPr>
            <a:r>
              <a:rPr lang="en-US" sz="1400" dirty="0"/>
              <a:t>Company confidential (set per default)</a:t>
            </a:r>
          </a:p>
          <a:p>
            <a:pPr marL="742950" lvl="1" indent="-285750">
              <a:buFont typeface="Arial" panose="020B0604020202020204" pitchFamily="34" charset="0"/>
              <a:buChar char="•"/>
            </a:pPr>
            <a:r>
              <a:rPr lang="en-GB" sz="1400" dirty="0"/>
              <a:t>Company Restricted</a:t>
            </a:r>
          </a:p>
          <a:p>
            <a:pPr marL="742950" lvl="1" indent="-285750">
              <a:buFont typeface="Arial" panose="020B0604020202020204" pitchFamily="34" charset="0"/>
              <a:buChar char="•"/>
            </a:pPr>
            <a:r>
              <a:rPr lang="en-GB" sz="1400" dirty="0"/>
              <a:t>Company Sensitive</a:t>
            </a:r>
            <a:endParaRPr lang="en-US" sz="1400" dirty="0"/>
          </a:p>
        </p:txBody>
      </p:sp>
      <p:sp>
        <p:nvSpPr>
          <p:cNvPr id="25" name="Rectangle 24">
            <a:extLst>
              <a:ext uri="{FF2B5EF4-FFF2-40B4-BE49-F238E27FC236}">
                <a16:creationId xmlns:a16="http://schemas.microsoft.com/office/drawing/2014/main" id="{90F17880-7A68-4068-963E-885C11705B8C}"/>
              </a:ext>
              <a:ext uri="{C183D7F6-B498-43B3-948B-1728B52AA6E4}">
                <adec:decorative xmlns:adec="http://schemas.microsoft.com/office/drawing/2017/decorative" val="1"/>
              </a:ext>
            </a:extLst>
          </p:cNvPr>
          <p:cNvSpPr/>
          <p:nvPr/>
        </p:nvSpPr>
        <p:spPr>
          <a:xfrm>
            <a:off x="9192343" y="6469812"/>
            <a:ext cx="995863" cy="307777"/>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29" name="Group 28">
            <a:extLst>
              <a:ext uri="{FF2B5EF4-FFF2-40B4-BE49-F238E27FC236}">
                <a16:creationId xmlns:a16="http://schemas.microsoft.com/office/drawing/2014/main" id="{9CE1F858-1972-4292-8A87-BE139C443840}"/>
              </a:ext>
              <a:ext uri="{C183D7F6-B498-43B3-948B-1728B52AA6E4}">
                <adec:decorative xmlns:adec="http://schemas.microsoft.com/office/drawing/2017/decorative" val="1"/>
              </a:ext>
            </a:extLst>
          </p:cNvPr>
          <p:cNvGrpSpPr/>
          <p:nvPr/>
        </p:nvGrpSpPr>
        <p:grpSpPr>
          <a:xfrm>
            <a:off x="9298662" y="5749290"/>
            <a:ext cx="647196" cy="720522"/>
            <a:chOff x="9298662" y="5844051"/>
            <a:chExt cx="647196" cy="720522"/>
          </a:xfrm>
        </p:grpSpPr>
        <p:sp>
          <p:nvSpPr>
            <p:cNvPr id="21" name="Arrow: Down 20">
              <a:extLst>
                <a:ext uri="{FF2B5EF4-FFF2-40B4-BE49-F238E27FC236}">
                  <a16:creationId xmlns:a16="http://schemas.microsoft.com/office/drawing/2014/main" id="{29EB2530-C775-404C-BEE7-ACA6E6205A88}"/>
                </a:ext>
              </a:extLst>
            </p:cNvPr>
            <p:cNvSpPr/>
            <p:nvPr/>
          </p:nvSpPr>
          <p:spPr>
            <a:xfrm>
              <a:off x="9298662" y="5844051"/>
              <a:ext cx="647196" cy="720522"/>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2" name="TextBox 21">
              <a:extLst>
                <a:ext uri="{FF2B5EF4-FFF2-40B4-BE49-F238E27FC236}">
                  <a16:creationId xmlns:a16="http://schemas.microsoft.com/office/drawing/2014/main" id="{F9D40FA0-65E8-4CBD-BAB8-6A92EC403222}"/>
                </a:ext>
              </a:extLst>
            </p:cNvPr>
            <p:cNvSpPr txBox="1"/>
            <p:nvPr/>
          </p:nvSpPr>
          <p:spPr>
            <a:xfrm>
              <a:off x="9442881" y="5938812"/>
              <a:ext cx="360045" cy="369332"/>
            </a:xfrm>
            <a:prstGeom prst="rect">
              <a:avLst/>
            </a:prstGeom>
            <a:noFill/>
          </p:spPr>
          <p:txBody>
            <a:bodyPr wrap="square" rtlCol="0">
              <a:spAutoFit/>
            </a:bodyPr>
            <a:lstStyle/>
            <a:p>
              <a:pPr algn="ctr"/>
              <a:r>
                <a:rPr lang="en-US" dirty="0">
                  <a:solidFill>
                    <a:schemeClr val="bg1"/>
                  </a:solidFill>
                </a:rPr>
                <a:t>B</a:t>
              </a:r>
            </a:p>
          </p:txBody>
        </p:sp>
      </p:grpSp>
    </p:spTree>
    <p:extLst>
      <p:ext uri="{BB962C8B-B14F-4D97-AF65-F5344CB8AC3E}">
        <p14:creationId xmlns:p14="http://schemas.microsoft.com/office/powerpoint/2010/main" val="2179355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97E0179-E525-4405-BDCD-7801877E0A51}"/>
              </a:ext>
            </a:extLst>
          </p:cNvPr>
          <p:cNvSpPr txBox="1">
            <a:spLocks noGrp="1"/>
          </p:cNvSpPr>
          <p:nvPr>
            <p:ph type="title" idx="4294967295"/>
          </p:nvPr>
        </p:nvSpPr>
        <p:spPr>
          <a:xfrm>
            <a:off x="0" y="274638"/>
            <a:ext cx="6696075" cy="31543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900" b="1" i="0" u="none" strike="noStrike" kern="1200" cap="none" spc="0" normalizeH="0" baseline="0" noProof="0">
                <a:ln>
                  <a:noFill/>
                </a:ln>
                <a:solidFill>
                  <a:srgbClr val="12ACDC"/>
                </a:solidFill>
                <a:effectLst/>
                <a:uLnTx/>
                <a:uFillTx/>
                <a:latin typeface="Ubuntu" panose="020B0504030602030204" pitchFamily="34" charset="0"/>
                <a:ea typeface="+mn-ea"/>
                <a:cs typeface="+mn-cs"/>
              </a:rPr>
              <a:t>98%</a:t>
            </a:r>
            <a:endParaRPr kumimoji="0" lang="en-GB" sz="3200" b="1"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p:txBody>
      </p:sp>
      <p:sp>
        <p:nvSpPr>
          <p:cNvPr id="9" name="TextBox 8">
            <a:extLst>
              <a:ext uri="{FF2B5EF4-FFF2-40B4-BE49-F238E27FC236}">
                <a16:creationId xmlns:a16="http://schemas.microsoft.com/office/drawing/2014/main" id="{81A790AD-9AC6-45A8-A6F4-7CC5EC9D86BF}"/>
              </a:ext>
            </a:extLst>
          </p:cNvPr>
          <p:cNvSpPr txBox="1"/>
          <p:nvPr/>
        </p:nvSpPr>
        <p:spPr>
          <a:xfrm>
            <a:off x="1051899" y="3272771"/>
            <a:ext cx="4511675" cy="1938992"/>
          </a:xfrm>
          <a:prstGeom prst="rect">
            <a:avLst/>
          </a:prstGeom>
          <a:noFill/>
        </p:spPr>
        <p:txBody>
          <a:bodyPr wrap="square" rtlCol="0">
            <a:spAutoFit/>
          </a:bodyPr>
          <a:lstStyle/>
          <a:p>
            <a:pPr algn="ctr"/>
            <a:r>
              <a:rPr lang="en-GB" sz="2400" b="0" i="0" u="none" strike="noStrike" baseline="0">
                <a:solidFill>
                  <a:schemeClr val="bg1"/>
                </a:solidFill>
                <a:latin typeface="Ubuntu" panose="020B0504030602030204" pitchFamily="34" charset="0"/>
              </a:rPr>
              <a:t>Ubuntu regular for body copy, lorem ipsum </a:t>
            </a:r>
            <a:r>
              <a:rPr lang="en-GB" sz="2400" b="0" i="0" u="none" strike="noStrike" baseline="0" err="1">
                <a:solidFill>
                  <a:schemeClr val="bg1"/>
                </a:solidFill>
                <a:latin typeface="Ubuntu" panose="020B0504030602030204" pitchFamily="34" charset="0"/>
              </a:rPr>
              <a:t>dolor</a:t>
            </a:r>
            <a:r>
              <a:rPr lang="en-GB" sz="2400" b="0" i="0" u="none" strike="noStrike" baseline="0">
                <a:solidFill>
                  <a:schemeClr val="bg1"/>
                </a:solidFill>
                <a:latin typeface="Ubuntu" panose="020B0504030602030204" pitchFamily="34" charset="0"/>
              </a:rPr>
              <a:t> sit </a:t>
            </a:r>
            <a:r>
              <a:rPr lang="en-GB" sz="2400" b="0" i="0" u="none" strike="noStrike" baseline="0" err="1">
                <a:solidFill>
                  <a:schemeClr val="bg1"/>
                </a:solidFill>
                <a:latin typeface="Ubuntu" panose="020B0504030602030204" pitchFamily="34" charset="0"/>
              </a:rPr>
              <a:t>amet</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consectetur</a:t>
            </a:r>
            <a:r>
              <a:rPr lang="en-GB" sz="240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adipiscing</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elit</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Nullam</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tristique</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elit</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quis</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tortor</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ultricies</a:t>
            </a:r>
            <a:r>
              <a:rPr lang="en-GB" sz="2400" b="0" i="0" u="none" strike="noStrike" baseline="0">
                <a:solidFill>
                  <a:schemeClr val="bg1"/>
                </a:solidFill>
                <a:latin typeface="Ubuntu" panose="020B0504030602030204" pitchFamily="34" charset="0"/>
              </a:rPr>
              <a:t> temp</a:t>
            </a:r>
            <a:endParaRPr lang="en-GB" sz="2400">
              <a:solidFill>
                <a:schemeClr val="bg1"/>
              </a:solidFill>
            </a:endParaRPr>
          </a:p>
        </p:txBody>
      </p:sp>
      <p:sp>
        <p:nvSpPr>
          <p:cNvPr id="11" name="Graphic 1">
            <a:extLst>
              <a:ext uri="{FF2B5EF4-FFF2-40B4-BE49-F238E27FC236}">
                <a16:creationId xmlns:a16="http://schemas.microsoft.com/office/drawing/2014/main" id="{36E561D7-15D0-4E09-BAF0-0E0ABC4FFA39}"/>
              </a:ext>
              <a:ext uri="{C183D7F6-B498-43B3-948B-1728B52AA6E4}">
                <adec:decorative xmlns:adec="http://schemas.microsoft.com/office/drawing/2017/decorative" val="1"/>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332572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756FDC3-830C-4455-A30E-79EA2ACE9DB8}"/>
              </a:ext>
            </a:extLst>
          </p:cNvPr>
          <p:cNvSpPr txBox="1">
            <a:spLocks noGrp="1"/>
          </p:cNvSpPr>
          <p:nvPr>
            <p:ph type="title" idx="4294967295"/>
          </p:nvPr>
        </p:nvSpPr>
        <p:spPr>
          <a:xfrm>
            <a:off x="0" y="1474788"/>
            <a:ext cx="11379200" cy="26479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600" b="1" i="0" u="none" strike="noStrike" kern="1200" cap="none" spc="0" normalizeH="0" baseline="0" noProof="0">
                <a:ln>
                  <a:noFill/>
                </a:ln>
                <a:solidFill>
                  <a:schemeClr val="bg1"/>
                </a:solidFill>
                <a:effectLst/>
                <a:uLnTx/>
                <a:uFillTx/>
                <a:latin typeface="Ubuntu" panose="020B0504030602030204" pitchFamily="34" charset="0"/>
                <a:ea typeface="+mn-ea"/>
                <a:cs typeface="+mn-cs"/>
              </a:rPr>
              <a:t>8.000.000</a:t>
            </a:r>
          </a:p>
        </p:txBody>
      </p:sp>
      <p:sp>
        <p:nvSpPr>
          <p:cNvPr id="10" name="Textplatzhalter 3">
            <a:extLst>
              <a:ext uri="{FF2B5EF4-FFF2-40B4-BE49-F238E27FC236}">
                <a16:creationId xmlns:a16="http://schemas.microsoft.com/office/drawing/2014/main" id="{02040C53-ED37-4428-B080-CB8FB9D79065}"/>
              </a:ext>
            </a:extLst>
          </p:cNvPr>
          <p:cNvSpPr txBox="1">
            <a:spLocks/>
          </p:cNvSpPr>
          <p:nvPr/>
        </p:nvSpPr>
        <p:spPr>
          <a:xfrm>
            <a:off x="404813" y="4149080"/>
            <a:ext cx="11379201" cy="369332"/>
          </a:xfrm>
          <a:prstGeom prst="rect">
            <a:avLst/>
          </a:prstGeom>
          <a:ln>
            <a:noFill/>
          </a:ln>
        </p:spPr>
        <p:txBody>
          <a:bodyPr wrap="square">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GB" sz="1800">
                <a:solidFill>
                  <a:schemeClr val="bg1"/>
                </a:solidFill>
                <a:latin typeface="Ubuntu" panose="020B0504030602030204" pitchFamily="34" charset="0"/>
              </a:rPr>
              <a:t>Short description lorem ipsum </a:t>
            </a:r>
            <a:r>
              <a:rPr lang="en-GB" sz="1800" err="1">
                <a:solidFill>
                  <a:schemeClr val="bg1"/>
                </a:solidFill>
                <a:latin typeface="Ubuntu" panose="020B0504030602030204" pitchFamily="34" charset="0"/>
              </a:rPr>
              <a:t>dolor</a:t>
            </a:r>
            <a:r>
              <a:rPr lang="en-GB" sz="1800">
                <a:solidFill>
                  <a:schemeClr val="bg1"/>
                </a:solidFill>
                <a:latin typeface="Ubuntu" panose="020B0504030602030204" pitchFamily="34" charset="0"/>
              </a:rPr>
              <a:t> sit </a:t>
            </a:r>
            <a:r>
              <a:rPr lang="en-GB" sz="1800" err="1">
                <a:solidFill>
                  <a:schemeClr val="bg1"/>
                </a:solidFill>
                <a:latin typeface="Ubuntu" panose="020B0504030602030204" pitchFamily="34" charset="0"/>
              </a:rPr>
              <a:t>amet</a:t>
            </a:r>
            <a:endParaRPr lang="en-GB" sz="1800">
              <a:solidFill>
                <a:schemeClr val="bg1"/>
              </a:solidFill>
              <a:latin typeface="Ubuntu" panose="020B0504030602030204" pitchFamily="34" charset="0"/>
            </a:endParaRPr>
          </a:p>
        </p:txBody>
      </p:sp>
    </p:spTree>
    <p:extLst>
      <p:ext uri="{BB962C8B-B14F-4D97-AF65-F5344CB8AC3E}">
        <p14:creationId xmlns:p14="http://schemas.microsoft.com/office/powerpoint/2010/main" val="24246369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raphic 1">
            <a:extLst>
              <a:ext uri="{FF2B5EF4-FFF2-40B4-BE49-F238E27FC236}">
                <a16:creationId xmlns:a16="http://schemas.microsoft.com/office/drawing/2014/main" id="{82061998-26CF-4661-942D-AAB70015F353}"/>
              </a:ext>
              <a:ext uri="{C183D7F6-B498-43B3-948B-1728B52AA6E4}">
                <adec:decorative xmlns:adec="http://schemas.microsoft.com/office/drawing/2017/decorative" val="1"/>
              </a:ext>
            </a:extLst>
          </p:cNvPr>
          <p:cNvSpPr/>
          <p:nvPr/>
        </p:nvSpPr>
        <p:spPr>
          <a:xfrm rot="20354984">
            <a:off x="3664018" y="1890732"/>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78000">
                <a:schemeClr val="accent1">
                  <a:alpha val="0"/>
                </a:schemeClr>
              </a:gs>
              <a:gs pos="16000">
                <a:schemeClr val="accent1">
                  <a:alpha val="0"/>
                </a:schemeClr>
              </a:gs>
              <a:gs pos="49000">
                <a:schemeClr val="accent1"/>
              </a:gs>
              <a:gs pos="31000">
                <a:schemeClr val="accent1"/>
              </a:gs>
            </a:gsLst>
            <a:lin ang="1200000" scaled="0"/>
          </a:gradFill>
          <a:ln w="9525" cap="flat">
            <a:noFill/>
            <a:prstDash val="solid"/>
            <a:miter/>
          </a:ln>
        </p:spPr>
        <p:txBody>
          <a:bodyPr rtlCol="0" anchor="ctr"/>
          <a:lstStyle/>
          <a:p>
            <a:endParaRPr lang="en-GB" dirty="0"/>
          </a:p>
        </p:txBody>
      </p:sp>
      <p:sp>
        <p:nvSpPr>
          <p:cNvPr id="4" name="Title 3">
            <a:extLst>
              <a:ext uri="{FF2B5EF4-FFF2-40B4-BE49-F238E27FC236}">
                <a16:creationId xmlns:a16="http://schemas.microsoft.com/office/drawing/2014/main" id="{3021435A-28A1-4C25-94C6-62FFBDD5FF9E}"/>
              </a:ext>
            </a:extLst>
          </p:cNvPr>
          <p:cNvSpPr>
            <a:spLocks noGrp="1"/>
          </p:cNvSpPr>
          <p:nvPr>
            <p:ph type="ctrTitle"/>
          </p:nvPr>
        </p:nvSpPr>
        <p:spPr>
          <a:xfrm>
            <a:off x="404813" y="1526298"/>
            <a:ext cx="11329987" cy="2215991"/>
          </a:xfrm>
        </p:spPr>
        <p:txBody>
          <a:bodyPr/>
          <a:lstStyle/>
          <a:p>
            <a:r>
              <a:rPr lang="en-GB"/>
              <a:t>“This is a VERY</a:t>
            </a:r>
            <a:br>
              <a:rPr lang="en-GB"/>
            </a:br>
            <a:r>
              <a:rPr lang="en-GB"/>
              <a:t>          IMPORTANT AND </a:t>
            </a:r>
            <a:br>
              <a:rPr lang="en-GB"/>
            </a:br>
            <a:r>
              <a:rPr lang="en-GB"/>
              <a:t>CLEAR QUOTE”</a:t>
            </a:r>
          </a:p>
        </p:txBody>
      </p:sp>
      <p:sp>
        <p:nvSpPr>
          <p:cNvPr id="5" name="Subtitle 4">
            <a:extLst>
              <a:ext uri="{FF2B5EF4-FFF2-40B4-BE49-F238E27FC236}">
                <a16:creationId xmlns:a16="http://schemas.microsoft.com/office/drawing/2014/main" id="{72AC82FB-76BF-425C-A684-E4467DC5D1E3}"/>
              </a:ext>
            </a:extLst>
          </p:cNvPr>
          <p:cNvSpPr>
            <a:spLocks noGrp="1"/>
          </p:cNvSpPr>
          <p:nvPr>
            <p:ph type="subTitle" idx="1"/>
          </p:nvPr>
        </p:nvSpPr>
        <p:spPr>
          <a:xfrm>
            <a:off x="4367808" y="3772800"/>
            <a:ext cx="7366992" cy="307777"/>
          </a:xfrm>
        </p:spPr>
        <p:txBody>
          <a:bodyPr/>
          <a:lstStyle/>
          <a:p>
            <a:r>
              <a:rPr lang="en-GB" err="1"/>
              <a:t>First_last</a:t>
            </a:r>
            <a:r>
              <a:rPr lang="en-GB"/>
              <a:t> name</a:t>
            </a:r>
          </a:p>
        </p:txBody>
      </p:sp>
    </p:spTree>
    <p:extLst>
      <p:ext uri="{BB962C8B-B14F-4D97-AF65-F5344CB8AC3E}">
        <p14:creationId xmlns:p14="http://schemas.microsoft.com/office/powerpoint/2010/main" val="371912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a:t>Title</a:t>
            </a:r>
          </a:p>
        </p:txBody>
      </p:sp>
      <p:sp>
        <p:nvSpPr>
          <p:cNvPr id="33" name="Text Placeholder 4">
            <a:extLst>
              <a:ext uri="{FF2B5EF4-FFF2-40B4-BE49-F238E27FC236}">
                <a16:creationId xmlns:a16="http://schemas.microsoft.com/office/drawing/2014/main" id="{20FA8C30-3B27-4BE8-A327-8FF1FFDD637B}"/>
              </a:ext>
            </a:extLst>
          </p:cNvPr>
          <p:cNvSpPr>
            <a:spLocks noGrp="1"/>
          </p:cNvSpPr>
          <p:nvPr>
            <p:ph type="body" sz="quarter" idx="10"/>
          </p:nvPr>
        </p:nvSpPr>
        <p:spPr>
          <a:xfrm>
            <a:off x="404813" y="1386216"/>
            <a:ext cx="5979219" cy="4851096"/>
          </a:xfrm>
          <a:solidFill>
            <a:schemeClr val="bg2"/>
          </a:solidFill>
        </p:spPr>
        <p:txBody>
          <a:bodyPr lIns="91440" tIns="108000"/>
          <a:lstStyle/>
          <a:p>
            <a:r>
              <a:rPr lang="en-GB"/>
              <a:t>First level</a:t>
            </a:r>
          </a:p>
          <a:p>
            <a:pPr lvl="1"/>
            <a:r>
              <a:rPr lang="en-GB"/>
              <a:t>Second level</a:t>
            </a:r>
          </a:p>
          <a:p>
            <a:pPr lvl="2"/>
            <a:r>
              <a:rPr lang="en-GB"/>
              <a:t>Third level</a:t>
            </a:r>
          </a:p>
          <a:p>
            <a:pPr lvl="3"/>
            <a:r>
              <a:rPr lang="en-GB"/>
              <a:t>Fourth level</a:t>
            </a:r>
          </a:p>
          <a:p>
            <a:pPr lvl="4"/>
            <a:r>
              <a:rPr lang="en-GB"/>
              <a:t>Fifth level</a:t>
            </a:r>
          </a:p>
          <a:p>
            <a:pPr lvl="1"/>
            <a:endParaRPr lang="en-GB"/>
          </a:p>
          <a:p>
            <a:endParaRPr lang="en-GB"/>
          </a:p>
        </p:txBody>
      </p:sp>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6600056" y="-17512"/>
            <a:ext cx="5591944" cy="6875512"/>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a:p>
        </p:txBody>
      </p:sp>
      <p:sp>
        <p:nvSpPr>
          <p:cNvPr id="16" name="object 3">
            <a:extLst>
              <a:ext uri="{FF2B5EF4-FFF2-40B4-BE49-F238E27FC236}">
                <a16:creationId xmlns:a16="http://schemas.microsoft.com/office/drawing/2014/main" id="{CE631109-B1CB-49AB-8D5A-E34E352F4939}"/>
              </a:ext>
            </a:extLst>
          </p:cNvPr>
          <p:cNvSpPr txBox="1"/>
          <p:nvPr/>
        </p:nvSpPr>
        <p:spPr>
          <a:xfrm>
            <a:off x="7329170" y="1143997"/>
            <a:ext cx="4233466" cy="468911"/>
          </a:xfrm>
          <a:prstGeom prst="rect">
            <a:avLst/>
          </a:prstGeom>
        </p:spPr>
        <p:txBody>
          <a:bodyPr vert="horz" wrap="square" lIns="0" tIns="11430" rIns="0" bIns="0" rtlCol="0">
            <a:spAutoFit/>
          </a:bodyPr>
          <a:lstStyle/>
          <a:p>
            <a:pPr marL="12700" marR="231775">
              <a:lnSpc>
                <a:spcPts val="4000"/>
              </a:lnSpc>
              <a:spcBef>
                <a:spcPts val="90"/>
              </a:spcBef>
              <a:tabLst>
                <a:tab pos="628650" algn="l"/>
              </a:tabLst>
            </a:pPr>
            <a:r>
              <a:rPr lang="fr-FR" sz="2400" b="0" spc="-5">
                <a:solidFill>
                  <a:srgbClr val="FFFFFF"/>
                </a:solidFill>
                <a:latin typeface="Ubuntu Light"/>
                <a:cs typeface="Ubuntu Light"/>
              </a:rPr>
              <a:t>	</a:t>
            </a:r>
            <a:r>
              <a:rPr lang="fr-FR" sz="2400" b="0" spc="-5" err="1">
                <a:solidFill>
                  <a:srgbClr val="FFFFFF"/>
                </a:solidFill>
                <a:latin typeface="Ubuntu Light"/>
                <a:cs typeface="Ubuntu Light"/>
              </a:rPr>
              <a:t>Quote</a:t>
            </a:r>
            <a:endParaRPr sz="2400">
              <a:latin typeface="Ubuntu Light"/>
              <a:cs typeface="Ubuntu Light"/>
            </a:endParaRPr>
          </a:p>
        </p:txBody>
      </p:sp>
      <p:sp>
        <p:nvSpPr>
          <p:cNvPr id="18" name="object 14">
            <a:extLst>
              <a:ext uri="{FF2B5EF4-FFF2-40B4-BE49-F238E27FC236}">
                <a16:creationId xmlns:a16="http://schemas.microsoft.com/office/drawing/2014/main" id="{A0FF2714-B575-4705-9380-AB7641240A35}"/>
              </a:ext>
              <a:ext uri="{C183D7F6-B498-43B3-948B-1728B52AA6E4}">
                <adec:decorative xmlns:adec="http://schemas.microsoft.com/office/drawing/2017/decorative" val="1"/>
              </a:ext>
            </a:extLst>
          </p:cNvPr>
          <p:cNvSpPr/>
          <p:nvPr/>
        </p:nvSpPr>
        <p:spPr>
          <a:xfrm>
            <a:off x="11562635" y="199368"/>
            <a:ext cx="417927" cy="386371"/>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endParaRPr/>
          </a:p>
        </p:txBody>
      </p:sp>
      <p:grpSp>
        <p:nvGrpSpPr>
          <p:cNvPr id="19" name="Graphic 77">
            <a:extLst>
              <a:ext uri="{FF2B5EF4-FFF2-40B4-BE49-F238E27FC236}">
                <a16:creationId xmlns:a16="http://schemas.microsoft.com/office/drawing/2014/main" id="{ABBBE850-27FD-43B8-9907-4FC3DEF134EA}"/>
              </a:ext>
              <a:ext uri="{C183D7F6-B498-43B3-948B-1728B52AA6E4}">
                <adec:decorative xmlns:adec="http://schemas.microsoft.com/office/drawing/2017/decorative" val="1"/>
              </a:ext>
            </a:extLst>
          </p:cNvPr>
          <p:cNvGrpSpPr/>
          <p:nvPr/>
        </p:nvGrpSpPr>
        <p:grpSpPr>
          <a:xfrm>
            <a:off x="7094259" y="686797"/>
            <a:ext cx="763287" cy="951330"/>
            <a:chOff x="14787710" y="2460777"/>
            <a:chExt cx="735414" cy="916590"/>
          </a:xfrm>
        </p:grpSpPr>
        <p:sp>
          <p:nvSpPr>
            <p:cNvPr id="20" name="Freeform: Shape 19">
              <a:extLst>
                <a:ext uri="{FF2B5EF4-FFF2-40B4-BE49-F238E27FC236}">
                  <a16:creationId xmlns:a16="http://schemas.microsoft.com/office/drawing/2014/main" id="{CA2BA683-6F3F-4299-927F-2D93D4F2E9EB}"/>
                </a:ext>
              </a:extLst>
            </p:cNvPr>
            <p:cNvSpPr/>
            <p:nvPr/>
          </p:nvSpPr>
          <p:spPr>
            <a:xfrm>
              <a:off x="14817047" y="2629751"/>
              <a:ext cx="320886" cy="747616"/>
            </a:xfrm>
            <a:custGeom>
              <a:avLst/>
              <a:gdLst>
                <a:gd name="connsiteX0" fmla="*/ 320887 w 320886"/>
                <a:gd name="connsiteY0" fmla="*/ 0 h 747616"/>
                <a:gd name="connsiteX1" fmla="*/ 320887 w 320886"/>
                <a:gd name="connsiteY1" fmla="*/ 0 h 747616"/>
                <a:gd name="connsiteX2" fmla="*/ 466 w 320886"/>
                <a:gd name="connsiteY2" fmla="*/ 403384 h 747616"/>
                <a:gd name="connsiteX3" fmla="*/ 466 w 320886"/>
                <a:gd name="connsiteY3" fmla="*/ 719995 h 747616"/>
                <a:gd name="connsiteX4" fmla="*/ 1513 w 320886"/>
                <a:gd name="connsiteY4" fmla="*/ 738854 h 747616"/>
                <a:gd name="connsiteX5" fmla="*/ 35613 w 320886"/>
                <a:gd name="connsiteY5" fmla="*/ 734092 h 747616"/>
                <a:gd name="connsiteX6" fmla="*/ 180107 w 320886"/>
                <a:gd name="connsiteY6" fmla="*/ 746284 h 747616"/>
                <a:gd name="connsiteX7" fmla="*/ 302694 w 320886"/>
                <a:gd name="connsiteY7" fmla="*/ 721424 h 747616"/>
                <a:gd name="connsiteX8" fmla="*/ 302694 w 320886"/>
                <a:gd name="connsiteY8" fmla="*/ 406432 h 747616"/>
                <a:gd name="connsiteX9" fmla="*/ 151532 w 320886"/>
                <a:gd name="connsiteY9" fmla="*/ 406432 h 747616"/>
                <a:gd name="connsiteX10" fmla="*/ 320887 w 320886"/>
                <a:gd name="connsiteY10" fmla="*/ 0 h 74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886" h="747616">
                  <a:moveTo>
                    <a:pt x="320887" y="0"/>
                  </a:moveTo>
                  <a:lnTo>
                    <a:pt x="320887" y="0"/>
                  </a:lnTo>
                  <a:cubicBezTo>
                    <a:pt x="101431" y="50578"/>
                    <a:pt x="4085" y="231077"/>
                    <a:pt x="466" y="403384"/>
                  </a:cubicBezTo>
                  <a:cubicBezTo>
                    <a:pt x="466" y="403384"/>
                    <a:pt x="-582" y="640842"/>
                    <a:pt x="466" y="719995"/>
                  </a:cubicBezTo>
                  <a:cubicBezTo>
                    <a:pt x="561" y="728663"/>
                    <a:pt x="-1058" y="733901"/>
                    <a:pt x="1513" y="738854"/>
                  </a:cubicBezTo>
                  <a:cubicBezTo>
                    <a:pt x="11419" y="732854"/>
                    <a:pt x="23611" y="734092"/>
                    <a:pt x="35613" y="734092"/>
                  </a:cubicBezTo>
                  <a:cubicBezTo>
                    <a:pt x="94287" y="734092"/>
                    <a:pt x="148103" y="745046"/>
                    <a:pt x="180107" y="746284"/>
                  </a:cubicBezTo>
                  <a:cubicBezTo>
                    <a:pt x="202396" y="748094"/>
                    <a:pt x="300598" y="752666"/>
                    <a:pt x="302694" y="721424"/>
                  </a:cubicBezTo>
                  <a:lnTo>
                    <a:pt x="302694" y="406432"/>
                  </a:lnTo>
                  <a:lnTo>
                    <a:pt x="151532" y="406432"/>
                  </a:lnTo>
                  <a:cubicBezTo>
                    <a:pt x="144293" y="308324"/>
                    <a:pt x="198586" y="35719"/>
                    <a:pt x="320887" y="0"/>
                  </a:cubicBezTo>
                </a:path>
              </a:pathLst>
            </a:custGeom>
            <a:solidFill>
              <a:srgbClr val="0070AD"/>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653DD029-3351-4C98-A64D-1131B3C3D04C}"/>
                </a:ext>
              </a:extLst>
            </p:cNvPr>
            <p:cNvSpPr/>
            <p:nvPr/>
          </p:nvSpPr>
          <p:spPr>
            <a:xfrm>
              <a:off x="15202429" y="2486114"/>
              <a:ext cx="320696" cy="891104"/>
            </a:xfrm>
            <a:custGeom>
              <a:avLst/>
              <a:gdLst>
                <a:gd name="connsiteX0" fmla="*/ 320696 w 320696"/>
                <a:gd name="connsiteY0" fmla="*/ 0 h 891104"/>
                <a:gd name="connsiteX1" fmla="*/ 320696 w 320696"/>
                <a:gd name="connsiteY1" fmla="*/ 0 h 891104"/>
                <a:gd name="connsiteX2" fmla="*/ 466 w 320696"/>
                <a:gd name="connsiteY2" fmla="*/ 481298 h 891104"/>
                <a:gd name="connsiteX3" fmla="*/ 466 w 320696"/>
                <a:gd name="connsiteY3" fmla="*/ 858298 h 891104"/>
                <a:gd name="connsiteX4" fmla="*/ 1513 w 320696"/>
                <a:gd name="connsiteY4" fmla="*/ 880777 h 891104"/>
                <a:gd name="connsiteX5" fmla="*/ 35613 w 320696"/>
                <a:gd name="connsiteY5" fmla="*/ 875062 h 891104"/>
                <a:gd name="connsiteX6" fmla="*/ 180107 w 320696"/>
                <a:gd name="connsiteY6" fmla="*/ 889540 h 891104"/>
                <a:gd name="connsiteX7" fmla="*/ 180107 w 320696"/>
                <a:gd name="connsiteY7" fmla="*/ 889540 h 891104"/>
                <a:gd name="connsiteX8" fmla="*/ 302694 w 320696"/>
                <a:gd name="connsiteY8" fmla="*/ 859917 h 891104"/>
                <a:gd name="connsiteX9" fmla="*/ 302694 w 320696"/>
                <a:gd name="connsiteY9" fmla="*/ 484918 h 891104"/>
                <a:gd name="connsiteX10" fmla="*/ 151532 w 320696"/>
                <a:gd name="connsiteY10" fmla="*/ 484918 h 891104"/>
                <a:gd name="connsiteX11" fmla="*/ 320696 w 320696"/>
                <a:gd name="connsiteY11" fmla="*/ 0 h 89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696" h="891104">
                  <a:moveTo>
                    <a:pt x="320696" y="0"/>
                  </a:moveTo>
                  <a:lnTo>
                    <a:pt x="320696" y="0"/>
                  </a:lnTo>
                  <a:cubicBezTo>
                    <a:pt x="101145" y="60198"/>
                    <a:pt x="4085" y="276035"/>
                    <a:pt x="466" y="481298"/>
                  </a:cubicBezTo>
                  <a:cubicBezTo>
                    <a:pt x="466" y="481298"/>
                    <a:pt x="-582" y="764096"/>
                    <a:pt x="466" y="858298"/>
                  </a:cubicBezTo>
                  <a:cubicBezTo>
                    <a:pt x="561" y="868680"/>
                    <a:pt x="-1058" y="874967"/>
                    <a:pt x="1513" y="880777"/>
                  </a:cubicBezTo>
                  <a:cubicBezTo>
                    <a:pt x="11419" y="873633"/>
                    <a:pt x="23611" y="875062"/>
                    <a:pt x="35613" y="875062"/>
                  </a:cubicBezTo>
                  <a:cubicBezTo>
                    <a:pt x="94287" y="875062"/>
                    <a:pt x="148008" y="888111"/>
                    <a:pt x="180107" y="889540"/>
                  </a:cubicBezTo>
                  <a:lnTo>
                    <a:pt x="180107" y="889540"/>
                  </a:lnTo>
                  <a:cubicBezTo>
                    <a:pt x="202396" y="891635"/>
                    <a:pt x="300598" y="897160"/>
                    <a:pt x="302694" y="859917"/>
                  </a:cubicBezTo>
                  <a:lnTo>
                    <a:pt x="302694" y="484918"/>
                  </a:lnTo>
                  <a:lnTo>
                    <a:pt x="151532" y="484918"/>
                  </a:lnTo>
                  <a:cubicBezTo>
                    <a:pt x="116004" y="284321"/>
                    <a:pt x="198395" y="42482"/>
                    <a:pt x="320696" y="0"/>
                  </a:cubicBezTo>
                </a:path>
              </a:pathLst>
            </a:custGeom>
            <a:solidFill>
              <a:srgbClr val="00B0E3"/>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A2DABDF3-2136-4326-A73E-3A89BE7D2499}"/>
                </a:ext>
              </a:extLst>
            </p:cNvPr>
            <p:cNvSpPr/>
            <p:nvPr/>
          </p:nvSpPr>
          <p:spPr>
            <a:xfrm>
              <a:off x="14787710" y="2604319"/>
              <a:ext cx="315552" cy="741222"/>
            </a:xfrm>
            <a:custGeom>
              <a:avLst/>
              <a:gdLst>
                <a:gd name="connsiteX0" fmla="*/ 315553 w 315552"/>
                <a:gd name="connsiteY0" fmla="*/ 0 h 741222"/>
                <a:gd name="connsiteX1" fmla="*/ 315553 w 315552"/>
                <a:gd name="connsiteY1" fmla="*/ 0 h 741222"/>
                <a:gd name="connsiteX2" fmla="*/ 466 w 315552"/>
                <a:gd name="connsiteY2" fmla="*/ 399955 h 741222"/>
                <a:gd name="connsiteX3" fmla="*/ 466 w 315552"/>
                <a:gd name="connsiteY3" fmla="*/ 713804 h 741222"/>
                <a:gd name="connsiteX4" fmla="*/ 1513 w 315552"/>
                <a:gd name="connsiteY4" fmla="*/ 732568 h 741222"/>
                <a:gd name="connsiteX5" fmla="*/ 35041 w 315552"/>
                <a:gd name="connsiteY5" fmla="*/ 727805 h 741222"/>
                <a:gd name="connsiteX6" fmla="*/ 177059 w 315552"/>
                <a:gd name="connsiteY6" fmla="*/ 739902 h 741222"/>
                <a:gd name="connsiteX7" fmla="*/ 177059 w 315552"/>
                <a:gd name="connsiteY7" fmla="*/ 739902 h 741222"/>
                <a:gd name="connsiteX8" fmla="*/ 297646 w 315552"/>
                <a:gd name="connsiteY8" fmla="*/ 715232 h 741222"/>
                <a:gd name="connsiteX9" fmla="*/ 297646 w 315552"/>
                <a:gd name="connsiteY9" fmla="*/ 715232 h 741222"/>
                <a:gd name="connsiteX10" fmla="*/ 297646 w 315552"/>
                <a:gd name="connsiteY10" fmla="*/ 402812 h 741222"/>
                <a:gd name="connsiteX11" fmla="*/ 149056 w 315552"/>
                <a:gd name="connsiteY11" fmla="*/ 402812 h 741222"/>
                <a:gd name="connsiteX12" fmla="*/ 315553 w 315552"/>
                <a:gd name="connsiteY12" fmla="*/ 0 h 74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552" h="741222">
                  <a:moveTo>
                    <a:pt x="315553" y="0"/>
                  </a:moveTo>
                  <a:lnTo>
                    <a:pt x="315553" y="0"/>
                  </a:lnTo>
                  <a:cubicBezTo>
                    <a:pt x="99716" y="50101"/>
                    <a:pt x="3990" y="229076"/>
                    <a:pt x="466" y="399955"/>
                  </a:cubicBezTo>
                  <a:cubicBezTo>
                    <a:pt x="466" y="399955"/>
                    <a:pt x="-582" y="635413"/>
                    <a:pt x="466" y="713804"/>
                  </a:cubicBezTo>
                  <a:cubicBezTo>
                    <a:pt x="561" y="722376"/>
                    <a:pt x="-1058" y="727615"/>
                    <a:pt x="1513" y="732568"/>
                  </a:cubicBezTo>
                  <a:cubicBezTo>
                    <a:pt x="11229" y="726662"/>
                    <a:pt x="23230" y="727805"/>
                    <a:pt x="35041" y="727805"/>
                  </a:cubicBezTo>
                  <a:cubicBezTo>
                    <a:pt x="92763" y="727805"/>
                    <a:pt x="145627" y="738664"/>
                    <a:pt x="177059" y="739902"/>
                  </a:cubicBezTo>
                  <a:lnTo>
                    <a:pt x="177059" y="739902"/>
                  </a:lnTo>
                  <a:cubicBezTo>
                    <a:pt x="198967" y="741712"/>
                    <a:pt x="295550" y="746189"/>
                    <a:pt x="297646" y="715232"/>
                  </a:cubicBezTo>
                  <a:lnTo>
                    <a:pt x="297646" y="715232"/>
                  </a:lnTo>
                  <a:lnTo>
                    <a:pt x="297646" y="402812"/>
                  </a:lnTo>
                  <a:lnTo>
                    <a:pt x="149056" y="402812"/>
                  </a:lnTo>
                  <a:cubicBezTo>
                    <a:pt x="141912" y="305657"/>
                    <a:pt x="195252" y="35338"/>
                    <a:pt x="315553" y="0"/>
                  </a:cubicBezTo>
                  <a:close/>
                </a:path>
              </a:pathLst>
            </a:custGeom>
            <a:noFill/>
            <a:ln w="4763" cap="flat">
              <a:solidFill>
                <a:srgbClr val="272936"/>
              </a:soli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EAAEA8DC-2D09-4BE9-8118-DF407D74054E}"/>
                </a:ext>
              </a:extLst>
            </p:cNvPr>
            <p:cNvSpPr/>
            <p:nvPr/>
          </p:nvSpPr>
          <p:spPr>
            <a:xfrm>
              <a:off x="15173092" y="2460777"/>
              <a:ext cx="315362" cy="884709"/>
            </a:xfrm>
            <a:custGeom>
              <a:avLst/>
              <a:gdLst>
                <a:gd name="connsiteX0" fmla="*/ 315362 w 315362"/>
                <a:gd name="connsiteY0" fmla="*/ 0 h 884709"/>
                <a:gd name="connsiteX1" fmla="*/ 315362 w 315362"/>
                <a:gd name="connsiteY1" fmla="*/ 0 h 884709"/>
                <a:gd name="connsiteX2" fmla="*/ 466 w 315362"/>
                <a:gd name="connsiteY2" fmla="*/ 477869 h 884709"/>
                <a:gd name="connsiteX3" fmla="*/ 466 w 315362"/>
                <a:gd name="connsiteY3" fmla="*/ 852107 h 884709"/>
                <a:gd name="connsiteX4" fmla="*/ 1513 w 315362"/>
                <a:gd name="connsiteY4" fmla="*/ 874395 h 884709"/>
                <a:gd name="connsiteX5" fmla="*/ 35041 w 315362"/>
                <a:gd name="connsiteY5" fmla="*/ 868775 h 884709"/>
                <a:gd name="connsiteX6" fmla="*/ 177059 w 315362"/>
                <a:gd name="connsiteY6" fmla="*/ 883158 h 884709"/>
                <a:gd name="connsiteX7" fmla="*/ 177059 w 315362"/>
                <a:gd name="connsiteY7" fmla="*/ 883158 h 884709"/>
                <a:gd name="connsiteX8" fmla="*/ 297646 w 315362"/>
                <a:gd name="connsiteY8" fmla="*/ 853726 h 884709"/>
                <a:gd name="connsiteX9" fmla="*/ 297646 w 315362"/>
                <a:gd name="connsiteY9" fmla="*/ 481298 h 884709"/>
                <a:gd name="connsiteX10" fmla="*/ 149056 w 315362"/>
                <a:gd name="connsiteY10" fmla="*/ 481298 h 884709"/>
                <a:gd name="connsiteX11" fmla="*/ 315362 w 315362"/>
                <a:gd name="connsiteY11" fmla="*/ 0 h 88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362" h="884709">
                  <a:moveTo>
                    <a:pt x="315362" y="0"/>
                  </a:moveTo>
                  <a:lnTo>
                    <a:pt x="315362" y="0"/>
                  </a:lnTo>
                  <a:cubicBezTo>
                    <a:pt x="99526" y="59722"/>
                    <a:pt x="3990" y="274130"/>
                    <a:pt x="466" y="477869"/>
                  </a:cubicBezTo>
                  <a:cubicBezTo>
                    <a:pt x="466" y="477869"/>
                    <a:pt x="-582" y="758571"/>
                    <a:pt x="466" y="852107"/>
                  </a:cubicBezTo>
                  <a:cubicBezTo>
                    <a:pt x="561" y="862298"/>
                    <a:pt x="-1058" y="868585"/>
                    <a:pt x="1513" y="874395"/>
                  </a:cubicBezTo>
                  <a:cubicBezTo>
                    <a:pt x="11229" y="867347"/>
                    <a:pt x="23230" y="868775"/>
                    <a:pt x="35041" y="868775"/>
                  </a:cubicBezTo>
                  <a:cubicBezTo>
                    <a:pt x="92763" y="868775"/>
                    <a:pt x="145627" y="881729"/>
                    <a:pt x="177059" y="883158"/>
                  </a:cubicBezTo>
                  <a:lnTo>
                    <a:pt x="177059" y="883158"/>
                  </a:lnTo>
                  <a:cubicBezTo>
                    <a:pt x="198967" y="885254"/>
                    <a:pt x="295550" y="890683"/>
                    <a:pt x="297646" y="853726"/>
                  </a:cubicBezTo>
                  <a:lnTo>
                    <a:pt x="297646" y="481298"/>
                  </a:lnTo>
                  <a:lnTo>
                    <a:pt x="149056" y="481298"/>
                  </a:lnTo>
                  <a:cubicBezTo>
                    <a:pt x="114099" y="282226"/>
                    <a:pt x="195061" y="42196"/>
                    <a:pt x="315362" y="0"/>
                  </a:cubicBezTo>
                  <a:close/>
                </a:path>
              </a:pathLst>
            </a:custGeom>
            <a:noFill/>
            <a:ln w="4763" cap="flat">
              <a:solidFill>
                <a:srgbClr val="272936"/>
              </a:solidFill>
              <a:prstDash val="solid"/>
              <a:miter/>
            </a:ln>
          </p:spPr>
          <p:txBody>
            <a:bodyPr rtlCol="0" anchor="ctr"/>
            <a:lstStyle/>
            <a:p>
              <a:endParaRPr lang="en-US"/>
            </a:p>
          </p:txBody>
        </p:sp>
      </p:grpSp>
      <p:sp>
        <p:nvSpPr>
          <p:cNvPr id="2" name="TextBox 1">
            <a:extLst>
              <a:ext uri="{FF2B5EF4-FFF2-40B4-BE49-F238E27FC236}">
                <a16:creationId xmlns:a16="http://schemas.microsoft.com/office/drawing/2014/main" id="{288EFFC5-5755-4609-BF24-5AC58B16E435}"/>
              </a:ext>
            </a:extLst>
          </p:cNvPr>
          <p:cNvSpPr txBox="1"/>
          <p:nvPr/>
        </p:nvSpPr>
        <p:spPr>
          <a:xfrm>
            <a:off x="9840416" y="5373216"/>
            <a:ext cx="1722219" cy="461665"/>
          </a:xfrm>
          <a:prstGeom prst="rect">
            <a:avLst/>
          </a:prstGeom>
          <a:noFill/>
        </p:spPr>
        <p:txBody>
          <a:bodyPr wrap="square" rtlCol="0">
            <a:spAutoFit/>
          </a:bodyPr>
          <a:lstStyle/>
          <a:p>
            <a:pPr algn="r"/>
            <a:r>
              <a:rPr lang="en-US" sz="1200">
                <a:solidFill>
                  <a:schemeClr val="bg1"/>
                </a:solidFill>
              </a:rPr>
              <a:t>Name</a:t>
            </a:r>
          </a:p>
          <a:p>
            <a:pPr algn="r"/>
            <a:r>
              <a:rPr lang="en-US" sz="1200">
                <a:solidFill>
                  <a:schemeClr val="bg1"/>
                </a:solidFill>
              </a:rPr>
              <a:t>Role</a:t>
            </a:r>
          </a:p>
        </p:txBody>
      </p:sp>
    </p:spTree>
    <p:extLst>
      <p:ext uri="{BB962C8B-B14F-4D97-AF65-F5344CB8AC3E}">
        <p14:creationId xmlns:p14="http://schemas.microsoft.com/office/powerpoint/2010/main" val="5939861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p:txBody>
          <a:bodyPr/>
          <a:lstStyle/>
          <a:p>
            <a:r>
              <a:rPr lang="en-GB"/>
              <a:t>Title</a:t>
            </a:r>
            <a:br>
              <a:rPr lang="en-GB"/>
            </a:br>
            <a:r>
              <a:rPr lang="en-GB"/>
              <a:t>(Work for 1 or 2 lines of title)</a:t>
            </a:r>
          </a:p>
        </p:txBody>
      </p:sp>
      <p:sp>
        <p:nvSpPr>
          <p:cNvPr id="6" name="Text Placeholder 5"/>
          <p:cNvSpPr>
            <a:spLocks noGrp="1"/>
          </p:cNvSpPr>
          <p:nvPr>
            <p:ph type="body" sz="quarter" idx="12"/>
          </p:nvPr>
        </p:nvSpPr>
        <p:spPr>
          <a:solidFill>
            <a:schemeClr val="accent4"/>
          </a:solidFill>
        </p:spPr>
        <p:txBody>
          <a:bodyPr lIns="91440" tIns="0" rIns="36000"/>
          <a:lstStyle/>
          <a:p>
            <a:r>
              <a:rPr lang="en-GB">
                <a:solidFill>
                  <a:schemeClr val="accent2"/>
                </a:solidFill>
              </a:rPr>
              <a:t>HEADER</a:t>
            </a:r>
          </a:p>
        </p:txBody>
      </p:sp>
      <p:sp>
        <p:nvSpPr>
          <p:cNvPr id="5" name="Text Placeholder 4"/>
          <p:cNvSpPr>
            <a:spLocks noGrp="1"/>
          </p:cNvSpPr>
          <p:nvPr>
            <p:ph type="body" sz="quarter" idx="10"/>
          </p:nvPr>
        </p:nvSpPr>
        <p:spPr>
          <a:solidFill>
            <a:schemeClr val="bg2"/>
          </a:solidFill>
        </p:spPr>
        <p:txBody>
          <a:bodyPr lIns="91440" tIns="108000"/>
          <a:lstStyle/>
          <a:p>
            <a:pPr lvl="1"/>
            <a:r>
              <a:rPr lang="en-GB" dirty="0"/>
              <a:t>Second level</a:t>
            </a:r>
          </a:p>
          <a:p>
            <a:pPr lvl="2"/>
            <a:r>
              <a:rPr lang="en-GB" dirty="0"/>
              <a:t>Third level</a:t>
            </a:r>
          </a:p>
          <a:p>
            <a:pPr lvl="3"/>
            <a:r>
              <a:rPr lang="en-GB" dirty="0"/>
              <a:t>Fourth level</a:t>
            </a:r>
          </a:p>
          <a:p>
            <a:pPr lvl="4"/>
            <a:r>
              <a:rPr lang="en-GB" dirty="0"/>
              <a:t>Fifth level</a:t>
            </a:r>
          </a:p>
        </p:txBody>
      </p:sp>
      <p:sp>
        <p:nvSpPr>
          <p:cNvPr id="7" name="Text Placeholder 6"/>
          <p:cNvSpPr>
            <a:spLocks noGrp="1"/>
          </p:cNvSpPr>
          <p:nvPr>
            <p:ph type="body" sz="quarter" idx="13"/>
          </p:nvPr>
        </p:nvSpPr>
        <p:spPr>
          <a:solidFill>
            <a:schemeClr val="accent4"/>
          </a:solidFill>
        </p:spPr>
        <p:txBody>
          <a:bodyPr lIns="91440" tIns="0" rIns="36000"/>
          <a:lstStyle/>
          <a:p>
            <a:r>
              <a:rPr lang="en-GB">
                <a:solidFill>
                  <a:schemeClr val="accent2"/>
                </a:solidFill>
              </a:rPr>
              <a:t>HEADER</a:t>
            </a:r>
          </a:p>
        </p:txBody>
      </p:sp>
      <p:sp>
        <p:nvSpPr>
          <p:cNvPr id="8" name="Text Placeholder 7"/>
          <p:cNvSpPr>
            <a:spLocks noGrp="1"/>
          </p:cNvSpPr>
          <p:nvPr>
            <p:ph type="body" sz="quarter" idx="14"/>
          </p:nvPr>
        </p:nvSpPr>
        <p:spPr>
          <a:solidFill>
            <a:schemeClr val="bg2"/>
          </a:solidFill>
        </p:spPr>
        <p:txBody>
          <a:bodyPr lIns="91440" tIns="108000"/>
          <a:lstStyle/>
          <a:p>
            <a:pPr lvl="1"/>
            <a:r>
              <a:rPr lang="en-GB" dirty="0"/>
              <a:t>Second level</a:t>
            </a:r>
          </a:p>
          <a:p>
            <a:pPr lvl="2"/>
            <a:r>
              <a:rPr lang="en-GB" dirty="0"/>
              <a:t>Third level</a:t>
            </a:r>
          </a:p>
          <a:p>
            <a:pPr lvl="3"/>
            <a:r>
              <a:rPr lang="en-GB" dirty="0"/>
              <a:t>Fourth level</a:t>
            </a:r>
          </a:p>
          <a:p>
            <a:pPr lvl="4"/>
            <a:r>
              <a:rPr lang="en-GB" dirty="0"/>
              <a:t>Fifth level</a:t>
            </a:r>
          </a:p>
        </p:txBody>
      </p:sp>
      <p:cxnSp>
        <p:nvCxnSpPr>
          <p:cNvPr id="14" name="Straight Connector 13">
            <a:extLst>
              <a:ext uri="{C183D7F6-B498-43B3-948B-1728B52AA6E4}">
                <adec:decorative xmlns:adec="http://schemas.microsoft.com/office/drawing/2017/decorative" val="1"/>
              </a:ext>
            </a:extLst>
          </p:cNvPr>
          <p:cNvCxnSpPr>
            <a:cxnSpLocks/>
          </p:cNvCxnSpPr>
          <p:nvPr/>
        </p:nvCxnSpPr>
        <p:spPr>
          <a:xfrm>
            <a:off x="6096000" y="2205319"/>
            <a:ext cx="0" cy="4257392"/>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Title</a:t>
            </a:r>
            <a:br>
              <a:rPr lang="en-GB"/>
            </a:br>
            <a:r>
              <a:rPr lang="en-GB"/>
              <a:t>(Work for 1 or 2 lines of title)</a:t>
            </a:r>
          </a:p>
        </p:txBody>
      </p:sp>
      <p:sp>
        <p:nvSpPr>
          <p:cNvPr id="6" name="Text Placeholder 5"/>
          <p:cNvSpPr>
            <a:spLocks noGrp="1"/>
          </p:cNvSpPr>
          <p:nvPr>
            <p:ph type="body" sz="quarter" idx="12"/>
          </p:nvPr>
        </p:nvSpPr>
        <p:spPr>
          <a:xfrm>
            <a:off x="404813" y="1327151"/>
            <a:ext cx="3456432" cy="716711"/>
          </a:xfrm>
          <a:solidFill>
            <a:srgbClr val="007D74"/>
          </a:solidFill>
        </p:spPr>
        <p:txBody>
          <a:bodyPr/>
          <a:lstStyle/>
          <a:p>
            <a:r>
              <a:rPr lang="en-GB" sz="1800">
                <a:solidFill>
                  <a:schemeClr val="bg1"/>
                </a:solidFill>
              </a:rPr>
              <a:t>Header</a:t>
            </a:r>
          </a:p>
        </p:txBody>
      </p:sp>
      <p:sp>
        <p:nvSpPr>
          <p:cNvPr id="5" name="Text Placeholder 4"/>
          <p:cNvSpPr>
            <a:spLocks noGrp="1"/>
          </p:cNvSpPr>
          <p:nvPr>
            <p:ph type="body" sz="quarter" idx="10"/>
          </p:nvPr>
        </p:nvSpPr>
        <p:spPr>
          <a:xfrm>
            <a:off x="404814" y="2305094"/>
            <a:ext cx="3456432"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8" name="Text Placeholder 7"/>
          <p:cNvSpPr>
            <a:spLocks noGrp="1"/>
          </p:cNvSpPr>
          <p:nvPr>
            <p:ph type="body" sz="quarter" idx="15"/>
          </p:nvPr>
        </p:nvSpPr>
        <p:spPr>
          <a:solidFill>
            <a:srgbClr val="007D74"/>
          </a:solidFill>
        </p:spPr>
        <p:txBody>
          <a:bodyPr/>
          <a:lstStyle/>
          <a:p>
            <a:r>
              <a:rPr lang="en-GB" sz="1800">
                <a:solidFill>
                  <a:schemeClr val="bg1"/>
                </a:solidFill>
              </a:rPr>
              <a:t>Header</a:t>
            </a:r>
          </a:p>
        </p:txBody>
      </p:sp>
      <p:sp>
        <p:nvSpPr>
          <p:cNvPr id="7" name="Text Placeholder 6"/>
          <p:cNvSpPr>
            <a:spLocks noGrp="1"/>
          </p:cNvSpPr>
          <p:nvPr>
            <p:ph type="body" sz="quarter" idx="14"/>
          </p:nvPr>
        </p:nvSpPr>
        <p:spPr>
          <a:xfrm>
            <a:off x="4365775" y="2305094"/>
            <a:ext cx="3456432"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10" name="Text Placeholder 9"/>
          <p:cNvSpPr>
            <a:spLocks noGrp="1"/>
          </p:cNvSpPr>
          <p:nvPr>
            <p:ph type="body" sz="quarter" idx="17"/>
          </p:nvPr>
        </p:nvSpPr>
        <p:spPr>
          <a:solidFill>
            <a:srgbClr val="007D74"/>
          </a:solidFill>
        </p:spPr>
        <p:txBody>
          <a:bodyPr/>
          <a:lstStyle/>
          <a:p>
            <a:r>
              <a:rPr lang="en-GB" sz="1800">
                <a:solidFill>
                  <a:schemeClr val="bg1"/>
                </a:solidFill>
              </a:rPr>
              <a:t>Header</a:t>
            </a:r>
          </a:p>
        </p:txBody>
      </p:sp>
      <p:sp>
        <p:nvSpPr>
          <p:cNvPr id="9" name="Text Placeholder 8"/>
          <p:cNvSpPr>
            <a:spLocks noGrp="1"/>
          </p:cNvSpPr>
          <p:nvPr>
            <p:ph type="body" sz="quarter" idx="16"/>
          </p:nvPr>
        </p:nvSpPr>
        <p:spPr>
          <a:xfrm>
            <a:off x="8326737" y="2305094"/>
            <a:ext cx="3456429"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C183D7F6-B498-43B3-948B-1728B52AA6E4}">
                <adec:decorative xmlns:adec="http://schemas.microsoft.com/office/drawing/2017/decorative" val="1"/>
              </a:ext>
            </a:extLst>
          </p:cNvPr>
          <p:cNvCxnSpPr>
            <a:cxnSpLocks/>
          </p:cNvCxnSpPr>
          <p:nvPr/>
        </p:nvCxnSpPr>
        <p:spPr>
          <a:xfrm>
            <a:off x="4113511"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C183D7F6-B498-43B3-948B-1728B52AA6E4}">
                <adec:decorative xmlns:adec="http://schemas.microsoft.com/office/drawing/2017/decorative" val="1"/>
              </a:ext>
            </a:extLst>
          </p:cNvPr>
          <p:cNvCxnSpPr>
            <a:cxnSpLocks/>
          </p:cNvCxnSpPr>
          <p:nvPr/>
        </p:nvCxnSpPr>
        <p:spPr>
          <a:xfrm>
            <a:off x="8074472"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8DE0AD9-77E6-0E4E-BF8C-DB98A47B6B59}"/>
              </a:ext>
            </a:extLst>
          </p:cNvPr>
          <p:cNvSpPr>
            <a:spLocks noGrp="1"/>
          </p:cNvSpPr>
          <p:nvPr>
            <p:ph type="title"/>
          </p:nvPr>
        </p:nvSpPr>
        <p:spPr/>
        <p:txBody>
          <a:bodyPr/>
          <a:lstStyle/>
          <a:p>
            <a:r>
              <a:rPr lang="en-GB"/>
              <a:t>Title</a:t>
            </a:r>
            <a:br>
              <a:rPr lang="en-GB"/>
            </a:br>
            <a:r>
              <a:rPr lang="en-GB"/>
              <a:t>(Work for 1 or 2 lines of title)</a:t>
            </a:r>
            <a:endParaRPr lang="en-US"/>
          </a:p>
        </p:txBody>
      </p:sp>
      <p:grpSp>
        <p:nvGrpSpPr>
          <p:cNvPr id="17" name="Group 19">
            <a:extLst>
              <a:ext uri="{FF2B5EF4-FFF2-40B4-BE49-F238E27FC236}">
                <a16:creationId xmlns:a16="http://schemas.microsoft.com/office/drawing/2014/main" id="{B5559701-7A57-204B-AE49-1F096F3F1811}"/>
              </a:ext>
              <a:ext uri="{C183D7F6-B498-43B3-948B-1728B52AA6E4}">
                <adec:decorative xmlns:adec="http://schemas.microsoft.com/office/drawing/2017/decorative" val="1"/>
              </a:ext>
            </a:extLst>
          </p:cNvPr>
          <p:cNvGrpSpPr>
            <a:grpSpLocks noChangeAspect="1"/>
          </p:cNvGrpSpPr>
          <p:nvPr/>
        </p:nvGrpSpPr>
        <p:grpSpPr bwMode="auto">
          <a:xfrm>
            <a:off x="178163" y="1801720"/>
            <a:ext cx="1330762" cy="1244311"/>
            <a:chOff x="-106" y="-109"/>
            <a:chExt cx="1878" cy="1756"/>
          </a:xfrm>
        </p:grpSpPr>
        <p:sp>
          <p:nvSpPr>
            <p:cNvPr id="18" name="Freeform 20">
              <a:extLst>
                <a:ext uri="{FF2B5EF4-FFF2-40B4-BE49-F238E27FC236}">
                  <a16:creationId xmlns:a16="http://schemas.microsoft.com/office/drawing/2014/main" id="{0E2D4AEB-9850-994D-8BF5-D782DA197F37}"/>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1">
              <a:extLst>
                <a:ext uri="{FF2B5EF4-FFF2-40B4-BE49-F238E27FC236}">
                  <a16:creationId xmlns:a16="http://schemas.microsoft.com/office/drawing/2014/main" id="{BF4F3F29-969A-6846-BCEE-6E38AA83C72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22">
              <a:extLst>
                <a:ext uri="{FF2B5EF4-FFF2-40B4-BE49-F238E27FC236}">
                  <a16:creationId xmlns:a16="http://schemas.microsoft.com/office/drawing/2014/main" id="{CFFC3FC3-A399-494C-8684-A412591AF705}"/>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ext Placeholder 1">
            <a:extLst>
              <a:ext uri="{FF2B5EF4-FFF2-40B4-BE49-F238E27FC236}">
                <a16:creationId xmlns:a16="http://schemas.microsoft.com/office/drawing/2014/main" id="{E4BF4901-B002-DE4A-AA6B-D9D4C923F800}"/>
              </a:ext>
            </a:extLst>
          </p:cNvPr>
          <p:cNvSpPr>
            <a:spLocks noGrp="1"/>
          </p:cNvSpPr>
          <p:nvPr>
            <p:ph type="body" sz="quarter" idx="13"/>
          </p:nvPr>
        </p:nvSpPr>
        <p:spPr>
          <a:xfrm>
            <a:off x="725016" y="3332368"/>
            <a:ext cx="2890194" cy="645047"/>
          </a:xfrm>
        </p:spPr>
        <p:txBody>
          <a:bodyPr/>
          <a:lstStyle/>
          <a:p>
            <a:endParaRPr lang="en-US"/>
          </a:p>
        </p:txBody>
      </p:sp>
      <p:sp>
        <p:nvSpPr>
          <p:cNvPr id="5" name="Text Placeholder 4">
            <a:extLst>
              <a:ext uri="{FF2B5EF4-FFF2-40B4-BE49-F238E27FC236}">
                <a16:creationId xmlns:a16="http://schemas.microsoft.com/office/drawing/2014/main" id="{8791768C-E6A8-2E40-AE8E-3408FD90125B}"/>
              </a:ext>
            </a:extLst>
          </p:cNvPr>
          <p:cNvSpPr>
            <a:spLocks noGrp="1"/>
          </p:cNvSpPr>
          <p:nvPr>
            <p:ph type="body" sz="quarter" idx="10"/>
          </p:nvPr>
        </p:nvSpPr>
        <p:spPr/>
        <p:txBody>
          <a:bodyPr/>
          <a:lstStyle/>
          <a:p>
            <a:endParaRPr lang="en-US"/>
          </a:p>
        </p:txBody>
      </p:sp>
      <p:grpSp>
        <p:nvGrpSpPr>
          <p:cNvPr id="13" name="Group 19">
            <a:extLst>
              <a:ext uri="{FF2B5EF4-FFF2-40B4-BE49-F238E27FC236}">
                <a16:creationId xmlns:a16="http://schemas.microsoft.com/office/drawing/2014/main" id="{779FC842-5BCC-8E40-9F52-B0BF5BB0B5E0}"/>
              </a:ext>
              <a:ext uri="{C183D7F6-B498-43B3-948B-1728B52AA6E4}">
                <adec:decorative xmlns:adec="http://schemas.microsoft.com/office/drawing/2017/decorative" val="1"/>
              </a:ext>
            </a:extLst>
          </p:cNvPr>
          <p:cNvGrpSpPr>
            <a:grpSpLocks noChangeAspect="1"/>
          </p:cNvGrpSpPr>
          <p:nvPr/>
        </p:nvGrpSpPr>
        <p:grpSpPr bwMode="auto">
          <a:xfrm>
            <a:off x="4104050" y="1801720"/>
            <a:ext cx="1330762" cy="1244311"/>
            <a:chOff x="-106" y="-109"/>
            <a:chExt cx="1878" cy="1756"/>
          </a:xfrm>
        </p:grpSpPr>
        <p:sp>
          <p:nvSpPr>
            <p:cNvPr id="14" name="Freeform 20">
              <a:extLst>
                <a:ext uri="{FF2B5EF4-FFF2-40B4-BE49-F238E27FC236}">
                  <a16:creationId xmlns:a16="http://schemas.microsoft.com/office/drawing/2014/main" id="{952EE1B0-70AF-124F-8D91-648282C9AE69}"/>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1">
              <a:extLst>
                <a:ext uri="{FF2B5EF4-FFF2-40B4-BE49-F238E27FC236}">
                  <a16:creationId xmlns:a16="http://schemas.microsoft.com/office/drawing/2014/main" id="{2E3E1FEF-4B3C-354F-8288-A662DFF19DFE}"/>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2">
              <a:extLst>
                <a:ext uri="{FF2B5EF4-FFF2-40B4-BE49-F238E27FC236}">
                  <a16:creationId xmlns:a16="http://schemas.microsoft.com/office/drawing/2014/main" id="{294F26C3-ACCF-0B46-A3E2-954DC8FE9443}"/>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a:extLst>
              <a:ext uri="{FF2B5EF4-FFF2-40B4-BE49-F238E27FC236}">
                <a16:creationId xmlns:a16="http://schemas.microsoft.com/office/drawing/2014/main" id="{D9DEC61E-8DB4-9647-A799-6ECDC5993CD9}"/>
              </a:ext>
            </a:extLst>
          </p:cNvPr>
          <p:cNvSpPr>
            <a:spLocks noGrp="1"/>
          </p:cNvSpPr>
          <p:nvPr>
            <p:ph type="body" sz="quarter" idx="33"/>
          </p:nvPr>
        </p:nvSpPr>
        <p:spPr>
          <a:xfrm>
            <a:off x="4650903" y="3332368"/>
            <a:ext cx="2890194" cy="645047"/>
          </a:xfrm>
        </p:spPr>
        <p:txBody>
          <a:bodyPr/>
          <a:lstStyle/>
          <a:p>
            <a:endParaRPr lang="en-US"/>
          </a:p>
        </p:txBody>
      </p:sp>
      <p:sp>
        <p:nvSpPr>
          <p:cNvPr id="6" name="Text Placeholder 5">
            <a:extLst>
              <a:ext uri="{FF2B5EF4-FFF2-40B4-BE49-F238E27FC236}">
                <a16:creationId xmlns:a16="http://schemas.microsoft.com/office/drawing/2014/main" id="{03FD4A89-CF6C-8947-A96A-76E0F95181B1}"/>
              </a:ext>
            </a:extLst>
          </p:cNvPr>
          <p:cNvSpPr>
            <a:spLocks noGrp="1"/>
          </p:cNvSpPr>
          <p:nvPr>
            <p:ph type="body" sz="quarter" idx="40"/>
          </p:nvPr>
        </p:nvSpPr>
        <p:spPr/>
        <p:txBody>
          <a:bodyPr/>
          <a:lstStyle/>
          <a:p>
            <a:endParaRPr lang="en-US"/>
          </a:p>
        </p:txBody>
      </p:sp>
      <p:grpSp>
        <p:nvGrpSpPr>
          <p:cNvPr id="9" name="Group 19">
            <a:extLst>
              <a:ext uri="{FF2B5EF4-FFF2-40B4-BE49-F238E27FC236}">
                <a16:creationId xmlns:a16="http://schemas.microsoft.com/office/drawing/2014/main" id="{834E85AF-C7B8-204E-ADA9-06039756BE50}"/>
              </a:ext>
              <a:ext uri="{C183D7F6-B498-43B3-948B-1728B52AA6E4}">
                <adec:decorative xmlns:adec="http://schemas.microsoft.com/office/drawing/2017/decorative" val="1"/>
              </a:ext>
            </a:extLst>
          </p:cNvPr>
          <p:cNvGrpSpPr>
            <a:grpSpLocks noChangeAspect="1"/>
          </p:cNvGrpSpPr>
          <p:nvPr/>
        </p:nvGrpSpPr>
        <p:grpSpPr bwMode="auto">
          <a:xfrm>
            <a:off x="8029938" y="1801720"/>
            <a:ext cx="1330762" cy="1244311"/>
            <a:chOff x="-106" y="-109"/>
            <a:chExt cx="1878" cy="1756"/>
          </a:xfrm>
        </p:grpSpPr>
        <p:sp>
          <p:nvSpPr>
            <p:cNvPr id="10" name="Freeform 20">
              <a:extLst>
                <a:ext uri="{FF2B5EF4-FFF2-40B4-BE49-F238E27FC236}">
                  <a16:creationId xmlns:a16="http://schemas.microsoft.com/office/drawing/2014/main" id="{D257AEED-A53B-074B-BE16-C23E46B0BCDC}"/>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1">
              <a:extLst>
                <a:ext uri="{FF2B5EF4-FFF2-40B4-BE49-F238E27FC236}">
                  <a16:creationId xmlns:a16="http://schemas.microsoft.com/office/drawing/2014/main" id="{3B55AE2B-51E7-7F4E-9F6D-08791328E572}"/>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2">
              <a:extLst>
                <a:ext uri="{FF2B5EF4-FFF2-40B4-BE49-F238E27FC236}">
                  <a16:creationId xmlns:a16="http://schemas.microsoft.com/office/drawing/2014/main" id="{7917E5A3-63F5-2947-A6DA-C1BC374AFCE5}"/>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Text Placeholder 3">
            <a:extLst>
              <a:ext uri="{FF2B5EF4-FFF2-40B4-BE49-F238E27FC236}">
                <a16:creationId xmlns:a16="http://schemas.microsoft.com/office/drawing/2014/main" id="{B37014E5-F25F-2944-900F-5B6F39CA97BC}"/>
              </a:ext>
            </a:extLst>
          </p:cNvPr>
          <p:cNvSpPr>
            <a:spLocks noGrp="1"/>
          </p:cNvSpPr>
          <p:nvPr>
            <p:ph type="body" sz="quarter" idx="35"/>
          </p:nvPr>
        </p:nvSpPr>
        <p:spPr>
          <a:xfrm>
            <a:off x="8576791" y="3332368"/>
            <a:ext cx="2890194" cy="645047"/>
          </a:xfrm>
        </p:spPr>
        <p:txBody>
          <a:bodyPr/>
          <a:lstStyle/>
          <a:p>
            <a:endParaRPr lang="en-US"/>
          </a:p>
        </p:txBody>
      </p:sp>
      <p:sp>
        <p:nvSpPr>
          <p:cNvPr id="7" name="Text Placeholder 6">
            <a:extLst>
              <a:ext uri="{FF2B5EF4-FFF2-40B4-BE49-F238E27FC236}">
                <a16:creationId xmlns:a16="http://schemas.microsoft.com/office/drawing/2014/main" id="{84D9AA4C-67FC-C64B-8413-6778A43D9F48}"/>
              </a:ext>
            </a:extLst>
          </p:cNvPr>
          <p:cNvSpPr>
            <a:spLocks noGrp="1"/>
          </p:cNvSpPr>
          <p:nvPr>
            <p:ph type="body" sz="quarter" idx="41"/>
          </p:nvPr>
        </p:nvSpPr>
        <p:spPr/>
        <p:txBody>
          <a:bodyPr/>
          <a:lstStyle/>
          <a:p>
            <a:endParaRPr lang="en-US"/>
          </a:p>
        </p:txBody>
      </p:sp>
    </p:spTree>
    <p:extLst>
      <p:ext uri="{BB962C8B-B14F-4D97-AF65-F5344CB8AC3E}">
        <p14:creationId xmlns:p14="http://schemas.microsoft.com/office/powerpoint/2010/main" val="12571475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fographic example</a:t>
            </a:r>
            <a:endParaRPr lang="en-GB" dirty="0"/>
          </a:p>
        </p:txBody>
      </p:sp>
      <p:sp>
        <p:nvSpPr>
          <p:cNvPr id="20" name="Rectangle 19">
            <a:extLst>
              <a:ext uri="{FF2B5EF4-FFF2-40B4-BE49-F238E27FC236}">
                <a16:creationId xmlns:a16="http://schemas.microsoft.com/office/drawing/2014/main" id="{E0F6E5E2-47A9-42FB-9B30-ED2595F55C38}"/>
              </a:ext>
              <a:ext uri="{C183D7F6-B498-43B3-948B-1728B52AA6E4}">
                <adec:decorative xmlns:adec="http://schemas.microsoft.com/office/drawing/2017/decorative" val="1"/>
              </a:ext>
            </a:extLst>
          </p:cNvPr>
          <p:cNvSpPr/>
          <p:nvPr/>
        </p:nvSpPr>
        <p:spPr>
          <a:xfrm>
            <a:off x="1162807" y="2290790"/>
            <a:ext cx="2964210" cy="3686119"/>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latin typeface="+mj-lt"/>
            </a:endParaRPr>
          </a:p>
        </p:txBody>
      </p:sp>
      <p:sp>
        <p:nvSpPr>
          <p:cNvPr id="2" name="Oval 1">
            <a:extLst>
              <a:ext uri="{FF2B5EF4-FFF2-40B4-BE49-F238E27FC236}">
                <a16:creationId xmlns:a16="http://schemas.microsoft.com/office/drawing/2014/main" id="{4102FECB-CCFA-4955-9A91-6C4BDFA63DEB}"/>
              </a:ext>
            </a:extLst>
          </p:cNvPr>
          <p:cNvSpPr/>
          <p:nvPr/>
        </p:nvSpPr>
        <p:spPr>
          <a:xfrm>
            <a:off x="2070063" y="1722896"/>
            <a:ext cx="1149698" cy="1149698"/>
          </a:xfrm>
          <a:prstGeom prst="ellipse">
            <a:avLst/>
          </a:prstGeom>
          <a:solidFill>
            <a:srgbClr val="33809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800">
                <a:latin typeface="+mj-lt"/>
              </a:rPr>
              <a:t>60%</a:t>
            </a:r>
          </a:p>
        </p:txBody>
      </p:sp>
      <p:sp>
        <p:nvSpPr>
          <p:cNvPr id="32" name="Text Placeholder 5">
            <a:extLst>
              <a:ext uri="{FF2B5EF4-FFF2-40B4-BE49-F238E27FC236}">
                <a16:creationId xmlns:a16="http://schemas.microsoft.com/office/drawing/2014/main" id="{FBE58D55-AF5A-4ABE-AEAD-E7BAD2DAE281}"/>
              </a:ext>
            </a:extLst>
          </p:cNvPr>
          <p:cNvSpPr txBox="1">
            <a:spLocks/>
          </p:cNvSpPr>
          <p:nvPr/>
        </p:nvSpPr>
        <p:spPr>
          <a:xfrm>
            <a:off x="1276487" y="310522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rgbClr val="33809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rgbClr val="338091"/>
              </a:solidFill>
              <a:effectLst/>
              <a:uLnTx/>
              <a:uFillTx/>
              <a:latin typeface="+mj-lt"/>
              <a:ea typeface="+mn-ea"/>
              <a:cs typeface="+mn-cs"/>
            </a:endParaRPr>
          </a:p>
        </p:txBody>
      </p:sp>
      <p:cxnSp>
        <p:nvCxnSpPr>
          <p:cNvPr id="5" name="Straight Connector 4">
            <a:extLst>
              <a:ext uri="{FF2B5EF4-FFF2-40B4-BE49-F238E27FC236}">
                <a16:creationId xmlns:a16="http://schemas.microsoft.com/office/drawing/2014/main" id="{7023C60E-7882-41FF-981D-AF441C090844}"/>
              </a:ext>
              <a:ext uri="{C183D7F6-B498-43B3-948B-1728B52AA6E4}">
                <adec:decorative xmlns:adec="http://schemas.microsoft.com/office/drawing/2017/decorative" val="1"/>
              </a:ext>
            </a:extLst>
          </p:cNvPr>
          <p:cNvCxnSpPr>
            <a:cxnSpLocks/>
          </p:cNvCxnSpPr>
          <p:nvPr/>
        </p:nvCxnSpPr>
        <p:spPr>
          <a:xfrm>
            <a:off x="1921966" y="3573016"/>
            <a:ext cx="1445892" cy="0"/>
          </a:xfrm>
          <a:prstGeom prst="line">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489ED55-4436-4B57-B59F-0D3F47D7DA7A}"/>
              </a:ext>
            </a:extLst>
          </p:cNvPr>
          <p:cNvSpPr/>
          <p:nvPr/>
        </p:nvSpPr>
        <p:spPr>
          <a:xfrm>
            <a:off x="1204912" y="3919073"/>
            <a:ext cx="2880000" cy="2052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
        <p:nvSpPr>
          <p:cNvPr id="21" name="Rectangle 20">
            <a:extLst>
              <a:ext uri="{FF2B5EF4-FFF2-40B4-BE49-F238E27FC236}">
                <a16:creationId xmlns:a16="http://schemas.microsoft.com/office/drawing/2014/main" id="{4B64DB5E-B5BC-4504-9817-25C6B5878DCB}"/>
              </a:ext>
              <a:ext uri="{C183D7F6-B498-43B3-948B-1728B52AA6E4}">
                <adec:decorative xmlns:adec="http://schemas.microsoft.com/office/drawing/2017/decorative" val="1"/>
              </a:ext>
            </a:extLst>
          </p:cNvPr>
          <p:cNvSpPr/>
          <p:nvPr/>
        </p:nvSpPr>
        <p:spPr>
          <a:xfrm>
            <a:off x="4650817" y="2326074"/>
            <a:ext cx="2964210" cy="3686119"/>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latin typeface="+mj-lt"/>
            </a:endParaRPr>
          </a:p>
        </p:txBody>
      </p:sp>
      <p:sp>
        <p:nvSpPr>
          <p:cNvPr id="35" name="Oval 34">
            <a:extLst>
              <a:ext uri="{FF2B5EF4-FFF2-40B4-BE49-F238E27FC236}">
                <a16:creationId xmlns:a16="http://schemas.microsoft.com/office/drawing/2014/main" id="{089A1E0D-76F4-4634-9C34-FF6F23FB50C3}"/>
              </a:ext>
            </a:extLst>
          </p:cNvPr>
          <p:cNvSpPr/>
          <p:nvPr/>
        </p:nvSpPr>
        <p:spPr>
          <a:xfrm>
            <a:off x="5558073" y="1722896"/>
            <a:ext cx="1149698" cy="1149698"/>
          </a:xfrm>
          <a:prstGeom prst="ellipse">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800">
                <a:latin typeface="+mj-lt"/>
              </a:rPr>
              <a:t>50%</a:t>
            </a:r>
          </a:p>
        </p:txBody>
      </p:sp>
      <p:sp>
        <p:nvSpPr>
          <p:cNvPr id="33" name="Text Placeholder 6">
            <a:extLst>
              <a:ext uri="{FF2B5EF4-FFF2-40B4-BE49-F238E27FC236}">
                <a16:creationId xmlns:a16="http://schemas.microsoft.com/office/drawing/2014/main" id="{6C85BC57-9858-4D6A-B628-DC3DE234FC86}"/>
              </a:ext>
            </a:extLst>
          </p:cNvPr>
          <p:cNvSpPr txBox="1">
            <a:spLocks/>
          </p:cNvSpPr>
          <p:nvPr/>
        </p:nvSpPr>
        <p:spPr>
          <a:xfrm>
            <a:off x="4764497" y="310522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rgbClr val="14596B"/>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rgbClr val="14596B"/>
              </a:solidFill>
              <a:effectLst/>
              <a:uLnTx/>
              <a:uFillTx/>
              <a:latin typeface="+mj-lt"/>
              <a:ea typeface="+mn-ea"/>
              <a:cs typeface="+mn-cs"/>
            </a:endParaRPr>
          </a:p>
        </p:txBody>
      </p:sp>
      <p:cxnSp>
        <p:nvCxnSpPr>
          <p:cNvPr id="37" name="Straight Connector 36">
            <a:extLst>
              <a:ext uri="{FF2B5EF4-FFF2-40B4-BE49-F238E27FC236}">
                <a16:creationId xmlns:a16="http://schemas.microsoft.com/office/drawing/2014/main" id="{1E5402F7-B657-4197-89CB-67C42F775A3C}"/>
              </a:ext>
              <a:ext uri="{C183D7F6-B498-43B3-948B-1728B52AA6E4}">
                <adec:decorative xmlns:adec="http://schemas.microsoft.com/office/drawing/2017/decorative" val="1"/>
              </a:ext>
            </a:extLst>
          </p:cNvPr>
          <p:cNvCxnSpPr>
            <a:cxnSpLocks/>
          </p:cNvCxnSpPr>
          <p:nvPr/>
        </p:nvCxnSpPr>
        <p:spPr>
          <a:xfrm>
            <a:off x="5409976" y="3573016"/>
            <a:ext cx="1445892" cy="0"/>
          </a:xfrm>
          <a:prstGeom prst="line">
            <a:avLst/>
          </a:prstGeom>
          <a:ln w="38100">
            <a:solidFill>
              <a:srgbClr val="14596B"/>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626E4D0-A938-4E18-835B-9947AF26CB02}"/>
              </a:ext>
            </a:extLst>
          </p:cNvPr>
          <p:cNvSpPr/>
          <p:nvPr/>
        </p:nvSpPr>
        <p:spPr>
          <a:xfrm>
            <a:off x="4692922" y="3919073"/>
            <a:ext cx="2880000" cy="2052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
        <p:nvSpPr>
          <p:cNvPr id="22" name="Rectangle 21">
            <a:extLst>
              <a:ext uri="{FF2B5EF4-FFF2-40B4-BE49-F238E27FC236}">
                <a16:creationId xmlns:a16="http://schemas.microsoft.com/office/drawing/2014/main" id="{3C65D25B-E0EB-41AF-9185-6C3A8F9A9E72}"/>
              </a:ext>
              <a:ext uri="{C183D7F6-B498-43B3-948B-1728B52AA6E4}">
                <adec:decorative xmlns:adec="http://schemas.microsoft.com/office/drawing/2017/decorative" val="1"/>
              </a:ext>
            </a:extLst>
          </p:cNvPr>
          <p:cNvSpPr/>
          <p:nvPr/>
        </p:nvSpPr>
        <p:spPr>
          <a:xfrm>
            <a:off x="8064984" y="2326074"/>
            <a:ext cx="2964210" cy="3686119"/>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latin typeface="+mj-lt"/>
            </a:endParaRPr>
          </a:p>
        </p:txBody>
      </p:sp>
      <p:sp>
        <p:nvSpPr>
          <p:cNvPr id="36" name="Oval 35">
            <a:extLst>
              <a:ext uri="{FF2B5EF4-FFF2-40B4-BE49-F238E27FC236}">
                <a16:creationId xmlns:a16="http://schemas.microsoft.com/office/drawing/2014/main" id="{72361C6E-5622-4B16-A56F-4EC74B9AA13F}"/>
              </a:ext>
            </a:extLst>
          </p:cNvPr>
          <p:cNvSpPr/>
          <p:nvPr/>
        </p:nvSpPr>
        <p:spPr>
          <a:xfrm>
            <a:off x="8972240" y="1722896"/>
            <a:ext cx="1149698" cy="1149698"/>
          </a:xfrm>
          <a:prstGeom prst="ellipse">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800">
                <a:latin typeface="+mj-lt"/>
              </a:rPr>
              <a:t>35%</a:t>
            </a:r>
          </a:p>
        </p:txBody>
      </p:sp>
      <p:sp>
        <p:nvSpPr>
          <p:cNvPr id="34" name="Text Placeholder 7">
            <a:extLst>
              <a:ext uri="{FF2B5EF4-FFF2-40B4-BE49-F238E27FC236}">
                <a16:creationId xmlns:a16="http://schemas.microsoft.com/office/drawing/2014/main" id="{CA1BB4EB-128F-4334-9A63-98405D3AD334}"/>
              </a:ext>
            </a:extLst>
          </p:cNvPr>
          <p:cNvSpPr txBox="1">
            <a:spLocks/>
          </p:cNvSpPr>
          <p:nvPr/>
        </p:nvSpPr>
        <p:spPr>
          <a:xfrm>
            <a:off x="8178664" y="310522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rgbClr val="173340"/>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rgbClr val="173340"/>
              </a:solidFill>
              <a:effectLst/>
              <a:uLnTx/>
              <a:uFillTx/>
              <a:latin typeface="+mj-lt"/>
              <a:ea typeface="+mn-ea"/>
              <a:cs typeface="+mn-cs"/>
            </a:endParaRPr>
          </a:p>
        </p:txBody>
      </p:sp>
      <p:cxnSp>
        <p:nvCxnSpPr>
          <p:cNvPr id="41" name="Straight Connector 40">
            <a:extLst>
              <a:ext uri="{FF2B5EF4-FFF2-40B4-BE49-F238E27FC236}">
                <a16:creationId xmlns:a16="http://schemas.microsoft.com/office/drawing/2014/main" id="{85FAB1B4-C948-4B38-B5DF-2352D8CADDC8}"/>
              </a:ext>
              <a:ext uri="{C183D7F6-B498-43B3-948B-1728B52AA6E4}">
                <adec:decorative xmlns:adec="http://schemas.microsoft.com/office/drawing/2017/decorative" val="1"/>
              </a:ext>
            </a:extLst>
          </p:cNvPr>
          <p:cNvCxnSpPr>
            <a:cxnSpLocks/>
          </p:cNvCxnSpPr>
          <p:nvPr/>
        </p:nvCxnSpPr>
        <p:spPr>
          <a:xfrm>
            <a:off x="8824143" y="3573016"/>
            <a:ext cx="1445892" cy="0"/>
          </a:xfrm>
          <a:prstGeom prst="line">
            <a:avLst/>
          </a:prstGeom>
          <a:ln w="38100">
            <a:solidFill>
              <a:srgbClr val="173340"/>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0FB988C3-64C3-4752-9448-28D6898E2E31}"/>
              </a:ext>
            </a:extLst>
          </p:cNvPr>
          <p:cNvSpPr/>
          <p:nvPr/>
        </p:nvSpPr>
        <p:spPr>
          <a:xfrm>
            <a:off x="8107089" y="3919073"/>
            <a:ext cx="2880000" cy="2052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Tree>
    <p:extLst>
      <p:ext uri="{BB962C8B-B14F-4D97-AF65-F5344CB8AC3E}">
        <p14:creationId xmlns:p14="http://schemas.microsoft.com/office/powerpoint/2010/main" val="19204760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Four quarters layout</a:t>
            </a:r>
            <a:br>
              <a:rPr lang="en-US"/>
            </a:br>
            <a:endParaRPr lang="en-GB"/>
          </a:p>
        </p:txBody>
      </p:sp>
      <p:sp>
        <p:nvSpPr>
          <p:cNvPr id="8" name="Text Placeholder 5">
            <a:extLst>
              <a:ext uri="{FF2B5EF4-FFF2-40B4-BE49-F238E27FC236}">
                <a16:creationId xmlns:a16="http://schemas.microsoft.com/office/drawing/2014/main" id="{D06A00BB-62BB-4E38-A548-65DC793A0CEC}"/>
              </a:ext>
            </a:extLst>
          </p:cNvPr>
          <p:cNvSpPr txBox="1">
            <a:spLocks/>
          </p:cNvSpPr>
          <p:nvPr/>
        </p:nvSpPr>
        <p:spPr>
          <a:xfrm>
            <a:off x="525066" y="1129123"/>
            <a:ext cx="5400000" cy="360000"/>
          </a:xfrm>
          <a:prstGeom prst="rect">
            <a:avLst/>
          </a:prstGeom>
          <a:solidFill>
            <a:srgbClr val="0070AD"/>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7" name="Text Placeholder 4">
            <a:extLst>
              <a:ext uri="{FF2B5EF4-FFF2-40B4-BE49-F238E27FC236}">
                <a16:creationId xmlns:a16="http://schemas.microsoft.com/office/drawing/2014/main" id="{C24BC97D-D742-4656-BED6-39CE6697D04F}"/>
              </a:ext>
            </a:extLst>
          </p:cNvPr>
          <p:cNvSpPr txBox="1">
            <a:spLocks/>
          </p:cNvSpPr>
          <p:nvPr/>
        </p:nvSpPr>
        <p:spPr>
          <a:xfrm>
            <a:off x="525066" y="1481623"/>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2" name="Text Placeholder 5">
            <a:extLst>
              <a:ext uri="{FF2B5EF4-FFF2-40B4-BE49-F238E27FC236}">
                <a16:creationId xmlns:a16="http://schemas.microsoft.com/office/drawing/2014/main" id="{D0EEAE55-3908-4254-BFA1-09020080E75E}"/>
              </a:ext>
              <a:ext uri="{C183D7F6-B498-43B3-948B-1728B52AA6E4}">
                <adec:decorative xmlns:adec="http://schemas.microsoft.com/office/drawing/2017/decorative" val="1"/>
              </a:ext>
            </a:extLst>
          </p:cNvPr>
          <p:cNvSpPr txBox="1">
            <a:spLocks/>
          </p:cNvSpPr>
          <p:nvPr/>
        </p:nvSpPr>
        <p:spPr>
          <a:xfrm>
            <a:off x="525066" y="3674376"/>
            <a:ext cx="5400000" cy="28800"/>
          </a:xfrm>
          <a:prstGeom prst="rect">
            <a:avLst/>
          </a:prstGeom>
          <a:solidFill>
            <a:srgbClr val="0070AD"/>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
        <p:nvSpPr>
          <p:cNvPr id="11" name="Text Placeholder 5">
            <a:extLst>
              <a:ext uri="{FF2B5EF4-FFF2-40B4-BE49-F238E27FC236}">
                <a16:creationId xmlns:a16="http://schemas.microsoft.com/office/drawing/2014/main" id="{05BE0285-E253-45DC-AD48-1FC2E338C362}"/>
              </a:ext>
            </a:extLst>
          </p:cNvPr>
          <p:cNvSpPr txBox="1">
            <a:spLocks/>
          </p:cNvSpPr>
          <p:nvPr/>
        </p:nvSpPr>
        <p:spPr>
          <a:xfrm>
            <a:off x="6266935" y="1129123"/>
            <a:ext cx="5400000" cy="360000"/>
          </a:xfrm>
          <a:prstGeom prst="rect">
            <a:avLst/>
          </a:prstGeom>
          <a:solidFill>
            <a:srgbClr val="007D74"/>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10" name="Text Placeholder 4">
            <a:extLst>
              <a:ext uri="{FF2B5EF4-FFF2-40B4-BE49-F238E27FC236}">
                <a16:creationId xmlns:a16="http://schemas.microsoft.com/office/drawing/2014/main" id="{ACD56D34-2A2E-4AE7-81CE-420EA02090DA}"/>
              </a:ext>
            </a:extLst>
          </p:cNvPr>
          <p:cNvSpPr txBox="1">
            <a:spLocks/>
          </p:cNvSpPr>
          <p:nvPr/>
        </p:nvSpPr>
        <p:spPr>
          <a:xfrm>
            <a:off x="6266935" y="1481623"/>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3" name="Text Placeholder 5">
            <a:extLst>
              <a:ext uri="{FF2B5EF4-FFF2-40B4-BE49-F238E27FC236}">
                <a16:creationId xmlns:a16="http://schemas.microsoft.com/office/drawing/2014/main" id="{EDC8BF98-1E31-4773-B628-C9C263F92B26}"/>
              </a:ext>
              <a:ext uri="{C183D7F6-B498-43B3-948B-1728B52AA6E4}">
                <adec:decorative xmlns:adec="http://schemas.microsoft.com/office/drawing/2017/decorative" val="1"/>
              </a:ext>
            </a:extLst>
          </p:cNvPr>
          <p:cNvSpPr txBox="1">
            <a:spLocks/>
          </p:cNvSpPr>
          <p:nvPr/>
        </p:nvSpPr>
        <p:spPr>
          <a:xfrm>
            <a:off x="6266935" y="3674376"/>
            <a:ext cx="5400000" cy="28800"/>
          </a:xfrm>
          <a:prstGeom prst="rect">
            <a:avLst/>
          </a:prstGeom>
          <a:solidFill>
            <a:srgbClr val="007D74"/>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
        <p:nvSpPr>
          <p:cNvPr id="18" name="Text Placeholder 5">
            <a:extLst>
              <a:ext uri="{FF2B5EF4-FFF2-40B4-BE49-F238E27FC236}">
                <a16:creationId xmlns:a16="http://schemas.microsoft.com/office/drawing/2014/main" id="{577A5A07-26A4-49F3-B82A-F0D76F408C85}"/>
              </a:ext>
            </a:extLst>
          </p:cNvPr>
          <p:cNvSpPr txBox="1">
            <a:spLocks/>
          </p:cNvSpPr>
          <p:nvPr/>
        </p:nvSpPr>
        <p:spPr>
          <a:xfrm>
            <a:off x="525066" y="3807697"/>
            <a:ext cx="5400000" cy="360000"/>
          </a:xfrm>
          <a:prstGeom prst="rect">
            <a:avLst/>
          </a:prstGeom>
          <a:solidFill>
            <a:srgbClr val="14596B"/>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17" name="Text Placeholder 4">
            <a:extLst>
              <a:ext uri="{FF2B5EF4-FFF2-40B4-BE49-F238E27FC236}">
                <a16:creationId xmlns:a16="http://schemas.microsoft.com/office/drawing/2014/main" id="{BAE1AFC5-F81A-4897-B946-7F5F2536CA52}"/>
              </a:ext>
            </a:extLst>
          </p:cNvPr>
          <p:cNvSpPr txBox="1">
            <a:spLocks/>
          </p:cNvSpPr>
          <p:nvPr/>
        </p:nvSpPr>
        <p:spPr>
          <a:xfrm>
            <a:off x="525066" y="4160197"/>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4" name="Text Placeholder 5">
            <a:extLst>
              <a:ext uri="{FF2B5EF4-FFF2-40B4-BE49-F238E27FC236}">
                <a16:creationId xmlns:a16="http://schemas.microsoft.com/office/drawing/2014/main" id="{55CC1BE8-6BA1-456C-BA77-BD29E2DB6CB7}"/>
              </a:ext>
              <a:ext uri="{C183D7F6-B498-43B3-948B-1728B52AA6E4}">
                <adec:decorative xmlns:adec="http://schemas.microsoft.com/office/drawing/2017/decorative" val="1"/>
              </a:ext>
            </a:extLst>
          </p:cNvPr>
          <p:cNvSpPr txBox="1">
            <a:spLocks/>
          </p:cNvSpPr>
          <p:nvPr/>
        </p:nvSpPr>
        <p:spPr>
          <a:xfrm>
            <a:off x="525066" y="6352950"/>
            <a:ext cx="5400000" cy="28800"/>
          </a:xfrm>
          <a:prstGeom prst="rect">
            <a:avLst/>
          </a:prstGeom>
          <a:solidFill>
            <a:srgbClr val="14596B"/>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
        <p:nvSpPr>
          <p:cNvPr id="21" name="Text Placeholder 5">
            <a:extLst>
              <a:ext uri="{FF2B5EF4-FFF2-40B4-BE49-F238E27FC236}">
                <a16:creationId xmlns:a16="http://schemas.microsoft.com/office/drawing/2014/main" id="{9E2C7D3B-CA3D-4A57-AF7D-4B96B19D80B8}"/>
              </a:ext>
            </a:extLst>
          </p:cNvPr>
          <p:cNvSpPr txBox="1">
            <a:spLocks/>
          </p:cNvSpPr>
          <p:nvPr/>
        </p:nvSpPr>
        <p:spPr>
          <a:xfrm>
            <a:off x="6266935" y="3807697"/>
            <a:ext cx="5400000" cy="360000"/>
          </a:xfrm>
          <a:prstGeom prst="rect">
            <a:avLst/>
          </a:prstGeom>
          <a:solidFill>
            <a:srgbClr val="272936"/>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20" name="Text Placeholder 4">
            <a:extLst>
              <a:ext uri="{FF2B5EF4-FFF2-40B4-BE49-F238E27FC236}">
                <a16:creationId xmlns:a16="http://schemas.microsoft.com/office/drawing/2014/main" id="{96DC08F6-2453-473C-A738-8432C86E2549}"/>
              </a:ext>
            </a:extLst>
          </p:cNvPr>
          <p:cNvSpPr txBox="1">
            <a:spLocks/>
          </p:cNvSpPr>
          <p:nvPr/>
        </p:nvSpPr>
        <p:spPr>
          <a:xfrm>
            <a:off x="6266935" y="4160197"/>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5" name="Text Placeholder 5">
            <a:extLst>
              <a:ext uri="{FF2B5EF4-FFF2-40B4-BE49-F238E27FC236}">
                <a16:creationId xmlns:a16="http://schemas.microsoft.com/office/drawing/2014/main" id="{A0ED06BA-B705-405A-9C38-7C2BAC61D83C}"/>
              </a:ext>
              <a:ext uri="{C183D7F6-B498-43B3-948B-1728B52AA6E4}">
                <adec:decorative xmlns:adec="http://schemas.microsoft.com/office/drawing/2017/decorative" val="1"/>
              </a:ext>
            </a:extLst>
          </p:cNvPr>
          <p:cNvSpPr txBox="1">
            <a:spLocks/>
          </p:cNvSpPr>
          <p:nvPr/>
        </p:nvSpPr>
        <p:spPr>
          <a:xfrm>
            <a:off x="6266935" y="6352950"/>
            <a:ext cx="5400000" cy="28800"/>
          </a:xfrm>
          <a:prstGeom prst="rect">
            <a:avLst/>
          </a:prstGeom>
          <a:solidFill>
            <a:srgbClr val="272936"/>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Tree>
    <p:extLst>
      <p:ext uri="{BB962C8B-B14F-4D97-AF65-F5344CB8AC3E}">
        <p14:creationId xmlns:p14="http://schemas.microsoft.com/office/powerpoint/2010/main" val="27213046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9982-DA64-4C43-BCEF-FCA63CEBC0C8}"/>
              </a:ext>
            </a:extLst>
          </p:cNvPr>
          <p:cNvSpPr>
            <a:spLocks noGrp="1"/>
          </p:cNvSpPr>
          <p:nvPr>
            <p:ph type="title"/>
          </p:nvPr>
        </p:nvSpPr>
        <p:spPr/>
        <p:txBody>
          <a:bodyPr/>
          <a:lstStyle/>
          <a:p>
            <a:r>
              <a:rPr lang="en-US"/>
              <a:t>Heading &amp; text </a:t>
            </a:r>
            <a:r>
              <a:rPr lang="en-US" err="1"/>
              <a:t>layouT</a:t>
            </a:r>
            <a:endParaRPr lang="en-US"/>
          </a:p>
        </p:txBody>
      </p:sp>
      <p:sp>
        <p:nvSpPr>
          <p:cNvPr id="20" name="Text Placeholder 5">
            <a:extLst>
              <a:ext uri="{FF2B5EF4-FFF2-40B4-BE49-F238E27FC236}">
                <a16:creationId xmlns:a16="http://schemas.microsoft.com/office/drawing/2014/main" id="{BF951FBD-C696-4678-B979-B3A39C1DDF4E}"/>
              </a:ext>
            </a:extLst>
          </p:cNvPr>
          <p:cNvSpPr txBox="1">
            <a:spLocks/>
          </p:cNvSpPr>
          <p:nvPr/>
        </p:nvSpPr>
        <p:spPr>
          <a:xfrm>
            <a:off x="550863" y="1633412"/>
            <a:ext cx="2675571" cy="612000"/>
          </a:xfrm>
          <a:prstGeom prst="rect">
            <a:avLst/>
          </a:prstGeom>
          <a:solidFill>
            <a:srgbClr val="0070AD"/>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19" name="Text Placeholder 4">
            <a:extLst>
              <a:ext uri="{FF2B5EF4-FFF2-40B4-BE49-F238E27FC236}">
                <a16:creationId xmlns:a16="http://schemas.microsoft.com/office/drawing/2014/main" id="{F5556E03-79A9-4EB4-A764-F59A98520FB7}"/>
              </a:ext>
            </a:extLst>
          </p:cNvPr>
          <p:cNvSpPr txBox="1">
            <a:spLocks/>
          </p:cNvSpPr>
          <p:nvPr/>
        </p:nvSpPr>
        <p:spPr>
          <a:xfrm>
            <a:off x="550863" y="2242603"/>
            <a:ext cx="2675571" cy="4139148"/>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22" name="Text Placeholder 5">
            <a:extLst>
              <a:ext uri="{FF2B5EF4-FFF2-40B4-BE49-F238E27FC236}">
                <a16:creationId xmlns:a16="http://schemas.microsoft.com/office/drawing/2014/main" id="{08BB22D1-3429-4B5E-9CF7-C3E254F5B210}"/>
              </a:ext>
            </a:extLst>
          </p:cNvPr>
          <p:cNvSpPr txBox="1">
            <a:spLocks/>
          </p:cNvSpPr>
          <p:nvPr/>
        </p:nvSpPr>
        <p:spPr>
          <a:xfrm>
            <a:off x="3356702" y="1633412"/>
            <a:ext cx="2675571" cy="612000"/>
          </a:xfrm>
          <a:prstGeom prst="rect">
            <a:avLst/>
          </a:prstGeom>
          <a:solidFill>
            <a:srgbClr val="007D74"/>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21" name="Text Placeholder 4">
            <a:extLst>
              <a:ext uri="{FF2B5EF4-FFF2-40B4-BE49-F238E27FC236}">
                <a16:creationId xmlns:a16="http://schemas.microsoft.com/office/drawing/2014/main" id="{5F7911FD-1835-4A11-A4EC-4F55ED666930}"/>
              </a:ext>
            </a:extLst>
          </p:cNvPr>
          <p:cNvSpPr txBox="1">
            <a:spLocks/>
          </p:cNvSpPr>
          <p:nvPr/>
        </p:nvSpPr>
        <p:spPr>
          <a:xfrm>
            <a:off x="3356702" y="2242603"/>
            <a:ext cx="2675571" cy="4139148"/>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24" name="Text Placeholder 5">
            <a:extLst>
              <a:ext uri="{FF2B5EF4-FFF2-40B4-BE49-F238E27FC236}">
                <a16:creationId xmlns:a16="http://schemas.microsoft.com/office/drawing/2014/main" id="{588DC3FB-7DA0-460F-92E3-CC83AE6003BE}"/>
              </a:ext>
            </a:extLst>
          </p:cNvPr>
          <p:cNvSpPr txBox="1">
            <a:spLocks/>
          </p:cNvSpPr>
          <p:nvPr/>
        </p:nvSpPr>
        <p:spPr>
          <a:xfrm>
            <a:off x="6162541" y="1633412"/>
            <a:ext cx="2675571" cy="612000"/>
          </a:xfrm>
          <a:prstGeom prst="rect">
            <a:avLst/>
          </a:prstGeom>
          <a:solidFill>
            <a:srgbClr val="14596B"/>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23" name="Text Placeholder 4">
            <a:extLst>
              <a:ext uri="{FF2B5EF4-FFF2-40B4-BE49-F238E27FC236}">
                <a16:creationId xmlns:a16="http://schemas.microsoft.com/office/drawing/2014/main" id="{9458874B-A691-4190-9CB9-79F60EC16386}"/>
              </a:ext>
            </a:extLst>
          </p:cNvPr>
          <p:cNvSpPr txBox="1">
            <a:spLocks/>
          </p:cNvSpPr>
          <p:nvPr/>
        </p:nvSpPr>
        <p:spPr>
          <a:xfrm>
            <a:off x="6162541" y="2242603"/>
            <a:ext cx="2675571" cy="4139148"/>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26" name="Text Placeholder 5">
            <a:extLst>
              <a:ext uri="{FF2B5EF4-FFF2-40B4-BE49-F238E27FC236}">
                <a16:creationId xmlns:a16="http://schemas.microsoft.com/office/drawing/2014/main" id="{2AF9986B-A0BA-4B3F-A779-470EFD5025B0}"/>
              </a:ext>
            </a:extLst>
          </p:cNvPr>
          <p:cNvSpPr txBox="1">
            <a:spLocks/>
          </p:cNvSpPr>
          <p:nvPr/>
        </p:nvSpPr>
        <p:spPr>
          <a:xfrm>
            <a:off x="8968380" y="1633412"/>
            <a:ext cx="2675571" cy="612000"/>
          </a:xfrm>
          <a:prstGeom prst="rect">
            <a:avLst/>
          </a:prstGeom>
          <a:solidFill>
            <a:srgbClr val="272936"/>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25" name="Text Placeholder 4">
            <a:extLst>
              <a:ext uri="{FF2B5EF4-FFF2-40B4-BE49-F238E27FC236}">
                <a16:creationId xmlns:a16="http://schemas.microsoft.com/office/drawing/2014/main" id="{0926338F-F2BE-4055-BB10-122E25C878EE}"/>
              </a:ext>
            </a:extLst>
          </p:cNvPr>
          <p:cNvSpPr txBox="1">
            <a:spLocks/>
          </p:cNvSpPr>
          <p:nvPr/>
        </p:nvSpPr>
        <p:spPr>
          <a:xfrm>
            <a:off x="8968380" y="2242603"/>
            <a:ext cx="2675571" cy="4139148"/>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Tree>
    <p:extLst>
      <p:ext uri="{BB962C8B-B14F-4D97-AF65-F5344CB8AC3E}">
        <p14:creationId xmlns:p14="http://schemas.microsoft.com/office/powerpoint/2010/main" val="4487530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p:txBody>
          <a:bodyPr/>
          <a:lstStyle/>
          <a:p>
            <a:r>
              <a:rPr lang="en-GB" dirty="0" err="1"/>
              <a:t>Powerpoint</a:t>
            </a:r>
            <a:br>
              <a:rPr lang="en-GB" dirty="0"/>
            </a:br>
            <a:r>
              <a:rPr lang="en-GB" dirty="0"/>
              <a:t>         Template</a:t>
            </a:r>
          </a:p>
        </p:txBody>
      </p:sp>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a:xfrm>
            <a:off x="404813" y="4242574"/>
            <a:ext cx="6267251" cy="307777"/>
          </a:xfrm>
        </p:spPr>
        <p:txBody>
          <a:bodyPr/>
          <a:lstStyle/>
          <a:p>
            <a:pPr algn="r"/>
            <a:r>
              <a:rPr lang="en-GB" dirty="0"/>
              <a:t>October 2021</a:t>
            </a:r>
          </a:p>
        </p:txBody>
      </p:sp>
    </p:spTree>
    <p:extLst>
      <p:ext uri="{BB962C8B-B14F-4D97-AF65-F5344CB8AC3E}">
        <p14:creationId xmlns:p14="http://schemas.microsoft.com/office/powerpoint/2010/main" val="38675336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p:txBody>
          <a:bodyPr/>
          <a:lstStyle/>
          <a:p>
            <a:r>
              <a:rPr lang="en-GB"/>
              <a:t>Charts MUST stick to one palette per chart</a:t>
            </a:r>
          </a:p>
        </p:txBody>
      </p:sp>
      <p:graphicFrame>
        <p:nvGraphicFramePr>
          <p:cNvPr id="15" name="Content Placeholder 14">
            <a:extLst>
              <a:ext uri="{FF2B5EF4-FFF2-40B4-BE49-F238E27FC236}">
                <a16:creationId xmlns:a16="http://schemas.microsoft.com/office/drawing/2014/main" id="{303FC40E-9053-4571-A900-1F1A57C3EDF0}"/>
              </a:ext>
            </a:extLst>
          </p:cNvPr>
          <p:cNvGraphicFramePr>
            <a:graphicFrameLocks noGrp="1"/>
          </p:cNvGraphicFramePr>
          <p:nvPr>
            <p:ph sz="quarter" idx="4294967295"/>
            <p:extLst>
              <p:ext uri="{D42A27DB-BD31-4B8C-83A1-F6EECF244321}">
                <p14:modId xmlns:p14="http://schemas.microsoft.com/office/powerpoint/2010/main" val="1389152961"/>
              </p:ext>
            </p:extLst>
          </p:nvPr>
        </p:nvGraphicFramePr>
        <p:xfrm>
          <a:off x="253455" y="1644650"/>
          <a:ext cx="3780632" cy="475615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657022C5-6E72-42F2-A482-1DA1F7FF1491}"/>
              </a:ext>
            </a:extLst>
          </p:cNvPr>
          <p:cNvSpPr txBox="1"/>
          <p:nvPr/>
        </p:nvSpPr>
        <p:spPr>
          <a:xfrm>
            <a:off x="408932" y="1644650"/>
            <a:ext cx="3490945" cy="584775"/>
          </a:xfrm>
          <a:prstGeom prst="rect">
            <a:avLst/>
          </a:prstGeom>
          <a:noFill/>
        </p:spPr>
        <p:txBody>
          <a:bodyPr wrap="square" rtlCol="0">
            <a:spAutoFit/>
          </a:bodyPr>
          <a:lstStyle/>
          <a:p>
            <a:r>
              <a:rPr lang="en-US" dirty="0">
                <a:latin typeface="+mj-lt"/>
              </a:rPr>
              <a:t>Title</a:t>
            </a:r>
          </a:p>
          <a:p>
            <a:r>
              <a:rPr lang="en-US" sz="1400" dirty="0"/>
              <a:t>(Unit of measurement)</a:t>
            </a:r>
          </a:p>
        </p:txBody>
      </p:sp>
      <p:sp>
        <p:nvSpPr>
          <p:cNvPr id="7" name="TextBox 6">
            <a:extLst>
              <a:ext uri="{FF2B5EF4-FFF2-40B4-BE49-F238E27FC236}">
                <a16:creationId xmlns:a16="http://schemas.microsoft.com/office/drawing/2014/main" id="{AEA3B994-7C61-4195-9426-794B8BB66BF6}"/>
              </a:ext>
            </a:extLst>
          </p:cNvPr>
          <p:cNvSpPr txBox="1"/>
          <p:nvPr/>
        </p:nvSpPr>
        <p:spPr>
          <a:xfrm>
            <a:off x="4574544" y="1644650"/>
            <a:ext cx="3173586" cy="584775"/>
          </a:xfrm>
          <a:prstGeom prst="rect">
            <a:avLst/>
          </a:prstGeom>
          <a:noFill/>
        </p:spPr>
        <p:txBody>
          <a:bodyPr wrap="square" rtlCol="0">
            <a:spAutoFit/>
          </a:bodyPr>
          <a:lstStyle/>
          <a:p>
            <a:r>
              <a:rPr lang="en-US">
                <a:latin typeface="+mj-lt"/>
              </a:rPr>
              <a:t>Title</a:t>
            </a:r>
          </a:p>
          <a:p>
            <a:r>
              <a:rPr lang="en-US" sz="1400"/>
              <a:t>(Unit of measurement)</a:t>
            </a:r>
          </a:p>
        </p:txBody>
      </p:sp>
      <p:graphicFrame>
        <p:nvGraphicFramePr>
          <p:cNvPr id="9" name="Content Placeholder 14">
            <a:extLst>
              <a:ext uri="{FF2B5EF4-FFF2-40B4-BE49-F238E27FC236}">
                <a16:creationId xmlns:a16="http://schemas.microsoft.com/office/drawing/2014/main" id="{3C8DDC34-34C1-4B4B-83AB-F3CA60AF3828}"/>
              </a:ext>
            </a:extLst>
          </p:cNvPr>
          <p:cNvGraphicFramePr>
            <a:graphicFrameLocks/>
          </p:cNvGraphicFramePr>
          <p:nvPr>
            <p:extLst>
              <p:ext uri="{D42A27DB-BD31-4B8C-83A1-F6EECF244321}">
                <p14:modId xmlns:p14="http://schemas.microsoft.com/office/powerpoint/2010/main" val="3750911409"/>
              </p:ext>
            </p:extLst>
          </p:nvPr>
        </p:nvGraphicFramePr>
        <p:xfrm>
          <a:off x="4443117" y="1644650"/>
          <a:ext cx="3436441" cy="475615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C9B89DA3-ECF3-4B4B-AFDB-2E8C0E54317F}"/>
              </a:ext>
            </a:extLst>
          </p:cNvPr>
          <p:cNvSpPr txBox="1"/>
          <p:nvPr/>
        </p:nvSpPr>
        <p:spPr>
          <a:xfrm>
            <a:off x="8580707" y="1669506"/>
            <a:ext cx="3173586" cy="584775"/>
          </a:xfrm>
          <a:prstGeom prst="rect">
            <a:avLst/>
          </a:prstGeom>
          <a:noFill/>
        </p:spPr>
        <p:txBody>
          <a:bodyPr wrap="square" rtlCol="0">
            <a:spAutoFit/>
          </a:bodyPr>
          <a:lstStyle/>
          <a:p>
            <a:r>
              <a:rPr lang="en-US">
                <a:latin typeface="+mj-lt"/>
              </a:rPr>
              <a:t>Title</a:t>
            </a:r>
          </a:p>
          <a:p>
            <a:r>
              <a:rPr lang="en-US" sz="1400"/>
              <a:t>(Unit of measurement)</a:t>
            </a:r>
          </a:p>
        </p:txBody>
      </p:sp>
      <p:graphicFrame>
        <p:nvGraphicFramePr>
          <p:cNvPr id="10" name="Content Placeholder 14">
            <a:extLst>
              <a:ext uri="{FF2B5EF4-FFF2-40B4-BE49-F238E27FC236}">
                <a16:creationId xmlns:a16="http://schemas.microsoft.com/office/drawing/2014/main" id="{D5D44E3B-8088-4580-AFE1-5806023B7BAC}"/>
              </a:ext>
            </a:extLst>
          </p:cNvPr>
          <p:cNvGraphicFramePr>
            <a:graphicFrameLocks/>
          </p:cNvGraphicFramePr>
          <p:nvPr>
            <p:extLst>
              <p:ext uri="{D42A27DB-BD31-4B8C-83A1-F6EECF244321}">
                <p14:modId xmlns:p14="http://schemas.microsoft.com/office/powerpoint/2010/main" val="4068222355"/>
              </p:ext>
            </p:extLst>
          </p:nvPr>
        </p:nvGraphicFramePr>
        <p:xfrm>
          <a:off x="8449280" y="1644650"/>
          <a:ext cx="3436441" cy="47561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50130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p:txBody>
          <a:bodyPr/>
          <a:lstStyle/>
          <a:p>
            <a:r>
              <a:rPr lang="en-GB" dirty="0"/>
              <a:t>Charts MUST stick to one palette per chart</a:t>
            </a:r>
          </a:p>
        </p:txBody>
      </p:sp>
      <p:graphicFrame>
        <p:nvGraphicFramePr>
          <p:cNvPr id="15" name="Content Placeholder 14">
            <a:extLst>
              <a:ext uri="{FF2B5EF4-FFF2-40B4-BE49-F238E27FC236}">
                <a16:creationId xmlns:a16="http://schemas.microsoft.com/office/drawing/2014/main" id="{303FC40E-9053-4571-A900-1F1A57C3EDF0}"/>
              </a:ext>
            </a:extLst>
          </p:cNvPr>
          <p:cNvGraphicFramePr>
            <a:graphicFrameLocks noGrp="1"/>
          </p:cNvGraphicFramePr>
          <p:nvPr>
            <p:ph sz="quarter" idx="4294967295"/>
            <p:extLst>
              <p:ext uri="{D42A27DB-BD31-4B8C-83A1-F6EECF244321}">
                <p14:modId xmlns:p14="http://schemas.microsoft.com/office/powerpoint/2010/main" val="2626816208"/>
              </p:ext>
            </p:extLst>
          </p:nvPr>
        </p:nvGraphicFramePr>
        <p:xfrm>
          <a:off x="271378" y="1647031"/>
          <a:ext cx="3382963" cy="3565525"/>
        </p:xfrm>
        <a:graphic>
          <a:graphicData uri="http://schemas.openxmlformats.org/drawingml/2006/chart">
            <c:chart xmlns:c="http://schemas.openxmlformats.org/drawingml/2006/chart" xmlns:r="http://schemas.openxmlformats.org/officeDocument/2006/relationships" r:id="rId2"/>
          </a:graphicData>
        </a:graphic>
      </p:graphicFrame>
      <p:sp>
        <p:nvSpPr>
          <p:cNvPr id="21" name="Oval 20">
            <a:extLst>
              <a:ext uri="{FF2B5EF4-FFF2-40B4-BE49-F238E27FC236}">
                <a16:creationId xmlns:a16="http://schemas.microsoft.com/office/drawing/2014/main" id="{BF14391D-B7D6-4335-A800-C4948679AB82}"/>
              </a:ext>
            </a:extLst>
          </p:cNvPr>
          <p:cNvSpPr/>
          <p:nvPr/>
        </p:nvSpPr>
        <p:spPr>
          <a:xfrm>
            <a:off x="2728278" y="1969322"/>
            <a:ext cx="463550" cy="463550"/>
          </a:xfrm>
          <a:prstGeom prst="ellipse">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
        <p:nvSpPr>
          <p:cNvPr id="18" name="TextBox 17">
            <a:extLst>
              <a:ext uri="{FF2B5EF4-FFF2-40B4-BE49-F238E27FC236}">
                <a16:creationId xmlns:a16="http://schemas.microsoft.com/office/drawing/2014/main" id="{C91EB463-AFF4-42DE-9D0A-F2FB6DCEB915}"/>
              </a:ext>
            </a:extLst>
          </p:cNvPr>
          <p:cNvSpPr txBox="1"/>
          <p:nvPr/>
        </p:nvSpPr>
        <p:spPr>
          <a:xfrm>
            <a:off x="1192723" y="2961113"/>
            <a:ext cx="1539875" cy="830997"/>
          </a:xfrm>
          <a:prstGeom prst="rect">
            <a:avLst/>
          </a:prstGeom>
          <a:noFill/>
        </p:spPr>
        <p:txBody>
          <a:bodyPr wrap="square">
            <a:spAutoFit/>
          </a:bodyPr>
          <a:lstStyle/>
          <a:p>
            <a:pPr algn="ctr"/>
            <a:r>
              <a:rPr lang="en-GB" sz="4800" b="0" i="0" u="none" strike="noStrike" baseline="0">
                <a:latin typeface="Ubuntu" panose="020B0504030602030204" pitchFamily="34" charset="0"/>
              </a:rPr>
              <a:t>3.6</a:t>
            </a:r>
            <a:r>
              <a:rPr lang="en-GB" sz="4800" b="0" i="0" u="none" strike="noStrike" baseline="30000">
                <a:latin typeface="Ubuntu" panose="020B0504030602030204" pitchFamily="34" charset="0"/>
              </a:rPr>
              <a:t>bn</a:t>
            </a:r>
            <a:endParaRPr lang="en-GB" sz="900" baseline="30000">
              <a:latin typeface="Ubuntu" panose="020B0504030602030204" pitchFamily="34" charset="0"/>
            </a:endParaRPr>
          </a:p>
        </p:txBody>
      </p:sp>
      <p:sp>
        <p:nvSpPr>
          <p:cNvPr id="28" name="TextBox 27">
            <a:extLst>
              <a:ext uri="{FF2B5EF4-FFF2-40B4-BE49-F238E27FC236}">
                <a16:creationId xmlns:a16="http://schemas.microsoft.com/office/drawing/2014/main" id="{5921D5CC-6427-4560-8F57-E377239E90B8}"/>
              </a:ext>
            </a:extLst>
          </p:cNvPr>
          <p:cNvSpPr txBox="1"/>
          <p:nvPr/>
        </p:nvSpPr>
        <p:spPr>
          <a:xfrm>
            <a:off x="894595" y="5723682"/>
            <a:ext cx="2686633" cy="246221"/>
          </a:xfrm>
          <a:prstGeom prst="rect">
            <a:avLst/>
          </a:prstGeom>
          <a:noFill/>
        </p:spPr>
        <p:txBody>
          <a:bodyPr wrap="none" lIns="0" tIns="0" rIns="0" bIns="0" anchor="ctr" anchorCtr="0">
            <a:spAutoFit/>
          </a:bodyPr>
          <a:lstStyle/>
          <a:p>
            <a:r>
              <a:rPr lang="en-GB" sz="1600" i="0" u="none" strike="noStrike" baseline="0" dirty="0">
                <a:latin typeface="+mj-lt"/>
              </a:rPr>
              <a:t>Use bright </a:t>
            </a:r>
            <a:r>
              <a:rPr lang="en-GB" sz="1600" i="0" u="none" strike="noStrike" baseline="0" dirty="0" err="1">
                <a:latin typeface="+mj-lt"/>
              </a:rPr>
              <a:t>color</a:t>
            </a:r>
            <a:r>
              <a:rPr lang="en-GB" sz="1600" i="0" u="none" strike="noStrike" baseline="0" dirty="0">
                <a:latin typeface="+mj-lt"/>
              </a:rPr>
              <a:t> to highlight</a:t>
            </a:r>
            <a:endParaRPr lang="en-GB" sz="1600" dirty="0">
              <a:latin typeface="+mj-lt"/>
            </a:endParaRPr>
          </a:p>
        </p:txBody>
      </p:sp>
      <p:graphicFrame>
        <p:nvGraphicFramePr>
          <p:cNvPr id="16" name="Content Placeholder 14">
            <a:extLst>
              <a:ext uri="{FF2B5EF4-FFF2-40B4-BE49-F238E27FC236}">
                <a16:creationId xmlns:a16="http://schemas.microsoft.com/office/drawing/2014/main" id="{37E66D69-7111-4FD6-86B8-44397717CE85}"/>
              </a:ext>
            </a:extLst>
          </p:cNvPr>
          <p:cNvGraphicFramePr>
            <a:graphicFrameLocks/>
          </p:cNvGraphicFramePr>
          <p:nvPr>
            <p:extLst>
              <p:ext uri="{D42A27DB-BD31-4B8C-83A1-F6EECF244321}">
                <p14:modId xmlns:p14="http://schemas.microsoft.com/office/powerpoint/2010/main" val="763712427"/>
              </p:ext>
            </p:extLst>
          </p:nvPr>
        </p:nvGraphicFramePr>
        <p:xfrm>
          <a:off x="4406831" y="1645444"/>
          <a:ext cx="3382566" cy="3567112"/>
        </p:xfrm>
        <a:graphic>
          <a:graphicData uri="http://schemas.openxmlformats.org/drawingml/2006/chart">
            <c:chart xmlns:c="http://schemas.openxmlformats.org/drawingml/2006/chart" xmlns:r="http://schemas.openxmlformats.org/officeDocument/2006/relationships" r:id="rId3"/>
          </a:graphicData>
        </a:graphic>
      </p:graphicFrame>
      <p:sp>
        <p:nvSpPr>
          <p:cNvPr id="22" name="Oval 21">
            <a:extLst>
              <a:ext uri="{FF2B5EF4-FFF2-40B4-BE49-F238E27FC236}">
                <a16:creationId xmlns:a16="http://schemas.microsoft.com/office/drawing/2014/main" id="{171A0935-5B63-4E9F-9BB5-F91F8D31E592}"/>
              </a:ext>
            </a:extLst>
          </p:cNvPr>
          <p:cNvSpPr/>
          <p:nvPr/>
        </p:nvSpPr>
        <p:spPr>
          <a:xfrm>
            <a:off x="6859503" y="1968529"/>
            <a:ext cx="463550" cy="463550"/>
          </a:xfrm>
          <a:prstGeom prst="ellipse">
            <a:avLst/>
          </a:prstGeom>
          <a:solidFill>
            <a:srgbClr val="FFB24A"/>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solidFill>
                  <a:schemeClr val="tx1"/>
                </a:solidFill>
                <a:latin typeface="Ubuntu" panose="020B0504030602030204" pitchFamily="34" charset="0"/>
              </a:rPr>
              <a:t>1</a:t>
            </a:r>
          </a:p>
        </p:txBody>
      </p:sp>
      <p:sp>
        <p:nvSpPr>
          <p:cNvPr id="19" name="TextBox 18">
            <a:extLst>
              <a:ext uri="{FF2B5EF4-FFF2-40B4-BE49-F238E27FC236}">
                <a16:creationId xmlns:a16="http://schemas.microsoft.com/office/drawing/2014/main" id="{5F7FA916-5B2D-4426-8CFA-1FDF73BB4CAA}"/>
              </a:ext>
            </a:extLst>
          </p:cNvPr>
          <p:cNvSpPr txBox="1"/>
          <p:nvPr/>
        </p:nvSpPr>
        <p:spPr>
          <a:xfrm>
            <a:off x="5328177" y="2961113"/>
            <a:ext cx="1539875" cy="830997"/>
          </a:xfrm>
          <a:prstGeom prst="rect">
            <a:avLst/>
          </a:prstGeom>
          <a:noFill/>
        </p:spPr>
        <p:txBody>
          <a:bodyPr wrap="square">
            <a:spAutoFit/>
          </a:bodyPr>
          <a:lstStyle/>
          <a:p>
            <a:pPr algn="ctr"/>
            <a:r>
              <a:rPr lang="en-GB" sz="4800" b="0" i="0" u="none" strike="noStrike" baseline="0">
                <a:latin typeface="Ubuntu" panose="020B0504030602030204" pitchFamily="34" charset="0"/>
              </a:rPr>
              <a:t>3.6</a:t>
            </a:r>
            <a:r>
              <a:rPr lang="en-GB" sz="4800" b="0" i="0" u="none" strike="noStrike" baseline="30000">
                <a:latin typeface="Ubuntu" panose="020B0504030602030204" pitchFamily="34" charset="0"/>
              </a:rPr>
              <a:t>bn</a:t>
            </a:r>
            <a:endParaRPr lang="en-GB" sz="900" baseline="30000">
              <a:latin typeface="Ubuntu" panose="020B0504030602030204" pitchFamily="34" charset="0"/>
            </a:endParaRPr>
          </a:p>
        </p:txBody>
      </p:sp>
      <p:sp>
        <p:nvSpPr>
          <p:cNvPr id="29" name="TextBox 28">
            <a:extLst>
              <a:ext uri="{FF2B5EF4-FFF2-40B4-BE49-F238E27FC236}">
                <a16:creationId xmlns:a16="http://schemas.microsoft.com/office/drawing/2014/main" id="{D75B23D2-7035-4C1D-8E7F-91CA10813196}"/>
              </a:ext>
            </a:extLst>
          </p:cNvPr>
          <p:cNvSpPr txBox="1"/>
          <p:nvPr/>
        </p:nvSpPr>
        <p:spPr>
          <a:xfrm>
            <a:off x="5025820" y="5723682"/>
            <a:ext cx="2686633" cy="246221"/>
          </a:xfrm>
          <a:prstGeom prst="rect">
            <a:avLst/>
          </a:prstGeom>
          <a:noFill/>
        </p:spPr>
        <p:txBody>
          <a:bodyPr wrap="none" lIns="0" tIns="0" rIns="0" bIns="0" anchor="ctr" anchorCtr="0">
            <a:spAutoFit/>
          </a:bodyPr>
          <a:lstStyle/>
          <a:p>
            <a:r>
              <a:rPr lang="en-GB" sz="1600" i="0" u="none" strike="noStrike" baseline="0">
                <a:latin typeface="+mj-lt"/>
              </a:rPr>
              <a:t>Use bright color to highlight</a:t>
            </a:r>
            <a:endParaRPr lang="en-GB" sz="1600">
              <a:latin typeface="+mj-lt"/>
            </a:endParaRPr>
          </a:p>
        </p:txBody>
      </p:sp>
      <p:graphicFrame>
        <p:nvGraphicFramePr>
          <p:cNvPr id="17" name="Content Placeholder 14">
            <a:extLst>
              <a:ext uri="{FF2B5EF4-FFF2-40B4-BE49-F238E27FC236}">
                <a16:creationId xmlns:a16="http://schemas.microsoft.com/office/drawing/2014/main" id="{7E681481-176A-47A8-AEA2-B04677E213D5}"/>
              </a:ext>
            </a:extLst>
          </p:cNvPr>
          <p:cNvGraphicFramePr>
            <a:graphicFrameLocks/>
          </p:cNvGraphicFramePr>
          <p:nvPr>
            <p:extLst>
              <p:ext uri="{D42A27DB-BD31-4B8C-83A1-F6EECF244321}">
                <p14:modId xmlns:p14="http://schemas.microsoft.com/office/powerpoint/2010/main" val="2811660858"/>
              </p:ext>
            </p:extLst>
          </p:nvPr>
        </p:nvGraphicFramePr>
        <p:xfrm>
          <a:off x="8538056" y="1645444"/>
          <a:ext cx="3382566" cy="3567112"/>
        </p:xfrm>
        <a:graphic>
          <a:graphicData uri="http://schemas.openxmlformats.org/drawingml/2006/chart">
            <c:chart xmlns:c="http://schemas.openxmlformats.org/drawingml/2006/chart" xmlns:r="http://schemas.openxmlformats.org/officeDocument/2006/relationships" r:id="rId4"/>
          </a:graphicData>
        </a:graphic>
      </p:graphicFrame>
      <p:sp>
        <p:nvSpPr>
          <p:cNvPr id="23" name="Oval 22">
            <a:extLst>
              <a:ext uri="{FF2B5EF4-FFF2-40B4-BE49-F238E27FC236}">
                <a16:creationId xmlns:a16="http://schemas.microsoft.com/office/drawing/2014/main" id="{F18C2E5C-6BEB-41D1-B65A-26997081A0E1}"/>
              </a:ext>
            </a:extLst>
          </p:cNvPr>
          <p:cNvSpPr/>
          <p:nvPr/>
        </p:nvSpPr>
        <p:spPr>
          <a:xfrm>
            <a:off x="10990728" y="1968529"/>
            <a:ext cx="463550" cy="46355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
        <p:nvSpPr>
          <p:cNvPr id="20" name="TextBox 19">
            <a:extLst>
              <a:ext uri="{FF2B5EF4-FFF2-40B4-BE49-F238E27FC236}">
                <a16:creationId xmlns:a16="http://schemas.microsoft.com/office/drawing/2014/main" id="{84E6F3A0-9ABA-4D5D-9A22-43541EDABC0F}"/>
              </a:ext>
            </a:extLst>
          </p:cNvPr>
          <p:cNvSpPr txBox="1"/>
          <p:nvPr/>
        </p:nvSpPr>
        <p:spPr>
          <a:xfrm>
            <a:off x="9459402" y="2961113"/>
            <a:ext cx="1539875" cy="830997"/>
          </a:xfrm>
          <a:prstGeom prst="rect">
            <a:avLst/>
          </a:prstGeom>
          <a:noFill/>
        </p:spPr>
        <p:txBody>
          <a:bodyPr wrap="square">
            <a:spAutoFit/>
          </a:bodyPr>
          <a:lstStyle/>
          <a:p>
            <a:pPr algn="ctr"/>
            <a:r>
              <a:rPr lang="en-GB" sz="4800" b="0" i="0" u="none" strike="noStrike" baseline="0">
                <a:latin typeface="Ubuntu" panose="020B0504030602030204" pitchFamily="34" charset="0"/>
              </a:rPr>
              <a:t>3.6</a:t>
            </a:r>
            <a:r>
              <a:rPr lang="en-GB" sz="4800" b="0" i="0" u="none" strike="noStrike" baseline="30000">
                <a:latin typeface="Ubuntu" panose="020B0504030602030204" pitchFamily="34" charset="0"/>
              </a:rPr>
              <a:t>bn</a:t>
            </a:r>
            <a:endParaRPr lang="en-GB" sz="900" baseline="30000">
              <a:latin typeface="Ubuntu" panose="020B0504030602030204" pitchFamily="34" charset="0"/>
            </a:endParaRPr>
          </a:p>
        </p:txBody>
      </p:sp>
      <p:sp>
        <p:nvSpPr>
          <p:cNvPr id="30" name="TextBox 29">
            <a:extLst>
              <a:ext uri="{FF2B5EF4-FFF2-40B4-BE49-F238E27FC236}">
                <a16:creationId xmlns:a16="http://schemas.microsoft.com/office/drawing/2014/main" id="{F97D2834-B1BF-4619-8393-7DB978B8444E}"/>
              </a:ext>
            </a:extLst>
          </p:cNvPr>
          <p:cNvSpPr txBox="1"/>
          <p:nvPr/>
        </p:nvSpPr>
        <p:spPr>
          <a:xfrm>
            <a:off x="9157045" y="5723682"/>
            <a:ext cx="2686633" cy="246221"/>
          </a:xfrm>
          <a:prstGeom prst="rect">
            <a:avLst/>
          </a:prstGeom>
          <a:noFill/>
        </p:spPr>
        <p:txBody>
          <a:bodyPr wrap="none" lIns="0" tIns="0" rIns="0" bIns="0" anchor="ctr" anchorCtr="0">
            <a:spAutoFit/>
          </a:bodyPr>
          <a:lstStyle/>
          <a:p>
            <a:r>
              <a:rPr lang="en-GB" sz="1600" i="0" u="none" strike="noStrike" baseline="0">
                <a:latin typeface="+mj-lt"/>
              </a:rPr>
              <a:t>Use bright </a:t>
            </a:r>
            <a:r>
              <a:rPr lang="en-GB" sz="1600" i="0" u="none" strike="noStrike" baseline="0" err="1">
                <a:latin typeface="+mj-lt"/>
              </a:rPr>
              <a:t>color</a:t>
            </a:r>
            <a:r>
              <a:rPr lang="en-GB" sz="1600" i="0" u="none" strike="noStrike" baseline="0">
                <a:latin typeface="+mj-lt"/>
              </a:rPr>
              <a:t> to highlight</a:t>
            </a:r>
            <a:endParaRPr lang="en-GB" sz="1600">
              <a:latin typeface="+mj-lt"/>
            </a:endParaRPr>
          </a:p>
        </p:txBody>
      </p:sp>
      <p:sp>
        <p:nvSpPr>
          <p:cNvPr id="25" name="Oval 24">
            <a:extLst>
              <a:ext uri="{FF2B5EF4-FFF2-40B4-BE49-F238E27FC236}">
                <a16:creationId xmlns:a16="http://schemas.microsoft.com/office/drawing/2014/main" id="{104D7A0C-E72A-4AC8-8476-99507CC3CFA9}"/>
              </a:ext>
              <a:ext uri="{C183D7F6-B498-43B3-948B-1728B52AA6E4}">
                <adec:decorative xmlns:adec="http://schemas.microsoft.com/office/drawing/2017/decorative" val="1"/>
              </a:ext>
            </a:extLst>
          </p:cNvPr>
          <p:cNvSpPr/>
          <p:nvPr/>
        </p:nvSpPr>
        <p:spPr>
          <a:xfrm>
            <a:off x="384937" y="5615017"/>
            <a:ext cx="463550" cy="463550"/>
          </a:xfrm>
          <a:prstGeom prst="ellipse">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
        <p:nvSpPr>
          <p:cNvPr id="26" name="Oval 25">
            <a:extLst>
              <a:ext uri="{FF2B5EF4-FFF2-40B4-BE49-F238E27FC236}">
                <a16:creationId xmlns:a16="http://schemas.microsoft.com/office/drawing/2014/main" id="{AAEDE0DC-3B25-4E89-A9B1-C7E7E226878B}"/>
              </a:ext>
              <a:ext uri="{C183D7F6-B498-43B3-948B-1728B52AA6E4}">
                <adec:decorative xmlns:adec="http://schemas.microsoft.com/office/drawing/2017/decorative" val="1"/>
              </a:ext>
            </a:extLst>
          </p:cNvPr>
          <p:cNvSpPr/>
          <p:nvPr/>
        </p:nvSpPr>
        <p:spPr>
          <a:xfrm>
            <a:off x="4516559" y="5615017"/>
            <a:ext cx="463550" cy="463550"/>
          </a:xfrm>
          <a:prstGeom prst="ellipse">
            <a:avLst/>
          </a:prstGeom>
          <a:solidFill>
            <a:srgbClr val="FFB24A"/>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solidFill>
                  <a:schemeClr val="tx1"/>
                </a:solidFill>
                <a:latin typeface="Ubuntu" panose="020B0504030602030204" pitchFamily="34" charset="0"/>
              </a:rPr>
              <a:t>1</a:t>
            </a:r>
          </a:p>
        </p:txBody>
      </p:sp>
      <p:sp>
        <p:nvSpPr>
          <p:cNvPr id="24" name="Oval 23">
            <a:extLst>
              <a:ext uri="{FF2B5EF4-FFF2-40B4-BE49-F238E27FC236}">
                <a16:creationId xmlns:a16="http://schemas.microsoft.com/office/drawing/2014/main" id="{95C0CB45-AC85-4712-AA29-A44A40212E2D}"/>
              </a:ext>
              <a:ext uri="{C183D7F6-B498-43B3-948B-1728B52AA6E4}">
                <adec:decorative xmlns:adec="http://schemas.microsoft.com/office/drawing/2017/decorative" val="1"/>
              </a:ext>
            </a:extLst>
          </p:cNvPr>
          <p:cNvSpPr/>
          <p:nvPr/>
        </p:nvSpPr>
        <p:spPr>
          <a:xfrm>
            <a:off x="8647784" y="5615017"/>
            <a:ext cx="463550" cy="46355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Tree>
    <p:extLst>
      <p:ext uri="{BB962C8B-B14F-4D97-AF65-F5344CB8AC3E}">
        <p14:creationId xmlns:p14="http://schemas.microsoft.com/office/powerpoint/2010/main" val="36185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F21970-4F2B-47DE-9565-1CB3703C7036}"/>
              </a:ext>
            </a:extLst>
          </p:cNvPr>
          <p:cNvSpPr>
            <a:spLocks noGrp="1"/>
          </p:cNvSpPr>
          <p:nvPr>
            <p:ph type="title"/>
          </p:nvPr>
        </p:nvSpPr>
        <p:spPr/>
        <p:txBody>
          <a:bodyPr/>
          <a:lstStyle/>
          <a:p>
            <a:pPr marL="95250" indent="-95250">
              <a:lnSpc>
                <a:spcPts val="8000"/>
              </a:lnSpc>
            </a:pPr>
            <a:r>
              <a:rPr lang="en-GB" sz="3600">
                <a:solidFill>
                  <a:schemeClr val="accent1"/>
                </a:solidFill>
              </a:rPr>
              <a:t>TITLE UBUNTU CAPS</a:t>
            </a:r>
            <a:endParaRPr lang="en-GB" sz="3600" b="1">
              <a:solidFill>
                <a:schemeClr val="accent1"/>
              </a:solidFill>
              <a:ea typeface="+mn-ea"/>
              <a:cs typeface="+mn-cs"/>
            </a:endParaRPr>
          </a:p>
        </p:txBody>
      </p:sp>
      <p:sp>
        <p:nvSpPr>
          <p:cNvPr id="11" name="Espace réservé du texte 10">
            <a:extLst>
              <a:ext uri="{FF2B5EF4-FFF2-40B4-BE49-F238E27FC236}">
                <a16:creationId xmlns:a16="http://schemas.microsoft.com/office/drawing/2014/main" id="{28FEBC8B-0CAB-42DB-BC7B-B8A2EA388034}"/>
              </a:ext>
            </a:extLst>
          </p:cNvPr>
          <p:cNvSpPr>
            <a:spLocks noGrp="1"/>
          </p:cNvSpPr>
          <p:nvPr>
            <p:ph type="body" sz="quarter" idx="11"/>
          </p:nvPr>
        </p:nvSpPr>
        <p:spPr>
          <a:xfrm>
            <a:off x="404813" y="1327150"/>
            <a:ext cx="7443787" cy="457688"/>
          </a:xfrm>
        </p:spPr>
        <p:txBody>
          <a:bodyPr/>
          <a:lstStyle/>
          <a:p>
            <a:r>
              <a:rPr lang="en-GB" dirty="0">
                <a:solidFill>
                  <a:schemeClr val="tx1"/>
                </a:solidFill>
              </a:rPr>
              <a:t>Overview or summary lorem ipsum </a:t>
            </a:r>
            <a:r>
              <a:rPr lang="en-GB" dirty="0" err="1">
                <a:solidFill>
                  <a:schemeClr val="tx1"/>
                </a:solidFill>
              </a:rPr>
              <a:t>dolor</a:t>
            </a:r>
            <a:r>
              <a:rPr lang="en-GB" dirty="0">
                <a:solidFill>
                  <a:schemeClr val="tx1"/>
                </a:solidFill>
              </a:rPr>
              <a:t> </a:t>
            </a:r>
            <a:r>
              <a:rPr lang="en-GB" dirty="0" err="1">
                <a:solidFill>
                  <a:schemeClr val="tx1"/>
                </a:solidFill>
              </a:rPr>
              <a:t>amet</a:t>
            </a:r>
            <a:r>
              <a:rPr lang="en-GB" dirty="0">
                <a:solidFill>
                  <a:schemeClr val="tx1"/>
                </a:solidFill>
              </a:rPr>
              <a:t>.</a:t>
            </a:r>
          </a:p>
        </p:txBody>
      </p:sp>
      <p:sp>
        <p:nvSpPr>
          <p:cNvPr id="10" name="Espace réservé du texte 9">
            <a:extLst>
              <a:ext uri="{FF2B5EF4-FFF2-40B4-BE49-F238E27FC236}">
                <a16:creationId xmlns:a16="http://schemas.microsoft.com/office/drawing/2014/main" id="{4C38019B-ED2B-4ADF-8568-F319BA356283}"/>
              </a:ext>
            </a:extLst>
          </p:cNvPr>
          <p:cNvSpPr>
            <a:spLocks noGrp="1"/>
          </p:cNvSpPr>
          <p:nvPr>
            <p:ph type="body" sz="quarter" idx="10"/>
          </p:nvPr>
        </p:nvSpPr>
        <p:spPr>
          <a:xfrm>
            <a:off x="404813" y="2514600"/>
            <a:ext cx="5463794" cy="1828800"/>
          </a:xfrm>
        </p:spPr>
        <p:txBody>
          <a:bodyPr>
            <a:normAutofit/>
          </a:bodyPr>
          <a:lstStyle/>
          <a:p>
            <a:r>
              <a:rPr lang="en-GB" sz="1600">
                <a:solidFill>
                  <a:srgbClr val="000000"/>
                </a:solidFill>
              </a:rPr>
              <a:t>Lorem ipsum </a:t>
            </a:r>
            <a:r>
              <a:rPr lang="en-GB" sz="1600" err="1">
                <a:solidFill>
                  <a:srgbClr val="000000"/>
                </a:solidFill>
              </a:rPr>
              <a:t>dolor</a:t>
            </a:r>
            <a:r>
              <a:rPr lang="en-GB" sz="1600">
                <a:solidFill>
                  <a:srgbClr val="000000"/>
                </a:solidFill>
              </a:rPr>
              <a:t> sit </a:t>
            </a:r>
            <a:r>
              <a:rPr lang="en-GB" sz="1600" err="1">
                <a:solidFill>
                  <a:srgbClr val="000000"/>
                </a:solidFill>
              </a:rPr>
              <a:t>amet</a:t>
            </a:r>
            <a:r>
              <a:rPr lang="en-GB" sz="1600">
                <a:solidFill>
                  <a:srgbClr val="000000"/>
                </a:solidFill>
              </a:rPr>
              <a:t>, </a:t>
            </a:r>
            <a:r>
              <a:rPr lang="en-GB" sz="1600" err="1">
                <a:solidFill>
                  <a:srgbClr val="000000"/>
                </a:solidFill>
              </a:rPr>
              <a:t>consetetur</a:t>
            </a:r>
            <a:r>
              <a:rPr lang="en-GB" sz="1600">
                <a:solidFill>
                  <a:srgbClr val="000000"/>
                </a:solidFill>
              </a:rPr>
              <a:t> </a:t>
            </a:r>
            <a:r>
              <a:rPr lang="en-GB" sz="1600" err="1">
                <a:solidFill>
                  <a:srgbClr val="000000"/>
                </a:solidFill>
              </a:rPr>
              <a:t>sadipscing</a:t>
            </a:r>
            <a:r>
              <a:rPr lang="en-GB" sz="1600">
                <a:solidFill>
                  <a:srgbClr val="000000"/>
                </a:solidFill>
              </a:rPr>
              <a:t> </a:t>
            </a:r>
            <a:r>
              <a:rPr lang="en-GB" sz="1600" err="1">
                <a:solidFill>
                  <a:srgbClr val="000000"/>
                </a:solidFill>
              </a:rPr>
              <a:t>elitr</a:t>
            </a:r>
            <a:r>
              <a:rPr lang="en-GB" sz="1600">
                <a:solidFill>
                  <a:srgbClr val="000000"/>
                </a:solidFill>
              </a:rPr>
              <a:t>, </a:t>
            </a:r>
            <a:r>
              <a:rPr lang="en-GB" sz="1600" err="1">
                <a:solidFill>
                  <a:srgbClr val="000000"/>
                </a:solidFill>
              </a:rPr>
              <a:t>sed</a:t>
            </a:r>
            <a:r>
              <a:rPr lang="en-GB" sz="1600">
                <a:solidFill>
                  <a:srgbClr val="000000"/>
                </a:solidFill>
              </a:rPr>
              <a:t> </a:t>
            </a:r>
            <a:r>
              <a:rPr lang="en-GB" sz="1600" err="1">
                <a:solidFill>
                  <a:srgbClr val="000000"/>
                </a:solidFill>
              </a:rPr>
              <a:t>diam</a:t>
            </a:r>
            <a:r>
              <a:rPr lang="en-GB" sz="1600">
                <a:solidFill>
                  <a:srgbClr val="000000"/>
                </a:solidFill>
              </a:rPr>
              <a:t> </a:t>
            </a:r>
            <a:r>
              <a:rPr lang="en-GB" sz="1600" err="1">
                <a:solidFill>
                  <a:srgbClr val="000000"/>
                </a:solidFill>
              </a:rPr>
              <a:t>nonumy</a:t>
            </a:r>
            <a:r>
              <a:rPr lang="en-GB" sz="1600">
                <a:solidFill>
                  <a:srgbClr val="000000"/>
                </a:solidFill>
              </a:rPr>
              <a:t> </a:t>
            </a:r>
            <a:r>
              <a:rPr lang="en-GB" sz="1600" err="1">
                <a:solidFill>
                  <a:srgbClr val="000000"/>
                </a:solidFill>
              </a:rPr>
              <a:t>eirmod</a:t>
            </a:r>
            <a:r>
              <a:rPr lang="en-GB" sz="1600">
                <a:solidFill>
                  <a:srgbClr val="000000"/>
                </a:solidFill>
              </a:rPr>
              <a:t> </a:t>
            </a:r>
            <a:r>
              <a:rPr lang="en-GB" sz="1600" err="1">
                <a:solidFill>
                  <a:srgbClr val="000000"/>
                </a:solidFill>
              </a:rPr>
              <a:t>tempor</a:t>
            </a:r>
            <a:r>
              <a:rPr lang="en-GB" sz="1600">
                <a:solidFill>
                  <a:srgbClr val="000000"/>
                </a:solidFill>
              </a:rPr>
              <a:t> </a:t>
            </a:r>
            <a:r>
              <a:rPr lang="en-GB" sz="1600" err="1">
                <a:solidFill>
                  <a:srgbClr val="000000"/>
                </a:solidFill>
              </a:rPr>
              <a:t>invidunt</a:t>
            </a:r>
            <a:r>
              <a:rPr lang="en-GB" sz="1600">
                <a:solidFill>
                  <a:srgbClr val="000000"/>
                </a:solidFill>
              </a:rPr>
              <a:t> </a:t>
            </a:r>
            <a:r>
              <a:rPr lang="en-GB" sz="1600" err="1">
                <a:solidFill>
                  <a:srgbClr val="000000"/>
                </a:solidFill>
              </a:rPr>
              <a:t>ut</a:t>
            </a:r>
            <a:r>
              <a:rPr lang="en-GB" sz="1600">
                <a:solidFill>
                  <a:srgbClr val="000000"/>
                </a:solidFill>
              </a:rPr>
              <a:t> </a:t>
            </a:r>
            <a:r>
              <a:rPr lang="en-GB" sz="1600" err="1">
                <a:solidFill>
                  <a:srgbClr val="000000"/>
                </a:solidFill>
              </a:rPr>
              <a:t>labore</a:t>
            </a:r>
            <a:r>
              <a:rPr lang="en-GB" sz="1600">
                <a:solidFill>
                  <a:srgbClr val="000000"/>
                </a:solidFill>
              </a:rPr>
              <a:t>.</a:t>
            </a:r>
          </a:p>
          <a:p>
            <a:endParaRPr lang="en-GB" sz="1600"/>
          </a:p>
        </p:txBody>
      </p:sp>
      <p:graphicFrame>
        <p:nvGraphicFramePr>
          <p:cNvPr id="19" name="Chart Placeholder 9">
            <a:extLst>
              <a:ext uri="{FF2B5EF4-FFF2-40B4-BE49-F238E27FC236}">
                <a16:creationId xmlns:a16="http://schemas.microsoft.com/office/drawing/2014/main" id="{4A977DCC-70CE-4015-BCF4-DCA028C3922F}"/>
              </a:ext>
            </a:extLst>
          </p:cNvPr>
          <p:cNvGraphicFramePr>
            <a:graphicFrameLocks/>
          </p:cNvGraphicFramePr>
          <p:nvPr>
            <p:extLst>
              <p:ext uri="{D42A27DB-BD31-4B8C-83A1-F6EECF244321}">
                <p14:modId xmlns:p14="http://schemas.microsoft.com/office/powerpoint/2010/main" val="706422073"/>
              </p:ext>
            </p:extLst>
          </p:nvPr>
        </p:nvGraphicFramePr>
        <p:xfrm>
          <a:off x="5868607" y="1315843"/>
          <a:ext cx="5652328" cy="480185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672848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F5674-B21D-4265-A881-FD43E6C9D4EE}"/>
              </a:ext>
            </a:extLst>
          </p:cNvPr>
          <p:cNvSpPr>
            <a:spLocks noGrp="1"/>
          </p:cNvSpPr>
          <p:nvPr>
            <p:ph type="title"/>
          </p:nvPr>
        </p:nvSpPr>
        <p:spPr/>
        <p:txBody>
          <a:bodyPr/>
          <a:lstStyle/>
          <a:p>
            <a:r>
              <a:rPr lang="en-US"/>
              <a:t>Infographic content representation</a:t>
            </a:r>
          </a:p>
        </p:txBody>
      </p:sp>
      <p:graphicFrame>
        <p:nvGraphicFramePr>
          <p:cNvPr id="4" name="Diagramm 21">
            <a:extLst>
              <a:ext uri="{FF2B5EF4-FFF2-40B4-BE49-F238E27FC236}">
                <a16:creationId xmlns:a16="http://schemas.microsoft.com/office/drawing/2014/main" id="{986A0061-6AA6-4129-9672-E9D2A7BF9D82}"/>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71516090"/>
              </p:ext>
            </p:extLst>
          </p:nvPr>
        </p:nvGraphicFramePr>
        <p:xfrm>
          <a:off x="1000668" y="1773238"/>
          <a:ext cx="2087590" cy="1956816"/>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feld 33">
            <a:extLst>
              <a:ext uri="{FF2B5EF4-FFF2-40B4-BE49-F238E27FC236}">
                <a16:creationId xmlns:a16="http://schemas.microsoft.com/office/drawing/2014/main" id="{C8F24A83-7006-48BA-9A79-A2D57DE2E9D8}"/>
              </a:ext>
            </a:extLst>
          </p:cNvPr>
          <p:cNvSpPr txBox="1"/>
          <p:nvPr/>
        </p:nvSpPr>
        <p:spPr>
          <a:xfrm>
            <a:off x="1610691" y="2520815"/>
            <a:ext cx="867545" cy="461665"/>
          </a:xfrm>
          <a:prstGeom prst="rect">
            <a:avLst/>
          </a:prstGeom>
          <a:noFill/>
        </p:spPr>
        <p:txBody>
          <a:bodyPr wrap="none" rtlCol="0" anchor="ctr">
            <a:spAutoFit/>
          </a:bodyPr>
          <a:lstStyle/>
          <a:p>
            <a:pPr algn="ctr"/>
            <a:r>
              <a:rPr lang="en-GB" sz="2400" spc="150" dirty="0">
                <a:solidFill>
                  <a:srgbClr val="E30021"/>
                </a:solidFill>
                <a:latin typeface="+mj-lt"/>
              </a:rPr>
              <a:t>90%</a:t>
            </a:r>
          </a:p>
        </p:txBody>
      </p:sp>
      <p:sp>
        <p:nvSpPr>
          <p:cNvPr id="22" name="Textfeld 25">
            <a:extLst>
              <a:ext uri="{FF2B5EF4-FFF2-40B4-BE49-F238E27FC236}">
                <a16:creationId xmlns:a16="http://schemas.microsoft.com/office/drawing/2014/main" id="{EAB2853C-731C-4514-BA2C-038453B7BFB6}"/>
              </a:ext>
            </a:extLst>
          </p:cNvPr>
          <p:cNvSpPr txBox="1"/>
          <p:nvPr/>
        </p:nvSpPr>
        <p:spPr>
          <a:xfrm>
            <a:off x="3019013" y="2222121"/>
            <a:ext cx="1764467" cy="338554"/>
          </a:xfrm>
          <a:prstGeom prst="rect">
            <a:avLst/>
          </a:prstGeom>
          <a:noFill/>
        </p:spPr>
        <p:txBody>
          <a:bodyPr wrap="square" rtlCol="0">
            <a:spAutoFit/>
          </a:bodyPr>
          <a:lstStyle/>
          <a:p>
            <a:r>
              <a:rPr lang="en-GB" sz="1600" dirty="0">
                <a:solidFill>
                  <a:srgbClr val="E30021"/>
                </a:solidFill>
                <a:latin typeface="+mj-lt"/>
              </a:rPr>
              <a:t>Placeholder</a:t>
            </a:r>
          </a:p>
        </p:txBody>
      </p:sp>
      <p:sp>
        <p:nvSpPr>
          <p:cNvPr id="23" name="Rechteck 29">
            <a:extLst>
              <a:ext uri="{FF2B5EF4-FFF2-40B4-BE49-F238E27FC236}">
                <a16:creationId xmlns:a16="http://schemas.microsoft.com/office/drawing/2014/main" id="{D9FB186C-1AC9-4742-A7CC-B888637CC877}"/>
              </a:ext>
            </a:extLst>
          </p:cNvPr>
          <p:cNvSpPr/>
          <p:nvPr/>
        </p:nvSpPr>
        <p:spPr>
          <a:xfrm>
            <a:off x="3019014" y="2569136"/>
            <a:ext cx="2651434" cy="501676"/>
          </a:xfrm>
          <a:prstGeom prst="rect">
            <a:avLst/>
          </a:prstGeom>
        </p:spPr>
        <p:txBody>
          <a:bodyPr wrap="square">
            <a:spAutoFit/>
          </a:bodyPr>
          <a:lstStyle/>
          <a:p>
            <a:pPr lvl="0">
              <a:lnSpc>
                <a:spcPct val="95000"/>
              </a:lnSpc>
              <a:spcAft>
                <a:spcPts val="800"/>
              </a:spcAft>
              <a:defRPr/>
            </a:pPr>
            <a:r>
              <a:rPr lang="en-GB" sz="1400" noProof="1"/>
              <a:t>You can replace this with your own text. Placeholdertext.</a:t>
            </a:r>
          </a:p>
        </p:txBody>
      </p:sp>
      <p:graphicFrame>
        <p:nvGraphicFramePr>
          <p:cNvPr id="5" name="Diagramm 22">
            <a:extLst>
              <a:ext uri="{FF2B5EF4-FFF2-40B4-BE49-F238E27FC236}">
                <a16:creationId xmlns:a16="http://schemas.microsoft.com/office/drawing/2014/main" id="{5251A262-D287-4BD9-A569-DFAA3F941F1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18947269"/>
              </p:ext>
            </p:extLst>
          </p:nvPr>
        </p:nvGraphicFramePr>
        <p:xfrm>
          <a:off x="1000668" y="3861060"/>
          <a:ext cx="2088000" cy="1956816"/>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feld 34">
            <a:extLst>
              <a:ext uri="{FF2B5EF4-FFF2-40B4-BE49-F238E27FC236}">
                <a16:creationId xmlns:a16="http://schemas.microsoft.com/office/drawing/2014/main" id="{3EBBF659-7DDB-4F53-950B-AB48DBB70F30}"/>
              </a:ext>
            </a:extLst>
          </p:cNvPr>
          <p:cNvSpPr txBox="1"/>
          <p:nvPr/>
        </p:nvSpPr>
        <p:spPr>
          <a:xfrm>
            <a:off x="1610896" y="4608637"/>
            <a:ext cx="867545" cy="461665"/>
          </a:xfrm>
          <a:prstGeom prst="rect">
            <a:avLst/>
          </a:prstGeom>
          <a:noFill/>
        </p:spPr>
        <p:txBody>
          <a:bodyPr wrap="none" rtlCol="0" anchor="ctr">
            <a:spAutoFit/>
          </a:bodyPr>
          <a:lstStyle/>
          <a:p>
            <a:pPr algn="ctr"/>
            <a:r>
              <a:rPr lang="en-US" sz="2400" spc="150">
                <a:solidFill>
                  <a:srgbClr val="9E4780"/>
                </a:solidFill>
                <a:latin typeface="+mj-lt"/>
              </a:rPr>
              <a:t>80%</a:t>
            </a:r>
          </a:p>
        </p:txBody>
      </p:sp>
      <p:sp>
        <p:nvSpPr>
          <p:cNvPr id="20" name="Textfeld 26">
            <a:extLst>
              <a:ext uri="{FF2B5EF4-FFF2-40B4-BE49-F238E27FC236}">
                <a16:creationId xmlns:a16="http://schemas.microsoft.com/office/drawing/2014/main" id="{93505A15-4790-421C-AA9A-69EDCEDFD275}"/>
              </a:ext>
            </a:extLst>
          </p:cNvPr>
          <p:cNvSpPr txBox="1"/>
          <p:nvPr/>
        </p:nvSpPr>
        <p:spPr>
          <a:xfrm>
            <a:off x="3019013" y="4315631"/>
            <a:ext cx="2724969" cy="338554"/>
          </a:xfrm>
          <a:prstGeom prst="rect">
            <a:avLst/>
          </a:prstGeom>
          <a:noFill/>
        </p:spPr>
        <p:txBody>
          <a:bodyPr wrap="square" rtlCol="0">
            <a:spAutoFit/>
          </a:bodyPr>
          <a:lstStyle/>
          <a:p>
            <a:r>
              <a:rPr lang="en-GB" sz="1600">
                <a:solidFill>
                  <a:srgbClr val="9E4780"/>
                </a:solidFill>
                <a:latin typeface="+mj-lt"/>
              </a:rPr>
              <a:t>Placeholder</a:t>
            </a:r>
          </a:p>
        </p:txBody>
      </p:sp>
      <p:sp>
        <p:nvSpPr>
          <p:cNvPr id="21" name="Rechteck 30">
            <a:extLst>
              <a:ext uri="{FF2B5EF4-FFF2-40B4-BE49-F238E27FC236}">
                <a16:creationId xmlns:a16="http://schemas.microsoft.com/office/drawing/2014/main" id="{21E1E9DB-84E9-4D78-892F-1A14C4B47804}"/>
              </a:ext>
            </a:extLst>
          </p:cNvPr>
          <p:cNvSpPr/>
          <p:nvPr/>
        </p:nvSpPr>
        <p:spPr>
          <a:xfrm>
            <a:off x="3019014" y="4656958"/>
            <a:ext cx="2651434" cy="501676"/>
          </a:xfrm>
          <a:prstGeom prst="rect">
            <a:avLst/>
          </a:prstGeom>
        </p:spPr>
        <p:txBody>
          <a:bodyPr wrap="square">
            <a:spAutoFit/>
          </a:bodyPr>
          <a:lstStyle/>
          <a:p>
            <a:pPr lvl="0">
              <a:lnSpc>
                <a:spcPct val="95000"/>
              </a:lnSpc>
              <a:spcAft>
                <a:spcPts val="800"/>
              </a:spcAft>
              <a:defRPr/>
            </a:pPr>
            <a:r>
              <a:rPr lang="en-GB" sz="1400" noProof="1"/>
              <a:t>You can replace this with your own text. Placeholdertext.</a:t>
            </a:r>
          </a:p>
        </p:txBody>
      </p:sp>
      <p:graphicFrame>
        <p:nvGraphicFramePr>
          <p:cNvPr id="7" name="Diagramm 24">
            <a:extLst>
              <a:ext uri="{FF2B5EF4-FFF2-40B4-BE49-F238E27FC236}">
                <a16:creationId xmlns:a16="http://schemas.microsoft.com/office/drawing/2014/main" id="{78A1D62D-92CE-429E-83D5-D99CBEB67B7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029208523"/>
              </p:ext>
            </p:extLst>
          </p:nvPr>
        </p:nvGraphicFramePr>
        <p:xfrm>
          <a:off x="6040668" y="1773238"/>
          <a:ext cx="2088000" cy="1956816"/>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feld 36">
            <a:extLst>
              <a:ext uri="{FF2B5EF4-FFF2-40B4-BE49-F238E27FC236}">
                <a16:creationId xmlns:a16="http://schemas.microsoft.com/office/drawing/2014/main" id="{BF23A2D1-AD25-4017-8EF6-DE72C9E02782}"/>
              </a:ext>
            </a:extLst>
          </p:cNvPr>
          <p:cNvSpPr txBox="1"/>
          <p:nvPr/>
        </p:nvSpPr>
        <p:spPr>
          <a:xfrm>
            <a:off x="6650896" y="2520815"/>
            <a:ext cx="867545" cy="461665"/>
          </a:xfrm>
          <a:prstGeom prst="rect">
            <a:avLst/>
          </a:prstGeom>
          <a:noFill/>
        </p:spPr>
        <p:txBody>
          <a:bodyPr wrap="none" rtlCol="0" anchor="ctr">
            <a:spAutoFit/>
          </a:bodyPr>
          <a:lstStyle/>
          <a:p>
            <a:pPr algn="ctr"/>
            <a:r>
              <a:rPr lang="en-GB" sz="2400" spc="150">
                <a:solidFill>
                  <a:srgbClr val="338091"/>
                </a:solidFill>
                <a:latin typeface="+mj-lt"/>
              </a:rPr>
              <a:t>75%</a:t>
            </a:r>
          </a:p>
        </p:txBody>
      </p:sp>
      <p:sp>
        <p:nvSpPr>
          <p:cNvPr id="16" name="Textfeld 28">
            <a:extLst>
              <a:ext uri="{FF2B5EF4-FFF2-40B4-BE49-F238E27FC236}">
                <a16:creationId xmlns:a16="http://schemas.microsoft.com/office/drawing/2014/main" id="{519F3C25-538D-423C-9519-EA0E09BB6CF8}"/>
              </a:ext>
            </a:extLst>
          </p:cNvPr>
          <p:cNvSpPr txBox="1"/>
          <p:nvPr/>
        </p:nvSpPr>
        <p:spPr>
          <a:xfrm>
            <a:off x="8049340" y="2222121"/>
            <a:ext cx="1764467" cy="338554"/>
          </a:xfrm>
          <a:prstGeom prst="rect">
            <a:avLst/>
          </a:prstGeom>
          <a:noFill/>
        </p:spPr>
        <p:txBody>
          <a:bodyPr wrap="square" rtlCol="0">
            <a:spAutoFit/>
          </a:bodyPr>
          <a:lstStyle/>
          <a:p>
            <a:r>
              <a:rPr lang="en-GB" sz="1600">
                <a:solidFill>
                  <a:srgbClr val="338091"/>
                </a:solidFill>
                <a:latin typeface="+mj-lt"/>
              </a:rPr>
              <a:t>Placeholder</a:t>
            </a:r>
          </a:p>
        </p:txBody>
      </p:sp>
      <p:sp>
        <p:nvSpPr>
          <p:cNvPr id="17" name="Rechteck 32">
            <a:extLst>
              <a:ext uri="{FF2B5EF4-FFF2-40B4-BE49-F238E27FC236}">
                <a16:creationId xmlns:a16="http://schemas.microsoft.com/office/drawing/2014/main" id="{730E8F5E-566D-43F3-A54B-19FF9DC00EC8}"/>
              </a:ext>
            </a:extLst>
          </p:cNvPr>
          <p:cNvSpPr/>
          <p:nvPr/>
        </p:nvSpPr>
        <p:spPr>
          <a:xfrm>
            <a:off x="8060616" y="2569136"/>
            <a:ext cx="2651434" cy="501676"/>
          </a:xfrm>
          <a:prstGeom prst="rect">
            <a:avLst/>
          </a:prstGeom>
        </p:spPr>
        <p:txBody>
          <a:bodyPr wrap="square">
            <a:spAutoFit/>
          </a:bodyPr>
          <a:lstStyle/>
          <a:p>
            <a:pPr lvl="0">
              <a:lnSpc>
                <a:spcPct val="95000"/>
              </a:lnSpc>
              <a:spcAft>
                <a:spcPts val="800"/>
              </a:spcAft>
              <a:defRPr/>
            </a:pPr>
            <a:r>
              <a:rPr lang="en-GB" sz="1400" noProof="1"/>
              <a:t>You can replace this with your own text. Placeholdertext.</a:t>
            </a:r>
          </a:p>
        </p:txBody>
      </p:sp>
      <p:graphicFrame>
        <p:nvGraphicFramePr>
          <p:cNvPr id="6" name="Diagramm 23">
            <a:extLst>
              <a:ext uri="{FF2B5EF4-FFF2-40B4-BE49-F238E27FC236}">
                <a16:creationId xmlns:a16="http://schemas.microsoft.com/office/drawing/2014/main" id="{69749A3E-D657-4741-BFCF-8D58046A428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312451236"/>
              </p:ext>
            </p:extLst>
          </p:nvPr>
        </p:nvGraphicFramePr>
        <p:xfrm>
          <a:off x="6040668" y="3861060"/>
          <a:ext cx="2088000" cy="1956816"/>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feld 35">
            <a:extLst>
              <a:ext uri="{FF2B5EF4-FFF2-40B4-BE49-F238E27FC236}">
                <a16:creationId xmlns:a16="http://schemas.microsoft.com/office/drawing/2014/main" id="{678EDD7A-070C-4E76-9922-BA6DA6D82DB7}"/>
              </a:ext>
            </a:extLst>
          </p:cNvPr>
          <p:cNvSpPr txBox="1"/>
          <p:nvPr/>
        </p:nvSpPr>
        <p:spPr>
          <a:xfrm>
            <a:off x="6650896" y="4614347"/>
            <a:ext cx="867545" cy="461665"/>
          </a:xfrm>
          <a:prstGeom prst="rect">
            <a:avLst/>
          </a:prstGeom>
          <a:noFill/>
        </p:spPr>
        <p:txBody>
          <a:bodyPr wrap="none" rtlCol="0" anchor="ctr">
            <a:spAutoFit/>
          </a:bodyPr>
          <a:lstStyle/>
          <a:p>
            <a:pPr algn="ctr"/>
            <a:r>
              <a:rPr lang="en-GB" sz="2400" spc="150">
                <a:solidFill>
                  <a:srgbClr val="176036"/>
                </a:solidFill>
                <a:latin typeface="+mj-lt"/>
              </a:rPr>
              <a:t>60%</a:t>
            </a:r>
          </a:p>
        </p:txBody>
      </p:sp>
      <p:sp>
        <p:nvSpPr>
          <p:cNvPr id="18" name="Textfeld 27">
            <a:extLst>
              <a:ext uri="{FF2B5EF4-FFF2-40B4-BE49-F238E27FC236}">
                <a16:creationId xmlns:a16="http://schemas.microsoft.com/office/drawing/2014/main" id="{A354702E-40DE-406C-A831-5486DFE5E3EA}"/>
              </a:ext>
            </a:extLst>
          </p:cNvPr>
          <p:cNvSpPr txBox="1"/>
          <p:nvPr/>
        </p:nvSpPr>
        <p:spPr>
          <a:xfrm>
            <a:off x="8049340" y="4315631"/>
            <a:ext cx="1764467" cy="338554"/>
          </a:xfrm>
          <a:prstGeom prst="rect">
            <a:avLst/>
          </a:prstGeom>
          <a:noFill/>
        </p:spPr>
        <p:txBody>
          <a:bodyPr wrap="square" rtlCol="0">
            <a:spAutoFit/>
          </a:bodyPr>
          <a:lstStyle/>
          <a:p>
            <a:r>
              <a:rPr lang="en-GB" sz="1600">
                <a:solidFill>
                  <a:srgbClr val="176036"/>
                </a:solidFill>
                <a:latin typeface="+mj-lt"/>
              </a:rPr>
              <a:t>Placeholder</a:t>
            </a:r>
          </a:p>
        </p:txBody>
      </p:sp>
      <p:sp>
        <p:nvSpPr>
          <p:cNvPr id="19" name="Rechteck 31">
            <a:extLst>
              <a:ext uri="{FF2B5EF4-FFF2-40B4-BE49-F238E27FC236}">
                <a16:creationId xmlns:a16="http://schemas.microsoft.com/office/drawing/2014/main" id="{F9FABD5E-6485-4DBE-A873-4A8E9C807BAF}"/>
              </a:ext>
            </a:extLst>
          </p:cNvPr>
          <p:cNvSpPr/>
          <p:nvPr/>
        </p:nvSpPr>
        <p:spPr>
          <a:xfrm>
            <a:off x="8060616" y="4656958"/>
            <a:ext cx="2651434" cy="501676"/>
          </a:xfrm>
          <a:prstGeom prst="rect">
            <a:avLst/>
          </a:prstGeom>
        </p:spPr>
        <p:txBody>
          <a:bodyPr wrap="square">
            <a:spAutoFit/>
          </a:bodyPr>
          <a:lstStyle/>
          <a:p>
            <a:pPr lvl="0">
              <a:lnSpc>
                <a:spcPct val="95000"/>
              </a:lnSpc>
              <a:spcAft>
                <a:spcPts val="800"/>
              </a:spcAft>
              <a:defRPr/>
            </a:pPr>
            <a:r>
              <a:rPr lang="en-GB" sz="1400" noProof="1"/>
              <a:t>You can replace this with your own text. Placeholdertext.</a:t>
            </a:r>
          </a:p>
        </p:txBody>
      </p:sp>
    </p:spTree>
    <p:extLst>
      <p:ext uri="{BB962C8B-B14F-4D97-AF65-F5344CB8AC3E}">
        <p14:creationId xmlns:p14="http://schemas.microsoft.com/office/powerpoint/2010/main" val="42049775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E883C-5C52-46DA-A00A-D8428F72C109}"/>
              </a:ext>
            </a:extLst>
          </p:cNvPr>
          <p:cNvSpPr>
            <a:spLocks noGrp="1"/>
          </p:cNvSpPr>
          <p:nvPr>
            <p:ph type="title"/>
          </p:nvPr>
        </p:nvSpPr>
        <p:spPr/>
        <p:txBody>
          <a:bodyPr/>
          <a:lstStyle/>
          <a:p>
            <a:r>
              <a:rPr lang="en-US"/>
              <a:t>Infographic content representation</a:t>
            </a:r>
          </a:p>
        </p:txBody>
      </p:sp>
      <p:graphicFrame>
        <p:nvGraphicFramePr>
          <p:cNvPr id="3" name="Inhaltsplatzhalter 45">
            <a:extLst>
              <a:ext uri="{FF2B5EF4-FFF2-40B4-BE49-F238E27FC236}">
                <a16:creationId xmlns:a16="http://schemas.microsoft.com/office/drawing/2014/main" id="{0602336D-36F0-4A09-8AE8-14F03A0AAEC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963639932"/>
              </p:ext>
            </p:extLst>
          </p:nvPr>
        </p:nvGraphicFramePr>
        <p:xfrm>
          <a:off x="455791" y="1916832"/>
          <a:ext cx="2508783" cy="3110753"/>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uppieren 38">
            <a:extLst>
              <a:ext uri="{FF2B5EF4-FFF2-40B4-BE49-F238E27FC236}">
                <a16:creationId xmlns:a16="http://schemas.microsoft.com/office/drawing/2014/main" id="{A52F7134-0D6B-4720-949C-7E33F8F6DB2B}"/>
              </a:ext>
              <a:ext uri="{C183D7F6-B498-43B3-948B-1728B52AA6E4}">
                <adec:decorative xmlns:adec="http://schemas.microsoft.com/office/drawing/2017/decorative" val="1"/>
              </a:ext>
            </a:extLst>
          </p:cNvPr>
          <p:cNvGrpSpPr/>
          <p:nvPr/>
        </p:nvGrpSpPr>
        <p:grpSpPr bwMode="gray">
          <a:xfrm>
            <a:off x="1371305" y="3140968"/>
            <a:ext cx="677754" cy="618399"/>
            <a:chOff x="5691188" y="3032125"/>
            <a:chExt cx="806450" cy="792163"/>
          </a:xfrm>
          <a:solidFill>
            <a:schemeClr val="tx1"/>
          </a:solidFill>
        </p:grpSpPr>
        <p:sp>
          <p:nvSpPr>
            <p:cNvPr id="10" name="Freeform 13">
              <a:extLst>
                <a:ext uri="{FF2B5EF4-FFF2-40B4-BE49-F238E27FC236}">
                  <a16:creationId xmlns:a16="http://schemas.microsoft.com/office/drawing/2014/main" id="{60CA82C5-3FF8-4C73-B761-B067548A7F7C}"/>
                </a:ext>
              </a:extLst>
            </p:cNvPr>
            <p:cNvSpPr>
              <a:spLocks/>
            </p:cNvSpPr>
            <p:nvPr/>
          </p:nvSpPr>
          <p:spPr bwMode="gray">
            <a:xfrm>
              <a:off x="6164263" y="3032125"/>
              <a:ext cx="333375" cy="536575"/>
            </a:xfrm>
            <a:custGeom>
              <a:avLst/>
              <a:gdLst>
                <a:gd name="T0" fmla="*/ 80 w 89"/>
                <a:gd name="T1" fmla="*/ 143 h 143"/>
                <a:gd name="T2" fmla="*/ 87 w 89"/>
                <a:gd name="T3" fmla="*/ 141 h 143"/>
                <a:gd name="T4" fmla="*/ 89 w 89"/>
                <a:gd name="T5" fmla="*/ 135 h 143"/>
                <a:gd name="T6" fmla="*/ 87 w 89"/>
                <a:gd name="T7" fmla="*/ 123 h 143"/>
                <a:gd name="T8" fmla="*/ 57 w 89"/>
                <a:gd name="T9" fmla="*/ 93 h 143"/>
                <a:gd name="T10" fmla="*/ 51 w 89"/>
                <a:gd name="T11" fmla="*/ 90 h 143"/>
                <a:gd name="T12" fmla="*/ 50 w 89"/>
                <a:gd name="T13" fmla="*/ 84 h 143"/>
                <a:gd name="T14" fmla="*/ 55 w 89"/>
                <a:gd name="T15" fmla="*/ 78 h 143"/>
                <a:gd name="T16" fmla="*/ 56 w 89"/>
                <a:gd name="T17" fmla="*/ 76 h 143"/>
                <a:gd name="T18" fmla="*/ 61 w 89"/>
                <a:gd name="T19" fmla="*/ 67 h 143"/>
                <a:gd name="T20" fmla="*/ 65 w 89"/>
                <a:gd name="T21" fmla="*/ 63 h 143"/>
                <a:gd name="T22" fmla="*/ 68 w 89"/>
                <a:gd name="T23" fmla="*/ 44 h 143"/>
                <a:gd name="T24" fmla="*/ 65 w 89"/>
                <a:gd name="T25" fmla="*/ 41 h 143"/>
                <a:gd name="T26" fmla="*/ 44 w 89"/>
                <a:gd name="T27" fmla="*/ 6 h 143"/>
                <a:gd name="T28" fmla="*/ 32 w 89"/>
                <a:gd name="T29" fmla="*/ 1 h 143"/>
                <a:gd name="T30" fmla="*/ 30 w 89"/>
                <a:gd name="T31" fmla="*/ 1 h 143"/>
                <a:gd name="T32" fmla="*/ 25 w 89"/>
                <a:gd name="T33" fmla="*/ 0 h 143"/>
                <a:gd name="T34" fmla="*/ 24 w 89"/>
                <a:gd name="T35" fmla="*/ 0 h 143"/>
                <a:gd name="T36" fmla="*/ 16 w 89"/>
                <a:gd name="T37" fmla="*/ 5 h 143"/>
                <a:gd name="T38" fmla="*/ 8 w 89"/>
                <a:gd name="T39" fmla="*/ 13 h 143"/>
                <a:gd name="T40" fmla="*/ 8 w 89"/>
                <a:gd name="T41" fmla="*/ 14 h 143"/>
                <a:gd name="T42" fmla="*/ 0 w 89"/>
                <a:gd name="T43" fmla="*/ 29 h 143"/>
                <a:gd name="T44" fmla="*/ 3 w 89"/>
                <a:gd name="T45" fmla="*/ 34 h 143"/>
                <a:gd name="T46" fmla="*/ 8 w 89"/>
                <a:gd name="T47" fmla="*/ 31 h 143"/>
                <a:gd name="T48" fmla="*/ 16 w 89"/>
                <a:gd name="T49" fmla="*/ 17 h 143"/>
                <a:gd name="T50" fmla="*/ 17 w 89"/>
                <a:gd name="T51" fmla="*/ 12 h 143"/>
                <a:gd name="T52" fmla="*/ 18 w 89"/>
                <a:gd name="T53" fmla="*/ 11 h 143"/>
                <a:gd name="T54" fmla="*/ 18 w 89"/>
                <a:gd name="T55" fmla="*/ 11 h 143"/>
                <a:gd name="T56" fmla="*/ 23 w 89"/>
                <a:gd name="T57" fmla="*/ 8 h 143"/>
                <a:gd name="T58" fmla="*/ 25 w 89"/>
                <a:gd name="T59" fmla="*/ 8 h 143"/>
                <a:gd name="T60" fmla="*/ 27 w 89"/>
                <a:gd name="T61" fmla="*/ 8 h 143"/>
                <a:gd name="T62" fmla="*/ 30 w 89"/>
                <a:gd name="T63" fmla="*/ 9 h 143"/>
                <a:gd name="T64" fmla="*/ 41 w 89"/>
                <a:gd name="T65" fmla="*/ 13 h 143"/>
                <a:gd name="T66" fmla="*/ 57 w 89"/>
                <a:gd name="T67" fmla="*/ 43 h 143"/>
                <a:gd name="T68" fmla="*/ 59 w 89"/>
                <a:gd name="T69" fmla="*/ 46 h 143"/>
                <a:gd name="T70" fmla="*/ 61 w 89"/>
                <a:gd name="T71" fmla="*/ 47 h 143"/>
                <a:gd name="T72" fmla="*/ 58 w 89"/>
                <a:gd name="T73" fmla="*/ 60 h 143"/>
                <a:gd name="T74" fmla="*/ 57 w 89"/>
                <a:gd name="T75" fmla="*/ 60 h 143"/>
                <a:gd name="T76" fmla="*/ 54 w 89"/>
                <a:gd name="T77" fmla="*/ 63 h 143"/>
                <a:gd name="T78" fmla="*/ 49 w 89"/>
                <a:gd name="T79" fmla="*/ 71 h 143"/>
                <a:gd name="T80" fmla="*/ 48 w 89"/>
                <a:gd name="T81" fmla="*/ 74 h 143"/>
                <a:gd name="T82" fmla="*/ 44 w 89"/>
                <a:gd name="T83" fmla="*/ 79 h 143"/>
                <a:gd name="T84" fmla="*/ 42 w 89"/>
                <a:gd name="T85" fmla="*/ 82 h 143"/>
                <a:gd name="T86" fmla="*/ 43 w 89"/>
                <a:gd name="T87" fmla="*/ 94 h 143"/>
                <a:gd name="T88" fmla="*/ 46 w 89"/>
                <a:gd name="T89" fmla="*/ 96 h 143"/>
                <a:gd name="T90" fmla="*/ 54 w 89"/>
                <a:gd name="T91" fmla="*/ 101 h 143"/>
                <a:gd name="T92" fmla="*/ 79 w 89"/>
                <a:gd name="T93" fmla="*/ 125 h 143"/>
                <a:gd name="T94" fmla="*/ 82 w 89"/>
                <a:gd name="T95" fmla="*/ 135 h 143"/>
                <a:gd name="T96" fmla="*/ 82 w 89"/>
                <a:gd name="T97" fmla="*/ 135 h 143"/>
                <a:gd name="T98" fmla="*/ 78 w 89"/>
                <a:gd name="T99" fmla="*/ 135 h 143"/>
                <a:gd name="T100" fmla="*/ 75 w 89"/>
                <a:gd name="T101" fmla="*/ 135 h 143"/>
                <a:gd name="T102" fmla="*/ 18 w 89"/>
                <a:gd name="T103" fmla="*/ 135 h 143"/>
                <a:gd name="T104" fmla="*/ 14 w 89"/>
                <a:gd name="T105" fmla="*/ 139 h 143"/>
                <a:gd name="T106" fmla="*/ 18 w 89"/>
                <a:gd name="T107" fmla="*/ 143 h 143"/>
                <a:gd name="T108" fmla="*/ 80 w 89"/>
                <a:gd name="T10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143">
                  <a:moveTo>
                    <a:pt x="80" y="143"/>
                  </a:moveTo>
                  <a:cubicBezTo>
                    <a:pt x="83" y="143"/>
                    <a:pt x="85" y="143"/>
                    <a:pt x="87" y="141"/>
                  </a:cubicBezTo>
                  <a:cubicBezTo>
                    <a:pt x="89" y="139"/>
                    <a:pt x="89" y="137"/>
                    <a:pt x="89" y="135"/>
                  </a:cubicBezTo>
                  <a:cubicBezTo>
                    <a:pt x="89" y="132"/>
                    <a:pt x="89" y="130"/>
                    <a:pt x="87" y="123"/>
                  </a:cubicBezTo>
                  <a:cubicBezTo>
                    <a:pt x="84" y="115"/>
                    <a:pt x="72" y="100"/>
                    <a:pt x="57" y="93"/>
                  </a:cubicBezTo>
                  <a:cubicBezTo>
                    <a:pt x="51" y="90"/>
                    <a:pt x="51" y="90"/>
                    <a:pt x="51" y="90"/>
                  </a:cubicBezTo>
                  <a:cubicBezTo>
                    <a:pt x="50" y="88"/>
                    <a:pt x="50" y="86"/>
                    <a:pt x="50" y="84"/>
                  </a:cubicBezTo>
                  <a:cubicBezTo>
                    <a:pt x="52" y="82"/>
                    <a:pt x="53" y="81"/>
                    <a:pt x="55" y="78"/>
                  </a:cubicBezTo>
                  <a:cubicBezTo>
                    <a:pt x="55" y="77"/>
                    <a:pt x="56" y="76"/>
                    <a:pt x="56" y="76"/>
                  </a:cubicBezTo>
                  <a:cubicBezTo>
                    <a:pt x="58" y="73"/>
                    <a:pt x="59" y="70"/>
                    <a:pt x="61" y="67"/>
                  </a:cubicBezTo>
                  <a:cubicBezTo>
                    <a:pt x="62" y="66"/>
                    <a:pt x="64" y="65"/>
                    <a:pt x="65" y="63"/>
                  </a:cubicBezTo>
                  <a:cubicBezTo>
                    <a:pt x="68" y="58"/>
                    <a:pt x="70" y="48"/>
                    <a:pt x="68" y="44"/>
                  </a:cubicBezTo>
                  <a:cubicBezTo>
                    <a:pt x="68" y="42"/>
                    <a:pt x="67" y="41"/>
                    <a:pt x="65" y="41"/>
                  </a:cubicBezTo>
                  <a:cubicBezTo>
                    <a:pt x="65" y="24"/>
                    <a:pt x="57" y="11"/>
                    <a:pt x="44" y="6"/>
                  </a:cubicBezTo>
                  <a:cubicBezTo>
                    <a:pt x="42" y="5"/>
                    <a:pt x="38" y="3"/>
                    <a:pt x="32" y="1"/>
                  </a:cubicBezTo>
                  <a:cubicBezTo>
                    <a:pt x="31" y="1"/>
                    <a:pt x="30" y="1"/>
                    <a:pt x="30" y="1"/>
                  </a:cubicBezTo>
                  <a:cubicBezTo>
                    <a:pt x="28" y="0"/>
                    <a:pt x="27" y="0"/>
                    <a:pt x="25" y="0"/>
                  </a:cubicBezTo>
                  <a:cubicBezTo>
                    <a:pt x="25" y="0"/>
                    <a:pt x="24" y="0"/>
                    <a:pt x="24" y="0"/>
                  </a:cubicBezTo>
                  <a:cubicBezTo>
                    <a:pt x="20" y="0"/>
                    <a:pt x="17" y="2"/>
                    <a:pt x="16" y="5"/>
                  </a:cubicBezTo>
                  <a:cubicBezTo>
                    <a:pt x="13" y="6"/>
                    <a:pt x="9" y="8"/>
                    <a:pt x="8" y="13"/>
                  </a:cubicBezTo>
                  <a:cubicBezTo>
                    <a:pt x="8" y="13"/>
                    <a:pt x="8" y="14"/>
                    <a:pt x="8" y="14"/>
                  </a:cubicBezTo>
                  <a:cubicBezTo>
                    <a:pt x="4" y="18"/>
                    <a:pt x="2" y="23"/>
                    <a:pt x="0" y="29"/>
                  </a:cubicBezTo>
                  <a:cubicBezTo>
                    <a:pt x="0" y="31"/>
                    <a:pt x="1" y="33"/>
                    <a:pt x="3" y="34"/>
                  </a:cubicBezTo>
                  <a:cubicBezTo>
                    <a:pt x="5" y="34"/>
                    <a:pt x="7" y="33"/>
                    <a:pt x="8" y="31"/>
                  </a:cubicBezTo>
                  <a:cubicBezTo>
                    <a:pt x="9" y="25"/>
                    <a:pt x="12" y="20"/>
                    <a:pt x="16" y="17"/>
                  </a:cubicBezTo>
                  <a:cubicBezTo>
                    <a:pt x="17" y="16"/>
                    <a:pt x="18" y="14"/>
                    <a:pt x="17" y="12"/>
                  </a:cubicBezTo>
                  <a:cubicBezTo>
                    <a:pt x="18" y="12"/>
                    <a:pt x="18" y="11"/>
                    <a:pt x="18" y="11"/>
                  </a:cubicBezTo>
                  <a:cubicBezTo>
                    <a:pt x="18" y="11"/>
                    <a:pt x="18" y="11"/>
                    <a:pt x="18" y="11"/>
                  </a:cubicBezTo>
                  <a:cubicBezTo>
                    <a:pt x="20" y="11"/>
                    <a:pt x="22" y="11"/>
                    <a:pt x="23" y="8"/>
                  </a:cubicBezTo>
                  <a:cubicBezTo>
                    <a:pt x="23" y="8"/>
                    <a:pt x="24" y="8"/>
                    <a:pt x="25" y="8"/>
                  </a:cubicBezTo>
                  <a:cubicBezTo>
                    <a:pt x="26" y="8"/>
                    <a:pt x="26" y="8"/>
                    <a:pt x="27" y="8"/>
                  </a:cubicBezTo>
                  <a:cubicBezTo>
                    <a:pt x="28" y="8"/>
                    <a:pt x="29" y="9"/>
                    <a:pt x="30" y="9"/>
                  </a:cubicBezTo>
                  <a:cubicBezTo>
                    <a:pt x="35" y="10"/>
                    <a:pt x="39" y="12"/>
                    <a:pt x="41" y="13"/>
                  </a:cubicBezTo>
                  <a:cubicBezTo>
                    <a:pt x="52" y="17"/>
                    <a:pt x="58" y="28"/>
                    <a:pt x="57" y="43"/>
                  </a:cubicBezTo>
                  <a:cubicBezTo>
                    <a:pt x="57" y="44"/>
                    <a:pt x="58" y="45"/>
                    <a:pt x="59" y="46"/>
                  </a:cubicBezTo>
                  <a:cubicBezTo>
                    <a:pt x="59" y="47"/>
                    <a:pt x="60" y="47"/>
                    <a:pt x="61" y="47"/>
                  </a:cubicBezTo>
                  <a:cubicBezTo>
                    <a:pt x="61" y="50"/>
                    <a:pt x="60" y="55"/>
                    <a:pt x="58" y="60"/>
                  </a:cubicBezTo>
                  <a:cubicBezTo>
                    <a:pt x="57" y="60"/>
                    <a:pt x="57" y="60"/>
                    <a:pt x="57" y="60"/>
                  </a:cubicBezTo>
                  <a:cubicBezTo>
                    <a:pt x="56" y="60"/>
                    <a:pt x="55" y="61"/>
                    <a:pt x="54" y="63"/>
                  </a:cubicBezTo>
                  <a:cubicBezTo>
                    <a:pt x="53" y="66"/>
                    <a:pt x="51" y="68"/>
                    <a:pt x="49" y="71"/>
                  </a:cubicBezTo>
                  <a:cubicBezTo>
                    <a:pt x="49" y="72"/>
                    <a:pt x="48" y="73"/>
                    <a:pt x="48" y="74"/>
                  </a:cubicBezTo>
                  <a:cubicBezTo>
                    <a:pt x="46" y="76"/>
                    <a:pt x="45" y="78"/>
                    <a:pt x="44" y="79"/>
                  </a:cubicBezTo>
                  <a:cubicBezTo>
                    <a:pt x="43" y="80"/>
                    <a:pt x="42" y="81"/>
                    <a:pt x="42" y="82"/>
                  </a:cubicBezTo>
                  <a:cubicBezTo>
                    <a:pt x="42" y="85"/>
                    <a:pt x="42" y="90"/>
                    <a:pt x="43" y="94"/>
                  </a:cubicBezTo>
                  <a:cubicBezTo>
                    <a:pt x="44" y="95"/>
                    <a:pt x="44" y="96"/>
                    <a:pt x="46" y="96"/>
                  </a:cubicBezTo>
                  <a:cubicBezTo>
                    <a:pt x="54" y="101"/>
                    <a:pt x="54" y="101"/>
                    <a:pt x="54" y="101"/>
                  </a:cubicBezTo>
                  <a:cubicBezTo>
                    <a:pt x="67" y="106"/>
                    <a:pt x="78" y="119"/>
                    <a:pt x="79" y="125"/>
                  </a:cubicBezTo>
                  <a:cubicBezTo>
                    <a:pt x="82" y="133"/>
                    <a:pt x="82" y="133"/>
                    <a:pt x="82" y="135"/>
                  </a:cubicBezTo>
                  <a:cubicBezTo>
                    <a:pt x="82" y="135"/>
                    <a:pt x="82" y="135"/>
                    <a:pt x="82" y="135"/>
                  </a:cubicBezTo>
                  <a:cubicBezTo>
                    <a:pt x="82" y="135"/>
                    <a:pt x="79" y="135"/>
                    <a:pt x="78" y="135"/>
                  </a:cubicBezTo>
                  <a:cubicBezTo>
                    <a:pt x="77" y="135"/>
                    <a:pt x="76" y="135"/>
                    <a:pt x="75" y="135"/>
                  </a:cubicBezTo>
                  <a:cubicBezTo>
                    <a:pt x="18" y="135"/>
                    <a:pt x="18" y="135"/>
                    <a:pt x="18" y="135"/>
                  </a:cubicBezTo>
                  <a:cubicBezTo>
                    <a:pt x="16" y="135"/>
                    <a:pt x="14" y="137"/>
                    <a:pt x="14" y="139"/>
                  </a:cubicBezTo>
                  <a:cubicBezTo>
                    <a:pt x="14" y="141"/>
                    <a:pt x="16" y="143"/>
                    <a:pt x="18" y="143"/>
                  </a:cubicBezTo>
                  <a:lnTo>
                    <a:pt x="80" y="143"/>
                  </a:lnTo>
                  <a:close/>
                </a:path>
              </a:pathLst>
            </a:custGeom>
            <a:grpFill/>
            <a:ln w="3175">
              <a:solidFill>
                <a:srgbClr val="15596B"/>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3"/>
                </a:solidFill>
                <a:latin typeface="+mj-lt"/>
              </a:endParaRPr>
            </a:p>
          </p:txBody>
        </p:sp>
        <p:sp>
          <p:nvSpPr>
            <p:cNvPr id="11" name="Freeform 14">
              <a:extLst>
                <a:ext uri="{FF2B5EF4-FFF2-40B4-BE49-F238E27FC236}">
                  <a16:creationId xmlns:a16="http://schemas.microsoft.com/office/drawing/2014/main" id="{753BA88B-E522-4FAC-A7ED-5E6365E844B4}"/>
                </a:ext>
              </a:extLst>
            </p:cNvPr>
            <p:cNvSpPr>
              <a:spLocks/>
            </p:cNvSpPr>
            <p:nvPr/>
          </p:nvSpPr>
          <p:spPr bwMode="gray">
            <a:xfrm>
              <a:off x="5691188" y="3032125"/>
              <a:ext cx="333375" cy="536575"/>
            </a:xfrm>
            <a:custGeom>
              <a:avLst/>
              <a:gdLst>
                <a:gd name="T0" fmla="*/ 72 w 89"/>
                <a:gd name="T1" fmla="*/ 143 h 143"/>
                <a:gd name="T2" fmla="*/ 76 w 89"/>
                <a:gd name="T3" fmla="*/ 139 h 143"/>
                <a:gd name="T4" fmla="*/ 72 w 89"/>
                <a:gd name="T5" fmla="*/ 135 h 143"/>
                <a:gd name="T6" fmla="*/ 13 w 89"/>
                <a:gd name="T7" fmla="*/ 135 h 143"/>
                <a:gd name="T8" fmla="*/ 11 w 89"/>
                <a:gd name="T9" fmla="*/ 135 h 143"/>
                <a:gd name="T10" fmla="*/ 8 w 89"/>
                <a:gd name="T11" fmla="*/ 135 h 143"/>
                <a:gd name="T12" fmla="*/ 8 w 89"/>
                <a:gd name="T13" fmla="*/ 135 h 143"/>
                <a:gd name="T14" fmla="*/ 10 w 89"/>
                <a:gd name="T15" fmla="*/ 125 h 143"/>
                <a:gd name="T16" fmla="*/ 38 w 89"/>
                <a:gd name="T17" fmla="*/ 101 h 143"/>
                <a:gd name="T18" fmla="*/ 47 w 89"/>
                <a:gd name="T19" fmla="*/ 95 h 143"/>
                <a:gd name="T20" fmla="*/ 47 w 89"/>
                <a:gd name="T21" fmla="*/ 93 h 143"/>
                <a:gd name="T22" fmla="*/ 48 w 89"/>
                <a:gd name="T23" fmla="*/ 83 h 143"/>
                <a:gd name="T24" fmla="*/ 47 w 89"/>
                <a:gd name="T25" fmla="*/ 79 h 143"/>
                <a:gd name="T26" fmla="*/ 42 w 89"/>
                <a:gd name="T27" fmla="*/ 74 h 143"/>
                <a:gd name="T28" fmla="*/ 41 w 89"/>
                <a:gd name="T29" fmla="*/ 71 h 143"/>
                <a:gd name="T30" fmla="*/ 36 w 89"/>
                <a:gd name="T31" fmla="*/ 63 h 143"/>
                <a:gd name="T32" fmla="*/ 33 w 89"/>
                <a:gd name="T33" fmla="*/ 60 h 143"/>
                <a:gd name="T34" fmla="*/ 32 w 89"/>
                <a:gd name="T35" fmla="*/ 59 h 143"/>
                <a:gd name="T36" fmla="*/ 29 w 89"/>
                <a:gd name="T37" fmla="*/ 47 h 143"/>
                <a:gd name="T38" fmla="*/ 32 w 89"/>
                <a:gd name="T39" fmla="*/ 46 h 143"/>
                <a:gd name="T40" fmla="*/ 33 w 89"/>
                <a:gd name="T41" fmla="*/ 43 h 143"/>
                <a:gd name="T42" fmla="*/ 42 w 89"/>
                <a:gd name="T43" fmla="*/ 17 h 143"/>
                <a:gd name="T44" fmla="*/ 43 w 89"/>
                <a:gd name="T45" fmla="*/ 13 h 143"/>
                <a:gd name="T46" fmla="*/ 44 w 89"/>
                <a:gd name="T47" fmla="*/ 13 h 143"/>
                <a:gd name="T48" fmla="*/ 45 w 89"/>
                <a:gd name="T49" fmla="*/ 13 h 143"/>
                <a:gd name="T50" fmla="*/ 49 w 89"/>
                <a:gd name="T51" fmla="*/ 9 h 143"/>
                <a:gd name="T52" fmla="*/ 51 w 89"/>
                <a:gd name="T53" fmla="*/ 8 h 143"/>
                <a:gd name="T54" fmla="*/ 52 w 89"/>
                <a:gd name="T55" fmla="*/ 8 h 143"/>
                <a:gd name="T56" fmla="*/ 56 w 89"/>
                <a:gd name="T57" fmla="*/ 9 h 143"/>
                <a:gd name="T58" fmla="*/ 67 w 89"/>
                <a:gd name="T59" fmla="*/ 13 h 143"/>
                <a:gd name="T60" fmla="*/ 81 w 89"/>
                <a:gd name="T61" fmla="*/ 29 h 143"/>
                <a:gd name="T62" fmla="*/ 86 w 89"/>
                <a:gd name="T63" fmla="*/ 31 h 143"/>
                <a:gd name="T64" fmla="*/ 89 w 89"/>
                <a:gd name="T65" fmla="*/ 26 h 143"/>
                <a:gd name="T66" fmla="*/ 70 w 89"/>
                <a:gd name="T67" fmla="*/ 6 h 143"/>
                <a:gd name="T68" fmla="*/ 58 w 89"/>
                <a:gd name="T69" fmla="*/ 1 h 143"/>
                <a:gd name="T70" fmla="*/ 53 w 89"/>
                <a:gd name="T71" fmla="*/ 0 h 143"/>
                <a:gd name="T72" fmla="*/ 51 w 89"/>
                <a:gd name="T73" fmla="*/ 0 h 143"/>
                <a:gd name="T74" fmla="*/ 49 w 89"/>
                <a:gd name="T75" fmla="*/ 0 h 143"/>
                <a:gd name="T76" fmla="*/ 42 w 89"/>
                <a:gd name="T77" fmla="*/ 5 h 143"/>
                <a:gd name="T78" fmla="*/ 34 w 89"/>
                <a:gd name="T79" fmla="*/ 13 h 143"/>
                <a:gd name="T80" fmla="*/ 34 w 89"/>
                <a:gd name="T81" fmla="*/ 14 h 143"/>
                <a:gd name="T82" fmla="*/ 25 w 89"/>
                <a:gd name="T83" fmla="*/ 40 h 143"/>
                <a:gd name="T84" fmla="*/ 21 w 89"/>
                <a:gd name="T85" fmla="*/ 44 h 143"/>
                <a:gd name="T86" fmla="*/ 25 w 89"/>
                <a:gd name="T87" fmla="*/ 63 h 143"/>
                <a:gd name="T88" fmla="*/ 29 w 89"/>
                <a:gd name="T89" fmla="*/ 67 h 143"/>
                <a:gd name="T90" fmla="*/ 34 w 89"/>
                <a:gd name="T91" fmla="*/ 76 h 143"/>
                <a:gd name="T92" fmla="*/ 35 w 89"/>
                <a:gd name="T93" fmla="*/ 78 h 143"/>
                <a:gd name="T94" fmla="*/ 40 w 89"/>
                <a:gd name="T95" fmla="*/ 84 h 143"/>
                <a:gd name="T96" fmla="*/ 40 w 89"/>
                <a:gd name="T97" fmla="*/ 91 h 143"/>
                <a:gd name="T98" fmla="*/ 35 w 89"/>
                <a:gd name="T99" fmla="*/ 93 h 143"/>
                <a:gd name="T100" fmla="*/ 2 w 89"/>
                <a:gd name="T101" fmla="*/ 123 h 143"/>
                <a:gd name="T102" fmla="*/ 0 w 89"/>
                <a:gd name="T103" fmla="*/ 135 h 143"/>
                <a:gd name="T104" fmla="*/ 2 w 89"/>
                <a:gd name="T105" fmla="*/ 141 h 143"/>
                <a:gd name="T106" fmla="*/ 9 w 89"/>
                <a:gd name="T107" fmla="*/ 143 h 143"/>
                <a:gd name="T108" fmla="*/ 72 w 89"/>
                <a:gd name="T10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143">
                  <a:moveTo>
                    <a:pt x="72" y="143"/>
                  </a:moveTo>
                  <a:cubicBezTo>
                    <a:pt x="74" y="143"/>
                    <a:pt x="76" y="141"/>
                    <a:pt x="76" y="139"/>
                  </a:cubicBezTo>
                  <a:cubicBezTo>
                    <a:pt x="76" y="137"/>
                    <a:pt x="74" y="135"/>
                    <a:pt x="72" y="135"/>
                  </a:cubicBezTo>
                  <a:cubicBezTo>
                    <a:pt x="13" y="135"/>
                    <a:pt x="13" y="135"/>
                    <a:pt x="13" y="135"/>
                  </a:cubicBezTo>
                  <a:cubicBezTo>
                    <a:pt x="12" y="135"/>
                    <a:pt x="11" y="135"/>
                    <a:pt x="11" y="135"/>
                  </a:cubicBezTo>
                  <a:cubicBezTo>
                    <a:pt x="10" y="135"/>
                    <a:pt x="8" y="135"/>
                    <a:pt x="8" y="135"/>
                  </a:cubicBezTo>
                  <a:cubicBezTo>
                    <a:pt x="8" y="135"/>
                    <a:pt x="8" y="135"/>
                    <a:pt x="8" y="135"/>
                  </a:cubicBezTo>
                  <a:cubicBezTo>
                    <a:pt x="8" y="135"/>
                    <a:pt x="8" y="131"/>
                    <a:pt x="10" y="125"/>
                  </a:cubicBezTo>
                  <a:cubicBezTo>
                    <a:pt x="11" y="118"/>
                    <a:pt x="26" y="105"/>
                    <a:pt x="38" y="101"/>
                  </a:cubicBezTo>
                  <a:cubicBezTo>
                    <a:pt x="44" y="98"/>
                    <a:pt x="46" y="95"/>
                    <a:pt x="47" y="95"/>
                  </a:cubicBezTo>
                  <a:cubicBezTo>
                    <a:pt x="47" y="94"/>
                    <a:pt x="47" y="94"/>
                    <a:pt x="47" y="93"/>
                  </a:cubicBezTo>
                  <a:cubicBezTo>
                    <a:pt x="48" y="89"/>
                    <a:pt x="48" y="84"/>
                    <a:pt x="48" y="83"/>
                  </a:cubicBezTo>
                  <a:cubicBezTo>
                    <a:pt x="49" y="81"/>
                    <a:pt x="48" y="80"/>
                    <a:pt x="47" y="79"/>
                  </a:cubicBezTo>
                  <a:cubicBezTo>
                    <a:pt x="45" y="78"/>
                    <a:pt x="44" y="76"/>
                    <a:pt x="42" y="74"/>
                  </a:cubicBezTo>
                  <a:cubicBezTo>
                    <a:pt x="42" y="73"/>
                    <a:pt x="41" y="72"/>
                    <a:pt x="41" y="71"/>
                  </a:cubicBezTo>
                  <a:cubicBezTo>
                    <a:pt x="39" y="69"/>
                    <a:pt x="37" y="66"/>
                    <a:pt x="36" y="63"/>
                  </a:cubicBezTo>
                  <a:cubicBezTo>
                    <a:pt x="35" y="61"/>
                    <a:pt x="34" y="60"/>
                    <a:pt x="33" y="60"/>
                  </a:cubicBezTo>
                  <a:cubicBezTo>
                    <a:pt x="33" y="60"/>
                    <a:pt x="32" y="60"/>
                    <a:pt x="32" y="59"/>
                  </a:cubicBezTo>
                  <a:cubicBezTo>
                    <a:pt x="30" y="55"/>
                    <a:pt x="29" y="50"/>
                    <a:pt x="29" y="47"/>
                  </a:cubicBezTo>
                  <a:cubicBezTo>
                    <a:pt x="30" y="47"/>
                    <a:pt x="31" y="47"/>
                    <a:pt x="32" y="46"/>
                  </a:cubicBezTo>
                  <a:cubicBezTo>
                    <a:pt x="32" y="46"/>
                    <a:pt x="33" y="44"/>
                    <a:pt x="33" y="43"/>
                  </a:cubicBezTo>
                  <a:cubicBezTo>
                    <a:pt x="32" y="32"/>
                    <a:pt x="36" y="23"/>
                    <a:pt x="42" y="17"/>
                  </a:cubicBezTo>
                  <a:cubicBezTo>
                    <a:pt x="43" y="16"/>
                    <a:pt x="44" y="14"/>
                    <a:pt x="43" y="13"/>
                  </a:cubicBezTo>
                  <a:cubicBezTo>
                    <a:pt x="44" y="13"/>
                    <a:pt x="44" y="13"/>
                    <a:pt x="44" y="13"/>
                  </a:cubicBezTo>
                  <a:cubicBezTo>
                    <a:pt x="44" y="13"/>
                    <a:pt x="45" y="13"/>
                    <a:pt x="45" y="13"/>
                  </a:cubicBezTo>
                  <a:cubicBezTo>
                    <a:pt x="47" y="13"/>
                    <a:pt x="49" y="11"/>
                    <a:pt x="49" y="9"/>
                  </a:cubicBezTo>
                  <a:cubicBezTo>
                    <a:pt x="49" y="9"/>
                    <a:pt x="50" y="8"/>
                    <a:pt x="51" y="8"/>
                  </a:cubicBezTo>
                  <a:cubicBezTo>
                    <a:pt x="51" y="8"/>
                    <a:pt x="52" y="8"/>
                    <a:pt x="52" y="8"/>
                  </a:cubicBezTo>
                  <a:cubicBezTo>
                    <a:pt x="53" y="8"/>
                    <a:pt x="54" y="8"/>
                    <a:pt x="56" y="9"/>
                  </a:cubicBezTo>
                  <a:cubicBezTo>
                    <a:pt x="60" y="10"/>
                    <a:pt x="63" y="11"/>
                    <a:pt x="67" y="13"/>
                  </a:cubicBezTo>
                  <a:cubicBezTo>
                    <a:pt x="74" y="16"/>
                    <a:pt x="78" y="21"/>
                    <a:pt x="81" y="29"/>
                  </a:cubicBezTo>
                  <a:cubicBezTo>
                    <a:pt x="82" y="31"/>
                    <a:pt x="84" y="32"/>
                    <a:pt x="86" y="31"/>
                  </a:cubicBezTo>
                  <a:cubicBezTo>
                    <a:pt x="88" y="30"/>
                    <a:pt x="89" y="28"/>
                    <a:pt x="89" y="26"/>
                  </a:cubicBezTo>
                  <a:cubicBezTo>
                    <a:pt x="85" y="16"/>
                    <a:pt x="79" y="9"/>
                    <a:pt x="70" y="6"/>
                  </a:cubicBezTo>
                  <a:cubicBezTo>
                    <a:pt x="66" y="4"/>
                    <a:pt x="62" y="2"/>
                    <a:pt x="58" y="1"/>
                  </a:cubicBezTo>
                  <a:cubicBezTo>
                    <a:pt x="56" y="1"/>
                    <a:pt x="55" y="0"/>
                    <a:pt x="53" y="0"/>
                  </a:cubicBezTo>
                  <a:cubicBezTo>
                    <a:pt x="53" y="0"/>
                    <a:pt x="52" y="0"/>
                    <a:pt x="51" y="0"/>
                  </a:cubicBezTo>
                  <a:cubicBezTo>
                    <a:pt x="50" y="0"/>
                    <a:pt x="50" y="0"/>
                    <a:pt x="49" y="0"/>
                  </a:cubicBezTo>
                  <a:cubicBezTo>
                    <a:pt x="47" y="0"/>
                    <a:pt x="44" y="2"/>
                    <a:pt x="42" y="5"/>
                  </a:cubicBezTo>
                  <a:cubicBezTo>
                    <a:pt x="39" y="6"/>
                    <a:pt x="35" y="8"/>
                    <a:pt x="34" y="13"/>
                  </a:cubicBezTo>
                  <a:cubicBezTo>
                    <a:pt x="34" y="13"/>
                    <a:pt x="34" y="14"/>
                    <a:pt x="34" y="14"/>
                  </a:cubicBezTo>
                  <a:cubicBezTo>
                    <a:pt x="29" y="19"/>
                    <a:pt x="25" y="28"/>
                    <a:pt x="25" y="40"/>
                  </a:cubicBezTo>
                  <a:cubicBezTo>
                    <a:pt x="23" y="41"/>
                    <a:pt x="22" y="42"/>
                    <a:pt x="21" y="44"/>
                  </a:cubicBezTo>
                  <a:cubicBezTo>
                    <a:pt x="20" y="48"/>
                    <a:pt x="22" y="58"/>
                    <a:pt x="25" y="63"/>
                  </a:cubicBezTo>
                  <a:cubicBezTo>
                    <a:pt x="26" y="65"/>
                    <a:pt x="28" y="66"/>
                    <a:pt x="29" y="67"/>
                  </a:cubicBezTo>
                  <a:cubicBezTo>
                    <a:pt x="31" y="71"/>
                    <a:pt x="32" y="73"/>
                    <a:pt x="34" y="76"/>
                  </a:cubicBezTo>
                  <a:cubicBezTo>
                    <a:pt x="34" y="76"/>
                    <a:pt x="35" y="77"/>
                    <a:pt x="35" y="78"/>
                  </a:cubicBezTo>
                  <a:cubicBezTo>
                    <a:pt x="37" y="81"/>
                    <a:pt x="39" y="83"/>
                    <a:pt x="40" y="84"/>
                  </a:cubicBezTo>
                  <a:cubicBezTo>
                    <a:pt x="40" y="86"/>
                    <a:pt x="40" y="89"/>
                    <a:pt x="40" y="91"/>
                  </a:cubicBezTo>
                  <a:cubicBezTo>
                    <a:pt x="39" y="91"/>
                    <a:pt x="38" y="92"/>
                    <a:pt x="35" y="93"/>
                  </a:cubicBezTo>
                  <a:cubicBezTo>
                    <a:pt x="21" y="99"/>
                    <a:pt x="4" y="113"/>
                    <a:pt x="2" y="123"/>
                  </a:cubicBezTo>
                  <a:cubicBezTo>
                    <a:pt x="0" y="130"/>
                    <a:pt x="0" y="135"/>
                    <a:pt x="0" y="135"/>
                  </a:cubicBezTo>
                  <a:cubicBezTo>
                    <a:pt x="0" y="138"/>
                    <a:pt x="1" y="140"/>
                    <a:pt x="2" y="141"/>
                  </a:cubicBezTo>
                  <a:cubicBezTo>
                    <a:pt x="4" y="143"/>
                    <a:pt x="6" y="143"/>
                    <a:pt x="9" y="143"/>
                  </a:cubicBezTo>
                  <a:lnTo>
                    <a:pt x="72" y="143"/>
                  </a:lnTo>
                  <a:close/>
                </a:path>
              </a:pathLst>
            </a:custGeom>
            <a:grpFill/>
            <a:ln w="3175">
              <a:solidFill>
                <a:srgbClr val="15596B"/>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3"/>
                </a:solidFill>
                <a:latin typeface="+mj-lt"/>
              </a:endParaRPr>
            </a:p>
          </p:txBody>
        </p:sp>
        <p:sp>
          <p:nvSpPr>
            <p:cNvPr id="12" name="Freeform 15">
              <a:extLst>
                <a:ext uri="{FF2B5EF4-FFF2-40B4-BE49-F238E27FC236}">
                  <a16:creationId xmlns:a16="http://schemas.microsoft.com/office/drawing/2014/main" id="{14150763-F28F-43A1-9292-00983BEF40EC}"/>
                </a:ext>
              </a:extLst>
            </p:cNvPr>
            <p:cNvSpPr>
              <a:spLocks noEditPoints="1"/>
            </p:cNvSpPr>
            <p:nvPr/>
          </p:nvSpPr>
          <p:spPr bwMode="gray">
            <a:xfrm>
              <a:off x="5781676" y="3136900"/>
              <a:ext cx="625475" cy="687388"/>
            </a:xfrm>
            <a:custGeom>
              <a:avLst/>
              <a:gdLst>
                <a:gd name="T0" fmla="*/ 167 w 167"/>
                <a:gd name="T1" fmla="*/ 174 h 183"/>
                <a:gd name="T2" fmla="*/ 116 w 167"/>
                <a:gd name="T3" fmla="*/ 122 h 183"/>
                <a:gd name="T4" fmla="*/ 106 w 167"/>
                <a:gd name="T5" fmla="*/ 109 h 183"/>
                <a:gd name="T6" fmla="*/ 114 w 167"/>
                <a:gd name="T7" fmla="*/ 98 h 183"/>
                <a:gd name="T8" fmla="*/ 124 w 167"/>
                <a:gd name="T9" fmla="*/ 83 h 183"/>
                <a:gd name="T10" fmla="*/ 125 w 167"/>
                <a:gd name="T11" fmla="*/ 55 h 183"/>
                <a:gd name="T12" fmla="*/ 84 w 167"/>
                <a:gd name="T13" fmla="*/ 6 h 183"/>
                <a:gd name="T14" fmla="*/ 77 w 167"/>
                <a:gd name="T15" fmla="*/ 1 h 183"/>
                <a:gd name="T16" fmla="*/ 67 w 167"/>
                <a:gd name="T17" fmla="*/ 8 h 183"/>
                <a:gd name="T18" fmla="*/ 54 w 167"/>
                <a:gd name="T19" fmla="*/ 20 h 183"/>
                <a:gd name="T20" fmla="*/ 43 w 167"/>
                <a:gd name="T21" fmla="*/ 55 h 183"/>
                <a:gd name="T22" fmla="*/ 43 w 167"/>
                <a:gd name="T23" fmla="*/ 83 h 183"/>
                <a:gd name="T24" fmla="*/ 54 w 167"/>
                <a:gd name="T25" fmla="*/ 98 h 183"/>
                <a:gd name="T26" fmla="*/ 63 w 167"/>
                <a:gd name="T27" fmla="*/ 109 h 183"/>
                <a:gd name="T28" fmla="*/ 56 w 167"/>
                <a:gd name="T29" fmla="*/ 122 h 183"/>
                <a:gd name="T30" fmla="*/ 0 w 167"/>
                <a:gd name="T31" fmla="*/ 173 h 183"/>
                <a:gd name="T32" fmla="*/ 13 w 167"/>
                <a:gd name="T33" fmla="*/ 183 h 183"/>
                <a:gd name="T34" fmla="*/ 159 w 167"/>
                <a:gd name="T35" fmla="*/ 175 h 183"/>
                <a:gd name="T36" fmla="*/ 154 w 167"/>
                <a:gd name="T37" fmla="*/ 175 h 183"/>
                <a:gd name="T38" fmla="*/ 17 w 167"/>
                <a:gd name="T39" fmla="*/ 175 h 183"/>
                <a:gd name="T40" fmla="*/ 13 w 167"/>
                <a:gd name="T41" fmla="*/ 175 h 183"/>
                <a:gd name="T42" fmla="*/ 8 w 167"/>
                <a:gd name="T43" fmla="*/ 174 h 183"/>
                <a:gd name="T44" fmla="*/ 59 w 167"/>
                <a:gd name="T45" fmla="*/ 129 h 183"/>
                <a:gd name="T46" fmla="*/ 69 w 167"/>
                <a:gd name="T47" fmla="*/ 121 h 183"/>
                <a:gd name="T48" fmla="*/ 69 w 167"/>
                <a:gd name="T49" fmla="*/ 104 h 183"/>
                <a:gd name="T50" fmla="*/ 61 w 167"/>
                <a:gd name="T51" fmla="*/ 94 h 183"/>
                <a:gd name="T52" fmla="*/ 51 w 167"/>
                <a:gd name="T53" fmla="*/ 80 h 183"/>
                <a:gd name="T54" fmla="*/ 46 w 167"/>
                <a:gd name="T55" fmla="*/ 62 h 183"/>
                <a:gd name="T56" fmla="*/ 50 w 167"/>
                <a:gd name="T57" fmla="*/ 61 h 183"/>
                <a:gd name="T58" fmla="*/ 63 w 167"/>
                <a:gd name="T59" fmla="*/ 24 h 183"/>
                <a:gd name="T60" fmla="*/ 71 w 167"/>
                <a:gd name="T61" fmla="*/ 18 h 183"/>
                <a:gd name="T62" fmla="*/ 75 w 167"/>
                <a:gd name="T63" fmla="*/ 16 h 183"/>
                <a:gd name="T64" fmla="*/ 75 w 167"/>
                <a:gd name="T65" fmla="*/ 10 h 183"/>
                <a:gd name="T66" fmla="*/ 96 w 167"/>
                <a:gd name="T67" fmla="*/ 18 h 183"/>
                <a:gd name="T68" fmla="*/ 118 w 167"/>
                <a:gd name="T69" fmla="*/ 61 h 183"/>
                <a:gd name="T70" fmla="*/ 121 w 167"/>
                <a:gd name="T71" fmla="*/ 62 h 183"/>
                <a:gd name="T72" fmla="*/ 116 w 167"/>
                <a:gd name="T73" fmla="*/ 80 h 183"/>
                <a:gd name="T74" fmla="*/ 107 w 167"/>
                <a:gd name="T75" fmla="*/ 94 h 183"/>
                <a:gd name="T76" fmla="*/ 99 w 167"/>
                <a:gd name="T77" fmla="*/ 104 h 183"/>
                <a:gd name="T78" fmla="*/ 99 w 167"/>
                <a:gd name="T79" fmla="*/ 121 h 183"/>
                <a:gd name="T80" fmla="*/ 112 w 167"/>
                <a:gd name="T81" fmla="*/ 129 h 183"/>
                <a:gd name="T82" fmla="*/ 159 w 167"/>
                <a:gd name="T83" fmla="*/ 17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7" h="183">
                  <a:moveTo>
                    <a:pt x="156" y="183"/>
                  </a:moveTo>
                  <a:cubicBezTo>
                    <a:pt x="164" y="183"/>
                    <a:pt x="167" y="180"/>
                    <a:pt x="167" y="174"/>
                  </a:cubicBezTo>
                  <a:cubicBezTo>
                    <a:pt x="167" y="170"/>
                    <a:pt x="167" y="168"/>
                    <a:pt x="164" y="158"/>
                  </a:cubicBezTo>
                  <a:cubicBezTo>
                    <a:pt x="161" y="147"/>
                    <a:pt x="130" y="128"/>
                    <a:pt x="116" y="122"/>
                  </a:cubicBezTo>
                  <a:cubicBezTo>
                    <a:pt x="107" y="118"/>
                    <a:pt x="107" y="118"/>
                    <a:pt x="107" y="118"/>
                  </a:cubicBezTo>
                  <a:cubicBezTo>
                    <a:pt x="106" y="115"/>
                    <a:pt x="106" y="112"/>
                    <a:pt x="106" y="109"/>
                  </a:cubicBezTo>
                  <a:cubicBezTo>
                    <a:pt x="108" y="107"/>
                    <a:pt x="110" y="104"/>
                    <a:pt x="112" y="101"/>
                  </a:cubicBezTo>
                  <a:cubicBezTo>
                    <a:pt x="112" y="100"/>
                    <a:pt x="113" y="99"/>
                    <a:pt x="114" y="98"/>
                  </a:cubicBezTo>
                  <a:cubicBezTo>
                    <a:pt x="116" y="95"/>
                    <a:pt x="118" y="92"/>
                    <a:pt x="120" y="87"/>
                  </a:cubicBezTo>
                  <a:cubicBezTo>
                    <a:pt x="122" y="86"/>
                    <a:pt x="123" y="85"/>
                    <a:pt x="124" y="83"/>
                  </a:cubicBezTo>
                  <a:cubicBezTo>
                    <a:pt x="128" y="76"/>
                    <a:pt x="131" y="64"/>
                    <a:pt x="129" y="59"/>
                  </a:cubicBezTo>
                  <a:cubicBezTo>
                    <a:pt x="128" y="57"/>
                    <a:pt x="127" y="56"/>
                    <a:pt x="125" y="55"/>
                  </a:cubicBezTo>
                  <a:cubicBezTo>
                    <a:pt x="125" y="34"/>
                    <a:pt x="115" y="17"/>
                    <a:pt x="99" y="11"/>
                  </a:cubicBezTo>
                  <a:cubicBezTo>
                    <a:pt x="96" y="10"/>
                    <a:pt x="91" y="8"/>
                    <a:pt x="84" y="6"/>
                  </a:cubicBezTo>
                  <a:cubicBezTo>
                    <a:pt x="81" y="5"/>
                    <a:pt x="79" y="3"/>
                    <a:pt x="79" y="3"/>
                  </a:cubicBezTo>
                  <a:cubicBezTo>
                    <a:pt x="79" y="2"/>
                    <a:pt x="78" y="1"/>
                    <a:pt x="77" y="1"/>
                  </a:cubicBezTo>
                  <a:cubicBezTo>
                    <a:pt x="77" y="0"/>
                    <a:pt x="75" y="0"/>
                    <a:pt x="74" y="0"/>
                  </a:cubicBezTo>
                  <a:cubicBezTo>
                    <a:pt x="71" y="1"/>
                    <a:pt x="69" y="5"/>
                    <a:pt x="67" y="8"/>
                  </a:cubicBezTo>
                  <a:cubicBezTo>
                    <a:pt x="67" y="8"/>
                    <a:pt x="67" y="9"/>
                    <a:pt x="67" y="10"/>
                  </a:cubicBezTo>
                  <a:cubicBezTo>
                    <a:pt x="61" y="11"/>
                    <a:pt x="56" y="14"/>
                    <a:pt x="54" y="20"/>
                  </a:cubicBezTo>
                  <a:cubicBezTo>
                    <a:pt x="54" y="20"/>
                    <a:pt x="54" y="21"/>
                    <a:pt x="54" y="21"/>
                  </a:cubicBezTo>
                  <a:cubicBezTo>
                    <a:pt x="48" y="28"/>
                    <a:pt x="43" y="38"/>
                    <a:pt x="43" y="55"/>
                  </a:cubicBezTo>
                  <a:cubicBezTo>
                    <a:pt x="41" y="55"/>
                    <a:pt x="39" y="57"/>
                    <a:pt x="39" y="59"/>
                  </a:cubicBezTo>
                  <a:cubicBezTo>
                    <a:pt x="37" y="64"/>
                    <a:pt x="40" y="76"/>
                    <a:pt x="43" y="83"/>
                  </a:cubicBezTo>
                  <a:cubicBezTo>
                    <a:pt x="44" y="85"/>
                    <a:pt x="46" y="86"/>
                    <a:pt x="48" y="87"/>
                  </a:cubicBezTo>
                  <a:cubicBezTo>
                    <a:pt x="50" y="92"/>
                    <a:pt x="52" y="95"/>
                    <a:pt x="54" y="98"/>
                  </a:cubicBezTo>
                  <a:cubicBezTo>
                    <a:pt x="55" y="99"/>
                    <a:pt x="55" y="100"/>
                    <a:pt x="56" y="101"/>
                  </a:cubicBezTo>
                  <a:cubicBezTo>
                    <a:pt x="58" y="105"/>
                    <a:pt x="60" y="107"/>
                    <a:pt x="63" y="109"/>
                  </a:cubicBezTo>
                  <a:cubicBezTo>
                    <a:pt x="63" y="112"/>
                    <a:pt x="62" y="116"/>
                    <a:pt x="62" y="118"/>
                  </a:cubicBezTo>
                  <a:cubicBezTo>
                    <a:pt x="61" y="119"/>
                    <a:pt x="59" y="121"/>
                    <a:pt x="56" y="122"/>
                  </a:cubicBezTo>
                  <a:cubicBezTo>
                    <a:pt x="42" y="127"/>
                    <a:pt x="7" y="145"/>
                    <a:pt x="4" y="159"/>
                  </a:cubicBezTo>
                  <a:cubicBezTo>
                    <a:pt x="1" y="168"/>
                    <a:pt x="0" y="172"/>
                    <a:pt x="0" y="173"/>
                  </a:cubicBezTo>
                  <a:cubicBezTo>
                    <a:pt x="0" y="173"/>
                    <a:pt x="0" y="173"/>
                    <a:pt x="0" y="173"/>
                  </a:cubicBezTo>
                  <a:cubicBezTo>
                    <a:pt x="0" y="183"/>
                    <a:pt x="9" y="183"/>
                    <a:pt x="13" y="183"/>
                  </a:cubicBezTo>
                  <a:lnTo>
                    <a:pt x="156" y="183"/>
                  </a:lnTo>
                  <a:close/>
                  <a:moveTo>
                    <a:pt x="159" y="175"/>
                  </a:moveTo>
                  <a:cubicBezTo>
                    <a:pt x="159" y="175"/>
                    <a:pt x="158" y="175"/>
                    <a:pt x="156" y="175"/>
                  </a:cubicBezTo>
                  <a:cubicBezTo>
                    <a:pt x="156" y="175"/>
                    <a:pt x="155" y="175"/>
                    <a:pt x="154" y="175"/>
                  </a:cubicBezTo>
                  <a:cubicBezTo>
                    <a:pt x="153" y="175"/>
                    <a:pt x="152" y="175"/>
                    <a:pt x="151" y="175"/>
                  </a:cubicBezTo>
                  <a:cubicBezTo>
                    <a:pt x="17" y="175"/>
                    <a:pt x="17" y="175"/>
                    <a:pt x="17" y="175"/>
                  </a:cubicBezTo>
                  <a:cubicBezTo>
                    <a:pt x="16" y="175"/>
                    <a:pt x="15" y="175"/>
                    <a:pt x="15" y="175"/>
                  </a:cubicBezTo>
                  <a:cubicBezTo>
                    <a:pt x="13" y="175"/>
                    <a:pt x="13" y="175"/>
                    <a:pt x="13" y="175"/>
                  </a:cubicBezTo>
                  <a:cubicBezTo>
                    <a:pt x="9" y="175"/>
                    <a:pt x="9" y="175"/>
                    <a:pt x="8" y="175"/>
                  </a:cubicBezTo>
                  <a:cubicBezTo>
                    <a:pt x="8" y="175"/>
                    <a:pt x="8" y="174"/>
                    <a:pt x="8" y="174"/>
                  </a:cubicBezTo>
                  <a:cubicBezTo>
                    <a:pt x="9" y="172"/>
                    <a:pt x="10" y="168"/>
                    <a:pt x="12" y="161"/>
                  </a:cubicBezTo>
                  <a:cubicBezTo>
                    <a:pt x="13" y="153"/>
                    <a:pt x="40" y="136"/>
                    <a:pt x="59" y="129"/>
                  </a:cubicBezTo>
                  <a:cubicBezTo>
                    <a:pt x="65" y="127"/>
                    <a:pt x="68" y="123"/>
                    <a:pt x="69" y="122"/>
                  </a:cubicBezTo>
                  <a:cubicBezTo>
                    <a:pt x="69" y="122"/>
                    <a:pt x="69" y="122"/>
                    <a:pt x="69" y="121"/>
                  </a:cubicBezTo>
                  <a:cubicBezTo>
                    <a:pt x="71" y="116"/>
                    <a:pt x="71" y="109"/>
                    <a:pt x="71" y="107"/>
                  </a:cubicBezTo>
                  <a:cubicBezTo>
                    <a:pt x="71" y="106"/>
                    <a:pt x="70" y="105"/>
                    <a:pt x="69" y="104"/>
                  </a:cubicBezTo>
                  <a:cubicBezTo>
                    <a:pt x="67" y="103"/>
                    <a:pt x="65" y="100"/>
                    <a:pt x="63" y="97"/>
                  </a:cubicBezTo>
                  <a:cubicBezTo>
                    <a:pt x="62" y="96"/>
                    <a:pt x="62" y="95"/>
                    <a:pt x="61" y="94"/>
                  </a:cubicBezTo>
                  <a:cubicBezTo>
                    <a:pt x="59" y="90"/>
                    <a:pt x="57" y="87"/>
                    <a:pt x="55" y="82"/>
                  </a:cubicBezTo>
                  <a:cubicBezTo>
                    <a:pt x="54" y="81"/>
                    <a:pt x="53" y="80"/>
                    <a:pt x="51" y="80"/>
                  </a:cubicBezTo>
                  <a:cubicBezTo>
                    <a:pt x="51" y="80"/>
                    <a:pt x="51" y="79"/>
                    <a:pt x="50" y="79"/>
                  </a:cubicBezTo>
                  <a:cubicBezTo>
                    <a:pt x="47" y="73"/>
                    <a:pt x="46" y="65"/>
                    <a:pt x="46" y="62"/>
                  </a:cubicBezTo>
                  <a:cubicBezTo>
                    <a:pt x="46" y="62"/>
                    <a:pt x="47" y="62"/>
                    <a:pt x="47" y="62"/>
                  </a:cubicBezTo>
                  <a:cubicBezTo>
                    <a:pt x="48" y="62"/>
                    <a:pt x="49" y="62"/>
                    <a:pt x="50" y="61"/>
                  </a:cubicBezTo>
                  <a:cubicBezTo>
                    <a:pt x="51" y="60"/>
                    <a:pt x="51" y="59"/>
                    <a:pt x="51" y="58"/>
                  </a:cubicBezTo>
                  <a:cubicBezTo>
                    <a:pt x="50" y="39"/>
                    <a:pt x="57" y="29"/>
                    <a:pt x="63" y="24"/>
                  </a:cubicBezTo>
                  <a:cubicBezTo>
                    <a:pt x="64" y="23"/>
                    <a:pt x="65" y="21"/>
                    <a:pt x="64" y="19"/>
                  </a:cubicBezTo>
                  <a:cubicBezTo>
                    <a:pt x="67" y="18"/>
                    <a:pt x="70" y="18"/>
                    <a:pt x="71" y="18"/>
                  </a:cubicBezTo>
                  <a:cubicBezTo>
                    <a:pt x="71" y="18"/>
                    <a:pt x="71" y="18"/>
                    <a:pt x="71" y="18"/>
                  </a:cubicBezTo>
                  <a:cubicBezTo>
                    <a:pt x="72" y="18"/>
                    <a:pt x="74" y="17"/>
                    <a:pt x="75" y="16"/>
                  </a:cubicBezTo>
                  <a:cubicBezTo>
                    <a:pt x="75" y="15"/>
                    <a:pt x="75" y="13"/>
                    <a:pt x="75" y="12"/>
                  </a:cubicBezTo>
                  <a:cubicBezTo>
                    <a:pt x="75" y="12"/>
                    <a:pt x="75" y="11"/>
                    <a:pt x="75" y="10"/>
                  </a:cubicBezTo>
                  <a:cubicBezTo>
                    <a:pt x="77" y="12"/>
                    <a:pt x="79" y="13"/>
                    <a:pt x="81" y="13"/>
                  </a:cubicBezTo>
                  <a:cubicBezTo>
                    <a:pt x="88" y="15"/>
                    <a:pt x="93" y="17"/>
                    <a:pt x="96" y="18"/>
                  </a:cubicBezTo>
                  <a:cubicBezTo>
                    <a:pt x="110" y="24"/>
                    <a:pt x="118" y="38"/>
                    <a:pt x="117" y="58"/>
                  </a:cubicBezTo>
                  <a:cubicBezTo>
                    <a:pt x="117" y="59"/>
                    <a:pt x="117" y="60"/>
                    <a:pt x="118" y="61"/>
                  </a:cubicBezTo>
                  <a:cubicBezTo>
                    <a:pt x="119" y="62"/>
                    <a:pt x="120" y="62"/>
                    <a:pt x="121" y="62"/>
                  </a:cubicBezTo>
                  <a:cubicBezTo>
                    <a:pt x="121" y="62"/>
                    <a:pt x="121" y="62"/>
                    <a:pt x="121" y="62"/>
                  </a:cubicBezTo>
                  <a:cubicBezTo>
                    <a:pt x="122" y="65"/>
                    <a:pt x="120" y="73"/>
                    <a:pt x="117" y="79"/>
                  </a:cubicBezTo>
                  <a:cubicBezTo>
                    <a:pt x="117" y="79"/>
                    <a:pt x="116" y="80"/>
                    <a:pt x="116" y="80"/>
                  </a:cubicBezTo>
                  <a:cubicBezTo>
                    <a:pt x="115" y="80"/>
                    <a:pt x="113" y="81"/>
                    <a:pt x="113" y="82"/>
                  </a:cubicBezTo>
                  <a:cubicBezTo>
                    <a:pt x="111" y="87"/>
                    <a:pt x="109" y="90"/>
                    <a:pt x="107" y="94"/>
                  </a:cubicBezTo>
                  <a:cubicBezTo>
                    <a:pt x="106" y="95"/>
                    <a:pt x="106" y="96"/>
                    <a:pt x="105" y="97"/>
                  </a:cubicBezTo>
                  <a:cubicBezTo>
                    <a:pt x="103" y="100"/>
                    <a:pt x="101" y="103"/>
                    <a:pt x="99" y="104"/>
                  </a:cubicBezTo>
                  <a:cubicBezTo>
                    <a:pt x="98" y="105"/>
                    <a:pt x="98" y="106"/>
                    <a:pt x="98" y="107"/>
                  </a:cubicBezTo>
                  <a:cubicBezTo>
                    <a:pt x="98" y="110"/>
                    <a:pt x="98" y="116"/>
                    <a:pt x="99" y="121"/>
                  </a:cubicBezTo>
                  <a:cubicBezTo>
                    <a:pt x="100" y="123"/>
                    <a:pt x="100" y="123"/>
                    <a:pt x="101" y="124"/>
                  </a:cubicBezTo>
                  <a:cubicBezTo>
                    <a:pt x="112" y="129"/>
                    <a:pt x="112" y="129"/>
                    <a:pt x="112" y="129"/>
                  </a:cubicBezTo>
                  <a:cubicBezTo>
                    <a:pt x="130" y="137"/>
                    <a:pt x="154" y="154"/>
                    <a:pt x="156" y="161"/>
                  </a:cubicBezTo>
                  <a:cubicBezTo>
                    <a:pt x="159" y="170"/>
                    <a:pt x="159" y="171"/>
                    <a:pt x="159" y="174"/>
                  </a:cubicBezTo>
                  <a:cubicBezTo>
                    <a:pt x="159" y="174"/>
                    <a:pt x="159" y="175"/>
                    <a:pt x="159" y="175"/>
                  </a:cubicBezTo>
                  <a:close/>
                </a:path>
              </a:pathLst>
            </a:custGeom>
            <a:grpFill/>
            <a:ln w="3175">
              <a:solidFill>
                <a:srgbClr val="15596B"/>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3"/>
                </a:solidFill>
                <a:latin typeface="+mj-lt"/>
              </a:endParaRPr>
            </a:p>
          </p:txBody>
        </p:sp>
      </p:grpSp>
      <p:cxnSp>
        <p:nvCxnSpPr>
          <p:cNvPr id="7" name="Gerade Verbindung 69">
            <a:extLst>
              <a:ext uri="{FF2B5EF4-FFF2-40B4-BE49-F238E27FC236}">
                <a16:creationId xmlns:a16="http://schemas.microsoft.com/office/drawing/2014/main" id="{B8B0338F-2469-449F-8CF1-33575D1E808E}"/>
              </a:ext>
              <a:ext uri="{C183D7F6-B498-43B3-948B-1728B52AA6E4}">
                <adec:decorative xmlns:adec="http://schemas.microsoft.com/office/drawing/2017/decorative" val="1"/>
              </a:ext>
            </a:extLst>
          </p:cNvPr>
          <p:cNvCxnSpPr>
            <a:cxnSpLocks/>
          </p:cNvCxnSpPr>
          <p:nvPr/>
        </p:nvCxnSpPr>
        <p:spPr bwMode="gray">
          <a:xfrm>
            <a:off x="3179734" y="2438618"/>
            <a:ext cx="0" cy="2052000"/>
          </a:xfrm>
          <a:prstGeom prst="line">
            <a:avLst/>
          </a:prstGeom>
          <a:solidFill>
            <a:schemeClr val="accent5"/>
          </a:solidFill>
          <a:ln w="571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Gleichschenkliges Dreieck 1">
            <a:extLst>
              <a:ext uri="{FF2B5EF4-FFF2-40B4-BE49-F238E27FC236}">
                <a16:creationId xmlns:a16="http://schemas.microsoft.com/office/drawing/2014/main" id="{994892CC-C8ED-4197-9514-3E1A1E5344FC}"/>
              </a:ext>
              <a:ext uri="{C183D7F6-B498-43B3-948B-1728B52AA6E4}">
                <adec:decorative xmlns:adec="http://schemas.microsoft.com/office/drawing/2017/decorative" val="1"/>
              </a:ext>
            </a:extLst>
          </p:cNvPr>
          <p:cNvSpPr/>
          <p:nvPr/>
        </p:nvSpPr>
        <p:spPr bwMode="gray">
          <a:xfrm rot="16200000">
            <a:off x="2984099" y="3421800"/>
            <a:ext cx="271525" cy="85636"/>
          </a:xfrm>
          <a:prstGeom prst="triangl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4" name="Rechteck 89">
            <a:extLst>
              <a:ext uri="{FF2B5EF4-FFF2-40B4-BE49-F238E27FC236}">
                <a16:creationId xmlns:a16="http://schemas.microsoft.com/office/drawing/2014/main" id="{8FD289F0-F9FA-46BB-8E69-7AE7C5E03C96}"/>
              </a:ext>
            </a:extLst>
          </p:cNvPr>
          <p:cNvSpPr/>
          <p:nvPr/>
        </p:nvSpPr>
        <p:spPr bwMode="gray">
          <a:xfrm>
            <a:off x="3332139" y="2696359"/>
            <a:ext cx="3029646" cy="657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0"/>
          <a:lstStyle/>
          <a:p>
            <a:r>
              <a:rPr lang="en-GB" sz="4800">
                <a:solidFill>
                  <a:srgbClr val="007D74"/>
                </a:solidFill>
                <a:latin typeface="+mj-lt"/>
              </a:rPr>
              <a:t>83</a:t>
            </a:r>
            <a:r>
              <a:rPr lang="en-GB" sz="4000">
                <a:solidFill>
                  <a:srgbClr val="007D74"/>
                </a:solidFill>
                <a:latin typeface="+mj-lt"/>
              </a:rPr>
              <a:t>%</a:t>
            </a:r>
          </a:p>
        </p:txBody>
      </p:sp>
      <p:sp>
        <p:nvSpPr>
          <p:cNvPr id="6" name="Rechteck 91">
            <a:extLst>
              <a:ext uri="{FF2B5EF4-FFF2-40B4-BE49-F238E27FC236}">
                <a16:creationId xmlns:a16="http://schemas.microsoft.com/office/drawing/2014/main" id="{C7935496-FCAB-45F4-B542-7096B10D55D8}"/>
              </a:ext>
            </a:extLst>
          </p:cNvPr>
          <p:cNvSpPr/>
          <p:nvPr/>
        </p:nvSpPr>
        <p:spPr bwMode="gray">
          <a:xfrm>
            <a:off x="3332139" y="3228648"/>
            <a:ext cx="2642583" cy="461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nSpc>
                <a:spcPts val="4300"/>
              </a:lnSpc>
            </a:pPr>
            <a:r>
              <a:rPr lang="en-GB" sz="1600">
                <a:solidFill>
                  <a:schemeClr val="tx1"/>
                </a:solidFill>
                <a:latin typeface="+mj-lt"/>
              </a:rPr>
              <a:t>Placeholder</a:t>
            </a:r>
          </a:p>
        </p:txBody>
      </p:sp>
      <p:sp>
        <p:nvSpPr>
          <p:cNvPr id="5" name="Rechteck 90">
            <a:extLst>
              <a:ext uri="{FF2B5EF4-FFF2-40B4-BE49-F238E27FC236}">
                <a16:creationId xmlns:a16="http://schemas.microsoft.com/office/drawing/2014/main" id="{C2844195-FE37-4977-8E04-B360F54EB899}"/>
              </a:ext>
            </a:extLst>
          </p:cNvPr>
          <p:cNvSpPr/>
          <p:nvPr/>
        </p:nvSpPr>
        <p:spPr bwMode="gray">
          <a:xfrm>
            <a:off x="3332139" y="3671041"/>
            <a:ext cx="2148488" cy="629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r>
              <a:rPr lang="en-GB" sz="1200" dirty="0">
                <a:solidFill>
                  <a:schemeClr val="tx1"/>
                </a:solidFill>
              </a:rPr>
              <a:t>This text can be replaced with your own text.</a:t>
            </a:r>
          </a:p>
        </p:txBody>
      </p:sp>
      <p:graphicFrame>
        <p:nvGraphicFramePr>
          <p:cNvPr id="13" name="Inhaltsplatzhalter 45">
            <a:extLst>
              <a:ext uri="{FF2B5EF4-FFF2-40B4-BE49-F238E27FC236}">
                <a16:creationId xmlns:a16="http://schemas.microsoft.com/office/drawing/2014/main" id="{1CA02475-E87A-4F7D-84F9-D7AEC418661D}"/>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007268012"/>
              </p:ext>
            </p:extLst>
          </p:nvPr>
        </p:nvGraphicFramePr>
        <p:xfrm>
          <a:off x="6352779" y="1916832"/>
          <a:ext cx="2508783" cy="3106737"/>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hteck 99">
            <a:extLst>
              <a:ext uri="{FF2B5EF4-FFF2-40B4-BE49-F238E27FC236}">
                <a16:creationId xmlns:a16="http://schemas.microsoft.com/office/drawing/2014/main" id="{4AFE5828-2592-4C76-9A37-F9D696A94FC6}"/>
              </a:ext>
            </a:extLst>
          </p:cNvPr>
          <p:cNvSpPr/>
          <p:nvPr/>
        </p:nvSpPr>
        <p:spPr bwMode="gray">
          <a:xfrm>
            <a:off x="9229127" y="2696359"/>
            <a:ext cx="2713048" cy="6578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0"/>
          <a:lstStyle/>
          <a:p>
            <a:r>
              <a:rPr lang="en-GB" sz="4800">
                <a:solidFill>
                  <a:srgbClr val="9E4780"/>
                </a:solidFill>
                <a:latin typeface="+mj-lt"/>
              </a:rPr>
              <a:t>56</a:t>
            </a:r>
            <a:r>
              <a:rPr lang="en-GB" sz="4000">
                <a:solidFill>
                  <a:srgbClr val="9E4780"/>
                </a:solidFill>
                <a:latin typeface="+mj-lt"/>
              </a:rPr>
              <a:t>%</a:t>
            </a:r>
          </a:p>
        </p:txBody>
      </p:sp>
      <p:sp>
        <p:nvSpPr>
          <p:cNvPr id="15" name="Rechteck 67">
            <a:extLst>
              <a:ext uri="{FF2B5EF4-FFF2-40B4-BE49-F238E27FC236}">
                <a16:creationId xmlns:a16="http://schemas.microsoft.com/office/drawing/2014/main" id="{B81B3DE9-41DB-4731-AE14-AF31F806F04C}"/>
              </a:ext>
            </a:extLst>
          </p:cNvPr>
          <p:cNvSpPr/>
          <p:nvPr/>
        </p:nvSpPr>
        <p:spPr bwMode="gray">
          <a:xfrm>
            <a:off x="9229127" y="3228648"/>
            <a:ext cx="2410544" cy="461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nSpc>
                <a:spcPts val="4300"/>
              </a:lnSpc>
            </a:pPr>
            <a:r>
              <a:rPr lang="en-GB" sz="1600" dirty="0">
                <a:solidFill>
                  <a:schemeClr val="tx1"/>
                </a:solidFill>
                <a:latin typeface="+mj-lt"/>
              </a:rPr>
              <a:t>Placeholder</a:t>
            </a:r>
            <a:endParaRPr lang="en-GB" sz="1600" spc="300" dirty="0">
              <a:solidFill>
                <a:schemeClr val="tx1"/>
              </a:solidFill>
              <a:latin typeface="+mj-lt"/>
            </a:endParaRPr>
          </a:p>
        </p:txBody>
      </p:sp>
      <p:sp>
        <p:nvSpPr>
          <p:cNvPr id="14" name="Rechteck 66">
            <a:extLst>
              <a:ext uri="{FF2B5EF4-FFF2-40B4-BE49-F238E27FC236}">
                <a16:creationId xmlns:a16="http://schemas.microsoft.com/office/drawing/2014/main" id="{62A64D62-76F8-4490-B716-550B3339E9DD}"/>
              </a:ext>
            </a:extLst>
          </p:cNvPr>
          <p:cNvSpPr/>
          <p:nvPr/>
        </p:nvSpPr>
        <p:spPr bwMode="gray">
          <a:xfrm>
            <a:off x="9229127" y="3671041"/>
            <a:ext cx="2245098" cy="629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r>
              <a:rPr lang="en-GB" sz="1200">
                <a:solidFill>
                  <a:schemeClr val="tx1"/>
                </a:solidFill>
              </a:rPr>
              <a:t>This text can be replaced with your own text.</a:t>
            </a:r>
          </a:p>
        </p:txBody>
      </p:sp>
      <p:cxnSp>
        <p:nvCxnSpPr>
          <p:cNvPr id="17" name="Gerade Verbindung 69">
            <a:extLst>
              <a:ext uri="{FF2B5EF4-FFF2-40B4-BE49-F238E27FC236}">
                <a16:creationId xmlns:a16="http://schemas.microsoft.com/office/drawing/2014/main" id="{C56C37FD-C152-42E7-B649-F3E60E672A36}"/>
              </a:ext>
              <a:ext uri="{C183D7F6-B498-43B3-948B-1728B52AA6E4}">
                <adec:decorative xmlns:adec="http://schemas.microsoft.com/office/drawing/2017/decorative" val="1"/>
              </a:ext>
            </a:extLst>
          </p:cNvPr>
          <p:cNvCxnSpPr>
            <a:cxnSpLocks/>
          </p:cNvCxnSpPr>
          <p:nvPr/>
        </p:nvCxnSpPr>
        <p:spPr bwMode="gray">
          <a:xfrm>
            <a:off x="9076722" y="2438618"/>
            <a:ext cx="0" cy="2052000"/>
          </a:xfrm>
          <a:prstGeom prst="line">
            <a:avLst/>
          </a:prstGeom>
          <a:solidFill>
            <a:schemeClr val="accent5"/>
          </a:solidFill>
          <a:ln w="571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8" name="Gleichschenkliges Dreieck 42">
            <a:extLst>
              <a:ext uri="{FF2B5EF4-FFF2-40B4-BE49-F238E27FC236}">
                <a16:creationId xmlns:a16="http://schemas.microsoft.com/office/drawing/2014/main" id="{FBF99D24-6897-491C-A75C-F6A2B218FB60}"/>
              </a:ext>
              <a:ext uri="{C183D7F6-B498-43B3-948B-1728B52AA6E4}">
                <adec:decorative xmlns:adec="http://schemas.microsoft.com/office/drawing/2017/decorative" val="1"/>
              </a:ext>
            </a:extLst>
          </p:cNvPr>
          <p:cNvSpPr/>
          <p:nvPr/>
        </p:nvSpPr>
        <p:spPr bwMode="gray">
          <a:xfrm rot="16200000">
            <a:off x="8881087" y="3421800"/>
            <a:ext cx="271525" cy="85636"/>
          </a:xfrm>
          <a:prstGeom prst="triangl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grpSp>
        <p:nvGrpSpPr>
          <p:cNvPr id="19" name="Group 18">
            <a:extLst>
              <a:ext uri="{FF2B5EF4-FFF2-40B4-BE49-F238E27FC236}">
                <a16:creationId xmlns:a16="http://schemas.microsoft.com/office/drawing/2014/main" id="{AB4F24D9-4536-4E38-8B33-3F8829E39E52}"/>
              </a:ext>
              <a:ext uri="{C183D7F6-B498-43B3-948B-1728B52AA6E4}">
                <adec:decorative xmlns:adec="http://schemas.microsoft.com/office/drawing/2017/decorative" val="1"/>
              </a:ext>
            </a:extLst>
          </p:cNvPr>
          <p:cNvGrpSpPr/>
          <p:nvPr/>
        </p:nvGrpSpPr>
        <p:grpSpPr>
          <a:xfrm>
            <a:off x="7147518" y="3140968"/>
            <a:ext cx="775864" cy="694087"/>
            <a:chOff x="5884029" y="3291613"/>
            <a:chExt cx="792350" cy="708835"/>
          </a:xfrm>
          <a:solidFill>
            <a:schemeClr val="accent4"/>
          </a:solidFill>
        </p:grpSpPr>
        <p:sp>
          <p:nvSpPr>
            <p:cNvPr id="20" name="Freeform 6">
              <a:extLst>
                <a:ext uri="{FF2B5EF4-FFF2-40B4-BE49-F238E27FC236}">
                  <a16:creationId xmlns:a16="http://schemas.microsoft.com/office/drawing/2014/main" id="{851E739C-4867-44A2-9D55-4E56F0F3B34F}"/>
                </a:ext>
              </a:extLst>
            </p:cNvPr>
            <p:cNvSpPr>
              <a:spLocks/>
            </p:cNvSpPr>
            <p:nvPr/>
          </p:nvSpPr>
          <p:spPr bwMode="gray">
            <a:xfrm>
              <a:off x="5884029" y="3291613"/>
              <a:ext cx="792350" cy="562671"/>
            </a:xfrm>
            <a:custGeom>
              <a:avLst/>
              <a:gdLst>
                <a:gd name="T0" fmla="*/ 237 w 241"/>
                <a:gd name="T1" fmla="*/ 60 h 184"/>
                <a:gd name="T2" fmla="*/ 232 w 241"/>
                <a:gd name="T3" fmla="*/ 63 h 184"/>
                <a:gd name="T4" fmla="*/ 201 w 241"/>
                <a:gd name="T5" fmla="*/ 140 h 184"/>
                <a:gd name="T6" fmla="*/ 88 w 241"/>
                <a:gd name="T7" fmla="*/ 140 h 184"/>
                <a:gd name="T8" fmla="*/ 87 w 241"/>
                <a:gd name="T9" fmla="*/ 140 h 184"/>
                <a:gd name="T10" fmla="*/ 57 w 241"/>
                <a:gd name="T11" fmla="*/ 18 h 184"/>
                <a:gd name="T12" fmla="*/ 37 w 241"/>
                <a:gd name="T13" fmla="*/ 0 h 184"/>
                <a:gd name="T14" fmla="*/ 4 w 241"/>
                <a:gd name="T15" fmla="*/ 0 h 184"/>
                <a:gd name="T16" fmla="*/ 0 w 241"/>
                <a:gd name="T17" fmla="*/ 4 h 184"/>
                <a:gd name="T18" fmla="*/ 4 w 241"/>
                <a:gd name="T19" fmla="*/ 8 h 184"/>
                <a:gd name="T20" fmla="*/ 37 w 241"/>
                <a:gd name="T21" fmla="*/ 8 h 184"/>
                <a:gd name="T22" fmla="*/ 49 w 241"/>
                <a:gd name="T23" fmla="*/ 20 h 184"/>
                <a:gd name="T24" fmla="*/ 85 w 241"/>
                <a:gd name="T25" fmla="*/ 164 h 184"/>
                <a:gd name="T26" fmla="*/ 105 w 241"/>
                <a:gd name="T27" fmla="*/ 184 h 184"/>
                <a:gd name="T28" fmla="*/ 200 w 241"/>
                <a:gd name="T29" fmla="*/ 184 h 184"/>
                <a:gd name="T30" fmla="*/ 204 w 241"/>
                <a:gd name="T31" fmla="*/ 180 h 184"/>
                <a:gd name="T32" fmla="*/ 200 w 241"/>
                <a:gd name="T33" fmla="*/ 176 h 184"/>
                <a:gd name="T34" fmla="*/ 105 w 241"/>
                <a:gd name="T35" fmla="*/ 176 h 184"/>
                <a:gd name="T36" fmla="*/ 93 w 241"/>
                <a:gd name="T37" fmla="*/ 163 h 184"/>
                <a:gd name="T38" fmla="*/ 89 w 241"/>
                <a:gd name="T39" fmla="*/ 148 h 184"/>
                <a:gd name="T40" fmla="*/ 204 w 241"/>
                <a:gd name="T41" fmla="*/ 148 h 184"/>
                <a:gd name="T42" fmla="*/ 208 w 241"/>
                <a:gd name="T43" fmla="*/ 145 h 184"/>
                <a:gd name="T44" fmla="*/ 240 w 241"/>
                <a:gd name="T45" fmla="*/ 65 h 184"/>
                <a:gd name="T46" fmla="*/ 237 w 241"/>
                <a:gd name="T47" fmla="*/ 6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1" h="184">
                  <a:moveTo>
                    <a:pt x="237" y="60"/>
                  </a:moveTo>
                  <a:cubicBezTo>
                    <a:pt x="235" y="59"/>
                    <a:pt x="233" y="60"/>
                    <a:pt x="232" y="63"/>
                  </a:cubicBezTo>
                  <a:cubicBezTo>
                    <a:pt x="201" y="140"/>
                    <a:pt x="201" y="140"/>
                    <a:pt x="201" y="140"/>
                  </a:cubicBezTo>
                  <a:cubicBezTo>
                    <a:pt x="88" y="140"/>
                    <a:pt x="88" y="140"/>
                    <a:pt x="88" y="140"/>
                  </a:cubicBezTo>
                  <a:cubicBezTo>
                    <a:pt x="88" y="140"/>
                    <a:pt x="88" y="140"/>
                    <a:pt x="87" y="140"/>
                  </a:cubicBezTo>
                  <a:cubicBezTo>
                    <a:pt x="57" y="18"/>
                    <a:pt x="57" y="18"/>
                    <a:pt x="57" y="18"/>
                  </a:cubicBezTo>
                  <a:cubicBezTo>
                    <a:pt x="53" y="3"/>
                    <a:pt x="42" y="0"/>
                    <a:pt x="37" y="0"/>
                  </a:cubicBezTo>
                  <a:cubicBezTo>
                    <a:pt x="4" y="0"/>
                    <a:pt x="4" y="0"/>
                    <a:pt x="4" y="0"/>
                  </a:cubicBezTo>
                  <a:cubicBezTo>
                    <a:pt x="2" y="0"/>
                    <a:pt x="0" y="2"/>
                    <a:pt x="0" y="4"/>
                  </a:cubicBezTo>
                  <a:cubicBezTo>
                    <a:pt x="0" y="6"/>
                    <a:pt x="2" y="8"/>
                    <a:pt x="4" y="8"/>
                  </a:cubicBezTo>
                  <a:cubicBezTo>
                    <a:pt x="37" y="8"/>
                    <a:pt x="37" y="8"/>
                    <a:pt x="37" y="8"/>
                  </a:cubicBezTo>
                  <a:cubicBezTo>
                    <a:pt x="38" y="8"/>
                    <a:pt x="46" y="8"/>
                    <a:pt x="49" y="20"/>
                  </a:cubicBezTo>
                  <a:cubicBezTo>
                    <a:pt x="85" y="164"/>
                    <a:pt x="85" y="164"/>
                    <a:pt x="85" y="164"/>
                  </a:cubicBezTo>
                  <a:cubicBezTo>
                    <a:pt x="85" y="165"/>
                    <a:pt x="89" y="184"/>
                    <a:pt x="105" y="184"/>
                  </a:cubicBezTo>
                  <a:cubicBezTo>
                    <a:pt x="200" y="184"/>
                    <a:pt x="200" y="184"/>
                    <a:pt x="200" y="184"/>
                  </a:cubicBezTo>
                  <a:cubicBezTo>
                    <a:pt x="202" y="184"/>
                    <a:pt x="204" y="182"/>
                    <a:pt x="204" y="180"/>
                  </a:cubicBezTo>
                  <a:cubicBezTo>
                    <a:pt x="204" y="178"/>
                    <a:pt x="202" y="176"/>
                    <a:pt x="200" y="176"/>
                  </a:cubicBezTo>
                  <a:cubicBezTo>
                    <a:pt x="105" y="176"/>
                    <a:pt x="105" y="176"/>
                    <a:pt x="105" y="176"/>
                  </a:cubicBezTo>
                  <a:cubicBezTo>
                    <a:pt x="96" y="176"/>
                    <a:pt x="93" y="163"/>
                    <a:pt x="93" y="163"/>
                  </a:cubicBezTo>
                  <a:cubicBezTo>
                    <a:pt x="89" y="148"/>
                    <a:pt x="89" y="148"/>
                    <a:pt x="89" y="148"/>
                  </a:cubicBezTo>
                  <a:cubicBezTo>
                    <a:pt x="204" y="148"/>
                    <a:pt x="204" y="148"/>
                    <a:pt x="204" y="148"/>
                  </a:cubicBezTo>
                  <a:cubicBezTo>
                    <a:pt x="206" y="148"/>
                    <a:pt x="207" y="147"/>
                    <a:pt x="208" y="145"/>
                  </a:cubicBezTo>
                  <a:cubicBezTo>
                    <a:pt x="240" y="65"/>
                    <a:pt x="240" y="65"/>
                    <a:pt x="240" y="65"/>
                  </a:cubicBezTo>
                  <a:cubicBezTo>
                    <a:pt x="241" y="63"/>
                    <a:pt x="240" y="61"/>
                    <a:pt x="237" y="60"/>
                  </a:cubicBezTo>
                  <a:close/>
                </a:path>
              </a:pathLst>
            </a:custGeom>
            <a:grpFill/>
            <a:ln w="3175">
              <a:solidFill>
                <a:srgbClr val="9E4780"/>
              </a:solidFill>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1" name="Freeform 7">
              <a:extLst>
                <a:ext uri="{FF2B5EF4-FFF2-40B4-BE49-F238E27FC236}">
                  <a16:creationId xmlns:a16="http://schemas.microsoft.com/office/drawing/2014/main" id="{F9FE95DE-E6B5-4E28-BF3D-5061BDFEFD39}"/>
                </a:ext>
              </a:extLst>
            </p:cNvPr>
            <p:cNvSpPr>
              <a:spLocks noEditPoints="1"/>
            </p:cNvSpPr>
            <p:nvPr/>
          </p:nvSpPr>
          <p:spPr bwMode="gray">
            <a:xfrm>
              <a:off x="6172283" y="3865925"/>
              <a:ext cx="144823" cy="134523"/>
            </a:xfrm>
            <a:custGeom>
              <a:avLst/>
              <a:gdLst>
                <a:gd name="T0" fmla="*/ 22 w 44"/>
                <a:gd name="T1" fmla="*/ 0 h 44"/>
                <a:gd name="T2" fmla="*/ 0 w 44"/>
                <a:gd name="T3" fmla="*/ 22 h 44"/>
                <a:gd name="T4" fmla="*/ 22 w 44"/>
                <a:gd name="T5" fmla="*/ 44 h 44"/>
                <a:gd name="T6" fmla="*/ 44 w 44"/>
                <a:gd name="T7" fmla="*/ 22 h 44"/>
                <a:gd name="T8" fmla="*/ 22 w 44"/>
                <a:gd name="T9" fmla="*/ 0 h 44"/>
                <a:gd name="T10" fmla="*/ 22 w 44"/>
                <a:gd name="T11" fmla="*/ 36 h 44"/>
                <a:gd name="T12" fmla="*/ 8 w 44"/>
                <a:gd name="T13" fmla="*/ 22 h 44"/>
                <a:gd name="T14" fmla="*/ 22 w 44"/>
                <a:gd name="T15" fmla="*/ 8 h 44"/>
                <a:gd name="T16" fmla="*/ 36 w 44"/>
                <a:gd name="T17" fmla="*/ 22 h 44"/>
                <a:gd name="T18" fmla="*/ 22 w 44"/>
                <a:gd name="T19"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0"/>
                  </a:moveTo>
                  <a:cubicBezTo>
                    <a:pt x="10" y="0"/>
                    <a:pt x="0" y="10"/>
                    <a:pt x="0" y="22"/>
                  </a:cubicBezTo>
                  <a:cubicBezTo>
                    <a:pt x="0" y="34"/>
                    <a:pt x="10" y="44"/>
                    <a:pt x="22" y="44"/>
                  </a:cubicBezTo>
                  <a:cubicBezTo>
                    <a:pt x="34" y="44"/>
                    <a:pt x="44" y="34"/>
                    <a:pt x="44" y="22"/>
                  </a:cubicBezTo>
                  <a:cubicBezTo>
                    <a:pt x="44" y="10"/>
                    <a:pt x="34" y="0"/>
                    <a:pt x="22" y="0"/>
                  </a:cubicBezTo>
                  <a:close/>
                  <a:moveTo>
                    <a:pt x="22" y="36"/>
                  </a:moveTo>
                  <a:cubicBezTo>
                    <a:pt x="14" y="36"/>
                    <a:pt x="8" y="30"/>
                    <a:pt x="8" y="22"/>
                  </a:cubicBezTo>
                  <a:cubicBezTo>
                    <a:pt x="8" y="14"/>
                    <a:pt x="14" y="8"/>
                    <a:pt x="22" y="8"/>
                  </a:cubicBezTo>
                  <a:cubicBezTo>
                    <a:pt x="30" y="8"/>
                    <a:pt x="36" y="14"/>
                    <a:pt x="36" y="22"/>
                  </a:cubicBezTo>
                  <a:cubicBezTo>
                    <a:pt x="36" y="30"/>
                    <a:pt x="30" y="36"/>
                    <a:pt x="22" y="36"/>
                  </a:cubicBezTo>
                  <a:close/>
                </a:path>
              </a:pathLst>
            </a:custGeom>
            <a:grpFill/>
            <a:ln w="3175">
              <a:solidFill>
                <a:srgbClr val="9E4780"/>
              </a:solidFill>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2" name="Freeform 8">
              <a:extLst>
                <a:ext uri="{FF2B5EF4-FFF2-40B4-BE49-F238E27FC236}">
                  <a16:creationId xmlns:a16="http://schemas.microsoft.com/office/drawing/2014/main" id="{BEA878A1-95E7-4040-80F5-0C4BE59AB432}"/>
                </a:ext>
              </a:extLst>
            </p:cNvPr>
            <p:cNvSpPr>
              <a:spLocks noEditPoints="1"/>
            </p:cNvSpPr>
            <p:nvPr/>
          </p:nvSpPr>
          <p:spPr bwMode="gray">
            <a:xfrm>
              <a:off x="6422939" y="3865925"/>
              <a:ext cx="144823" cy="134523"/>
            </a:xfrm>
            <a:custGeom>
              <a:avLst/>
              <a:gdLst>
                <a:gd name="T0" fmla="*/ 22 w 44"/>
                <a:gd name="T1" fmla="*/ 0 h 44"/>
                <a:gd name="T2" fmla="*/ 0 w 44"/>
                <a:gd name="T3" fmla="*/ 22 h 44"/>
                <a:gd name="T4" fmla="*/ 22 w 44"/>
                <a:gd name="T5" fmla="*/ 44 h 44"/>
                <a:gd name="T6" fmla="*/ 44 w 44"/>
                <a:gd name="T7" fmla="*/ 22 h 44"/>
                <a:gd name="T8" fmla="*/ 22 w 44"/>
                <a:gd name="T9" fmla="*/ 0 h 44"/>
                <a:gd name="T10" fmla="*/ 22 w 44"/>
                <a:gd name="T11" fmla="*/ 36 h 44"/>
                <a:gd name="T12" fmla="*/ 8 w 44"/>
                <a:gd name="T13" fmla="*/ 22 h 44"/>
                <a:gd name="T14" fmla="*/ 22 w 44"/>
                <a:gd name="T15" fmla="*/ 8 h 44"/>
                <a:gd name="T16" fmla="*/ 36 w 44"/>
                <a:gd name="T17" fmla="*/ 22 h 44"/>
                <a:gd name="T18" fmla="*/ 22 w 44"/>
                <a:gd name="T19"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0"/>
                  </a:moveTo>
                  <a:cubicBezTo>
                    <a:pt x="10" y="0"/>
                    <a:pt x="0" y="10"/>
                    <a:pt x="0" y="22"/>
                  </a:cubicBezTo>
                  <a:cubicBezTo>
                    <a:pt x="0" y="34"/>
                    <a:pt x="10" y="44"/>
                    <a:pt x="22" y="44"/>
                  </a:cubicBezTo>
                  <a:cubicBezTo>
                    <a:pt x="34" y="44"/>
                    <a:pt x="44" y="34"/>
                    <a:pt x="44" y="22"/>
                  </a:cubicBezTo>
                  <a:cubicBezTo>
                    <a:pt x="44" y="10"/>
                    <a:pt x="34" y="0"/>
                    <a:pt x="22" y="0"/>
                  </a:cubicBezTo>
                  <a:close/>
                  <a:moveTo>
                    <a:pt x="22" y="36"/>
                  </a:moveTo>
                  <a:cubicBezTo>
                    <a:pt x="14" y="36"/>
                    <a:pt x="8" y="30"/>
                    <a:pt x="8" y="22"/>
                  </a:cubicBezTo>
                  <a:cubicBezTo>
                    <a:pt x="8" y="14"/>
                    <a:pt x="14" y="8"/>
                    <a:pt x="22" y="8"/>
                  </a:cubicBezTo>
                  <a:cubicBezTo>
                    <a:pt x="30" y="8"/>
                    <a:pt x="36" y="14"/>
                    <a:pt x="36" y="22"/>
                  </a:cubicBezTo>
                  <a:cubicBezTo>
                    <a:pt x="36" y="30"/>
                    <a:pt x="30" y="36"/>
                    <a:pt x="22" y="36"/>
                  </a:cubicBezTo>
                  <a:close/>
                </a:path>
              </a:pathLst>
            </a:custGeom>
            <a:grpFill/>
            <a:ln w="3175">
              <a:solidFill>
                <a:srgbClr val="9E4780"/>
              </a:solidFill>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3" name="Freeform 9">
              <a:extLst>
                <a:ext uri="{FF2B5EF4-FFF2-40B4-BE49-F238E27FC236}">
                  <a16:creationId xmlns:a16="http://schemas.microsoft.com/office/drawing/2014/main" id="{9A3358F4-0E07-4C93-BA74-B6AEED0EC821}"/>
                </a:ext>
              </a:extLst>
            </p:cNvPr>
            <p:cNvSpPr>
              <a:spLocks/>
            </p:cNvSpPr>
            <p:nvPr/>
          </p:nvSpPr>
          <p:spPr bwMode="gray">
            <a:xfrm>
              <a:off x="6234947" y="3327831"/>
              <a:ext cx="253440" cy="293624"/>
            </a:xfrm>
            <a:custGeom>
              <a:avLst/>
              <a:gdLst>
                <a:gd name="T0" fmla="*/ 39 w 77"/>
                <a:gd name="T1" fmla="*/ 95 h 96"/>
                <a:gd name="T2" fmla="*/ 41 w 77"/>
                <a:gd name="T3" fmla="*/ 96 h 96"/>
                <a:gd name="T4" fmla="*/ 44 w 77"/>
                <a:gd name="T5" fmla="*/ 95 h 96"/>
                <a:gd name="T6" fmla="*/ 76 w 77"/>
                <a:gd name="T7" fmla="*/ 67 h 96"/>
                <a:gd name="T8" fmla="*/ 76 w 77"/>
                <a:gd name="T9" fmla="*/ 61 h 96"/>
                <a:gd name="T10" fmla="*/ 70 w 77"/>
                <a:gd name="T11" fmla="*/ 61 h 96"/>
                <a:gd name="T12" fmla="*/ 45 w 77"/>
                <a:gd name="T13" fmla="*/ 83 h 96"/>
                <a:gd name="T14" fmla="*/ 45 w 77"/>
                <a:gd name="T15" fmla="*/ 4 h 96"/>
                <a:gd name="T16" fmla="*/ 41 w 77"/>
                <a:gd name="T17" fmla="*/ 0 h 96"/>
                <a:gd name="T18" fmla="*/ 37 w 77"/>
                <a:gd name="T19" fmla="*/ 4 h 96"/>
                <a:gd name="T20" fmla="*/ 37 w 77"/>
                <a:gd name="T21" fmla="*/ 84 h 96"/>
                <a:gd name="T22" fmla="*/ 7 w 77"/>
                <a:gd name="T23" fmla="*/ 61 h 96"/>
                <a:gd name="T24" fmla="*/ 2 w 77"/>
                <a:gd name="T25" fmla="*/ 62 h 96"/>
                <a:gd name="T26" fmla="*/ 3 w 77"/>
                <a:gd name="T27" fmla="*/ 67 h 96"/>
                <a:gd name="T28" fmla="*/ 39 w 77"/>
                <a:gd name="T29"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96">
                  <a:moveTo>
                    <a:pt x="39" y="95"/>
                  </a:moveTo>
                  <a:cubicBezTo>
                    <a:pt x="39" y="96"/>
                    <a:pt x="40" y="96"/>
                    <a:pt x="41" y="96"/>
                  </a:cubicBezTo>
                  <a:cubicBezTo>
                    <a:pt x="42" y="96"/>
                    <a:pt x="43" y="96"/>
                    <a:pt x="44" y="95"/>
                  </a:cubicBezTo>
                  <a:cubicBezTo>
                    <a:pt x="76" y="67"/>
                    <a:pt x="76" y="67"/>
                    <a:pt x="76" y="67"/>
                  </a:cubicBezTo>
                  <a:cubicBezTo>
                    <a:pt x="77" y="66"/>
                    <a:pt x="77" y="63"/>
                    <a:pt x="76" y="61"/>
                  </a:cubicBezTo>
                  <a:cubicBezTo>
                    <a:pt x="75" y="60"/>
                    <a:pt x="72" y="60"/>
                    <a:pt x="70" y="61"/>
                  </a:cubicBezTo>
                  <a:cubicBezTo>
                    <a:pt x="45" y="83"/>
                    <a:pt x="45" y="83"/>
                    <a:pt x="45" y="83"/>
                  </a:cubicBezTo>
                  <a:cubicBezTo>
                    <a:pt x="45" y="4"/>
                    <a:pt x="45" y="4"/>
                    <a:pt x="45" y="4"/>
                  </a:cubicBezTo>
                  <a:cubicBezTo>
                    <a:pt x="45" y="2"/>
                    <a:pt x="43" y="0"/>
                    <a:pt x="41" y="0"/>
                  </a:cubicBezTo>
                  <a:cubicBezTo>
                    <a:pt x="39" y="0"/>
                    <a:pt x="37" y="2"/>
                    <a:pt x="37" y="4"/>
                  </a:cubicBezTo>
                  <a:cubicBezTo>
                    <a:pt x="37" y="84"/>
                    <a:pt x="37" y="84"/>
                    <a:pt x="37" y="84"/>
                  </a:cubicBezTo>
                  <a:cubicBezTo>
                    <a:pt x="7" y="61"/>
                    <a:pt x="7" y="61"/>
                    <a:pt x="7" y="61"/>
                  </a:cubicBezTo>
                  <a:cubicBezTo>
                    <a:pt x="6" y="59"/>
                    <a:pt x="3" y="60"/>
                    <a:pt x="2" y="62"/>
                  </a:cubicBezTo>
                  <a:cubicBezTo>
                    <a:pt x="0" y="63"/>
                    <a:pt x="1" y="66"/>
                    <a:pt x="3" y="67"/>
                  </a:cubicBezTo>
                  <a:lnTo>
                    <a:pt x="39" y="95"/>
                  </a:lnTo>
                  <a:close/>
                </a:path>
              </a:pathLst>
            </a:custGeom>
            <a:grpFill/>
            <a:ln w="3175">
              <a:solidFill>
                <a:srgbClr val="9E4780"/>
              </a:solidFill>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grpSp>
    </p:spTree>
    <p:extLst>
      <p:ext uri="{BB962C8B-B14F-4D97-AF65-F5344CB8AC3E}">
        <p14:creationId xmlns:p14="http://schemas.microsoft.com/office/powerpoint/2010/main" val="11389270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p:txBody>
          <a:bodyPr/>
          <a:lstStyle/>
          <a:p>
            <a:r>
              <a:rPr lang="en-GB" dirty="0"/>
              <a:t>Cool palette use example</a:t>
            </a:r>
          </a:p>
        </p:txBody>
      </p:sp>
      <p:sp>
        <p:nvSpPr>
          <p:cNvPr id="2" name="Rectangle 1">
            <a:extLst>
              <a:ext uri="{FF2B5EF4-FFF2-40B4-BE49-F238E27FC236}">
                <a16:creationId xmlns:a16="http://schemas.microsoft.com/office/drawing/2014/main" id="{828EDC81-5F1B-0446-92C2-5B95D92C2ECF}"/>
              </a:ext>
            </a:extLst>
          </p:cNvPr>
          <p:cNvSpPr/>
          <p:nvPr/>
        </p:nvSpPr>
        <p:spPr>
          <a:xfrm>
            <a:off x="404813" y="1427843"/>
            <a:ext cx="11379199" cy="766717"/>
          </a:xfrm>
          <a:prstGeom prst="rect">
            <a:avLst/>
          </a:prstGeom>
          <a:solidFill>
            <a:srgbClr val="338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Ubuntu" panose="020B0504030602030204" pitchFamily="34" charset="0"/>
              </a:rPr>
              <a:t>HEADER</a:t>
            </a:r>
            <a:br>
              <a:rPr lang="en-GB" dirty="0">
                <a:latin typeface="Ubuntu" panose="020B0504030602030204" pitchFamily="34" charset="0"/>
              </a:rPr>
            </a:br>
            <a:r>
              <a:rPr lang="en-GB" dirty="0">
                <a:latin typeface="Ubuntu" panose="020B0504030602030204" pitchFamily="34" charset="0"/>
              </a:rPr>
              <a:t>lorem ipsum </a:t>
            </a:r>
            <a:r>
              <a:rPr lang="en-GB" dirty="0" err="1">
                <a:latin typeface="Ubuntu" panose="020B0504030602030204" pitchFamily="34" charset="0"/>
              </a:rPr>
              <a:t>dolor</a:t>
            </a:r>
            <a:r>
              <a:rPr lang="en-GB" dirty="0">
                <a:latin typeface="Ubuntu" panose="020B0504030602030204" pitchFamily="34" charset="0"/>
              </a:rPr>
              <a:t> </a:t>
            </a:r>
            <a:r>
              <a:rPr lang="en-GB" dirty="0" err="1">
                <a:latin typeface="Ubuntu" panose="020B0504030602030204" pitchFamily="34" charset="0"/>
              </a:rPr>
              <a:t>amet</a:t>
            </a:r>
            <a:endParaRPr lang="en-GB" dirty="0">
              <a:latin typeface="Ubuntu" panose="020B0504030602030204" pitchFamily="34" charset="0"/>
            </a:endParaRPr>
          </a:p>
        </p:txBody>
      </p:sp>
      <p:sp>
        <p:nvSpPr>
          <p:cNvPr id="4" name="Rectangle 3">
            <a:extLst>
              <a:ext uri="{FF2B5EF4-FFF2-40B4-BE49-F238E27FC236}">
                <a16:creationId xmlns:a16="http://schemas.microsoft.com/office/drawing/2014/main" id="{8D0443F7-B79B-E642-A35A-8B8C5B788BDC}"/>
              </a:ext>
              <a:ext uri="{C183D7F6-B498-43B3-948B-1728B52AA6E4}">
                <adec:decorative xmlns:adec="http://schemas.microsoft.com/office/drawing/2017/decorative" val="1"/>
              </a:ext>
            </a:extLst>
          </p:cNvPr>
          <p:cNvSpPr/>
          <p:nvPr/>
        </p:nvSpPr>
        <p:spPr>
          <a:xfrm>
            <a:off x="406399" y="2194560"/>
            <a:ext cx="11377613" cy="161135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9" name="Rectangle 8">
            <a:extLst>
              <a:ext uri="{FF2B5EF4-FFF2-40B4-BE49-F238E27FC236}">
                <a16:creationId xmlns:a16="http://schemas.microsoft.com/office/drawing/2014/main" id="{DE529D76-EDD2-4546-A5C0-04A959F1CC6A}"/>
              </a:ext>
            </a:extLst>
          </p:cNvPr>
          <p:cNvSpPr/>
          <p:nvPr/>
        </p:nvSpPr>
        <p:spPr>
          <a:xfrm>
            <a:off x="404014" y="2384685"/>
            <a:ext cx="5691187" cy="1231106"/>
          </a:xfrm>
          <a:prstGeom prst="rect">
            <a:avLst/>
          </a:prstGeom>
        </p:spPr>
        <p:txBody>
          <a:bodyPr wrap="square">
            <a:spAutoFit/>
          </a:bodyPr>
          <a:lstStyle/>
          <a:p>
            <a:pPr lvl="0" algn="ctr">
              <a:spcAft>
                <a:spcPts val="1200"/>
              </a:spcAft>
              <a:defRPr/>
            </a:pPr>
            <a:r>
              <a:rPr lang="en-GB" dirty="0">
                <a:latin typeface="Ubuntu" panose="020B0504030602030204" pitchFamily="34" charset="0"/>
              </a:rPr>
              <a:t>Lorem ipsum</a:t>
            </a:r>
          </a:p>
          <a:p>
            <a:pPr lvl="0" algn="ctr">
              <a:spcAft>
                <a:spcPts val="1200"/>
              </a:spcAft>
              <a:defRPr/>
            </a:pPr>
            <a:r>
              <a:rPr lang="en-GB" dirty="0" err="1">
                <a:latin typeface="Ubuntu" panose="020B0504030602030204" pitchFamily="34" charset="0"/>
              </a:rPr>
              <a:t>dolor</a:t>
            </a:r>
            <a:r>
              <a:rPr lang="en-GB" dirty="0">
                <a:latin typeface="Ubuntu" panose="020B0504030602030204" pitchFamily="34" charset="0"/>
              </a:rPr>
              <a:t> sit </a:t>
            </a:r>
            <a:r>
              <a:rPr lang="en-GB" dirty="0" err="1">
                <a:latin typeface="Ubuntu" panose="020B0504030602030204" pitchFamily="34" charset="0"/>
              </a:rPr>
              <a:t>amet</a:t>
            </a:r>
            <a:r>
              <a:rPr lang="en-GB" dirty="0">
                <a:latin typeface="Ubuntu" panose="020B0504030602030204" pitchFamily="34" charset="0"/>
              </a:rPr>
              <a:t>, </a:t>
            </a:r>
            <a:r>
              <a:rPr lang="en-GB" dirty="0" err="1">
                <a:latin typeface="Ubuntu" panose="020B0504030602030204" pitchFamily="34" charset="0"/>
              </a:rPr>
              <a:t>consetetur</a:t>
            </a:r>
            <a:r>
              <a:rPr lang="en-GB" dirty="0">
                <a:latin typeface="Ubuntu" panose="020B0504030602030204" pitchFamily="34" charset="0"/>
              </a:rPr>
              <a:t> </a:t>
            </a:r>
            <a:r>
              <a:rPr lang="en-GB" dirty="0" err="1">
                <a:latin typeface="Ubuntu" panose="020B0504030602030204" pitchFamily="34" charset="0"/>
              </a:rPr>
              <a:t>sadipscing</a:t>
            </a:r>
            <a:r>
              <a:rPr lang="en-GB" dirty="0">
                <a:latin typeface="Ubuntu" panose="020B0504030602030204" pitchFamily="34" charset="0"/>
              </a:rPr>
              <a:t> </a:t>
            </a:r>
            <a:r>
              <a:rPr lang="en-GB" dirty="0" err="1">
                <a:latin typeface="Ubuntu" panose="020B0504030602030204" pitchFamily="34" charset="0"/>
              </a:rPr>
              <a:t>elitr</a:t>
            </a:r>
            <a:endParaRPr lang="en-GB" dirty="0">
              <a:latin typeface="Ubuntu" panose="020B0504030602030204" pitchFamily="34" charset="0"/>
            </a:endParaRPr>
          </a:p>
          <a:p>
            <a:pPr lvl="0" algn="ctr">
              <a:spcAft>
                <a:spcPts val="1200"/>
              </a:spcAft>
              <a:defRPr/>
            </a:pPr>
            <a:r>
              <a:rPr lang="en-GB" dirty="0">
                <a:latin typeface="Ubuntu" panose="020B0504030602030204" pitchFamily="34" charset="0"/>
              </a:rPr>
              <a:t> </a:t>
            </a:r>
            <a:r>
              <a:rPr lang="en-GB" dirty="0" err="1">
                <a:latin typeface="Ubuntu" panose="020B0504030602030204" pitchFamily="34" charset="0"/>
              </a:rPr>
              <a:t>sed</a:t>
            </a:r>
            <a:r>
              <a:rPr lang="en-GB" dirty="0">
                <a:latin typeface="Ubuntu" panose="020B0504030602030204" pitchFamily="34" charset="0"/>
              </a:rPr>
              <a:t> </a:t>
            </a:r>
            <a:r>
              <a:rPr lang="en-GB" dirty="0" err="1">
                <a:latin typeface="Ubuntu" panose="020B0504030602030204" pitchFamily="34" charset="0"/>
              </a:rPr>
              <a:t>diam</a:t>
            </a:r>
            <a:r>
              <a:rPr lang="en-GB" dirty="0">
                <a:latin typeface="Ubuntu" panose="020B0504030602030204" pitchFamily="34" charset="0"/>
              </a:rPr>
              <a:t> </a:t>
            </a:r>
            <a:r>
              <a:rPr lang="en-GB" dirty="0" err="1">
                <a:latin typeface="Ubuntu" panose="020B0504030602030204" pitchFamily="34" charset="0"/>
              </a:rPr>
              <a:t>nonumy</a:t>
            </a:r>
            <a:r>
              <a:rPr lang="en-GB" dirty="0">
                <a:latin typeface="Ubuntu" panose="020B0504030602030204" pitchFamily="34" charset="0"/>
              </a:rPr>
              <a:t> </a:t>
            </a:r>
            <a:r>
              <a:rPr lang="en-GB" dirty="0" err="1">
                <a:latin typeface="Ubuntu" panose="020B0504030602030204" pitchFamily="34" charset="0"/>
              </a:rPr>
              <a:t>eirmod</a:t>
            </a:r>
            <a:r>
              <a:rPr lang="en-GB" dirty="0">
                <a:latin typeface="Ubuntu" panose="020B0504030602030204" pitchFamily="34" charset="0"/>
              </a:rPr>
              <a:t> </a:t>
            </a:r>
            <a:r>
              <a:rPr lang="en-GB" dirty="0" err="1">
                <a:latin typeface="Ubuntu" panose="020B0504030602030204" pitchFamily="34" charset="0"/>
              </a:rPr>
              <a:t>tempor</a:t>
            </a:r>
            <a:endParaRPr lang="en-GB" dirty="0">
              <a:latin typeface="Ubuntu" panose="020B0504030602030204" pitchFamily="34" charset="0"/>
            </a:endParaRPr>
          </a:p>
        </p:txBody>
      </p:sp>
      <p:cxnSp>
        <p:nvCxnSpPr>
          <p:cNvPr id="7" name="Straight Connector 6">
            <a:extLst>
              <a:ext uri="{FF2B5EF4-FFF2-40B4-BE49-F238E27FC236}">
                <a16:creationId xmlns:a16="http://schemas.microsoft.com/office/drawing/2014/main" id="{9F1F9084-1A0D-BB44-9E71-599F26C0C088}"/>
              </a:ext>
              <a:ext uri="{C183D7F6-B498-43B3-948B-1728B52AA6E4}">
                <adec:decorative xmlns:adec="http://schemas.microsoft.com/office/drawing/2017/decorative" val="1"/>
              </a:ext>
            </a:extLst>
          </p:cNvPr>
          <p:cNvCxnSpPr>
            <a:cxnSpLocks/>
          </p:cNvCxnSpPr>
          <p:nvPr/>
        </p:nvCxnSpPr>
        <p:spPr>
          <a:xfrm>
            <a:off x="6095206" y="2194560"/>
            <a:ext cx="0" cy="16113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408A9027-6AFE-6241-88A4-3840A4793C77}"/>
              </a:ext>
            </a:extLst>
          </p:cNvPr>
          <p:cNvSpPr/>
          <p:nvPr/>
        </p:nvSpPr>
        <p:spPr>
          <a:xfrm>
            <a:off x="6095201" y="2384685"/>
            <a:ext cx="5688808" cy="1231106"/>
          </a:xfrm>
          <a:prstGeom prst="rect">
            <a:avLst/>
          </a:prstGeom>
        </p:spPr>
        <p:txBody>
          <a:bodyPr wrap="square">
            <a:spAutoFit/>
          </a:bodyPr>
          <a:lstStyle/>
          <a:p>
            <a:pPr lvl="0" algn="ctr">
              <a:spcAft>
                <a:spcPts val="1200"/>
              </a:spcAft>
              <a:defRPr/>
            </a:pPr>
            <a:r>
              <a:rPr lang="en-GB" dirty="0">
                <a:latin typeface="Ubuntu" panose="020B0504030602030204" pitchFamily="34" charset="0"/>
              </a:rPr>
              <a:t>Lorem ipsum</a:t>
            </a:r>
          </a:p>
          <a:p>
            <a:pPr lvl="0" algn="ctr">
              <a:spcAft>
                <a:spcPts val="1200"/>
              </a:spcAft>
              <a:defRPr/>
            </a:pPr>
            <a:r>
              <a:rPr lang="en-GB" dirty="0" err="1">
                <a:latin typeface="Ubuntu" panose="020B0504030602030204" pitchFamily="34" charset="0"/>
              </a:rPr>
              <a:t>dolor</a:t>
            </a:r>
            <a:r>
              <a:rPr lang="en-GB" dirty="0">
                <a:latin typeface="Ubuntu" panose="020B0504030602030204" pitchFamily="34" charset="0"/>
              </a:rPr>
              <a:t> sit </a:t>
            </a:r>
            <a:r>
              <a:rPr lang="en-GB" dirty="0" err="1">
                <a:latin typeface="Ubuntu" panose="020B0504030602030204" pitchFamily="34" charset="0"/>
              </a:rPr>
              <a:t>amet</a:t>
            </a:r>
            <a:r>
              <a:rPr lang="en-GB" dirty="0">
                <a:latin typeface="Ubuntu" panose="020B0504030602030204" pitchFamily="34" charset="0"/>
              </a:rPr>
              <a:t>, </a:t>
            </a:r>
            <a:r>
              <a:rPr lang="en-GB" dirty="0" err="1">
                <a:latin typeface="Ubuntu" panose="020B0504030602030204" pitchFamily="34" charset="0"/>
              </a:rPr>
              <a:t>consetetur</a:t>
            </a:r>
            <a:r>
              <a:rPr lang="en-GB" dirty="0">
                <a:latin typeface="Ubuntu" panose="020B0504030602030204" pitchFamily="34" charset="0"/>
              </a:rPr>
              <a:t> </a:t>
            </a:r>
            <a:r>
              <a:rPr lang="en-GB" dirty="0" err="1">
                <a:latin typeface="Ubuntu" panose="020B0504030602030204" pitchFamily="34" charset="0"/>
              </a:rPr>
              <a:t>sadipscing</a:t>
            </a:r>
            <a:r>
              <a:rPr lang="en-GB" dirty="0">
                <a:latin typeface="Ubuntu" panose="020B0504030602030204" pitchFamily="34" charset="0"/>
              </a:rPr>
              <a:t> </a:t>
            </a:r>
            <a:r>
              <a:rPr lang="en-GB" dirty="0" err="1">
                <a:latin typeface="Ubuntu" panose="020B0504030602030204" pitchFamily="34" charset="0"/>
              </a:rPr>
              <a:t>elitr</a:t>
            </a:r>
            <a:endParaRPr lang="en-GB" dirty="0">
              <a:latin typeface="Ubuntu" panose="020B0504030602030204" pitchFamily="34" charset="0"/>
            </a:endParaRPr>
          </a:p>
          <a:p>
            <a:pPr lvl="0" algn="ctr">
              <a:spcAft>
                <a:spcPts val="1200"/>
              </a:spcAft>
              <a:defRPr/>
            </a:pPr>
            <a:r>
              <a:rPr lang="en-GB" dirty="0">
                <a:latin typeface="Ubuntu" panose="020B0504030602030204" pitchFamily="34" charset="0"/>
              </a:rPr>
              <a:t> </a:t>
            </a:r>
            <a:r>
              <a:rPr lang="en-GB" dirty="0" err="1">
                <a:latin typeface="Ubuntu" panose="020B0504030602030204" pitchFamily="34" charset="0"/>
              </a:rPr>
              <a:t>sed</a:t>
            </a:r>
            <a:r>
              <a:rPr lang="en-GB" dirty="0">
                <a:latin typeface="Ubuntu" panose="020B0504030602030204" pitchFamily="34" charset="0"/>
              </a:rPr>
              <a:t> </a:t>
            </a:r>
            <a:r>
              <a:rPr lang="en-GB" dirty="0" err="1">
                <a:latin typeface="Ubuntu" panose="020B0504030602030204" pitchFamily="34" charset="0"/>
              </a:rPr>
              <a:t>diam</a:t>
            </a:r>
            <a:r>
              <a:rPr lang="en-GB" dirty="0">
                <a:latin typeface="Ubuntu" panose="020B0504030602030204" pitchFamily="34" charset="0"/>
              </a:rPr>
              <a:t> </a:t>
            </a:r>
            <a:r>
              <a:rPr lang="en-GB" dirty="0" err="1">
                <a:latin typeface="Ubuntu" panose="020B0504030602030204" pitchFamily="34" charset="0"/>
              </a:rPr>
              <a:t>nonumy</a:t>
            </a:r>
            <a:r>
              <a:rPr lang="en-GB" dirty="0">
                <a:latin typeface="Ubuntu" panose="020B0504030602030204" pitchFamily="34" charset="0"/>
              </a:rPr>
              <a:t> </a:t>
            </a:r>
            <a:r>
              <a:rPr lang="en-GB" dirty="0" err="1">
                <a:latin typeface="Ubuntu" panose="020B0504030602030204" pitchFamily="34" charset="0"/>
              </a:rPr>
              <a:t>eirmod</a:t>
            </a:r>
            <a:r>
              <a:rPr lang="en-GB" dirty="0">
                <a:latin typeface="Ubuntu" panose="020B0504030602030204" pitchFamily="34" charset="0"/>
              </a:rPr>
              <a:t> </a:t>
            </a:r>
            <a:r>
              <a:rPr lang="en-GB" dirty="0" err="1">
                <a:latin typeface="Ubuntu" panose="020B0504030602030204" pitchFamily="34" charset="0"/>
              </a:rPr>
              <a:t>tempor</a:t>
            </a:r>
            <a:endParaRPr lang="en-GB" dirty="0">
              <a:latin typeface="Ubuntu" panose="020B0504030602030204" pitchFamily="34" charset="0"/>
            </a:endParaRPr>
          </a:p>
        </p:txBody>
      </p:sp>
      <p:sp>
        <p:nvSpPr>
          <p:cNvPr id="13" name="Rectangle 12">
            <a:extLst>
              <a:ext uri="{FF2B5EF4-FFF2-40B4-BE49-F238E27FC236}">
                <a16:creationId xmlns:a16="http://schemas.microsoft.com/office/drawing/2014/main" id="{320608D2-70C7-6945-8A3F-D20CE603BDEA}"/>
              </a:ext>
            </a:extLst>
          </p:cNvPr>
          <p:cNvSpPr/>
          <p:nvPr/>
        </p:nvSpPr>
        <p:spPr>
          <a:xfrm>
            <a:off x="402429" y="4094922"/>
            <a:ext cx="5688808" cy="605624"/>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Ubuntu" panose="020B0504030602030204" pitchFamily="34" charset="0"/>
              </a:rPr>
              <a:t>HEADER</a:t>
            </a:r>
          </a:p>
        </p:txBody>
      </p:sp>
      <p:sp>
        <p:nvSpPr>
          <p:cNvPr id="14" name="Rectangle 13">
            <a:extLst>
              <a:ext uri="{FF2B5EF4-FFF2-40B4-BE49-F238E27FC236}">
                <a16:creationId xmlns:a16="http://schemas.microsoft.com/office/drawing/2014/main" id="{8A92DB83-CD82-E74F-9C13-A1281579E40C}"/>
              </a:ext>
              <a:ext uri="{C183D7F6-B498-43B3-948B-1728B52AA6E4}">
                <adec:decorative xmlns:adec="http://schemas.microsoft.com/office/drawing/2017/decorative" val="1"/>
              </a:ext>
            </a:extLst>
          </p:cNvPr>
          <p:cNvSpPr/>
          <p:nvPr/>
        </p:nvSpPr>
        <p:spPr>
          <a:xfrm>
            <a:off x="404014" y="4700546"/>
            <a:ext cx="11377613" cy="161135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5" name="Rectangle 14">
            <a:extLst>
              <a:ext uri="{FF2B5EF4-FFF2-40B4-BE49-F238E27FC236}">
                <a16:creationId xmlns:a16="http://schemas.microsoft.com/office/drawing/2014/main" id="{EDC5FA77-260D-0149-8A5A-CF88254FCF4F}"/>
              </a:ext>
            </a:extLst>
          </p:cNvPr>
          <p:cNvSpPr/>
          <p:nvPr/>
        </p:nvSpPr>
        <p:spPr>
          <a:xfrm>
            <a:off x="401629" y="4890671"/>
            <a:ext cx="5691187" cy="1231106"/>
          </a:xfrm>
          <a:prstGeom prst="rect">
            <a:avLst/>
          </a:prstGeom>
        </p:spPr>
        <p:txBody>
          <a:bodyPr wrap="square">
            <a:spAutoFit/>
          </a:bodyPr>
          <a:lstStyle/>
          <a:p>
            <a:pPr lvl="0" algn="ctr">
              <a:spcAft>
                <a:spcPts val="1200"/>
              </a:spcAft>
              <a:defRPr/>
            </a:pPr>
            <a:r>
              <a:rPr lang="en-GB">
                <a:latin typeface="Ubuntu" panose="020B0504030602030204" pitchFamily="34" charset="0"/>
              </a:rPr>
              <a:t>Lorem ipsum</a:t>
            </a:r>
          </a:p>
          <a:p>
            <a:pPr lvl="0" algn="ctr">
              <a:spcAft>
                <a:spcPts val="1200"/>
              </a:spcAft>
              <a:defRPr/>
            </a:pPr>
            <a:r>
              <a:rPr lang="en-GB" err="1">
                <a:latin typeface="Ubuntu" panose="020B0504030602030204" pitchFamily="34" charset="0"/>
              </a:rPr>
              <a:t>dolor</a:t>
            </a:r>
            <a:r>
              <a:rPr lang="en-GB">
                <a:latin typeface="Ubuntu" panose="020B0504030602030204" pitchFamily="34" charset="0"/>
              </a:rPr>
              <a:t> sit </a:t>
            </a:r>
            <a:r>
              <a:rPr lang="en-GB" err="1">
                <a:latin typeface="Ubuntu" panose="020B0504030602030204" pitchFamily="34" charset="0"/>
              </a:rPr>
              <a:t>amet</a:t>
            </a:r>
            <a:r>
              <a:rPr lang="en-GB">
                <a:latin typeface="Ubuntu" panose="020B0504030602030204" pitchFamily="34" charset="0"/>
              </a:rPr>
              <a:t>, </a:t>
            </a:r>
            <a:r>
              <a:rPr lang="en-GB" err="1">
                <a:latin typeface="Ubuntu" panose="020B0504030602030204" pitchFamily="34" charset="0"/>
              </a:rPr>
              <a:t>consetetur</a:t>
            </a:r>
            <a:r>
              <a:rPr lang="en-GB">
                <a:latin typeface="Ubuntu" panose="020B0504030602030204" pitchFamily="34" charset="0"/>
              </a:rPr>
              <a:t> </a:t>
            </a:r>
            <a:r>
              <a:rPr lang="en-GB" err="1">
                <a:latin typeface="Ubuntu" panose="020B0504030602030204" pitchFamily="34" charset="0"/>
              </a:rPr>
              <a:t>sadipscing</a:t>
            </a:r>
            <a:r>
              <a:rPr lang="en-GB">
                <a:latin typeface="Ubuntu" panose="020B0504030602030204" pitchFamily="34" charset="0"/>
              </a:rPr>
              <a:t> </a:t>
            </a:r>
            <a:r>
              <a:rPr lang="en-GB" err="1">
                <a:latin typeface="Ubuntu" panose="020B0504030602030204" pitchFamily="34" charset="0"/>
              </a:rPr>
              <a:t>elitr</a:t>
            </a:r>
            <a:endParaRPr lang="en-GB">
              <a:latin typeface="Ubuntu" panose="020B0504030602030204" pitchFamily="34" charset="0"/>
            </a:endParaRPr>
          </a:p>
          <a:p>
            <a:pPr lvl="0" algn="ctr">
              <a:spcAft>
                <a:spcPts val="1200"/>
              </a:spcAft>
              <a:defRPr/>
            </a:pPr>
            <a:r>
              <a:rPr lang="en-GB">
                <a:latin typeface="Ubuntu" panose="020B0504030602030204" pitchFamily="34" charset="0"/>
              </a:rPr>
              <a:t> </a:t>
            </a:r>
            <a:r>
              <a:rPr lang="en-GB" err="1">
                <a:latin typeface="Ubuntu" panose="020B0504030602030204" pitchFamily="34" charset="0"/>
              </a:rPr>
              <a:t>sed</a:t>
            </a:r>
            <a:r>
              <a:rPr lang="en-GB">
                <a:latin typeface="Ubuntu" panose="020B0504030602030204" pitchFamily="34" charset="0"/>
              </a:rPr>
              <a:t> </a:t>
            </a:r>
            <a:r>
              <a:rPr lang="en-GB" err="1">
                <a:latin typeface="Ubuntu" panose="020B0504030602030204" pitchFamily="34" charset="0"/>
              </a:rPr>
              <a:t>diam</a:t>
            </a:r>
            <a:r>
              <a:rPr lang="en-GB">
                <a:latin typeface="Ubuntu" panose="020B0504030602030204" pitchFamily="34" charset="0"/>
              </a:rPr>
              <a:t> </a:t>
            </a:r>
            <a:r>
              <a:rPr lang="en-GB" err="1">
                <a:latin typeface="Ubuntu" panose="020B0504030602030204" pitchFamily="34" charset="0"/>
              </a:rPr>
              <a:t>nonumy</a:t>
            </a:r>
            <a:r>
              <a:rPr lang="en-GB">
                <a:latin typeface="Ubuntu" panose="020B0504030602030204" pitchFamily="34" charset="0"/>
              </a:rPr>
              <a:t> </a:t>
            </a:r>
            <a:r>
              <a:rPr lang="en-GB" err="1">
                <a:latin typeface="Ubuntu" panose="020B0504030602030204" pitchFamily="34" charset="0"/>
              </a:rPr>
              <a:t>eirmod</a:t>
            </a:r>
            <a:r>
              <a:rPr lang="en-GB">
                <a:latin typeface="Ubuntu" panose="020B0504030602030204" pitchFamily="34" charset="0"/>
              </a:rPr>
              <a:t> </a:t>
            </a:r>
            <a:r>
              <a:rPr lang="en-GB" err="1">
                <a:latin typeface="Ubuntu" panose="020B0504030602030204" pitchFamily="34" charset="0"/>
              </a:rPr>
              <a:t>tempor</a:t>
            </a:r>
            <a:endParaRPr lang="en-GB">
              <a:latin typeface="Ubuntu" panose="020B0504030602030204" pitchFamily="34" charset="0"/>
            </a:endParaRPr>
          </a:p>
        </p:txBody>
      </p:sp>
      <p:cxnSp>
        <p:nvCxnSpPr>
          <p:cNvPr id="17" name="Straight Connector 16">
            <a:extLst>
              <a:ext uri="{FF2B5EF4-FFF2-40B4-BE49-F238E27FC236}">
                <a16:creationId xmlns:a16="http://schemas.microsoft.com/office/drawing/2014/main" id="{0F20C0D1-00F6-6340-BA10-80DAF557F7D4}"/>
              </a:ext>
              <a:ext uri="{C183D7F6-B498-43B3-948B-1728B52AA6E4}">
                <adec:decorative xmlns:adec="http://schemas.microsoft.com/office/drawing/2017/decorative" val="1"/>
              </a:ext>
            </a:extLst>
          </p:cNvPr>
          <p:cNvCxnSpPr>
            <a:cxnSpLocks/>
          </p:cNvCxnSpPr>
          <p:nvPr/>
        </p:nvCxnSpPr>
        <p:spPr>
          <a:xfrm>
            <a:off x="6092821" y="4700546"/>
            <a:ext cx="0" cy="16113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814EEE1C-807D-2D4A-BD37-DB7C468E0190}"/>
              </a:ext>
            </a:extLst>
          </p:cNvPr>
          <p:cNvSpPr/>
          <p:nvPr/>
        </p:nvSpPr>
        <p:spPr>
          <a:xfrm>
            <a:off x="6091229" y="4094921"/>
            <a:ext cx="5688808" cy="605624"/>
          </a:xfrm>
          <a:prstGeom prst="rect">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Ubuntu" panose="020B0504030602030204" pitchFamily="34" charset="0"/>
              </a:rPr>
              <a:t>HEADER</a:t>
            </a:r>
          </a:p>
        </p:txBody>
      </p:sp>
      <p:sp>
        <p:nvSpPr>
          <p:cNvPr id="16" name="Rectangle 15">
            <a:extLst>
              <a:ext uri="{FF2B5EF4-FFF2-40B4-BE49-F238E27FC236}">
                <a16:creationId xmlns:a16="http://schemas.microsoft.com/office/drawing/2014/main" id="{3AAA8D26-2F5F-BE47-9929-92F9A6509719}"/>
              </a:ext>
            </a:extLst>
          </p:cNvPr>
          <p:cNvSpPr/>
          <p:nvPr/>
        </p:nvSpPr>
        <p:spPr>
          <a:xfrm>
            <a:off x="6092816" y="4890671"/>
            <a:ext cx="5688808" cy="1231106"/>
          </a:xfrm>
          <a:prstGeom prst="rect">
            <a:avLst/>
          </a:prstGeom>
        </p:spPr>
        <p:txBody>
          <a:bodyPr wrap="square">
            <a:spAutoFit/>
          </a:bodyPr>
          <a:lstStyle/>
          <a:p>
            <a:pPr lvl="0" algn="ctr">
              <a:spcAft>
                <a:spcPts val="1200"/>
              </a:spcAft>
              <a:defRPr/>
            </a:pPr>
            <a:r>
              <a:rPr lang="en-GB">
                <a:latin typeface="Ubuntu" panose="020B0504030602030204" pitchFamily="34" charset="0"/>
              </a:rPr>
              <a:t>Lorem ipsum</a:t>
            </a:r>
          </a:p>
          <a:p>
            <a:pPr lvl="0" algn="ctr">
              <a:spcAft>
                <a:spcPts val="1200"/>
              </a:spcAft>
              <a:defRPr/>
            </a:pPr>
            <a:r>
              <a:rPr lang="en-GB" err="1">
                <a:latin typeface="Ubuntu" panose="020B0504030602030204" pitchFamily="34" charset="0"/>
              </a:rPr>
              <a:t>dolor</a:t>
            </a:r>
            <a:r>
              <a:rPr lang="en-GB">
                <a:latin typeface="Ubuntu" panose="020B0504030602030204" pitchFamily="34" charset="0"/>
              </a:rPr>
              <a:t> sit </a:t>
            </a:r>
            <a:r>
              <a:rPr lang="en-GB" err="1">
                <a:latin typeface="Ubuntu" panose="020B0504030602030204" pitchFamily="34" charset="0"/>
              </a:rPr>
              <a:t>amet</a:t>
            </a:r>
            <a:r>
              <a:rPr lang="en-GB">
                <a:latin typeface="Ubuntu" panose="020B0504030602030204" pitchFamily="34" charset="0"/>
              </a:rPr>
              <a:t>, </a:t>
            </a:r>
            <a:r>
              <a:rPr lang="en-GB" err="1">
                <a:latin typeface="Ubuntu" panose="020B0504030602030204" pitchFamily="34" charset="0"/>
              </a:rPr>
              <a:t>consetetur</a:t>
            </a:r>
            <a:r>
              <a:rPr lang="en-GB">
                <a:latin typeface="Ubuntu" panose="020B0504030602030204" pitchFamily="34" charset="0"/>
              </a:rPr>
              <a:t> </a:t>
            </a:r>
            <a:r>
              <a:rPr lang="en-GB" err="1">
                <a:latin typeface="Ubuntu" panose="020B0504030602030204" pitchFamily="34" charset="0"/>
              </a:rPr>
              <a:t>sadipscing</a:t>
            </a:r>
            <a:r>
              <a:rPr lang="en-GB">
                <a:latin typeface="Ubuntu" panose="020B0504030602030204" pitchFamily="34" charset="0"/>
              </a:rPr>
              <a:t> </a:t>
            </a:r>
            <a:r>
              <a:rPr lang="en-GB" err="1">
                <a:latin typeface="Ubuntu" panose="020B0504030602030204" pitchFamily="34" charset="0"/>
              </a:rPr>
              <a:t>elitr</a:t>
            </a:r>
            <a:endParaRPr lang="en-GB">
              <a:latin typeface="Ubuntu" panose="020B0504030602030204" pitchFamily="34" charset="0"/>
            </a:endParaRPr>
          </a:p>
          <a:p>
            <a:pPr lvl="0" algn="ctr">
              <a:spcAft>
                <a:spcPts val="1200"/>
              </a:spcAft>
              <a:defRPr/>
            </a:pPr>
            <a:r>
              <a:rPr lang="en-GB">
                <a:latin typeface="Ubuntu" panose="020B0504030602030204" pitchFamily="34" charset="0"/>
              </a:rPr>
              <a:t> </a:t>
            </a:r>
            <a:r>
              <a:rPr lang="en-GB" err="1">
                <a:latin typeface="Ubuntu" panose="020B0504030602030204" pitchFamily="34" charset="0"/>
              </a:rPr>
              <a:t>sed</a:t>
            </a:r>
            <a:r>
              <a:rPr lang="en-GB">
                <a:latin typeface="Ubuntu" panose="020B0504030602030204" pitchFamily="34" charset="0"/>
              </a:rPr>
              <a:t> </a:t>
            </a:r>
            <a:r>
              <a:rPr lang="en-GB" err="1">
                <a:latin typeface="Ubuntu" panose="020B0504030602030204" pitchFamily="34" charset="0"/>
              </a:rPr>
              <a:t>diam</a:t>
            </a:r>
            <a:r>
              <a:rPr lang="en-GB">
                <a:latin typeface="Ubuntu" panose="020B0504030602030204" pitchFamily="34" charset="0"/>
              </a:rPr>
              <a:t> </a:t>
            </a:r>
            <a:r>
              <a:rPr lang="en-GB" err="1">
                <a:latin typeface="Ubuntu" panose="020B0504030602030204" pitchFamily="34" charset="0"/>
              </a:rPr>
              <a:t>nonumy</a:t>
            </a:r>
            <a:r>
              <a:rPr lang="en-GB">
                <a:latin typeface="Ubuntu" panose="020B0504030602030204" pitchFamily="34" charset="0"/>
              </a:rPr>
              <a:t> </a:t>
            </a:r>
            <a:r>
              <a:rPr lang="en-GB" err="1">
                <a:latin typeface="Ubuntu" panose="020B0504030602030204" pitchFamily="34" charset="0"/>
              </a:rPr>
              <a:t>eirmod</a:t>
            </a:r>
            <a:r>
              <a:rPr lang="en-GB">
                <a:latin typeface="Ubuntu" panose="020B0504030602030204" pitchFamily="34" charset="0"/>
              </a:rPr>
              <a:t> </a:t>
            </a:r>
            <a:r>
              <a:rPr lang="en-GB" err="1">
                <a:latin typeface="Ubuntu" panose="020B0504030602030204" pitchFamily="34" charset="0"/>
              </a:rPr>
              <a:t>tempor</a:t>
            </a:r>
            <a:endParaRPr lang="en-GB">
              <a:latin typeface="Ubuntu" panose="020B0504030602030204" pitchFamily="34" charset="0"/>
            </a:endParaRPr>
          </a:p>
        </p:txBody>
      </p:sp>
    </p:spTree>
    <p:extLst>
      <p:ext uri="{BB962C8B-B14F-4D97-AF65-F5344CB8AC3E}">
        <p14:creationId xmlns:p14="http://schemas.microsoft.com/office/powerpoint/2010/main" val="102705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p:txBody>
          <a:bodyPr/>
          <a:lstStyle/>
          <a:p>
            <a:r>
              <a:rPr lang="en-GB"/>
              <a:t>Warm palette use example</a:t>
            </a:r>
          </a:p>
        </p:txBody>
      </p:sp>
      <p:sp>
        <p:nvSpPr>
          <p:cNvPr id="2" name="Isosceles Triangle 1">
            <a:extLst>
              <a:ext uri="{FF2B5EF4-FFF2-40B4-BE49-F238E27FC236}">
                <a16:creationId xmlns:a16="http://schemas.microsoft.com/office/drawing/2014/main" id="{6134C9EB-C299-45FF-A2F8-0EC8C4C1C9AD}"/>
              </a:ext>
              <a:ext uri="{C183D7F6-B498-43B3-948B-1728B52AA6E4}">
                <adec:decorative xmlns:adec="http://schemas.microsoft.com/office/drawing/2017/decorative" val="1"/>
              </a:ext>
            </a:extLst>
          </p:cNvPr>
          <p:cNvSpPr/>
          <p:nvPr/>
        </p:nvSpPr>
        <p:spPr>
          <a:xfrm rot="10800000">
            <a:off x="457200" y="5137800"/>
            <a:ext cx="11277600" cy="746525"/>
          </a:xfrm>
          <a:prstGeom prst="triangle">
            <a:avLst/>
          </a:prstGeom>
          <a:solidFill>
            <a:srgbClr val="75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DEE5F2F3-1C1C-DD4F-9A3A-57E9E38D04FD}"/>
              </a:ext>
            </a:extLst>
          </p:cNvPr>
          <p:cNvSpPr/>
          <p:nvPr/>
        </p:nvSpPr>
        <p:spPr>
          <a:xfrm>
            <a:off x="404813" y="1427843"/>
            <a:ext cx="11379199" cy="766717"/>
          </a:xfrm>
          <a:prstGeom prst="rect">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Ubuntu" panose="020B0504030602030204" pitchFamily="34" charset="0"/>
              </a:rPr>
              <a:t>HEADER</a:t>
            </a:r>
            <a:br>
              <a:rPr lang="en-GB">
                <a:latin typeface="Ubuntu" panose="020B0504030602030204" pitchFamily="34" charset="0"/>
              </a:rPr>
            </a:br>
            <a:r>
              <a:rPr lang="en-GB">
                <a:latin typeface="Ubuntu" panose="020B0504030602030204" pitchFamily="34" charset="0"/>
              </a:rPr>
              <a:t>lorem ipsum </a:t>
            </a:r>
            <a:r>
              <a:rPr lang="en-GB" err="1">
                <a:latin typeface="Ubuntu" panose="020B0504030602030204" pitchFamily="34" charset="0"/>
              </a:rPr>
              <a:t>dolor</a:t>
            </a:r>
            <a:r>
              <a:rPr lang="en-GB">
                <a:latin typeface="Ubuntu" panose="020B0504030602030204" pitchFamily="34" charset="0"/>
              </a:rPr>
              <a:t> </a:t>
            </a:r>
            <a:r>
              <a:rPr lang="en-GB" err="1">
                <a:latin typeface="Ubuntu" panose="020B0504030602030204" pitchFamily="34" charset="0"/>
              </a:rPr>
              <a:t>amet</a:t>
            </a:r>
            <a:endParaRPr lang="en-GB">
              <a:latin typeface="Ubuntu" panose="020B0504030602030204" pitchFamily="34" charset="0"/>
            </a:endParaRPr>
          </a:p>
        </p:txBody>
      </p:sp>
      <p:sp>
        <p:nvSpPr>
          <p:cNvPr id="7" name="Rectangle 6">
            <a:extLst>
              <a:ext uri="{FF2B5EF4-FFF2-40B4-BE49-F238E27FC236}">
                <a16:creationId xmlns:a16="http://schemas.microsoft.com/office/drawing/2014/main" id="{180F5BC7-7AC2-A64D-BCAA-43CF6215F12A}"/>
              </a:ext>
              <a:ext uri="{C183D7F6-B498-43B3-948B-1728B52AA6E4}">
                <adec:decorative xmlns:adec="http://schemas.microsoft.com/office/drawing/2017/decorative" val="1"/>
              </a:ext>
            </a:extLst>
          </p:cNvPr>
          <p:cNvSpPr/>
          <p:nvPr/>
        </p:nvSpPr>
        <p:spPr>
          <a:xfrm>
            <a:off x="406399" y="2194560"/>
            <a:ext cx="11377613" cy="1611356"/>
          </a:xfrm>
          <a:prstGeom prst="rect">
            <a:avLst/>
          </a:prstGeom>
          <a:solidFill>
            <a:srgbClr val="75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9" name="Rectangle 8">
            <a:extLst>
              <a:ext uri="{FF2B5EF4-FFF2-40B4-BE49-F238E27FC236}">
                <a16:creationId xmlns:a16="http://schemas.microsoft.com/office/drawing/2014/main" id="{7DE0140D-2BFA-D94B-A552-F22DB3861D3C}"/>
              </a:ext>
            </a:extLst>
          </p:cNvPr>
          <p:cNvSpPr/>
          <p:nvPr/>
        </p:nvSpPr>
        <p:spPr>
          <a:xfrm>
            <a:off x="404014" y="2384685"/>
            <a:ext cx="5691187" cy="1231106"/>
          </a:xfrm>
          <a:prstGeom prst="rect">
            <a:avLst/>
          </a:prstGeom>
        </p:spPr>
        <p:txBody>
          <a:bodyPr wrap="square">
            <a:spAutoFit/>
          </a:bodyPr>
          <a:lstStyle/>
          <a:p>
            <a:pPr lvl="0" algn="ctr">
              <a:spcAft>
                <a:spcPts val="1200"/>
              </a:spcAft>
              <a:defRPr/>
            </a:pPr>
            <a:r>
              <a:rPr lang="en-GB">
                <a:solidFill>
                  <a:schemeClr val="bg1"/>
                </a:solidFill>
                <a:latin typeface="Ubuntu" panose="020B0504030602030204" pitchFamily="34" charset="0"/>
              </a:rPr>
              <a:t>Lorem ipsum</a:t>
            </a:r>
          </a:p>
          <a:p>
            <a:pPr lvl="0" algn="ctr">
              <a:spcAft>
                <a:spcPts val="1200"/>
              </a:spcAft>
              <a:defRPr/>
            </a:pPr>
            <a:r>
              <a:rPr lang="en-GB" err="1">
                <a:solidFill>
                  <a:schemeClr val="bg1"/>
                </a:solidFill>
                <a:latin typeface="Ubuntu" panose="020B0504030602030204" pitchFamily="34" charset="0"/>
              </a:rPr>
              <a:t>dolor</a:t>
            </a:r>
            <a:r>
              <a:rPr lang="en-GB">
                <a:solidFill>
                  <a:schemeClr val="bg1"/>
                </a:solidFill>
                <a:latin typeface="Ubuntu" panose="020B0504030602030204" pitchFamily="34" charset="0"/>
              </a:rPr>
              <a:t> sit </a:t>
            </a:r>
            <a:r>
              <a:rPr lang="en-GB" err="1">
                <a:solidFill>
                  <a:schemeClr val="bg1"/>
                </a:solidFill>
                <a:latin typeface="Ubuntu" panose="020B0504030602030204" pitchFamily="34" charset="0"/>
              </a:rPr>
              <a:t>amet</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consetetur</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sadipscing</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elitr</a:t>
            </a:r>
            <a:endParaRPr lang="en-GB">
              <a:solidFill>
                <a:schemeClr val="bg1"/>
              </a:solidFill>
              <a:latin typeface="Ubuntu" panose="020B0504030602030204" pitchFamily="34" charset="0"/>
            </a:endParaRPr>
          </a:p>
          <a:p>
            <a:pPr lvl="0" algn="ctr">
              <a:spcAft>
                <a:spcPts val="1200"/>
              </a:spcAft>
              <a:defRPr/>
            </a:pP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sed</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diam</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nonumy</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eirmod</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tempor</a:t>
            </a:r>
            <a:endParaRPr lang="en-GB">
              <a:solidFill>
                <a:schemeClr val="bg1"/>
              </a:solidFill>
              <a:latin typeface="Ubuntu" panose="020B0504030602030204" pitchFamily="34" charset="0"/>
            </a:endParaRPr>
          </a:p>
        </p:txBody>
      </p:sp>
      <p:cxnSp>
        <p:nvCxnSpPr>
          <p:cNvPr id="10" name="Straight Connector 9">
            <a:extLst>
              <a:ext uri="{FF2B5EF4-FFF2-40B4-BE49-F238E27FC236}">
                <a16:creationId xmlns:a16="http://schemas.microsoft.com/office/drawing/2014/main" id="{0B4CDED5-EF05-B14F-9BE5-BB7FFBD1B0FC}"/>
              </a:ext>
              <a:ext uri="{C183D7F6-B498-43B3-948B-1728B52AA6E4}">
                <adec:decorative xmlns:adec="http://schemas.microsoft.com/office/drawing/2017/decorative" val="1"/>
              </a:ext>
            </a:extLst>
          </p:cNvPr>
          <p:cNvCxnSpPr>
            <a:cxnSpLocks/>
          </p:cNvCxnSpPr>
          <p:nvPr/>
        </p:nvCxnSpPr>
        <p:spPr>
          <a:xfrm>
            <a:off x="6095206" y="2194560"/>
            <a:ext cx="0" cy="161135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AB18851-082F-4349-B028-E67FC0C5D41D}"/>
              </a:ext>
            </a:extLst>
          </p:cNvPr>
          <p:cNvSpPr/>
          <p:nvPr/>
        </p:nvSpPr>
        <p:spPr>
          <a:xfrm>
            <a:off x="6095201" y="2384685"/>
            <a:ext cx="5688808" cy="1231106"/>
          </a:xfrm>
          <a:prstGeom prst="rect">
            <a:avLst/>
          </a:prstGeom>
        </p:spPr>
        <p:txBody>
          <a:bodyPr wrap="square">
            <a:spAutoFit/>
          </a:bodyPr>
          <a:lstStyle/>
          <a:p>
            <a:pPr lvl="0" algn="ctr">
              <a:spcAft>
                <a:spcPts val="1200"/>
              </a:spcAft>
              <a:defRPr/>
            </a:pPr>
            <a:r>
              <a:rPr lang="en-GB">
                <a:solidFill>
                  <a:schemeClr val="bg1"/>
                </a:solidFill>
                <a:latin typeface="Ubuntu" panose="020B0504030602030204" pitchFamily="34" charset="0"/>
              </a:rPr>
              <a:t>Lorem ipsum</a:t>
            </a:r>
          </a:p>
          <a:p>
            <a:pPr lvl="0" algn="ctr">
              <a:spcAft>
                <a:spcPts val="1200"/>
              </a:spcAft>
              <a:defRPr/>
            </a:pPr>
            <a:r>
              <a:rPr lang="en-GB" err="1">
                <a:solidFill>
                  <a:schemeClr val="bg1"/>
                </a:solidFill>
                <a:latin typeface="Ubuntu" panose="020B0504030602030204" pitchFamily="34" charset="0"/>
              </a:rPr>
              <a:t>dolor</a:t>
            </a:r>
            <a:r>
              <a:rPr lang="en-GB">
                <a:solidFill>
                  <a:schemeClr val="bg1"/>
                </a:solidFill>
                <a:latin typeface="Ubuntu" panose="020B0504030602030204" pitchFamily="34" charset="0"/>
              </a:rPr>
              <a:t> sit </a:t>
            </a:r>
            <a:r>
              <a:rPr lang="en-GB" err="1">
                <a:solidFill>
                  <a:schemeClr val="bg1"/>
                </a:solidFill>
                <a:latin typeface="Ubuntu" panose="020B0504030602030204" pitchFamily="34" charset="0"/>
              </a:rPr>
              <a:t>amet</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consetetur</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sadipscing</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elitr</a:t>
            </a:r>
            <a:endParaRPr lang="en-GB">
              <a:solidFill>
                <a:schemeClr val="bg1"/>
              </a:solidFill>
              <a:latin typeface="Ubuntu" panose="020B0504030602030204" pitchFamily="34" charset="0"/>
            </a:endParaRPr>
          </a:p>
          <a:p>
            <a:pPr lvl="0" algn="ctr">
              <a:spcAft>
                <a:spcPts val="1200"/>
              </a:spcAft>
              <a:defRPr/>
            </a:pP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sed</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diam</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nonumy</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eirmod</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tempor</a:t>
            </a:r>
            <a:endParaRPr lang="en-GB">
              <a:solidFill>
                <a:schemeClr val="bg1"/>
              </a:solidFill>
              <a:latin typeface="Ubuntu" panose="020B0504030602030204" pitchFamily="34" charset="0"/>
            </a:endParaRPr>
          </a:p>
        </p:txBody>
      </p:sp>
      <p:sp>
        <p:nvSpPr>
          <p:cNvPr id="12" name="Rectangle 11">
            <a:extLst>
              <a:ext uri="{FF2B5EF4-FFF2-40B4-BE49-F238E27FC236}">
                <a16:creationId xmlns:a16="http://schemas.microsoft.com/office/drawing/2014/main" id="{EB22CB4A-A177-C64C-B1EF-D469F10B5E8A}"/>
              </a:ext>
            </a:extLst>
          </p:cNvPr>
          <p:cNvSpPr/>
          <p:nvPr/>
        </p:nvSpPr>
        <p:spPr>
          <a:xfrm>
            <a:off x="404013" y="3805916"/>
            <a:ext cx="11379995" cy="422405"/>
          </a:xfrm>
          <a:prstGeom prst="rect">
            <a:avLst/>
          </a:prstGeom>
        </p:spPr>
        <p:txBody>
          <a:bodyPr wrap="square" tIns="72000" bIns="72000">
            <a:spAutoFit/>
          </a:bodyPr>
          <a:lstStyle/>
          <a:p>
            <a:pPr lvl="0" algn="ctr">
              <a:spcAft>
                <a:spcPts val="1200"/>
              </a:spcAft>
              <a:defRPr/>
            </a:pPr>
            <a:r>
              <a:rPr lang="en-GB">
                <a:latin typeface="Ubuntu" panose="020B0504030602030204" pitchFamily="34" charset="0"/>
              </a:rPr>
              <a:t>Lorem ipsum</a:t>
            </a:r>
          </a:p>
        </p:txBody>
      </p:sp>
      <p:sp>
        <p:nvSpPr>
          <p:cNvPr id="13" name="Rectangle 12">
            <a:extLst>
              <a:ext uri="{FF2B5EF4-FFF2-40B4-BE49-F238E27FC236}">
                <a16:creationId xmlns:a16="http://schemas.microsoft.com/office/drawing/2014/main" id="{4DFD21B7-60AB-EC41-9E7A-D19C9AD21C35}"/>
              </a:ext>
            </a:extLst>
          </p:cNvPr>
          <p:cNvSpPr/>
          <p:nvPr/>
        </p:nvSpPr>
        <p:spPr>
          <a:xfrm>
            <a:off x="404009" y="4228321"/>
            <a:ext cx="11379995" cy="422405"/>
          </a:xfrm>
          <a:prstGeom prst="rect">
            <a:avLst/>
          </a:prstGeom>
          <a:solidFill>
            <a:srgbClr val="ECECEC"/>
          </a:solidFill>
        </p:spPr>
        <p:txBody>
          <a:bodyPr wrap="square" tIns="72000" bIns="72000">
            <a:spAutoFit/>
          </a:bodyPr>
          <a:lstStyle/>
          <a:p>
            <a:pPr lvl="0" algn="ctr">
              <a:spcAft>
                <a:spcPts val="1200"/>
              </a:spcAft>
              <a:defRPr/>
            </a:pPr>
            <a:r>
              <a:rPr lang="en-GB" err="1">
                <a:latin typeface="Ubuntu" panose="020B0504030602030204" pitchFamily="34" charset="0"/>
              </a:rPr>
              <a:t>dolor</a:t>
            </a:r>
            <a:r>
              <a:rPr lang="en-GB">
                <a:latin typeface="Ubuntu" panose="020B0504030602030204" pitchFamily="34" charset="0"/>
              </a:rPr>
              <a:t> sit </a:t>
            </a:r>
            <a:r>
              <a:rPr lang="en-GB" err="1">
                <a:latin typeface="Ubuntu" panose="020B0504030602030204" pitchFamily="34" charset="0"/>
              </a:rPr>
              <a:t>amet</a:t>
            </a:r>
            <a:r>
              <a:rPr lang="en-GB">
                <a:latin typeface="Ubuntu" panose="020B0504030602030204" pitchFamily="34" charset="0"/>
              </a:rPr>
              <a:t>, </a:t>
            </a:r>
            <a:r>
              <a:rPr lang="en-GB" err="1">
                <a:latin typeface="Ubuntu" panose="020B0504030602030204" pitchFamily="34" charset="0"/>
              </a:rPr>
              <a:t>consetetur</a:t>
            </a:r>
            <a:r>
              <a:rPr lang="en-GB">
                <a:latin typeface="Ubuntu" panose="020B0504030602030204" pitchFamily="34" charset="0"/>
              </a:rPr>
              <a:t> </a:t>
            </a:r>
            <a:r>
              <a:rPr lang="en-GB" err="1">
                <a:latin typeface="Ubuntu" panose="020B0504030602030204" pitchFamily="34" charset="0"/>
              </a:rPr>
              <a:t>sadipscing</a:t>
            </a:r>
            <a:r>
              <a:rPr lang="en-GB">
                <a:latin typeface="Ubuntu" panose="020B0504030602030204" pitchFamily="34" charset="0"/>
              </a:rPr>
              <a:t> </a:t>
            </a:r>
            <a:r>
              <a:rPr lang="en-GB" err="1">
                <a:latin typeface="Ubuntu" panose="020B0504030602030204" pitchFamily="34" charset="0"/>
              </a:rPr>
              <a:t>elitr</a:t>
            </a:r>
            <a:endParaRPr lang="en-GB">
              <a:latin typeface="Ubuntu" panose="020B0504030602030204" pitchFamily="34" charset="0"/>
            </a:endParaRPr>
          </a:p>
        </p:txBody>
      </p:sp>
      <p:sp>
        <p:nvSpPr>
          <p:cNvPr id="14" name="Rectangle 13">
            <a:extLst>
              <a:ext uri="{FF2B5EF4-FFF2-40B4-BE49-F238E27FC236}">
                <a16:creationId xmlns:a16="http://schemas.microsoft.com/office/drawing/2014/main" id="{2F4C574C-2706-9644-9FC4-7A4FF26510C9}"/>
              </a:ext>
            </a:extLst>
          </p:cNvPr>
          <p:cNvSpPr/>
          <p:nvPr/>
        </p:nvSpPr>
        <p:spPr>
          <a:xfrm>
            <a:off x="404005" y="4650726"/>
            <a:ext cx="11379995" cy="422405"/>
          </a:xfrm>
          <a:prstGeom prst="rect">
            <a:avLst/>
          </a:prstGeom>
        </p:spPr>
        <p:txBody>
          <a:bodyPr wrap="square" tIns="72000" bIns="72000">
            <a:spAutoFit/>
          </a:bodyPr>
          <a:lstStyle/>
          <a:p>
            <a:pPr lvl="0" algn="ctr">
              <a:spcAft>
                <a:spcPts val="1200"/>
              </a:spcAft>
              <a:defRPr/>
            </a:pPr>
            <a:r>
              <a:rPr lang="en-GB" err="1">
                <a:latin typeface="Ubuntu" panose="020B0504030602030204" pitchFamily="34" charset="0"/>
              </a:rPr>
              <a:t>sed</a:t>
            </a:r>
            <a:r>
              <a:rPr lang="en-GB">
                <a:latin typeface="Ubuntu" panose="020B0504030602030204" pitchFamily="34" charset="0"/>
              </a:rPr>
              <a:t> </a:t>
            </a:r>
            <a:r>
              <a:rPr lang="en-GB" err="1">
                <a:latin typeface="Ubuntu" panose="020B0504030602030204" pitchFamily="34" charset="0"/>
              </a:rPr>
              <a:t>diam</a:t>
            </a:r>
            <a:r>
              <a:rPr lang="en-GB">
                <a:latin typeface="Ubuntu" panose="020B0504030602030204" pitchFamily="34" charset="0"/>
              </a:rPr>
              <a:t> </a:t>
            </a:r>
            <a:r>
              <a:rPr lang="en-GB" err="1">
                <a:latin typeface="Ubuntu" panose="020B0504030602030204" pitchFamily="34" charset="0"/>
              </a:rPr>
              <a:t>nonumy</a:t>
            </a:r>
            <a:r>
              <a:rPr lang="en-GB">
                <a:latin typeface="Ubuntu" panose="020B0504030602030204" pitchFamily="34" charset="0"/>
              </a:rPr>
              <a:t> </a:t>
            </a:r>
            <a:r>
              <a:rPr lang="en-GB" err="1">
                <a:latin typeface="Ubuntu" panose="020B0504030602030204" pitchFamily="34" charset="0"/>
              </a:rPr>
              <a:t>eirmod</a:t>
            </a:r>
            <a:r>
              <a:rPr lang="en-GB">
                <a:latin typeface="Ubuntu" panose="020B0504030602030204" pitchFamily="34" charset="0"/>
              </a:rPr>
              <a:t> </a:t>
            </a:r>
            <a:r>
              <a:rPr lang="en-GB" err="1">
                <a:latin typeface="Ubuntu" panose="020B0504030602030204" pitchFamily="34" charset="0"/>
              </a:rPr>
              <a:t>tempor</a:t>
            </a:r>
            <a:endParaRPr lang="en-GB">
              <a:latin typeface="Ubuntu" panose="020B0504030602030204" pitchFamily="34" charset="0"/>
            </a:endParaRPr>
          </a:p>
        </p:txBody>
      </p:sp>
    </p:spTree>
    <p:extLst>
      <p:ext uri="{BB962C8B-B14F-4D97-AF65-F5344CB8AC3E}">
        <p14:creationId xmlns:p14="http://schemas.microsoft.com/office/powerpoint/2010/main" val="151155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9548C-EEEF-486A-99DB-52F5C68F85DD}"/>
              </a:ext>
            </a:extLst>
          </p:cNvPr>
          <p:cNvSpPr>
            <a:spLocks noGrp="1"/>
          </p:cNvSpPr>
          <p:nvPr>
            <p:ph type="title"/>
          </p:nvPr>
        </p:nvSpPr>
        <p:spPr/>
        <p:txBody>
          <a:bodyPr/>
          <a:lstStyle/>
          <a:p>
            <a:r>
              <a:rPr lang="en-US"/>
              <a:t>process</a:t>
            </a:r>
          </a:p>
        </p:txBody>
      </p:sp>
      <p:sp>
        <p:nvSpPr>
          <p:cNvPr id="3" name="Text Placeholder 2">
            <a:extLst>
              <a:ext uri="{FF2B5EF4-FFF2-40B4-BE49-F238E27FC236}">
                <a16:creationId xmlns:a16="http://schemas.microsoft.com/office/drawing/2014/main" id="{1ED5CE7D-74B6-4AC8-8F73-C6EB15FDFD19}"/>
              </a:ext>
            </a:extLst>
          </p:cNvPr>
          <p:cNvSpPr>
            <a:spLocks noGrp="1"/>
          </p:cNvSpPr>
          <p:nvPr>
            <p:ph type="body" sz="quarter" idx="11"/>
          </p:nvPr>
        </p:nvSpPr>
        <p:spPr/>
        <p:txBody>
          <a:bodyPr/>
          <a:lstStyle/>
          <a:p>
            <a:endParaRPr lang="en-US"/>
          </a:p>
        </p:txBody>
      </p:sp>
      <p:cxnSp>
        <p:nvCxnSpPr>
          <p:cNvPr id="22" name="Straight Connector 21">
            <a:extLst>
              <a:ext uri="{FF2B5EF4-FFF2-40B4-BE49-F238E27FC236}">
                <a16:creationId xmlns:a16="http://schemas.microsoft.com/office/drawing/2014/main" id="{995DFCB9-903C-4EFB-A64B-035FF0B6238A}"/>
              </a:ext>
              <a:ext uri="{C183D7F6-B498-43B3-948B-1728B52AA6E4}">
                <adec:decorative xmlns:adec="http://schemas.microsoft.com/office/drawing/2017/decorative" val="1"/>
              </a:ext>
            </a:extLst>
          </p:cNvPr>
          <p:cNvCxnSpPr/>
          <p:nvPr/>
        </p:nvCxnSpPr>
        <p:spPr>
          <a:xfrm flipV="1">
            <a:off x="407207" y="2416321"/>
            <a:ext cx="11446211" cy="36920"/>
          </a:xfrm>
          <a:prstGeom prst="line">
            <a:avLst/>
          </a:prstGeom>
          <a:ln w="28575">
            <a:solidFill>
              <a:schemeClr val="tx1">
                <a:lumMod val="95000"/>
                <a:lumOff val="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28A29704-E8AC-4469-93A8-246512AF1F6E}"/>
              </a:ext>
            </a:extLst>
          </p:cNvPr>
          <p:cNvSpPr/>
          <p:nvPr/>
        </p:nvSpPr>
        <p:spPr>
          <a:xfrm>
            <a:off x="850720" y="2031029"/>
            <a:ext cx="845326" cy="827918"/>
          </a:xfrm>
          <a:prstGeom prst="ellipse">
            <a:avLst/>
          </a:prstGeom>
          <a:solidFill>
            <a:srgbClr val="00E6E3"/>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rgbClr val="272936"/>
                </a:solidFill>
              </a:rPr>
              <a:t>1</a:t>
            </a:r>
          </a:p>
        </p:txBody>
      </p:sp>
      <p:sp>
        <p:nvSpPr>
          <p:cNvPr id="86" name="Rectangle 85">
            <a:extLst>
              <a:ext uri="{FF2B5EF4-FFF2-40B4-BE49-F238E27FC236}">
                <a16:creationId xmlns:a16="http://schemas.microsoft.com/office/drawing/2014/main" id="{19E5EFF5-A91D-4FC1-9D2C-688AC4DF12CF}"/>
              </a:ext>
            </a:extLst>
          </p:cNvPr>
          <p:cNvSpPr/>
          <p:nvPr/>
        </p:nvSpPr>
        <p:spPr>
          <a:xfrm>
            <a:off x="560017"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dirty="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dirty="0">
                <a:solidFill>
                  <a:prstClr val="black"/>
                </a:solidFill>
                <a:latin typeface="+mj-lt"/>
              </a:rPr>
              <a:t>Insert bullet point</a:t>
            </a:r>
          </a:p>
        </p:txBody>
      </p:sp>
      <p:sp>
        <p:nvSpPr>
          <p:cNvPr id="38" name="Oval 37">
            <a:extLst>
              <a:ext uri="{FF2B5EF4-FFF2-40B4-BE49-F238E27FC236}">
                <a16:creationId xmlns:a16="http://schemas.microsoft.com/office/drawing/2014/main" id="{FD21EEFA-26C5-4AB9-8B67-3D85FDD8AA5C}"/>
              </a:ext>
            </a:extLst>
          </p:cNvPr>
          <p:cNvSpPr/>
          <p:nvPr/>
        </p:nvSpPr>
        <p:spPr>
          <a:xfrm>
            <a:off x="2466153" y="2031029"/>
            <a:ext cx="845326" cy="827918"/>
          </a:xfrm>
          <a:prstGeom prst="ellipse">
            <a:avLst/>
          </a:prstGeom>
          <a:solidFill>
            <a:srgbClr val="00D5D0"/>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rgbClr val="272936"/>
                </a:solidFill>
              </a:rPr>
              <a:t>2</a:t>
            </a:r>
          </a:p>
        </p:txBody>
      </p:sp>
      <p:sp>
        <p:nvSpPr>
          <p:cNvPr id="87" name="Rectangle 86">
            <a:extLst>
              <a:ext uri="{FF2B5EF4-FFF2-40B4-BE49-F238E27FC236}">
                <a16:creationId xmlns:a16="http://schemas.microsoft.com/office/drawing/2014/main" id="{7095DFE2-3122-4A21-9FEA-0C3F21E3CC9D}"/>
              </a:ext>
            </a:extLst>
          </p:cNvPr>
          <p:cNvSpPr/>
          <p:nvPr/>
        </p:nvSpPr>
        <p:spPr>
          <a:xfrm>
            <a:off x="2168898"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
        <p:nvSpPr>
          <p:cNvPr id="37" name="Oval 36">
            <a:extLst>
              <a:ext uri="{FF2B5EF4-FFF2-40B4-BE49-F238E27FC236}">
                <a16:creationId xmlns:a16="http://schemas.microsoft.com/office/drawing/2014/main" id="{3AAC594B-F3F9-4A9D-BA89-C211A2FCAADB}"/>
              </a:ext>
            </a:extLst>
          </p:cNvPr>
          <p:cNvSpPr/>
          <p:nvPr/>
        </p:nvSpPr>
        <p:spPr>
          <a:xfrm>
            <a:off x="4050348" y="2013510"/>
            <a:ext cx="845326" cy="827918"/>
          </a:xfrm>
          <a:prstGeom prst="ellipse">
            <a:avLst/>
          </a:prstGeom>
          <a:solidFill>
            <a:srgbClr val="00BFBF"/>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rgbClr val="272936"/>
                </a:solidFill>
              </a:rPr>
              <a:t>3</a:t>
            </a:r>
          </a:p>
        </p:txBody>
      </p:sp>
      <p:sp>
        <p:nvSpPr>
          <p:cNvPr id="88" name="Rectangle 87">
            <a:extLst>
              <a:ext uri="{FF2B5EF4-FFF2-40B4-BE49-F238E27FC236}">
                <a16:creationId xmlns:a16="http://schemas.microsoft.com/office/drawing/2014/main" id="{FC326A6C-6F8B-4EA6-AD85-5862B5284DE3}"/>
              </a:ext>
            </a:extLst>
          </p:cNvPr>
          <p:cNvSpPr/>
          <p:nvPr/>
        </p:nvSpPr>
        <p:spPr>
          <a:xfrm>
            <a:off x="3777779"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
        <p:nvSpPr>
          <p:cNvPr id="28" name="Oval 27">
            <a:extLst>
              <a:ext uri="{FF2B5EF4-FFF2-40B4-BE49-F238E27FC236}">
                <a16:creationId xmlns:a16="http://schemas.microsoft.com/office/drawing/2014/main" id="{D19C1131-5DD4-4B98-815D-F872C1FEB030}"/>
              </a:ext>
            </a:extLst>
          </p:cNvPr>
          <p:cNvSpPr/>
          <p:nvPr/>
        </p:nvSpPr>
        <p:spPr>
          <a:xfrm>
            <a:off x="5650162" y="2031029"/>
            <a:ext cx="845326" cy="827918"/>
          </a:xfrm>
          <a:prstGeom prst="ellipse">
            <a:avLst/>
          </a:prstGeom>
          <a:solidFill>
            <a:srgbClr val="00929B"/>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chemeClr val="bg1"/>
                </a:solidFill>
              </a:rPr>
              <a:t>4</a:t>
            </a:r>
          </a:p>
        </p:txBody>
      </p:sp>
      <p:sp>
        <p:nvSpPr>
          <p:cNvPr id="89" name="Rectangle 88">
            <a:extLst>
              <a:ext uri="{FF2B5EF4-FFF2-40B4-BE49-F238E27FC236}">
                <a16:creationId xmlns:a16="http://schemas.microsoft.com/office/drawing/2014/main" id="{39332473-BDD3-495F-99D2-6219F9C0DBDC}"/>
              </a:ext>
            </a:extLst>
          </p:cNvPr>
          <p:cNvSpPr/>
          <p:nvPr/>
        </p:nvSpPr>
        <p:spPr>
          <a:xfrm>
            <a:off x="5386660"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
        <p:nvSpPr>
          <p:cNvPr id="32" name="Oval 31">
            <a:extLst>
              <a:ext uri="{FF2B5EF4-FFF2-40B4-BE49-F238E27FC236}">
                <a16:creationId xmlns:a16="http://schemas.microsoft.com/office/drawing/2014/main" id="{F692F159-5D5F-4596-8E47-260176397D78}"/>
              </a:ext>
            </a:extLst>
          </p:cNvPr>
          <p:cNvSpPr/>
          <p:nvPr/>
        </p:nvSpPr>
        <p:spPr>
          <a:xfrm>
            <a:off x="7249976" y="2031029"/>
            <a:ext cx="845326" cy="827918"/>
          </a:xfrm>
          <a:prstGeom prst="ellipse">
            <a:avLst/>
          </a:prstGeom>
          <a:solidFill>
            <a:srgbClr val="007D74"/>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chemeClr val="bg1"/>
                </a:solidFill>
              </a:rPr>
              <a:t>5</a:t>
            </a:r>
          </a:p>
        </p:txBody>
      </p:sp>
      <p:sp>
        <p:nvSpPr>
          <p:cNvPr id="90" name="Rectangle 89">
            <a:extLst>
              <a:ext uri="{FF2B5EF4-FFF2-40B4-BE49-F238E27FC236}">
                <a16:creationId xmlns:a16="http://schemas.microsoft.com/office/drawing/2014/main" id="{89AFEC5C-3316-43F9-B7C9-6BCC9B829181}"/>
              </a:ext>
            </a:extLst>
          </p:cNvPr>
          <p:cNvSpPr/>
          <p:nvPr/>
        </p:nvSpPr>
        <p:spPr>
          <a:xfrm>
            <a:off x="6995541"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
        <p:nvSpPr>
          <p:cNvPr id="36" name="Oval 35">
            <a:extLst>
              <a:ext uri="{FF2B5EF4-FFF2-40B4-BE49-F238E27FC236}">
                <a16:creationId xmlns:a16="http://schemas.microsoft.com/office/drawing/2014/main" id="{F3CE1659-27EC-4480-89D3-FB68EEC1FE66}"/>
              </a:ext>
            </a:extLst>
          </p:cNvPr>
          <p:cNvSpPr/>
          <p:nvPr/>
        </p:nvSpPr>
        <p:spPr>
          <a:xfrm>
            <a:off x="8849790" y="2031029"/>
            <a:ext cx="845326" cy="827918"/>
          </a:xfrm>
          <a:prstGeom prst="ellipse">
            <a:avLst/>
          </a:prstGeom>
          <a:solidFill>
            <a:srgbClr val="336B7D"/>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chemeClr val="bg1"/>
                </a:solidFill>
              </a:rPr>
              <a:t>6</a:t>
            </a:r>
          </a:p>
        </p:txBody>
      </p:sp>
      <p:sp>
        <p:nvSpPr>
          <p:cNvPr id="91" name="Rectangle 90">
            <a:extLst>
              <a:ext uri="{FF2B5EF4-FFF2-40B4-BE49-F238E27FC236}">
                <a16:creationId xmlns:a16="http://schemas.microsoft.com/office/drawing/2014/main" id="{2C2CDE85-E0D7-4D74-868C-00BAFC0EC6EE}"/>
              </a:ext>
            </a:extLst>
          </p:cNvPr>
          <p:cNvSpPr/>
          <p:nvPr/>
        </p:nvSpPr>
        <p:spPr>
          <a:xfrm>
            <a:off x="8604422"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
        <p:nvSpPr>
          <p:cNvPr id="39" name="Oval 38">
            <a:extLst>
              <a:ext uri="{FF2B5EF4-FFF2-40B4-BE49-F238E27FC236}">
                <a16:creationId xmlns:a16="http://schemas.microsoft.com/office/drawing/2014/main" id="{8A0584E3-707E-4ADF-9108-E2DA63D55DF1}"/>
              </a:ext>
            </a:extLst>
          </p:cNvPr>
          <p:cNvSpPr/>
          <p:nvPr/>
        </p:nvSpPr>
        <p:spPr>
          <a:xfrm>
            <a:off x="10449602" y="2031029"/>
            <a:ext cx="845326" cy="827918"/>
          </a:xfrm>
          <a:prstGeom prst="ellipse">
            <a:avLst/>
          </a:prstGeom>
          <a:solidFill>
            <a:srgbClr val="214554"/>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chemeClr val="bg1"/>
                </a:solidFill>
              </a:rPr>
              <a:t>7</a:t>
            </a:r>
          </a:p>
        </p:txBody>
      </p:sp>
      <p:sp>
        <p:nvSpPr>
          <p:cNvPr id="92" name="Rectangle 91">
            <a:extLst>
              <a:ext uri="{FF2B5EF4-FFF2-40B4-BE49-F238E27FC236}">
                <a16:creationId xmlns:a16="http://schemas.microsoft.com/office/drawing/2014/main" id="{2ACFAF4D-F5A4-4073-84BC-3B24FAEE01C4}"/>
              </a:ext>
            </a:extLst>
          </p:cNvPr>
          <p:cNvSpPr/>
          <p:nvPr/>
        </p:nvSpPr>
        <p:spPr>
          <a:xfrm>
            <a:off x="10213304"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Tree>
    <p:extLst>
      <p:ext uri="{BB962C8B-B14F-4D97-AF65-F5344CB8AC3E}">
        <p14:creationId xmlns:p14="http://schemas.microsoft.com/office/powerpoint/2010/main" val="24729110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a:t>process</a:t>
            </a:r>
            <a:endParaRPr lang="en-GB"/>
          </a:p>
        </p:txBody>
      </p:sp>
      <p:sp>
        <p:nvSpPr>
          <p:cNvPr id="57" name="Rectangle 56">
            <a:extLst>
              <a:ext uri="{FF2B5EF4-FFF2-40B4-BE49-F238E27FC236}">
                <a16:creationId xmlns:a16="http://schemas.microsoft.com/office/drawing/2014/main" id="{BC7866DC-1023-4806-B601-526AEEA15EB9}"/>
              </a:ext>
            </a:extLst>
          </p:cNvPr>
          <p:cNvSpPr/>
          <p:nvPr/>
        </p:nvSpPr>
        <p:spPr>
          <a:xfrm>
            <a:off x="560017" y="1632076"/>
            <a:ext cx="2052000"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Click to insert title</a:t>
            </a:r>
            <a:endParaRPr lang="pt-PT" sz="1600">
              <a:solidFill>
                <a:schemeClr val="bg1"/>
              </a:solidFill>
              <a:latin typeface="+mj-lt"/>
            </a:endParaRPr>
          </a:p>
        </p:txBody>
      </p:sp>
      <p:sp>
        <p:nvSpPr>
          <p:cNvPr id="55" name="Rectangle 54">
            <a:extLst>
              <a:ext uri="{FF2B5EF4-FFF2-40B4-BE49-F238E27FC236}">
                <a16:creationId xmlns:a16="http://schemas.microsoft.com/office/drawing/2014/main" id="{4E37CE8D-4A19-4584-BE7E-E4BC9ECB4F23}"/>
              </a:ext>
            </a:extLst>
          </p:cNvPr>
          <p:cNvSpPr/>
          <p:nvPr/>
        </p:nvSpPr>
        <p:spPr>
          <a:xfrm>
            <a:off x="560017" y="2449428"/>
            <a:ext cx="2052000" cy="3932321"/>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Insert bullet point</a:t>
            </a:r>
          </a:p>
        </p:txBody>
      </p:sp>
      <p:sp>
        <p:nvSpPr>
          <p:cNvPr id="129" name="Rectangle 128">
            <a:extLst>
              <a:ext uri="{FF2B5EF4-FFF2-40B4-BE49-F238E27FC236}">
                <a16:creationId xmlns:a16="http://schemas.microsoft.com/office/drawing/2014/main" id="{E2EB91EC-C92D-4D55-89F6-3D5DBBD4FDFD}"/>
              </a:ext>
            </a:extLst>
          </p:cNvPr>
          <p:cNvSpPr/>
          <p:nvPr/>
        </p:nvSpPr>
        <p:spPr>
          <a:xfrm>
            <a:off x="2823582" y="1632076"/>
            <a:ext cx="2052000" cy="817353"/>
          </a:xfrm>
          <a:prstGeom prst="rect">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Click to insert title</a:t>
            </a:r>
            <a:endParaRPr lang="pt-PT" sz="1600">
              <a:solidFill>
                <a:schemeClr val="bg1"/>
              </a:solidFill>
              <a:latin typeface="+mj-lt"/>
            </a:endParaRPr>
          </a:p>
        </p:txBody>
      </p:sp>
      <p:sp>
        <p:nvSpPr>
          <p:cNvPr id="67" name="Rectangle 66">
            <a:extLst>
              <a:ext uri="{FF2B5EF4-FFF2-40B4-BE49-F238E27FC236}">
                <a16:creationId xmlns:a16="http://schemas.microsoft.com/office/drawing/2014/main" id="{25E789E2-E6E2-4C1D-B2DB-758B0FA58CE7}"/>
              </a:ext>
            </a:extLst>
          </p:cNvPr>
          <p:cNvSpPr/>
          <p:nvPr/>
        </p:nvSpPr>
        <p:spPr>
          <a:xfrm>
            <a:off x="2823582" y="2449428"/>
            <a:ext cx="2052000" cy="3932321"/>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
        <p:nvSpPr>
          <p:cNvPr id="151" name="Rectangle 150">
            <a:extLst>
              <a:ext uri="{FF2B5EF4-FFF2-40B4-BE49-F238E27FC236}">
                <a16:creationId xmlns:a16="http://schemas.microsoft.com/office/drawing/2014/main" id="{52484C20-18AE-4133-8B2F-B65F67F426C7}"/>
              </a:ext>
            </a:extLst>
          </p:cNvPr>
          <p:cNvSpPr/>
          <p:nvPr/>
        </p:nvSpPr>
        <p:spPr>
          <a:xfrm>
            <a:off x="5087147" y="1632076"/>
            <a:ext cx="2052000" cy="817353"/>
          </a:xfrm>
          <a:prstGeom prst="rect">
            <a:avLst/>
          </a:prstGeom>
          <a:solidFill>
            <a:srgbClr val="0F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Click to insert title</a:t>
            </a:r>
            <a:endParaRPr lang="pt-PT" sz="1600">
              <a:solidFill>
                <a:schemeClr val="bg1"/>
              </a:solidFill>
              <a:latin typeface="+mj-lt"/>
            </a:endParaRPr>
          </a:p>
        </p:txBody>
      </p:sp>
      <p:sp>
        <p:nvSpPr>
          <p:cNvPr id="68" name="Rectangle 67">
            <a:extLst>
              <a:ext uri="{FF2B5EF4-FFF2-40B4-BE49-F238E27FC236}">
                <a16:creationId xmlns:a16="http://schemas.microsoft.com/office/drawing/2014/main" id="{F22435D5-F02C-4FD6-A8DA-2784D7492068}"/>
              </a:ext>
            </a:extLst>
          </p:cNvPr>
          <p:cNvSpPr/>
          <p:nvPr/>
        </p:nvSpPr>
        <p:spPr>
          <a:xfrm>
            <a:off x="5087147" y="2449428"/>
            <a:ext cx="2052000" cy="3932321"/>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
        <p:nvSpPr>
          <p:cNvPr id="90" name="Rectangle 89">
            <a:extLst>
              <a:ext uri="{FF2B5EF4-FFF2-40B4-BE49-F238E27FC236}">
                <a16:creationId xmlns:a16="http://schemas.microsoft.com/office/drawing/2014/main" id="{3883AECB-0BCE-4FB4-8CFA-051014ECF884}"/>
              </a:ext>
            </a:extLst>
          </p:cNvPr>
          <p:cNvSpPr/>
          <p:nvPr/>
        </p:nvSpPr>
        <p:spPr>
          <a:xfrm>
            <a:off x="7350712" y="1632076"/>
            <a:ext cx="2052000" cy="817353"/>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Click to insert title</a:t>
            </a:r>
            <a:endParaRPr lang="pt-PT" sz="1600">
              <a:solidFill>
                <a:schemeClr val="bg1"/>
              </a:solidFill>
              <a:latin typeface="+mj-lt"/>
            </a:endParaRPr>
          </a:p>
        </p:txBody>
      </p:sp>
      <p:sp>
        <p:nvSpPr>
          <p:cNvPr id="69" name="Rectangle 68">
            <a:extLst>
              <a:ext uri="{FF2B5EF4-FFF2-40B4-BE49-F238E27FC236}">
                <a16:creationId xmlns:a16="http://schemas.microsoft.com/office/drawing/2014/main" id="{E47EACD7-5303-48EC-A370-E3AA408D2313}"/>
              </a:ext>
            </a:extLst>
          </p:cNvPr>
          <p:cNvSpPr/>
          <p:nvPr/>
        </p:nvSpPr>
        <p:spPr>
          <a:xfrm>
            <a:off x="7350712" y="2449428"/>
            <a:ext cx="2052000" cy="3932321"/>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
        <p:nvSpPr>
          <p:cNvPr id="63" name="Rectangle 62">
            <a:extLst>
              <a:ext uri="{FF2B5EF4-FFF2-40B4-BE49-F238E27FC236}">
                <a16:creationId xmlns:a16="http://schemas.microsoft.com/office/drawing/2014/main" id="{33D7818D-1662-4061-B35F-E71AA0DA3E37}"/>
              </a:ext>
            </a:extLst>
          </p:cNvPr>
          <p:cNvSpPr/>
          <p:nvPr/>
        </p:nvSpPr>
        <p:spPr>
          <a:xfrm>
            <a:off x="9614276" y="1632076"/>
            <a:ext cx="2052000" cy="817353"/>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Click to insert title</a:t>
            </a:r>
            <a:endParaRPr lang="pt-PT" sz="1600">
              <a:solidFill>
                <a:schemeClr val="bg1"/>
              </a:solidFill>
              <a:latin typeface="+mj-lt"/>
            </a:endParaRPr>
          </a:p>
        </p:txBody>
      </p:sp>
      <p:sp>
        <p:nvSpPr>
          <p:cNvPr id="70" name="Rectangle 69">
            <a:extLst>
              <a:ext uri="{FF2B5EF4-FFF2-40B4-BE49-F238E27FC236}">
                <a16:creationId xmlns:a16="http://schemas.microsoft.com/office/drawing/2014/main" id="{C66AFB7A-6151-4579-B104-63D4430F79AF}"/>
              </a:ext>
            </a:extLst>
          </p:cNvPr>
          <p:cNvSpPr/>
          <p:nvPr/>
        </p:nvSpPr>
        <p:spPr>
          <a:xfrm>
            <a:off x="9614276" y="2449428"/>
            <a:ext cx="2052000" cy="3932321"/>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22057-3CCB-4971-8EED-5D2CE9358631}"/>
              </a:ext>
            </a:extLst>
          </p:cNvPr>
          <p:cNvSpPr>
            <a:spLocks noGrp="1"/>
          </p:cNvSpPr>
          <p:nvPr>
            <p:ph type="title"/>
          </p:nvPr>
        </p:nvSpPr>
        <p:spPr/>
        <p:txBody>
          <a:bodyPr/>
          <a:lstStyle/>
          <a:p>
            <a:r>
              <a:rPr lang="en-US"/>
              <a:t>process</a:t>
            </a:r>
          </a:p>
        </p:txBody>
      </p:sp>
      <p:sp>
        <p:nvSpPr>
          <p:cNvPr id="9" name="Round Same Side Corner Rectangle 7">
            <a:extLst>
              <a:ext uri="{FF2B5EF4-FFF2-40B4-BE49-F238E27FC236}">
                <a16:creationId xmlns:a16="http://schemas.microsoft.com/office/drawing/2014/main" id="{DBD849F3-E0BD-4B26-BB17-3A9CA9AE76EF}"/>
              </a:ext>
            </a:extLst>
          </p:cNvPr>
          <p:cNvSpPr/>
          <p:nvPr/>
        </p:nvSpPr>
        <p:spPr bwMode="auto">
          <a:xfrm rot="16200000" flipH="1">
            <a:off x="413758" y="1767132"/>
            <a:ext cx="849424" cy="572710"/>
          </a:xfrm>
          <a:prstGeom prst="round2SameRect">
            <a:avLst/>
          </a:prstGeom>
          <a:solidFill>
            <a:srgbClr val="BA2980"/>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GB" sz="2800">
                <a:solidFill>
                  <a:schemeClr val="bg1"/>
                </a:solidFill>
                <a:latin typeface="+mj-lt"/>
              </a:rPr>
              <a:t>1</a:t>
            </a:r>
          </a:p>
        </p:txBody>
      </p:sp>
      <p:sp>
        <p:nvSpPr>
          <p:cNvPr id="8" name="Rounded Rectangle 6">
            <a:extLst>
              <a:ext uri="{FF2B5EF4-FFF2-40B4-BE49-F238E27FC236}">
                <a16:creationId xmlns:a16="http://schemas.microsoft.com/office/drawing/2014/main" id="{A10D022C-52AB-4CBA-B25C-30B44683D855}"/>
              </a:ext>
            </a:extLst>
          </p:cNvPr>
          <p:cNvSpPr/>
          <p:nvPr/>
        </p:nvSpPr>
        <p:spPr bwMode="auto">
          <a:xfrm>
            <a:off x="1123098" y="1628774"/>
            <a:ext cx="10552966"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GB" sz="1400" b="1"/>
              <a:t>Heading</a:t>
            </a:r>
          </a:p>
          <a:p>
            <a:pPr marL="169863" indent="-169863" fontAlgn="t">
              <a:spcBef>
                <a:spcPts val="200"/>
              </a:spcBef>
              <a:spcAft>
                <a:spcPts val="200"/>
              </a:spcAft>
              <a:buClr>
                <a:schemeClr val="accent1"/>
              </a:buClr>
              <a:buFont typeface="Wingdings" pitchFamily="2" charset="2"/>
              <a:buChar char="§"/>
              <a:defRPr/>
            </a:pPr>
            <a:r>
              <a:rPr lang="en-GB" sz="1400">
                <a:cs typeface="+mn-cs"/>
              </a:rPr>
              <a:t>Text</a:t>
            </a:r>
          </a:p>
        </p:txBody>
      </p:sp>
      <p:sp>
        <p:nvSpPr>
          <p:cNvPr id="12" name="Round Same Side Corner Rectangle 17">
            <a:extLst>
              <a:ext uri="{FF2B5EF4-FFF2-40B4-BE49-F238E27FC236}">
                <a16:creationId xmlns:a16="http://schemas.microsoft.com/office/drawing/2014/main" id="{12CFB54A-8A9A-42AE-B6A9-1DF280A93DCD}"/>
              </a:ext>
            </a:extLst>
          </p:cNvPr>
          <p:cNvSpPr/>
          <p:nvPr/>
        </p:nvSpPr>
        <p:spPr bwMode="auto">
          <a:xfrm rot="16200000" flipH="1">
            <a:off x="413755" y="2743018"/>
            <a:ext cx="849423" cy="572712"/>
          </a:xfrm>
          <a:prstGeom prst="round2SameRect">
            <a:avLst/>
          </a:prstGeom>
          <a:solidFill>
            <a:srgbClr val="9E4780"/>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GB" sz="2800">
                <a:solidFill>
                  <a:prstClr val="white"/>
                </a:solidFill>
                <a:latin typeface="+mj-lt"/>
              </a:rPr>
              <a:t>2</a:t>
            </a:r>
          </a:p>
        </p:txBody>
      </p:sp>
      <p:sp>
        <p:nvSpPr>
          <p:cNvPr id="11" name="Rounded Rectangle 8">
            <a:extLst>
              <a:ext uri="{FF2B5EF4-FFF2-40B4-BE49-F238E27FC236}">
                <a16:creationId xmlns:a16="http://schemas.microsoft.com/office/drawing/2014/main" id="{9BA78449-C825-45A6-A0B8-5B826BA99201}"/>
              </a:ext>
            </a:extLst>
          </p:cNvPr>
          <p:cNvSpPr/>
          <p:nvPr/>
        </p:nvSpPr>
        <p:spPr bwMode="auto">
          <a:xfrm>
            <a:off x="1123098" y="2604661"/>
            <a:ext cx="10552966"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GB" sz="1400" b="1"/>
              <a:t>Heading</a:t>
            </a:r>
          </a:p>
          <a:p>
            <a:pPr marL="169863" indent="-169863" fontAlgn="t">
              <a:spcBef>
                <a:spcPts val="200"/>
              </a:spcBef>
              <a:spcAft>
                <a:spcPts val="200"/>
              </a:spcAft>
              <a:buClr>
                <a:schemeClr val="accent1"/>
              </a:buClr>
              <a:buFont typeface="Wingdings" pitchFamily="2" charset="2"/>
              <a:buChar char="§"/>
              <a:defRPr/>
            </a:pPr>
            <a:r>
              <a:rPr lang="en-GB" sz="1400"/>
              <a:t>Text</a:t>
            </a:r>
          </a:p>
        </p:txBody>
      </p:sp>
      <p:sp>
        <p:nvSpPr>
          <p:cNvPr id="21" name="Round Same Side Corner Rectangle 18">
            <a:extLst>
              <a:ext uri="{FF2B5EF4-FFF2-40B4-BE49-F238E27FC236}">
                <a16:creationId xmlns:a16="http://schemas.microsoft.com/office/drawing/2014/main" id="{F803A07B-85E8-48C8-97DF-8864DFDBCA08}"/>
              </a:ext>
            </a:extLst>
          </p:cNvPr>
          <p:cNvSpPr/>
          <p:nvPr/>
        </p:nvSpPr>
        <p:spPr bwMode="auto">
          <a:xfrm rot="16200000" flipH="1">
            <a:off x="413754" y="3718906"/>
            <a:ext cx="849425" cy="572712"/>
          </a:xfrm>
          <a:prstGeom prst="round2SameRect">
            <a:avLst/>
          </a:prstGeom>
          <a:solidFill>
            <a:srgbClr val="750D5C"/>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GB" sz="2800">
                <a:solidFill>
                  <a:prstClr val="white"/>
                </a:solidFill>
                <a:latin typeface="+mj-lt"/>
              </a:rPr>
              <a:t>3</a:t>
            </a:r>
          </a:p>
        </p:txBody>
      </p:sp>
      <p:sp>
        <p:nvSpPr>
          <p:cNvPr id="20" name="Rounded Rectangle 10">
            <a:extLst>
              <a:ext uri="{FF2B5EF4-FFF2-40B4-BE49-F238E27FC236}">
                <a16:creationId xmlns:a16="http://schemas.microsoft.com/office/drawing/2014/main" id="{85FD6E42-8C81-413E-921F-4A04FE6A1EC2}"/>
              </a:ext>
            </a:extLst>
          </p:cNvPr>
          <p:cNvSpPr/>
          <p:nvPr/>
        </p:nvSpPr>
        <p:spPr bwMode="auto">
          <a:xfrm>
            <a:off x="1123098" y="3580547"/>
            <a:ext cx="10552966"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GB" sz="1400" b="1"/>
              <a:t>Heading</a:t>
            </a:r>
          </a:p>
          <a:p>
            <a:pPr marL="169863" indent="-169863" fontAlgn="t">
              <a:spcBef>
                <a:spcPts val="200"/>
              </a:spcBef>
              <a:spcAft>
                <a:spcPts val="200"/>
              </a:spcAft>
              <a:buClr>
                <a:schemeClr val="accent1"/>
              </a:buClr>
              <a:buFont typeface="Wingdings" pitchFamily="2" charset="2"/>
              <a:buChar char="§"/>
              <a:defRPr/>
            </a:pPr>
            <a:r>
              <a:rPr lang="en-GB" sz="1400"/>
              <a:t>Text</a:t>
            </a:r>
          </a:p>
        </p:txBody>
      </p:sp>
      <p:sp>
        <p:nvSpPr>
          <p:cNvPr id="15" name="Round Same Side Corner Rectangle 19">
            <a:extLst>
              <a:ext uri="{FF2B5EF4-FFF2-40B4-BE49-F238E27FC236}">
                <a16:creationId xmlns:a16="http://schemas.microsoft.com/office/drawing/2014/main" id="{A64EB7CB-9FD9-4C28-97AD-C6B24987E560}"/>
              </a:ext>
            </a:extLst>
          </p:cNvPr>
          <p:cNvSpPr/>
          <p:nvPr/>
        </p:nvSpPr>
        <p:spPr bwMode="auto">
          <a:xfrm rot="16200000" flipH="1">
            <a:off x="413754" y="4694792"/>
            <a:ext cx="849425" cy="572712"/>
          </a:xfrm>
          <a:prstGeom prst="round2SameRect">
            <a:avLst/>
          </a:prstGeom>
          <a:solidFill>
            <a:srgbClr val="A6001A"/>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GB" sz="2800">
                <a:solidFill>
                  <a:prstClr val="white"/>
                </a:solidFill>
                <a:latin typeface="+mj-lt"/>
              </a:rPr>
              <a:t>4</a:t>
            </a:r>
          </a:p>
        </p:txBody>
      </p:sp>
      <p:sp>
        <p:nvSpPr>
          <p:cNvPr id="14" name="Rounded Rectangle 11">
            <a:extLst>
              <a:ext uri="{FF2B5EF4-FFF2-40B4-BE49-F238E27FC236}">
                <a16:creationId xmlns:a16="http://schemas.microsoft.com/office/drawing/2014/main" id="{A78D183D-5E34-4A45-93F4-9CF953B87E52}"/>
              </a:ext>
            </a:extLst>
          </p:cNvPr>
          <p:cNvSpPr/>
          <p:nvPr/>
        </p:nvSpPr>
        <p:spPr bwMode="auto">
          <a:xfrm>
            <a:off x="1123098" y="4556434"/>
            <a:ext cx="10552966"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GB" sz="1400" b="1"/>
              <a:t>Heading</a:t>
            </a:r>
          </a:p>
          <a:p>
            <a:pPr marL="169863" indent="-169863" fontAlgn="t">
              <a:spcBef>
                <a:spcPts val="200"/>
              </a:spcBef>
              <a:spcAft>
                <a:spcPts val="200"/>
              </a:spcAft>
              <a:buClr>
                <a:schemeClr val="accent1"/>
              </a:buClr>
              <a:buFont typeface="Wingdings" pitchFamily="2" charset="2"/>
              <a:buChar char="§"/>
              <a:defRPr/>
            </a:pPr>
            <a:r>
              <a:rPr lang="en-GB" sz="1400"/>
              <a:t>Text</a:t>
            </a:r>
          </a:p>
        </p:txBody>
      </p:sp>
      <p:sp>
        <p:nvSpPr>
          <p:cNvPr id="18" name="Round Same Side Corner Rectangle 20">
            <a:extLst>
              <a:ext uri="{FF2B5EF4-FFF2-40B4-BE49-F238E27FC236}">
                <a16:creationId xmlns:a16="http://schemas.microsoft.com/office/drawing/2014/main" id="{8FE96C09-5FC2-4C5A-875A-94F5B022800E}"/>
              </a:ext>
            </a:extLst>
          </p:cNvPr>
          <p:cNvSpPr/>
          <p:nvPr/>
        </p:nvSpPr>
        <p:spPr bwMode="auto">
          <a:xfrm rot="16200000" flipH="1">
            <a:off x="413754" y="5670681"/>
            <a:ext cx="849425" cy="572712"/>
          </a:xfrm>
          <a:prstGeom prst="round2SameRect">
            <a:avLst/>
          </a:prstGeom>
          <a:solidFill>
            <a:srgbClr val="590A42"/>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GB" sz="2800">
                <a:solidFill>
                  <a:prstClr val="white"/>
                </a:solidFill>
                <a:latin typeface="+mj-lt"/>
              </a:rPr>
              <a:t>5</a:t>
            </a:r>
          </a:p>
        </p:txBody>
      </p:sp>
      <p:sp>
        <p:nvSpPr>
          <p:cNvPr id="17" name="Rounded Rectangle 12">
            <a:extLst>
              <a:ext uri="{FF2B5EF4-FFF2-40B4-BE49-F238E27FC236}">
                <a16:creationId xmlns:a16="http://schemas.microsoft.com/office/drawing/2014/main" id="{016ADDA2-1924-456A-8039-683708F4467D}"/>
              </a:ext>
            </a:extLst>
          </p:cNvPr>
          <p:cNvSpPr/>
          <p:nvPr/>
        </p:nvSpPr>
        <p:spPr bwMode="auto">
          <a:xfrm>
            <a:off x="1123098" y="5532323"/>
            <a:ext cx="10552966"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GB" sz="1400" b="1"/>
              <a:t>Heading</a:t>
            </a:r>
          </a:p>
          <a:p>
            <a:pPr marL="169863" indent="-169863" fontAlgn="t">
              <a:spcBef>
                <a:spcPts val="200"/>
              </a:spcBef>
              <a:spcAft>
                <a:spcPts val="200"/>
              </a:spcAft>
              <a:buClr>
                <a:schemeClr val="accent1"/>
              </a:buClr>
              <a:buFont typeface="Wingdings" pitchFamily="2" charset="2"/>
              <a:buChar char="§"/>
              <a:defRPr/>
            </a:pPr>
            <a:r>
              <a:rPr lang="en-GB" sz="1400"/>
              <a:t>Text</a:t>
            </a:r>
          </a:p>
        </p:txBody>
      </p:sp>
    </p:spTree>
    <p:extLst>
      <p:ext uri="{BB962C8B-B14F-4D97-AF65-F5344CB8AC3E}">
        <p14:creationId xmlns:p14="http://schemas.microsoft.com/office/powerpoint/2010/main" val="38301478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D7EC3854-A933-49C2-AFD4-A2CDBAE60AAD}"/>
              </a:ext>
              <a:ext uri="{C183D7F6-B498-43B3-948B-1728B52AA6E4}">
                <adec:decorative xmlns:adec="http://schemas.microsoft.com/office/drawing/2017/decorative" val="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7059" b="17059"/>
          <a:stretch>
            <a:fillRect/>
          </a:stretch>
        </p:blipFill>
        <p:spPr/>
      </p:pic>
      <p:sp>
        <p:nvSpPr>
          <p:cNvPr id="4" name="Rectangle 3">
            <a:extLst>
              <a:ext uri="{FF2B5EF4-FFF2-40B4-BE49-F238E27FC236}">
                <a16:creationId xmlns:a16="http://schemas.microsoft.com/office/drawing/2014/main" id="{5B141BED-2E35-DF4F-9CAB-CC334017BAB3}"/>
              </a:ext>
              <a:ext uri="{C183D7F6-B498-43B3-948B-1728B52AA6E4}">
                <adec:decorative xmlns:adec="http://schemas.microsoft.com/office/drawing/2017/decorative" val="1"/>
              </a:ext>
            </a:extLst>
          </p:cNvPr>
          <p:cNvSpPr/>
          <p:nvPr/>
        </p:nvSpPr>
        <p:spPr>
          <a:xfrm>
            <a:off x="5303838" y="0"/>
            <a:ext cx="6888162"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p:txBody>
          <a:bodyPr/>
          <a:lstStyle/>
          <a:p>
            <a:r>
              <a:rPr lang="en-GB" dirty="0"/>
              <a:t>Title of presentation</a:t>
            </a:r>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p:txBody>
          <a:bodyPr/>
          <a:lstStyle/>
          <a:p>
            <a:endParaRPr lang="en-GB" dirty="0"/>
          </a:p>
        </p:txBody>
      </p:sp>
      <p:sp>
        <p:nvSpPr>
          <p:cNvPr id="5" name="Graphic 6">
            <a:extLst>
              <a:ext uri="{FF2B5EF4-FFF2-40B4-BE49-F238E27FC236}">
                <a16:creationId xmlns:a16="http://schemas.microsoft.com/office/drawing/2014/main" id="{360458FB-76B6-4743-A12A-A42645182007}"/>
              </a:ext>
              <a:ext uri="{C183D7F6-B498-43B3-948B-1728B52AA6E4}">
                <adec:decorative xmlns:adec="http://schemas.microsoft.com/office/drawing/2017/decorative" val="1"/>
              </a:ext>
            </a:extLst>
          </p:cNvPr>
          <p:cNvSpPr>
            <a:spLocks/>
          </p:cNvSpPr>
          <p:nvPr/>
        </p:nvSpPr>
        <p:spPr>
          <a:xfrm rot="14203607">
            <a:off x="2877258"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21017220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86090-BF8B-46A4-B679-3723F2652D74}"/>
              </a:ext>
            </a:extLst>
          </p:cNvPr>
          <p:cNvSpPr>
            <a:spLocks noGrp="1"/>
          </p:cNvSpPr>
          <p:nvPr>
            <p:ph type="title"/>
          </p:nvPr>
        </p:nvSpPr>
        <p:spPr/>
        <p:txBody>
          <a:bodyPr/>
          <a:lstStyle/>
          <a:p>
            <a:r>
              <a:rPr lang="en-GB"/>
              <a:t>Title</a:t>
            </a:r>
            <a:br>
              <a:rPr lang="en-GB"/>
            </a:br>
            <a:r>
              <a:rPr lang="en-GB"/>
              <a:t>(Work for 1 or 2 lines of title)</a:t>
            </a:r>
          </a:p>
        </p:txBody>
      </p:sp>
      <p:sp>
        <p:nvSpPr>
          <p:cNvPr id="44" name="Rectangle: Rounded Corners 43">
            <a:extLst>
              <a:ext uri="{FF2B5EF4-FFF2-40B4-BE49-F238E27FC236}">
                <a16:creationId xmlns:a16="http://schemas.microsoft.com/office/drawing/2014/main" id="{7FD89B3A-7EB7-4EE9-AE1A-D02041DB3660}"/>
              </a:ext>
              <a:ext uri="{C183D7F6-B498-43B3-948B-1728B52AA6E4}">
                <adec:decorative xmlns:adec="http://schemas.microsoft.com/office/drawing/2017/decorative" val="1"/>
              </a:ext>
            </a:extLst>
          </p:cNvPr>
          <p:cNvSpPr/>
          <p:nvPr/>
        </p:nvSpPr>
        <p:spPr>
          <a:xfrm>
            <a:off x="1504710" y="4906365"/>
            <a:ext cx="10279302" cy="1128258"/>
          </a:xfrm>
          <a:prstGeom prst="roundRect">
            <a:avLst>
              <a:gd name="adj" fmla="val 20384"/>
            </a:avLst>
          </a:prstGeom>
          <a:solidFill>
            <a:srgbClr val="336B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Rectangle: Rounded Corners 44">
            <a:extLst>
              <a:ext uri="{FF2B5EF4-FFF2-40B4-BE49-F238E27FC236}">
                <a16:creationId xmlns:a16="http://schemas.microsoft.com/office/drawing/2014/main" id="{4A65F35C-C24F-4DD7-A116-87F7A1C92085}"/>
              </a:ext>
              <a:ext uri="{C183D7F6-B498-43B3-948B-1728B52AA6E4}">
                <adec:decorative xmlns:adec="http://schemas.microsoft.com/office/drawing/2017/decorative" val="1"/>
              </a:ext>
            </a:extLst>
          </p:cNvPr>
          <p:cNvSpPr/>
          <p:nvPr/>
        </p:nvSpPr>
        <p:spPr>
          <a:xfrm>
            <a:off x="1504710" y="1910357"/>
            <a:ext cx="10279304" cy="1128258"/>
          </a:xfrm>
          <a:prstGeom prst="roundRect">
            <a:avLst>
              <a:gd name="adj" fmla="val 3361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46" name="Table Placeholder 4">
            <a:extLst>
              <a:ext uri="{FF2B5EF4-FFF2-40B4-BE49-F238E27FC236}">
                <a16:creationId xmlns:a16="http://schemas.microsoft.com/office/drawing/2014/main" id="{312B6EEE-8145-4620-A7E4-7E5802F1A9F0}"/>
              </a:ext>
            </a:extLst>
          </p:cNvPr>
          <p:cNvGraphicFramePr>
            <a:graphicFrameLocks/>
          </p:cNvGraphicFramePr>
          <p:nvPr>
            <p:extLst>
              <p:ext uri="{D42A27DB-BD31-4B8C-83A1-F6EECF244321}">
                <p14:modId xmlns:p14="http://schemas.microsoft.com/office/powerpoint/2010/main" val="1559673229"/>
              </p:ext>
            </p:extLst>
          </p:nvPr>
        </p:nvGraphicFramePr>
        <p:xfrm>
          <a:off x="407989" y="2073275"/>
          <a:ext cx="11376023" cy="3887790"/>
        </p:xfrm>
        <a:graphic>
          <a:graphicData uri="http://schemas.openxmlformats.org/drawingml/2006/table">
            <a:tbl>
              <a:tblPr firstRow="1" bandRow="1">
                <a:tableStyleId>{5C22544A-7EE6-4342-B048-85BDC9FD1C3A}</a:tableStyleId>
              </a:tblPr>
              <a:tblGrid>
                <a:gridCol w="1098847">
                  <a:extLst>
                    <a:ext uri="{9D8B030D-6E8A-4147-A177-3AD203B41FA5}">
                      <a16:colId xmlns:a16="http://schemas.microsoft.com/office/drawing/2014/main" val="2607851620"/>
                    </a:ext>
                  </a:extLst>
                </a:gridCol>
                <a:gridCol w="1468168">
                  <a:extLst>
                    <a:ext uri="{9D8B030D-6E8A-4147-A177-3AD203B41FA5}">
                      <a16:colId xmlns:a16="http://schemas.microsoft.com/office/drawing/2014/main" val="1243403413"/>
                    </a:ext>
                  </a:extLst>
                </a:gridCol>
                <a:gridCol w="1468168">
                  <a:extLst>
                    <a:ext uri="{9D8B030D-6E8A-4147-A177-3AD203B41FA5}">
                      <a16:colId xmlns:a16="http://schemas.microsoft.com/office/drawing/2014/main" val="1389503925"/>
                    </a:ext>
                  </a:extLst>
                </a:gridCol>
                <a:gridCol w="1468168">
                  <a:extLst>
                    <a:ext uri="{9D8B030D-6E8A-4147-A177-3AD203B41FA5}">
                      <a16:colId xmlns:a16="http://schemas.microsoft.com/office/drawing/2014/main" val="3631262642"/>
                    </a:ext>
                  </a:extLst>
                </a:gridCol>
                <a:gridCol w="1468168">
                  <a:extLst>
                    <a:ext uri="{9D8B030D-6E8A-4147-A177-3AD203B41FA5}">
                      <a16:colId xmlns:a16="http://schemas.microsoft.com/office/drawing/2014/main" val="2121792064"/>
                    </a:ext>
                  </a:extLst>
                </a:gridCol>
                <a:gridCol w="1468168">
                  <a:extLst>
                    <a:ext uri="{9D8B030D-6E8A-4147-A177-3AD203B41FA5}">
                      <a16:colId xmlns:a16="http://schemas.microsoft.com/office/drawing/2014/main" val="2163038458"/>
                    </a:ext>
                  </a:extLst>
                </a:gridCol>
                <a:gridCol w="1468168">
                  <a:extLst>
                    <a:ext uri="{9D8B030D-6E8A-4147-A177-3AD203B41FA5}">
                      <a16:colId xmlns:a16="http://schemas.microsoft.com/office/drawing/2014/main" val="2134234959"/>
                    </a:ext>
                  </a:extLst>
                </a:gridCol>
                <a:gridCol w="1468168">
                  <a:extLst>
                    <a:ext uri="{9D8B030D-6E8A-4147-A177-3AD203B41FA5}">
                      <a16:colId xmlns:a16="http://schemas.microsoft.com/office/drawing/2014/main" val="1865152723"/>
                    </a:ext>
                  </a:extLst>
                </a:gridCol>
              </a:tblGrid>
              <a:tr h="532788">
                <a:tc>
                  <a:txBody>
                    <a:bodyPr/>
                    <a:lstStyle/>
                    <a:p>
                      <a:pPr algn="ctr"/>
                      <a:endParaRPr lang="en-GB" sz="1200" noProof="0">
                        <a:solidFill>
                          <a:srgbClr val="00E6E3"/>
                        </a:solidFill>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1" noProof="0" dirty="0">
                          <a:solidFill>
                            <a:srgbClr val="00E6E3"/>
                          </a:solidFill>
                          <a:latin typeface="+mn-lt"/>
                        </a:rPr>
                        <a:t>TEXT</a:t>
                      </a:r>
                    </a:p>
                  </a:txBody>
                  <a:tcPr marL="110322" marR="110322"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lnSpc>
                          <a:spcPts val="1400"/>
                        </a:lnSpc>
                      </a:pPr>
                      <a:r>
                        <a:rPr lang="en-GB" sz="1200" b="0" noProof="0" dirty="0">
                          <a:solidFill>
                            <a:schemeClr val="bg1"/>
                          </a:solidFill>
                          <a:latin typeface="+mn-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338091"/>
                    </a:solidFill>
                  </a:tcPr>
                </a:tc>
                <a:tc>
                  <a:txBody>
                    <a:bodyPr/>
                    <a:lstStyle/>
                    <a:p>
                      <a:pPr algn="l">
                        <a:lnSpc>
                          <a:spcPts val="1400"/>
                        </a:lnSpc>
                      </a:pPr>
                      <a:r>
                        <a:rPr lang="en-GB" sz="1200" noProof="0">
                          <a:solidFill>
                            <a:schemeClr val="tx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0348787"/>
                  </a:ext>
                </a:extLst>
              </a:tr>
              <a:tr h="847761">
                <a:tc>
                  <a:txBody>
                    <a:bodyPr/>
                    <a:lstStyle/>
                    <a:p>
                      <a:pPr algn="l">
                        <a:lnSpc>
                          <a:spcPts val="1400"/>
                        </a:lnSpc>
                      </a:pPr>
                      <a:r>
                        <a:rPr lang="en-GB" sz="1200" b="0" noProof="0">
                          <a:solidFill>
                            <a:schemeClr val="bg1"/>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3809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lnSpc>
                          <a:spcPts val="1400"/>
                        </a:lnSpc>
                      </a:pPr>
                      <a:r>
                        <a:rPr lang="en-GB" sz="1200" b="0" noProof="0">
                          <a:solidFill>
                            <a:schemeClr val="bg1"/>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3809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endParaRPr lang="en-GB" sz="1200" b="1" noProof="0">
                        <a:solidFill>
                          <a:schemeClr val="bg1"/>
                        </a:solidFill>
                        <a:latin typeface="+mn-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1400"/>
                        </a:lnSpc>
                      </a:pPr>
                      <a:r>
                        <a:rPr lang="en-GB" sz="1200" b="0" noProof="0" dirty="0">
                          <a:solidFill>
                            <a:schemeClr val="bg1"/>
                          </a:solidFill>
                          <a:latin typeface="+mj-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ts val="1400"/>
                        </a:lnSpc>
                      </a:pPr>
                      <a:r>
                        <a:rPr lang="en-GB" sz="1200" b="0" noProof="0" dirty="0">
                          <a:solidFill>
                            <a:schemeClr val="bg1"/>
                          </a:solidFill>
                          <a:latin typeface="+mj-lt"/>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mj-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mj-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mj-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mj-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mj-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extLst>
      <p:ext uri="{BB962C8B-B14F-4D97-AF65-F5344CB8AC3E}">
        <p14:creationId xmlns:p14="http://schemas.microsoft.com/office/powerpoint/2010/main" val="42609052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itle</a:t>
            </a:r>
            <a:br>
              <a:rPr lang="en-GB"/>
            </a:br>
            <a:r>
              <a:rPr lang="en-GB"/>
              <a:t>(Work for 1 or 2 lines of title)</a:t>
            </a:r>
          </a:p>
        </p:txBody>
      </p:sp>
      <p:sp>
        <p:nvSpPr>
          <p:cNvPr id="33" name="Rectangle 32">
            <a:extLst>
              <a:ext uri="{FF2B5EF4-FFF2-40B4-BE49-F238E27FC236}">
                <a16:creationId xmlns:a16="http://schemas.microsoft.com/office/drawing/2014/main" id="{404E50B0-1D58-4F15-A351-E3515806816D}"/>
              </a:ext>
              <a:ext uri="{C183D7F6-B498-43B3-948B-1728B52AA6E4}">
                <adec:decorative xmlns:adec="http://schemas.microsoft.com/office/drawing/2017/decorative" val="1"/>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a:solidFill>
                <a:srgbClr val="FFFFFF"/>
              </a:solidFill>
              <a:latin typeface="Ubuntu" panose="020B0504030602030204" pitchFamily="34" charset="0"/>
              <a:sym typeface="Arial"/>
            </a:endParaRPr>
          </a:p>
        </p:txBody>
      </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14596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R="0" lvl="0"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bg1"/>
                </a:solidFill>
                <a:effectLst/>
                <a:uLnTx/>
                <a:uFillTx/>
                <a:latin typeface="Ubuntu" panose="020B0504030602030204" pitchFamily="34" charset="0"/>
              </a:rPr>
              <a:t>Insert Group Name</a:t>
            </a:r>
          </a:p>
        </p:txBody>
      </p: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14596B"/>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14596B"/>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14596B"/>
              </a:buClr>
              <a:buFont typeface="Arial" panose="020B0604020202020204" pitchFamily="34" charset="0"/>
              <a:buChar char="•"/>
              <a:defRPr/>
            </a:pPr>
            <a:r>
              <a:rPr lang="en-GB" dirty="0">
                <a:latin typeface="Ubuntu" panose="020B0504030602030204" pitchFamily="34" charset="0"/>
              </a:rPr>
              <a:t>Click to insert bullet point</a:t>
            </a:r>
          </a:p>
        </p:txBody>
      </p:sp>
      <p:cxnSp>
        <p:nvCxnSpPr>
          <p:cNvPr id="37" name="Straight Connector 36">
            <a:extLst>
              <a:ext uri="{FF2B5EF4-FFF2-40B4-BE49-F238E27FC236}">
                <a16:creationId xmlns:a16="http://schemas.microsoft.com/office/drawing/2014/main" id="{A898D83E-9F4A-4269-9BEB-326164B60B7C}"/>
              </a:ext>
              <a:ext uri="{C183D7F6-B498-43B3-948B-1728B52AA6E4}">
                <adec:decorative xmlns:adec="http://schemas.microsoft.com/office/drawing/2017/decorative" val="1"/>
              </a:ext>
            </a:extLst>
          </p:cNvPr>
          <p:cNvCxnSpPr>
            <a:cxnSpLocks/>
          </p:cNvCxnSpPr>
          <p:nvPr/>
        </p:nvCxnSpPr>
        <p:spPr>
          <a:xfrm>
            <a:off x="4368953" y="2916321"/>
            <a:ext cx="0" cy="216024"/>
          </a:xfrm>
          <a:prstGeom prst="line">
            <a:avLst/>
          </a:prstGeom>
          <a:ln w="38100">
            <a:solidFill>
              <a:srgbClr val="14596B"/>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 uri="{C183D7F6-B498-43B3-948B-1728B52AA6E4}">
                <adec:decorative xmlns:adec="http://schemas.microsoft.com/office/drawing/2017/decorative" val="1"/>
              </a:ext>
            </a:extLst>
          </p:cNvPr>
          <p:cNvCxnSpPr>
            <a:cxnSpLocks/>
          </p:cNvCxnSpPr>
          <p:nvPr/>
        </p:nvCxnSpPr>
        <p:spPr>
          <a:xfrm>
            <a:off x="7105257" y="2903242"/>
            <a:ext cx="0" cy="229103"/>
          </a:xfrm>
          <a:prstGeom prst="line">
            <a:avLst/>
          </a:prstGeom>
          <a:ln w="38100">
            <a:solidFill>
              <a:srgbClr val="14596B"/>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58AC5158-E8A1-44A7-8617-AC56F0DD1719}"/>
              </a:ext>
              <a:ext uri="{C183D7F6-B498-43B3-948B-1728B52AA6E4}">
                <adec:decorative xmlns:adec="http://schemas.microsoft.com/office/drawing/2017/decorative" val="1"/>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a:solidFill>
                <a:srgbClr val="FFFFFF"/>
              </a:solidFill>
              <a:latin typeface="Ubuntu" panose="020B0504030602030204" pitchFamily="34" charset="0"/>
              <a:sym typeface="Arial"/>
            </a:endParaRP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338091"/>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bg1"/>
                </a:solidFill>
                <a:effectLst/>
                <a:uLnTx/>
                <a:uFillTx/>
                <a:latin typeface="Ubuntu" panose="020B0504030602030204" pitchFamily="34" charset="0"/>
              </a:rPr>
              <a:t>Insert Group Name</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p:txBody>
      </p:sp>
      <p:cxnSp>
        <p:nvCxnSpPr>
          <p:cNvPr id="39" name="Straight Connector 38">
            <a:extLst>
              <a:ext uri="{FF2B5EF4-FFF2-40B4-BE49-F238E27FC236}">
                <a16:creationId xmlns:a16="http://schemas.microsoft.com/office/drawing/2014/main" id="{37AB8857-3B0E-4067-BC64-A4C0AE330199}"/>
              </a:ext>
              <a:ext uri="{C183D7F6-B498-43B3-948B-1728B52AA6E4}">
                <adec:decorative xmlns:adec="http://schemas.microsoft.com/office/drawing/2017/decorative" val="1"/>
              </a:ext>
            </a:extLst>
          </p:cNvPr>
          <p:cNvCxnSpPr>
            <a:cxnSpLocks/>
            <a:stCxn id="35" idx="3"/>
            <a:endCxn id="34" idx="1"/>
          </p:cNvCxnSpPr>
          <p:nvPr/>
        </p:nvCxnSpPr>
        <p:spPr>
          <a:xfrm>
            <a:off x="5853040" y="3760673"/>
            <a:ext cx="485921" cy="0"/>
          </a:xfrm>
          <a:prstGeom prst="line">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AE59D603-4EF9-47FC-B148-3573A831D791}"/>
              </a:ext>
              <a:ext uri="{C183D7F6-B498-43B3-948B-1728B52AA6E4}">
                <adec:decorative xmlns:adec="http://schemas.microsoft.com/office/drawing/2017/decorative" val="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a:solidFill>
                <a:srgbClr val="FFFFFF"/>
              </a:solidFill>
              <a:latin typeface="Ubuntu" panose="020B0504030602030204" pitchFamily="34" charset="0"/>
              <a:sym typeface="Arial"/>
            </a:endParaRP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338091"/>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bg1"/>
                </a:solidFill>
                <a:effectLst/>
                <a:uLnTx/>
                <a:uFillTx/>
                <a:latin typeface="Ubuntu" panose="020B0504030602030204" pitchFamily="34" charset="0"/>
              </a:rPr>
              <a:t>Insert Group Name</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p:txBody>
      </p:sp>
      <p:cxnSp>
        <p:nvCxnSpPr>
          <p:cNvPr id="66" name="Straight Connector 65">
            <a:extLst>
              <a:ext uri="{C183D7F6-B498-43B3-948B-1728B52AA6E4}">
                <adec:decorative xmlns:adec="http://schemas.microsoft.com/office/drawing/2017/decorative" val="1"/>
              </a:ext>
            </a:extLst>
          </p:cNvPr>
          <p:cNvCxnSpPr>
            <a:cxnSpLocks/>
            <a:endCxn id="35" idx="2"/>
          </p:cNvCxnSpPr>
          <p:nvPr/>
        </p:nvCxnSpPr>
        <p:spPr>
          <a:xfrm flipV="1">
            <a:off x="3346986" y="4375726"/>
            <a:ext cx="1" cy="466896"/>
          </a:xfrm>
          <a:prstGeom prst="line">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cxnSp>
        <p:nvCxnSpPr>
          <p:cNvPr id="56" name="Shape 55">
            <a:extLst>
              <a:ext uri="{C183D7F6-B498-43B3-948B-1728B52AA6E4}">
                <adec:decorative xmlns:adec="http://schemas.microsoft.com/office/drawing/2017/decorative" val="1"/>
              </a:ext>
            </a:extLst>
          </p:cNvPr>
          <p:cNvCxnSpPr>
            <a:cxnSpLocks/>
            <a:stCxn id="26" idx="0"/>
          </p:cNvCxnSpPr>
          <p:nvPr/>
        </p:nvCxnSpPr>
        <p:spPr>
          <a:xfrm rot="5400000" flipH="1" flipV="1">
            <a:off x="2262660" y="4142733"/>
            <a:ext cx="384435" cy="1784217"/>
          </a:xfrm>
          <a:prstGeom prst="bentConnector2">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cxnSp>
        <p:nvCxnSpPr>
          <p:cNvPr id="58" name="Shape 57">
            <a:extLst>
              <a:ext uri="{C183D7F6-B498-43B3-948B-1728B52AA6E4}">
                <adec:decorative xmlns:adec="http://schemas.microsoft.com/office/drawing/2017/decorative" val="1"/>
              </a:ext>
            </a:extLst>
          </p:cNvPr>
          <p:cNvCxnSpPr>
            <a:cxnSpLocks/>
            <a:stCxn id="27" idx="0"/>
          </p:cNvCxnSpPr>
          <p:nvPr/>
        </p:nvCxnSpPr>
        <p:spPr>
          <a:xfrm rot="16200000" flipV="1">
            <a:off x="3390446" y="4799162"/>
            <a:ext cx="391088" cy="478006"/>
          </a:xfrm>
          <a:prstGeom prst="bentConnector2">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cxnSp>
        <p:nvCxnSpPr>
          <p:cNvPr id="60" name="Shape 59">
            <a:extLst>
              <a:ext uri="{C183D7F6-B498-43B3-948B-1728B52AA6E4}">
                <adec:decorative xmlns:adec="http://schemas.microsoft.com/office/drawing/2017/decorative" val="1"/>
              </a:ext>
            </a:extLst>
          </p:cNvPr>
          <p:cNvCxnSpPr>
            <a:cxnSpLocks/>
            <a:stCxn id="28" idx="0"/>
          </p:cNvCxnSpPr>
          <p:nvPr/>
        </p:nvCxnSpPr>
        <p:spPr>
          <a:xfrm rot="16200000" flipV="1">
            <a:off x="4524692" y="3664915"/>
            <a:ext cx="391088" cy="2746500"/>
          </a:xfrm>
          <a:prstGeom prst="bentConnector2">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cxnSp>
        <p:nvCxnSpPr>
          <p:cNvPr id="62" name="Shape 61">
            <a:extLst>
              <a:ext uri="{C183D7F6-B498-43B3-948B-1728B52AA6E4}">
                <adec:decorative xmlns:adec="http://schemas.microsoft.com/office/drawing/2017/decorative" val="1"/>
              </a:ext>
            </a:extLst>
          </p:cNvPr>
          <p:cNvCxnSpPr>
            <a:cxnSpLocks/>
            <a:stCxn id="29" idx="0"/>
          </p:cNvCxnSpPr>
          <p:nvPr/>
        </p:nvCxnSpPr>
        <p:spPr>
          <a:xfrm rot="16200000" flipV="1">
            <a:off x="5662031" y="2527578"/>
            <a:ext cx="384286" cy="5014373"/>
          </a:xfrm>
          <a:prstGeom prst="bentConnector2">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cxnSp>
        <p:nvCxnSpPr>
          <p:cNvPr id="64" name="Shape 63">
            <a:extLst>
              <a:ext uri="{C183D7F6-B498-43B3-948B-1728B52AA6E4}">
                <adec:decorative xmlns:adec="http://schemas.microsoft.com/office/drawing/2017/decorative" val="1"/>
              </a:ext>
            </a:extLst>
          </p:cNvPr>
          <p:cNvCxnSpPr>
            <a:cxnSpLocks/>
            <a:stCxn id="30" idx="0"/>
          </p:cNvCxnSpPr>
          <p:nvPr/>
        </p:nvCxnSpPr>
        <p:spPr>
          <a:xfrm rot="16200000" flipV="1">
            <a:off x="6795968" y="1393642"/>
            <a:ext cx="384286" cy="7282245"/>
          </a:xfrm>
          <a:prstGeom prst="bentConnector2">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531342" y="5227058"/>
            <a:ext cx="2062854" cy="764292"/>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tx1"/>
                </a:solidFill>
                <a:effectLst/>
                <a:uLnTx/>
                <a:uFillTx/>
                <a:latin typeface="Ubuntu" panose="020B0504030602030204" pitchFamily="34" charset="0"/>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793566" y="5233709"/>
            <a:ext cx="2062854" cy="764292"/>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62059" y="5233709"/>
            <a:ext cx="2062854" cy="764292"/>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329933" y="5226908"/>
            <a:ext cx="2062854" cy="764292"/>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597806" y="5226908"/>
            <a:ext cx="2062854" cy="764292"/>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86040-20B9-42B0-AE26-134034821A13}"/>
              </a:ext>
            </a:extLst>
          </p:cNvPr>
          <p:cNvSpPr>
            <a:spLocks noGrp="1"/>
          </p:cNvSpPr>
          <p:nvPr>
            <p:ph type="title"/>
          </p:nvPr>
        </p:nvSpPr>
        <p:spPr/>
        <p:txBody>
          <a:bodyPr/>
          <a:lstStyle/>
          <a:p>
            <a:r>
              <a:rPr lang="en-US"/>
              <a:t>Hierarchy</a:t>
            </a:r>
          </a:p>
        </p:txBody>
      </p:sp>
      <p:sp>
        <p:nvSpPr>
          <p:cNvPr id="4" name="Rectangle 3">
            <a:extLst>
              <a:ext uri="{FF2B5EF4-FFF2-40B4-BE49-F238E27FC236}">
                <a16:creationId xmlns:a16="http://schemas.microsoft.com/office/drawing/2014/main" id="{AE16D26A-AE28-4E07-B575-999D885247D7}"/>
              </a:ext>
            </a:extLst>
          </p:cNvPr>
          <p:cNvSpPr>
            <a:spLocks noChangeArrowheads="1"/>
          </p:cNvSpPr>
          <p:nvPr/>
        </p:nvSpPr>
        <p:spPr bwMode="gray">
          <a:xfrm>
            <a:off x="5349986" y="1484784"/>
            <a:ext cx="1492029" cy="781811"/>
          </a:xfrm>
          <a:prstGeom prst="rect">
            <a:avLst/>
          </a:prstGeom>
          <a:solidFill>
            <a:srgbClr val="173340"/>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endPar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endParaRPr>
          </a:p>
        </p:txBody>
      </p:sp>
      <p:sp>
        <p:nvSpPr>
          <p:cNvPr id="5" name="Rectangle 4">
            <a:extLst>
              <a:ext uri="{FF2B5EF4-FFF2-40B4-BE49-F238E27FC236}">
                <a16:creationId xmlns:a16="http://schemas.microsoft.com/office/drawing/2014/main" id="{2AC50703-0BF5-4074-82FD-87F5E3236F5E}"/>
              </a:ext>
            </a:extLst>
          </p:cNvPr>
          <p:cNvSpPr>
            <a:spLocks noChangeArrowheads="1"/>
          </p:cNvSpPr>
          <p:nvPr/>
        </p:nvSpPr>
        <p:spPr bwMode="gray">
          <a:xfrm>
            <a:off x="2595182" y="2857638"/>
            <a:ext cx="1492029" cy="781811"/>
          </a:xfrm>
          <a:prstGeom prst="rect">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endPar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DDF0205C-3901-457E-949C-37836BD279E5}"/>
              </a:ext>
            </a:extLst>
          </p:cNvPr>
          <p:cNvSpPr>
            <a:spLocks noChangeArrowheads="1"/>
          </p:cNvSpPr>
          <p:nvPr/>
        </p:nvSpPr>
        <p:spPr bwMode="gray">
          <a:xfrm>
            <a:off x="8106669" y="2857638"/>
            <a:ext cx="1492029" cy="781811"/>
          </a:xfrm>
          <a:prstGeom prst="rect">
            <a:avLst/>
          </a:prstGeom>
          <a:solidFill>
            <a:srgbClr val="14596B"/>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endPar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endParaRPr>
          </a:p>
        </p:txBody>
      </p:sp>
      <p:sp>
        <p:nvSpPr>
          <p:cNvPr id="6" name="Rectangle 5">
            <a:extLst>
              <a:ext uri="{FF2B5EF4-FFF2-40B4-BE49-F238E27FC236}">
                <a16:creationId xmlns:a16="http://schemas.microsoft.com/office/drawing/2014/main" id="{41D6BD90-7BA3-45BE-B5D9-07B016881B6E}"/>
              </a:ext>
            </a:extLst>
          </p:cNvPr>
          <p:cNvSpPr>
            <a:spLocks noChangeArrowheads="1"/>
          </p:cNvSpPr>
          <p:nvPr/>
        </p:nvSpPr>
        <p:spPr bwMode="gray">
          <a:xfrm>
            <a:off x="1215901" y="4228788"/>
            <a:ext cx="1492029" cy="783515"/>
          </a:xfrm>
          <a:prstGeom prst="rect">
            <a:avLst/>
          </a:prstGeom>
          <a:solidFill>
            <a:srgbClr val="338091"/>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p>
        </p:txBody>
      </p:sp>
      <p:sp>
        <p:nvSpPr>
          <p:cNvPr id="15" name="Rectangle 14">
            <a:extLst>
              <a:ext uri="{FF2B5EF4-FFF2-40B4-BE49-F238E27FC236}">
                <a16:creationId xmlns:a16="http://schemas.microsoft.com/office/drawing/2014/main" id="{D65BD888-81C5-4D16-A041-3FE33C38A17A}"/>
              </a:ext>
            </a:extLst>
          </p:cNvPr>
          <p:cNvSpPr>
            <a:spLocks noChangeArrowheads="1"/>
          </p:cNvSpPr>
          <p:nvPr/>
        </p:nvSpPr>
        <p:spPr bwMode="gray">
          <a:xfrm>
            <a:off x="3970705" y="4228788"/>
            <a:ext cx="1492029" cy="783515"/>
          </a:xfrm>
          <a:prstGeom prst="rect">
            <a:avLst/>
          </a:prstGeom>
          <a:solidFill>
            <a:srgbClr val="338091"/>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p>
        </p:txBody>
      </p:sp>
      <p:sp>
        <p:nvSpPr>
          <p:cNvPr id="16" name="Rectangle 15">
            <a:extLst>
              <a:ext uri="{FF2B5EF4-FFF2-40B4-BE49-F238E27FC236}">
                <a16:creationId xmlns:a16="http://schemas.microsoft.com/office/drawing/2014/main" id="{9680A7C5-BB6D-4939-95DF-803FBE9093DC}"/>
              </a:ext>
            </a:extLst>
          </p:cNvPr>
          <p:cNvSpPr>
            <a:spLocks noChangeArrowheads="1"/>
          </p:cNvSpPr>
          <p:nvPr/>
        </p:nvSpPr>
        <p:spPr bwMode="gray">
          <a:xfrm>
            <a:off x="6729267" y="4228788"/>
            <a:ext cx="1492029" cy="783515"/>
          </a:xfrm>
          <a:prstGeom prst="rect">
            <a:avLst/>
          </a:prstGeom>
          <a:solidFill>
            <a:srgbClr val="338091"/>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p>
        </p:txBody>
      </p:sp>
      <p:sp>
        <p:nvSpPr>
          <p:cNvPr id="17" name="Rectangle 16">
            <a:extLst>
              <a:ext uri="{FF2B5EF4-FFF2-40B4-BE49-F238E27FC236}">
                <a16:creationId xmlns:a16="http://schemas.microsoft.com/office/drawing/2014/main" id="{A822C9B6-9E09-4F5E-BDC6-CA22B36C88B6}"/>
              </a:ext>
            </a:extLst>
          </p:cNvPr>
          <p:cNvSpPr>
            <a:spLocks noChangeArrowheads="1"/>
          </p:cNvSpPr>
          <p:nvPr/>
        </p:nvSpPr>
        <p:spPr bwMode="gray">
          <a:xfrm>
            <a:off x="9484071" y="4228788"/>
            <a:ext cx="1492029" cy="783515"/>
          </a:xfrm>
          <a:prstGeom prst="rect">
            <a:avLst/>
          </a:prstGeom>
          <a:solidFill>
            <a:srgbClr val="338091"/>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p>
        </p:txBody>
      </p:sp>
      <p:sp>
        <p:nvSpPr>
          <p:cNvPr id="7" name="Rectangle 6">
            <a:extLst>
              <a:ext uri="{FF2B5EF4-FFF2-40B4-BE49-F238E27FC236}">
                <a16:creationId xmlns:a16="http://schemas.microsoft.com/office/drawing/2014/main" id="{F0DBA9A3-0338-4461-9AEC-D92C9AA7A3B5}"/>
              </a:ext>
            </a:extLst>
          </p:cNvPr>
          <p:cNvSpPr>
            <a:spLocks noChangeArrowheads="1"/>
          </p:cNvSpPr>
          <p:nvPr/>
        </p:nvSpPr>
        <p:spPr bwMode="gray">
          <a:xfrm>
            <a:off x="862625"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8" name="Rectangle 7">
            <a:extLst>
              <a:ext uri="{FF2B5EF4-FFF2-40B4-BE49-F238E27FC236}">
                <a16:creationId xmlns:a16="http://schemas.microsoft.com/office/drawing/2014/main" id="{75A9D67C-49CD-410D-ADF6-A57B93891A9F}"/>
              </a:ext>
            </a:extLst>
          </p:cNvPr>
          <p:cNvSpPr>
            <a:spLocks noChangeArrowheads="1"/>
          </p:cNvSpPr>
          <p:nvPr/>
        </p:nvSpPr>
        <p:spPr bwMode="gray">
          <a:xfrm>
            <a:off x="2037081"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9" name="Rectangle 8">
            <a:extLst>
              <a:ext uri="{FF2B5EF4-FFF2-40B4-BE49-F238E27FC236}">
                <a16:creationId xmlns:a16="http://schemas.microsoft.com/office/drawing/2014/main" id="{5BDAFBCC-F19F-4E8A-90FA-A86B4657BA06}"/>
              </a:ext>
            </a:extLst>
          </p:cNvPr>
          <p:cNvSpPr>
            <a:spLocks noChangeArrowheads="1"/>
          </p:cNvSpPr>
          <p:nvPr/>
        </p:nvSpPr>
        <p:spPr bwMode="gray">
          <a:xfrm>
            <a:off x="3617429"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10" name="Rectangle 9">
            <a:extLst>
              <a:ext uri="{FF2B5EF4-FFF2-40B4-BE49-F238E27FC236}">
                <a16:creationId xmlns:a16="http://schemas.microsoft.com/office/drawing/2014/main" id="{228952C4-586F-4870-9555-A3377FA6400B}"/>
              </a:ext>
            </a:extLst>
          </p:cNvPr>
          <p:cNvSpPr>
            <a:spLocks noChangeArrowheads="1"/>
          </p:cNvSpPr>
          <p:nvPr/>
        </p:nvSpPr>
        <p:spPr bwMode="gray">
          <a:xfrm>
            <a:off x="4791885"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11" name="Rectangle 10">
            <a:extLst>
              <a:ext uri="{FF2B5EF4-FFF2-40B4-BE49-F238E27FC236}">
                <a16:creationId xmlns:a16="http://schemas.microsoft.com/office/drawing/2014/main" id="{E724F7D9-07E8-420C-814E-C2F9E5DC3D63}"/>
              </a:ext>
            </a:extLst>
          </p:cNvPr>
          <p:cNvSpPr>
            <a:spLocks noChangeArrowheads="1"/>
          </p:cNvSpPr>
          <p:nvPr/>
        </p:nvSpPr>
        <p:spPr bwMode="gray">
          <a:xfrm>
            <a:off x="6374112"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12" name="Rectangle 11">
            <a:extLst>
              <a:ext uri="{FF2B5EF4-FFF2-40B4-BE49-F238E27FC236}">
                <a16:creationId xmlns:a16="http://schemas.microsoft.com/office/drawing/2014/main" id="{B4FC7C19-D857-4F1A-8895-F96A56241AD1}"/>
              </a:ext>
            </a:extLst>
          </p:cNvPr>
          <p:cNvSpPr>
            <a:spLocks noChangeArrowheads="1"/>
          </p:cNvSpPr>
          <p:nvPr/>
        </p:nvSpPr>
        <p:spPr bwMode="gray">
          <a:xfrm>
            <a:off x="7548568"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13" name="Rectangle 12">
            <a:extLst>
              <a:ext uri="{FF2B5EF4-FFF2-40B4-BE49-F238E27FC236}">
                <a16:creationId xmlns:a16="http://schemas.microsoft.com/office/drawing/2014/main" id="{015C6D22-93BE-4BF7-9BD2-A3706533DFAD}"/>
              </a:ext>
            </a:extLst>
          </p:cNvPr>
          <p:cNvSpPr>
            <a:spLocks noChangeArrowheads="1"/>
          </p:cNvSpPr>
          <p:nvPr/>
        </p:nvSpPr>
        <p:spPr bwMode="gray">
          <a:xfrm>
            <a:off x="9128915"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14" name="Rectangle 13">
            <a:extLst>
              <a:ext uri="{FF2B5EF4-FFF2-40B4-BE49-F238E27FC236}">
                <a16:creationId xmlns:a16="http://schemas.microsoft.com/office/drawing/2014/main" id="{03B60238-4E9A-4B82-B0A0-88CEF05379A5}"/>
              </a:ext>
            </a:extLst>
          </p:cNvPr>
          <p:cNvSpPr>
            <a:spLocks noChangeArrowheads="1"/>
          </p:cNvSpPr>
          <p:nvPr/>
        </p:nvSpPr>
        <p:spPr bwMode="gray">
          <a:xfrm>
            <a:off x="10303371"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cxnSp>
        <p:nvCxnSpPr>
          <p:cNvPr id="19" name="AutoShape 18">
            <a:extLst>
              <a:ext uri="{FF2B5EF4-FFF2-40B4-BE49-F238E27FC236}">
                <a16:creationId xmlns:a16="http://schemas.microsoft.com/office/drawing/2014/main" id="{890EF8B1-3D18-42E0-B2CE-E995A1B1E0AC}"/>
              </a:ext>
              <a:ext uri="{C183D7F6-B498-43B3-948B-1728B52AA6E4}">
                <adec:decorative xmlns:adec="http://schemas.microsoft.com/office/drawing/2017/decorative" val="1"/>
              </a:ext>
            </a:extLst>
          </p:cNvPr>
          <p:cNvCxnSpPr>
            <a:cxnSpLocks noChangeShapeType="1"/>
            <a:stCxn id="4" idx="2"/>
            <a:endCxn id="5" idx="0"/>
          </p:cNvCxnSpPr>
          <p:nvPr/>
        </p:nvCxnSpPr>
        <p:spPr bwMode="gray">
          <a:xfrm rot="5400000">
            <a:off x="4422138" y="1185566"/>
            <a:ext cx="591043" cy="2754804"/>
          </a:xfrm>
          <a:prstGeom prst="bentConnector3">
            <a:avLst>
              <a:gd name="adj1" fmla="val 51073"/>
            </a:avLst>
          </a:prstGeom>
          <a:noFill/>
          <a:ln w="12700">
            <a:solidFill>
              <a:srgbClr val="666666"/>
            </a:solidFill>
            <a:miter lim="800000"/>
            <a:headEnd/>
            <a:tailEnd/>
          </a:ln>
          <a:effectLst/>
        </p:spPr>
      </p:cxnSp>
      <p:cxnSp>
        <p:nvCxnSpPr>
          <p:cNvPr id="20" name="AutoShape 19">
            <a:extLst>
              <a:ext uri="{FF2B5EF4-FFF2-40B4-BE49-F238E27FC236}">
                <a16:creationId xmlns:a16="http://schemas.microsoft.com/office/drawing/2014/main" id="{EFDE8DB4-EF40-4FDE-AC9F-1C8B206798B0}"/>
              </a:ext>
              <a:ext uri="{C183D7F6-B498-43B3-948B-1728B52AA6E4}">
                <adec:decorative xmlns:adec="http://schemas.microsoft.com/office/drawing/2017/decorative" val="1"/>
              </a:ext>
            </a:extLst>
          </p:cNvPr>
          <p:cNvCxnSpPr>
            <a:cxnSpLocks noChangeShapeType="1"/>
          </p:cNvCxnSpPr>
          <p:nvPr/>
        </p:nvCxnSpPr>
        <p:spPr bwMode="gray">
          <a:xfrm rot="16200000" flipH="1">
            <a:off x="7178821" y="1195698"/>
            <a:ext cx="591043" cy="2756683"/>
          </a:xfrm>
          <a:prstGeom prst="bentConnector3">
            <a:avLst>
              <a:gd name="adj1" fmla="val 49556"/>
            </a:avLst>
          </a:prstGeom>
          <a:noFill/>
          <a:ln w="12700">
            <a:solidFill>
              <a:srgbClr val="666666"/>
            </a:solidFill>
            <a:miter lim="800000"/>
            <a:headEnd/>
            <a:tailEnd/>
          </a:ln>
          <a:effectLst/>
        </p:spPr>
      </p:cxnSp>
      <p:cxnSp>
        <p:nvCxnSpPr>
          <p:cNvPr id="21" name="AutoShape 20">
            <a:extLst>
              <a:ext uri="{FF2B5EF4-FFF2-40B4-BE49-F238E27FC236}">
                <a16:creationId xmlns:a16="http://schemas.microsoft.com/office/drawing/2014/main" id="{37B3B43D-1560-46C1-8DEE-38BFC5DB35D7}"/>
              </a:ext>
              <a:ext uri="{C183D7F6-B498-43B3-948B-1728B52AA6E4}">
                <adec:decorative xmlns:adec="http://schemas.microsoft.com/office/drawing/2017/decorative" val="1"/>
              </a:ext>
            </a:extLst>
          </p:cNvPr>
          <p:cNvCxnSpPr>
            <a:cxnSpLocks noChangeShapeType="1"/>
            <a:stCxn id="5" idx="2"/>
            <a:endCxn id="6" idx="0"/>
          </p:cNvCxnSpPr>
          <p:nvPr/>
        </p:nvCxnSpPr>
        <p:spPr bwMode="gray">
          <a:xfrm rot="5400000">
            <a:off x="2356887" y="3244478"/>
            <a:ext cx="589339" cy="1379281"/>
          </a:xfrm>
          <a:prstGeom prst="bentConnector3">
            <a:avLst>
              <a:gd name="adj1" fmla="val 49556"/>
            </a:avLst>
          </a:prstGeom>
          <a:noFill/>
          <a:ln w="12700">
            <a:solidFill>
              <a:srgbClr val="666666"/>
            </a:solidFill>
            <a:miter lim="800000"/>
            <a:headEnd/>
            <a:tailEnd/>
          </a:ln>
          <a:effectLst/>
        </p:spPr>
      </p:cxnSp>
      <p:cxnSp>
        <p:nvCxnSpPr>
          <p:cNvPr id="22" name="AutoShape 21">
            <a:extLst>
              <a:ext uri="{FF2B5EF4-FFF2-40B4-BE49-F238E27FC236}">
                <a16:creationId xmlns:a16="http://schemas.microsoft.com/office/drawing/2014/main" id="{B6D0BD9B-0CC2-4500-94F2-4703DF26DAD5}"/>
              </a:ext>
              <a:ext uri="{C183D7F6-B498-43B3-948B-1728B52AA6E4}">
                <adec:decorative xmlns:adec="http://schemas.microsoft.com/office/drawing/2017/decorative" val="1"/>
              </a:ext>
            </a:extLst>
          </p:cNvPr>
          <p:cNvCxnSpPr>
            <a:cxnSpLocks noChangeShapeType="1"/>
            <a:stCxn id="5" idx="2"/>
            <a:endCxn id="15" idx="0"/>
          </p:cNvCxnSpPr>
          <p:nvPr/>
        </p:nvCxnSpPr>
        <p:spPr bwMode="gray">
          <a:xfrm rot="16200000" flipH="1">
            <a:off x="3734289" y="3246357"/>
            <a:ext cx="589339" cy="1375523"/>
          </a:xfrm>
          <a:prstGeom prst="bentConnector3">
            <a:avLst>
              <a:gd name="adj1" fmla="val 49556"/>
            </a:avLst>
          </a:prstGeom>
          <a:noFill/>
          <a:ln w="12700">
            <a:solidFill>
              <a:srgbClr val="666666"/>
            </a:solidFill>
            <a:miter lim="800000"/>
            <a:headEnd/>
            <a:tailEnd/>
          </a:ln>
          <a:effectLst/>
        </p:spPr>
      </p:cxnSp>
      <p:cxnSp>
        <p:nvCxnSpPr>
          <p:cNvPr id="23" name="AutoShape 22">
            <a:extLst>
              <a:ext uri="{FF2B5EF4-FFF2-40B4-BE49-F238E27FC236}">
                <a16:creationId xmlns:a16="http://schemas.microsoft.com/office/drawing/2014/main" id="{898D6DF2-B300-443E-861C-68017A582111}"/>
              </a:ext>
              <a:ext uri="{C183D7F6-B498-43B3-948B-1728B52AA6E4}">
                <adec:decorative xmlns:adec="http://schemas.microsoft.com/office/drawing/2017/decorative" val="1"/>
              </a:ext>
            </a:extLst>
          </p:cNvPr>
          <p:cNvCxnSpPr>
            <a:cxnSpLocks noChangeShapeType="1"/>
            <a:stCxn id="18" idx="2"/>
            <a:endCxn id="16" idx="0"/>
          </p:cNvCxnSpPr>
          <p:nvPr/>
        </p:nvCxnSpPr>
        <p:spPr bwMode="gray">
          <a:xfrm rot="5400000">
            <a:off x="7870252" y="3244566"/>
            <a:ext cx="589339" cy="1377402"/>
          </a:xfrm>
          <a:prstGeom prst="bentConnector3">
            <a:avLst>
              <a:gd name="adj1" fmla="val 49556"/>
            </a:avLst>
          </a:prstGeom>
          <a:noFill/>
          <a:ln w="12700">
            <a:solidFill>
              <a:srgbClr val="666666"/>
            </a:solidFill>
            <a:miter lim="800000"/>
            <a:headEnd/>
            <a:tailEnd/>
          </a:ln>
          <a:effectLst/>
        </p:spPr>
      </p:cxnSp>
      <p:cxnSp>
        <p:nvCxnSpPr>
          <p:cNvPr id="24" name="AutoShape 23">
            <a:extLst>
              <a:ext uri="{FF2B5EF4-FFF2-40B4-BE49-F238E27FC236}">
                <a16:creationId xmlns:a16="http://schemas.microsoft.com/office/drawing/2014/main" id="{8B0DF381-259E-4ECA-A37A-7CCF1884BC2E}"/>
              </a:ext>
              <a:ext uri="{C183D7F6-B498-43B3-948B-1728B52AA6E4}">
                <adec:decorative xmlns:adec="http://schemas.microsoft.com/office/drawing/2017/decorative" val="1"/>
              </a:ext>
            </a:extLst>
          </p:cNvPr>
          <p:cNvCxnSpPr>
            <a:cxnSpLocks noChangeShapeType="1"/>
            <a:stCxn id="18" idx="2"/>
            <a:endCxn id="17" idx="0"/>
          </p:cNvCxnSpPr>
          <p:nvPr/>
        </p:nvCxnSpPr>
        <p:spPr bwMode="gray">
          <a:xfrm rot="16200000" flipH="1">
            <a:off x="9247654" y="3244566"/>
            <a:ext cx="589339" cy="1377402"/>
          </a:xfrm>
          <a:prstGeom prst="bentConnector3">
            <a:avLst>
              <a:gd name="adj1" fmla="val 49556"/>
            </a:avLst>
          </a:prstGeom>
          <a:noFill/>
          <a:ln w="12700">
            <a:solidFill>
              <a:srgbClr val="666666"/>
            </a:solidFill>
            <a:miter lim="800000"/>
            <a:headEnd/>
            <a:tailEnd/>
          </a:ln>
          <a:effectLst/>
        </p:spPr>
      </p:cxnSp>
      <p:cxnSp>
        <p:nvCxnSpPr>
          <p:cNvPr id="25" name="AutoShape 24">
            <a:extLst>
              <a:ext uri="{FF2B5EF4-FFF2-40B4-BE49-F238E27FC236}">
                <a16:creationId xmlns:a16="http://schemas.microsoft.com/office/drawing/2014/main" id="{7BDB4263-862E-4EB9-A501-845BE7A14CE2}"/>
              </a:ext>
              <a:ext uri="{C183D7F6-B498-43B3-948B-1728B52AA6E4}">
                <adec:decorative xmlns:adec="http://schemas.microsoft.com/office/drawing/2017/decorative" val="1"/>
              </a:ext>
            </a:extLst>
          </p:cNvPr>
          <p:cNvCxnSpPr>
            <a:cxnSpLocks noChangeShapeType="1"/>
            <a:stCxn id="6" idx="2"/>
            <a:endCxn id="7" idx="0"/>
          </p:cNvCxnSpPr>
          <p:nvPr/>
        </p:nvCxnSpPr>
        <p:spPr bwMode="gray">
          <a:xfrm rot="5400000">
            <a:off x="1374014" y="5013828"/>
            <a:ext cx="587636" cy="586288"/>
          </a:xfrm>
          <a:prstGeom prst="bentConnector3">
            <a:avLst>
              <a:gd name="adj1" fmla="val 49778"/>
            </a:avLst>
          </a:prstGeom>
          <a:noFill/>
          <a:ln w="12700">
            <a:solidFill>
              <a:srgbClr val="666666"/>
            </a:solidFill>
            <a:miter lim="800000"/>
            <a:headEnd/>
            <a:tailEnd/>
          </a:ln>
          <a:effectLst/>
        </p:spPr>
      </p:cxnSp>
      <p:cxnSp>
        <p:nvCxnSpPr>
          <p:cNvPr id="26" name="AutoShape 25">
            <a:extLst>
              <a:ext uri="{FF2B5EF4-FFF2-40B4-BE49-F238E27FC236}">
                <a16:creationId xmlns:a16="http://schemas.microsoft.com/office/drawing/2014/main" id="{FBFF6968-ED2F-4182-AFAB-3BAFB1F8306D}"/>
              </a:ext>
              <a:ext uri="{C183D7F6-B498-43B3-948B-1728B52AA6E4}">
                <adec:decorative xmlns:adec="http://schemas.microsoft.com/office/drawing/2017/decorative" val="1"/>
              </a:ext>
            </a:extLst>
          </p:cNvPr>
          <p:cNvCxnSpPr>
            <a:cxnSpLocks noChangeShapeType="1"/>
            <a:stCxn id="6" idx="2"/>
            <a:endCxn id="8" idx="0"/>
          </p:cNvCxnSpPr>
          <p:nvPr/>
        </p:nvCxnSpPr>
        <p:spPr bwMode="gray">
          <a:xfrm rot="16200000" flipH="1">
            <a:off x="1962182" y="5012037"/>
            <a:ext cx="587636" cy="588168"/>
          </a:xfrm>
          <a:prstGeom prst="bentConnector3">
            <a:avLst>
              <a:gd name="adj1" fmla="val 49778"/>
            </a:avLst>
          </a:prstGeom>
          <a:noFill/>
          <a:ln w="12700">
            <a:solidFill>
              <a:srgbClr val="666666"/>
            </a:solidFill>
            <a:miter lim="800000"/>
            <a:headEnd/>
            <a:tailEnd/>
          </a:ln>
          <a:effectLst/>
        </p:spPr>
      </p:cxnSp>
      <p:cxnSp>
        <p:nvCxnSpPr>
          <p:cNvPr id="27" name="AutoShape 26">
            <a:extLst>
              <a:ext uri="{FF2B5EF4-FFF2-40B4-BE49-F238E27FC236}">
                <a16:creationId xmlns:a16="http://schemas.microsoft.com/office/drawing/2014/main" id="{C94DF43E-9C7B-4020-8C9C-FCF4322B4058}"/>
              </a:ext>
              <a:ext uri="{C183D7F6-B498-43B3-948B-1728B52AA6E4}">
                <adec:decorative xmlns:adec="http://schemas.microsoft.com/office/drawing/2017/decorative" val="1"/>
              </a:ext>
            </a:extLst>
          </p:cNvPr>
          <p:cNvCxnSpPr>
            <a:cxnSpLocks noChangeShapeType="1"/>
            <a:stCxn id="15" idx="2"/>
            <a:endCxn id="9" idx="0"/>
          </p:cNvCxnSpPr>
          <p:nvPr/>
        </p:nvCxnSpPr>
        <p:spPr bwMode="gray">
          <a:xfrm rot="5400000">
            <a:off x="4128818" y="5013828"/>
            <a:ext cx="587636" cy="586288"/>
          </a:xfrm>
          <a:prstGeom prst="bentConnector3">
            <a:avLst>
              <a:gd name="adj1" fmla="val 49778"/>
            </a:avLst>
          </a:prstGeom>
          <a:noFill/>
          <a:ln w="12700">
            <a:solidFill>
              <a:srgbClr val="666666"/>
            </a:solidFill>
            <a:miter lim="800000"/>
            <a:headEnd/>
            <a:tailEnd/>
          </a:ln>
          <a:effectLst/>
        </p:spPr>
      </p:cxnSp>
      <p:cxnSp>
        <p:nvCxnSpPr>
          <p:cNvPr id="28" name="AutoShape 27">
            <a:extLst>
              <a:ext uri="{FF2B5EF4-FFF2-40B4-BE49-F238E27FC236}">
                <a16:creationId xmlns:a16="http://schemas.microsoft.com/office/drawing/2014/main" id="{43C0A231-F1EE-4983-8DD3-894F1B12E0B8}"/>
              </a:ext>
              <a:ext uri="{C183D7F6-B498-43B3-948B-1728B52AA6E4}">
                <adec:decorative xmlns:adec="http://schemas.microsoft.com/office/drawing/2017/decorative" val="1"/>
              </a:ext>
            </a:extLst>
          </p:cNvPr>
          <p:cNvCxnSpPr>
            <a:cxnSpLocks noChangeShapeType="1"/>
            <a:stCxn id="15" idx="2"/>
            <a:endCxn id="10" idx="0"/>
          </p:cNvCxnSpPr>
          <p:nvPr/>
        </p:nvCxnSpPr>
        <p:spPr bwMode="gray">
          <a:xfrm rot="16200000" flipH="1">
            <a:off x="4716985" y="5012037"/>
            <a:ext cx="587636" cy="588168"/>
          </a:xfrm>
          <a:prstGeom prst="bentConnector3">
            <a:avLst>
              <a:gd name="adj1" fmla="val 49778"/>
            </a:avLst>
          </a:prstGeom>
          <a:noFill/>
          <a:ln w="12700">
            <a:solidFill>
              <a:srgbClr val="666666"/>
            </a:solidFill>
            <a:miter lim="800000"/>
            <a:headEnd/>
            <a:tailEnd/>
          </a:ln>
          <a:effectLst/>
        </p:spPr>
      </p:cxnSp>
      <p:cxnSp>
        <p:nvCxnSpPr>
          <p:cNvPr id="29" name="AutoShape 28">
            <a:extLst>
              <a:ext uri="{FF2B5EF4-FFF2-40B4-BE49-F238E27FC236}">
                <a16:creationId xmlns:a16="http://schemas.microsoft.com/office/drawing/2014/main" id="{DD8838EA-81A5-4FAF-95B3-C907D3238EB4}"/>
              </a:ext>
              <a:ext uri="{C183D7F6-B498-43B3-948B-1728B52AA6E4}">
                <adec:decorative xmlns:adec="http://schemas.microsoft.com/office/drawing/2017/decorative" val="1"/>
              </a:ext>
            </a:extLst>
          </p:cNvPr>
          <p:cNvCxnSpPr>
            <a:cxnSpLocks noChangeShapeType="1"/>
            <a:stCxn id="16" idx="2"/>
            <a:endCxn id="11" idx="0"/>
          </p:cNvCxnSpPr>
          <p:nvPr/>
        </p:nvCxnSpPr>
        <p:spPr bwMode="gray">
          <a:xfrm rot="5400000">
            <a:off x="6887380" y="5012037"/>
            <a:ext cx="587636" cy="588168"/>
          </a:xfrm>
          <a:prstGeom prst="bentConnector3">
            <a:avLst>
              <a:gd name="adj1" fmla="val 49778"/>
            </a:avLst>
          </a:prstGeom>
          <a:noFill/>
          <a:ln w="12700">
            <a:solidFill>
              <a:srgbClr val="666666"/>
            </a:solidFill>
            <a:miter lim="800000"/>
            <a:headEnd/>
            <a:tailEnd/>
          </a:ln>
          <a:effectLst/>
        </p:spPr>
      </p:cxnSp>
      <p:cxnSp>
        <p:nvCxnSpPr>
          <p:cNvPr id="30" name="AutoShape 29">
            <a:extLst>
              <a:ext uri="{FF2B5EF4-FFF2-40B4-BE49-F238E27FC236}">
                <a16:creationId xmlns:a16="http://schemas.microsoft.com/office/drawing/2014/main" id="{2357909F-790C-4317-A7AB-9C463B13AB8F}"/>
              </a:ext>
              <a:ext uri="{C183D7F6-B498-43B3-948B-1728B52AA6E4}">
                <adec:decorative xmlns:adec="http://schemas.microsoft.com/office/drawing/2017/decorative" val="1"/>
              </a:ext>
            </a:extLst>
          </p:cNvPr>
          <p:cNvCxnSpPr>
            <a:cxnSpLocks noChangeShapeType="1"/>
          </p:cNvCxnSpPr>
          <p:nvPr/>
        </p:nvCxnSpPr>
        <p:spPr bwMode="gray">
          <a:xfrm rot="16200000" flipH="1">
            <a:off x="7466152" y="5013828"/>
            <a:ext cx="587636" cy="586288"/>
          </a:xfrm>
          <a:prstGeom prst="bentConnector3">
            <a:avLst>
              <a:gd name="adj1" fmla="val 49778"/>
            </a:avLst>
          </a:prstGeom>
          <a:noFill/>
          <a:ln w="12700">
            <a:solidFill>
              <a:srgbClr val="666666"/>
            </a:solidFill>
            <a:miter lim="800000"/>
            <a:headEnd/>
            <a:tailEnd/>
          </a:ln>
          <a:effectLst/>
        </p:spPr>
      </p:cxnSp>
      <p:cxnSp>
        <p:nvCxnSpPr>
          <p:cNvPr id="31" name="AutoShape 30">
            <a:extLst>
              <a:ext uri="{FF2B5EF4-FFF2-40B4-BE49-F238E27FC236}">
                <a16:creationId xmlns:a16="http://schemas.microsoft.com/office/drawing/2014/main" id="{AA9837F4-F7AC-4A59-859A-C3D7369221AE}"/>
              </a:ext>
              <a:ext uri="{C183D7F6-B498-43B3-948B-1728B52AA6E4}">
                <adec:decorative xmlns:adec="http://schemas.microsoft.com/office/drawing/2017/decorative" val="1"/>
              </a:ext>
            </a:extLst>
          </p:cNvPr>
          <p:cNvCxnSpPr>
            <a:cxnSpLocks noChangeShapeType="1"/>
            <a:stCxn id="17" idx="2"/>
            <a:endCxn id="13" idx="0"/>
          </p:cNvCxnSpPr>
          <p:nvPr/>
        </p:nvCxnSpPr>
        <p:spPr bwMode="gray">
          <a:xfrm rot="5400000">
            <a:off x="9642184" y="5012037"/>
            <a:ext cx="587636" cy="588168"/>
          </a:xfrm>
          <a:prstGeom prst="bentConnector3">
            <a:avLst>
              <a:gd name="adj1" fmla="val 49778"/>
            </a:avLst>
          </a:prstGeom>
          <a:noFill/>
          <a:ln w="12700">
            <a:solidFill>
              <a:srgbClr val="666666"/>
            </a:solidFill>
            <a:miter lim="800000"/>
            <a:headEnd/>
            <a:tailEnd/>
          </a:ln>
          <a:effectLst/>
        </p:spPr>
      </p:cxnSp>
      <p:cxnSp>
        <p:nvCxnSpPr>
          <p:cNvPr id="32" name="AutoShape 31">
            <a:extLst>
              <a:ext uri="{FF2B5EF4-FFF2-40B4-BE49-F238E27FC236}">
                <a16:creationId xmlns:a16="http://schemas.microsoft.com/office/drawing/2014/main" id="{2EBCAF1C-0AB2-48E5-A695-E85BD0DD7514}"/>
              </a:ext>
              <a:ext uri="{C183D7F6-B498-43B3-948B-1728B52AA6E4}">
                <adec:decorative xmlns:adec="http://schemas.microsoft.com/office/drawing/2017/decorative" val="1"/>
              </a:ext>
            </a:extLst>
          </p:cNvPr>
          <p:cNvCxnSpPr>
            <a:cxnSpLocks noChangeShapeType="1"/>
            <a:stCxn id="17" idx="2"/>
            <a:endCxn id="14" idx="0"/>
          </p:cNvCxnSpPr>
          <p:nvPr/>
        </p:nvCxnSpPr>
        <p:spPr bwMode="gray">
          <a:xfrm rot="16200000" flipH="1">
            <a:off x="10228472" y="5013828"/>
            <a:ext cx="587636" cy="586288"/>
          </a:xfrm>
          <a:prstGeom prst="bentConnector3">
            <a:avLst>
              <a:gd name="adj1" fmla="val 49778"/>
            </a:avLst>
          </a:prstGeom>
          <a:noFill/>
          <a:ln w="12700">
            <a:solidFill>
              <a:srgbClr val="666666"/>
            </a:solidFill>
            <a:miter lim="800000"/>
            <a:headEnd/>
            <a:tailEnd/>
          </a:ln>
          <a:effectLst/>
        </p:spPr>
      </p:cxnSp>
    </p:spTree>
    <p:extLst>
      <p:ext uri="{BB962C8B-B14F-4D97-AF65-F5344CB8AC3E}">
        <p14:creationId xmlns:p14="http://schemas.microsoft.com/office/powerpoint/2010/main" val="8867082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5C96B-2764-42B8-A1E8-C235BC6A474C}"/>
              </a:ext>
            </a:extLst>
          </p:cNvPr>
          <p:cNvSpPr>
            <a:spLocks noGrp="1"/>
          </p:cNvSpPr>
          <p:nvPr>
            <p:ph type="title"/>
          </p:nvPr>
        </p:nvSpPr>
        <p:spPr/>
        <p:txBody>
          <a:bodyPr/>
          <a:lstStyle/>
          <a:p>
            <a:r>
              <a:rPr lang="en-US"/>
              <a:t>Hierarchy</a:t>
            </a:r>
          </a:p>
        </p:txBody>
      </p:sp>
      <p:sp>
        <p:nvSpPr>
          <p:cNvPr id="14" name="Rectangle 3">
            <a:extLst>
              <a:ext uri="{FF2B5EF4-FFF2-40B4-BE49-F238E27FC236}">
                <a16:creationId xmlns:a16="http://schemas.microsoft.com/office/drawing/2014/main" id="{CC562FC3-F5ED-468C-95F3-BF421AD9FC1B}"/>
              </a:ext>
            </a:extLst>
          </p:cNvPr>
          <p:cNvSpPr>
            <a:spLocks noChangeArrowheads="1"/>
          </p:cNvSpPr>
          <p:nvPr/>
        </p:nvSpPr>
        <p:spPr bwMode="gray">
          <a:xfrm>
            <a:off x="1877529" y="3330636"/>
            <a:ext cx="2208113" cy="678554"/>
          </a:xfrm>
          <a:prstGeom prst="rect">
            <a:avLst/>
          </a:prstGeom>
          <a:solidFill>
            <a:srgbClr val="214554"/>
          </a:solidFill>
          <a:ln w="9525" algn="ctr">
            <a:noFill/>
            <a:miter lim="800000"/>
            <a:headEnd/>
            <a:tailEnd/>
          </a:ln>
          <a:effectLst/>
        </p:spPr>
        <p:txBody>
          <a:bodyPr lIns="0" tIns="0" rIns="0" bIns="0" anchor="ctr" anchorCtr="1"/>
          <a:lstStyle/>
          <a:p>
            <a:pPr algn="ctr"/>
            <a:r>
              <a:rPr lang="en-US" sz="1600">
                <a:solidFill>
                  <a:schemeClr val="bg1"/>
                </a:solidFill>
                <a:latin typeface="+mj-lt"/>
                <a:cs typeface="Calibri" pitchFamily="34" charset="0"/>
              </a:rPr>
              <a:t>Text</a:t>
            </a:r>
          </a:p>
        </p:txBody>
      </p:sp>
      <p:sp>
        <p:nvSpPr>
          <p:cNvPr id="10" name="Rectangle 9">
            <a:extLst>
              <a:ext uri="{FF2B5EF4-FFF2-40B4-BE49-F238E27FC236}">
                <a16:creationId xmlns:a16="http://schemas.microsoft.com/office/drawing/2014/main" id="{82724FC4-425C-4336-9E8D-513B3672C10F}"/>
              </a:ext>
            </a:extLst>
          </p:cNvPr>
          <p:cNvSpPr>
            <a:spLocks noChangeArrowheads="1"/>
          </p:cNvSpPr>
          <p:nvPr/>
        </p:nvSpPr>
        <p:spPr bwMode="gray">
          <a:xfrm>
            <a:off x="5191573" y="1794956"/>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en-US" sz="1600">
                <a:solidFill>
                  <a:schemeClr val="bg1"/>
                </a:solidFill>
                <a:latin typeface="+mj-lt"/>
                <a:cs typeface="Calibri" pitchFamily="34" charset="0"/>
              </a:rPr>
              <a:t>Text</a:t>
            </a:r>
          </a:p>
        </p:txBody>
      </p:sp>
      <p:sp>
        <p:nvSpPr>
          <p:cNvPr id="9" name="Rectangle 10">
            <a:extLst>
              <a:ext uri="{FF2B5EF4-FFF2-40B4-BE49-F238E27FC236}">
                <a16:creationId xmlns:a16="http://schemas.microsoft.com/office/drawing/2014/main" id="{D1AA6E58-4477-416D-9394-ED251D8197DE}"/>
              </a:ext>
            </a:extLst>
          </p:cNvPr>
          <p:cNvSpPr>
            <a:spLocks noChangeArrowheads="1"/>
          </p:cNvSpPr>
          <p:nvPr/>
        </p:nvSpPr>
        <p:spPr bwMode="gray">
          <a:xfrm>
            <a:off x="7585258" y="1663363"/>
            <a:ext cx="2729213" cy="867930"/>
          </a:xfrm>
          <a:prstGeom prst="rect">
            <a:avLst/>
          </a:prstGeom>
          <a:noFill/>
          <a:ln w="9525" algn="ctr">
            <a:noFill/>
            <a:miter lim="800000"/>
            <a:headEnd/>
            <a:tailEnd/>
          </a:ln>
          <a:effectLst/>
        </p:spPr>
        <p:txBody>
          <a:bodyPr anchor="ctr">
            <a:spAutoFit/>
          </a:bodyPr>
          <a:lstStyle/>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p:txBody>
      </p:sp>
      <p:sp>
        <p:nvSpPr>
          <p:cNvPr id="11" name="Rectangle 9">
            <a:extLst>
              <a:ext uri="{FF2B5EF4-FFF2-40B4-BE49-F238E27FC236}">
                <a16:creationId xmlns:a16="http://schemas.microsoft.com/office/drawing/2014/main" id="{EE7ADF74-12B1-457F-8D18-EC67798697DD}"/>
              </a:ext>
            </a:extLst>
          </p:cNvPr>
          <p:cNvSpPr>
            <a:spLocks noChangeArrowheads="1"/>
          </p:cNvSpPr>
          <p:nvPr/>
        </p:nvSpPr>
        <p:spPr bwMode="gray">
          <a:xfrm>
            <a:off x="5191573" y="2932486"/>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en-US" sz="1600">
                <a:solidFill>
                  <a:schemeClr val="bg1"/>
                </a:solidFill>
                <a:latin typeface="+mj-lt"/>
                <a:cs typeface="Calibri" pitchFamily="34" charset="0"/>
              </a:rPr>
              <a:t>Text</a:t>
            </a:r>
          </a:p>
        </p:txBody>
      </p:sp>
      <p:sp>
        <p:nvSpPr>
          <p:cNvPr id="8" name="Rectangle 8">
            <a:extLst>
              <a:ext uri="{FF2B5EF4-FFF2-40B4-BE49-F238E27FC236}">
                <a16:creationId xmlns:a16="http://schemas.microsoft.com/office/drawing/2014/main" id="{D9A1850E-6907-42D1-A1B4-FC8BB10A47A2}"/>
              </a:ext>
            </a:extLst>
          </p:cNvPr>
          <p:cNvSpPr>
            <a:spLocks noChangeArrowheads="1"/>
          </p:cNvSpPr>
          <p:nvPr/>
        </p:nvSpPr>
        <p:spPr bwMode="gray">
          <a:xfrm>
            <a:off x="7585258" y="2810350"/>
            <a:ext cx="2729213" cy="867930"/>
          </a:xfrm>
          <a:prstGeom prst="rect">
            <a:avLst/>
          </a:prstGeom>
          <a:noFill/>
          <a:ln w="9525" algn="ctr">
            <a:noFill/>
            <a:miter lim="800000"/>
            <a:headEnd/>
            <a:tailEnd/>
          </a:ln>
          <a:effectLst/>
        </p:spPr>
        <p:txBody>
          <a:bodyPr anchor="ctr">
            <a:spAutoFit/>
          </a:bodyPr>
          <a:lstStyle/>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p:txBody>
      </p:sp>
      <p:sp>
        <p:nvSpPr>
          <p:cNvPr id="12" name="Rectangle 9">
            <a:extLst>
              <a:ext uri="{FF2B5EF4-FFF2-40B4-BE49-F238E27FC236}">
                <a16:creationId xmlns:a16="http://schemas.microsoft.com/office/drawing/2014/main" id="{10E30E37-C18B-4166-BC4E-377C5B814D39}"/>
              </a:ext>
            </a:extLst>
          </p:cNvPr>
          <p:cNvSpPr>
            <a:spLocks noChangeArrowheads="1"/>
          </p:cNvSpPr>
          <p:nvPr/>
        </p:nvSpPr>
        <p:spPr bwMode="gray">
          <a:xfrm>
            <a:off x="5191573" y="4070015"/>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en-US" sz="1600">
                <a:solidFill>
                  <a:schemeClr val="bg1"/>
                </a:solidFill>
                <a:latin typeface="+mj-lt"/>
                <a:cs typeface="Calibri" pitchFamily="34" charset="0"/>
              </a:rPr>
              <a:t>Text</a:t>
            </a:r>
          </a:p>
        </p:txBody>
      </p:sp>
      <p:sp>
        <p:nvSpPr>
          <p:cNvPr id="7" name="Rectangle 5">
            <a:extLst>
              <a:ext uri="{FF2B5EF4-FFF2-40B4-BE49-F238E27FC236}">
                <a16:creationId xmlns:a16="http://schemas.microsoft.com/office/drawing/2014/main" id="{0FC31C4D-9D9A-4B82-934C-3016B51EE9DB}"/>
              </a:ext>
            </a:extLst>
          </p:cNvPr>
          <p:cNvSpPr>
            <a:spLocks noChangeArrowheads="1"/>
          </p:cNvSpPr>
          <p:nvPr/>
        </p:nvSpPr>
        <p:spPr bwMode="gray">
          <a:xfrm>
            <a:off x="7585258" y="3957338"/>
            <a:ext cx="2729213" cy="867930"/>
          </a:xfrm>
          <a:prstGeom prst="rect">
            <a:avLst/>
          </a:prstGeom>
          <a:noFill/>
          <a:ln w="9525" algn="ctr">
            <a:noFill/>
            <a:miter lim="800000"/>
            <a:headEnd/>
            <a:tailEnd/>
          </a:ln>
          <a:effectLst/>
        </p:spPr>
        <p:txBody>
          <a:bodyPr anchor="ctr">
            <a:spAutoFit/>
          </a:bodyPr>
          <a:lstStyle/>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p:txBody>
      </p:sp>
      <p:sp>
        <p:nvSpPr>
          <p:cNvPr id="13" name="Rectangle 9">
            <a:extLst>
              <a:ext uri="{FF2B5EF4-FFF2-40B4-BE49-F238E27FC236}">
                <a16:creationId xmlns:a16="http://schemas.microsoft.com/office/drawing/2014/main" id="{14C0700C-1259-4FEA-8B1D-03D8B1AC04DD}"/>
              </a:ext>
            </a:extLst>
          </p:cNvPr>
          <p:cNvSpPr>
            <a:spLocks noChangeArrowheads="1"/>
          </p:cNvSpPr>
          <p:nvPr/>
        </p:nvSpPr>
        <p:spPr bwMode="gray">
          <a:xfrm>
            <a:off x="5191573" y="5207546"/>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en-US" sz="1600">
                <a:solidFill>
                  <a:schemeClr val="bg1"/>
                </a:solidFill>
                <a:latin typeface="+mj-lt"/>
                <a:cs typeface="Calibri" pitchFamily="34" charset="0"/>
              </a:rPr>
              <a:t>Text</a:t>
            </a:r>
          </a:p>
        </p:txBody>
      </p:sp>
      <p:sp>
        <p:nvSpPr>
          <p:cNvPr id="15" name="Rectangle 5">
            <a:extLst>
              <a:ext uri="{FF2B5EF4-FFF2-40B4-BE49-F238E27FC236}">
                <a16:creationId xmlns:a16="http://schemas.microsoft.com/office/drawing/2014/main" id="{0D5B4D51-475E-4560-9674-A6FEE7B8A5FB}"/>
              </a:ext>
            </a:extLst>
          </p:cNvPr>
          <p:cNvSpPr>
            <a:spLocks noChangeArrowheads="1"/>
          </p:cNvSpPr>
          <p:nvPr/>
        </p:nvSpPr>
        <p:spPr bwMode="gray">
          <a:xfrm>
            <a:off x="7585258" y="5104324"/>
            <a:ext cx="2729213" cy="867930"/>
          </a:xfrm>
          <a:prstGeom prst="rect">
            <a:avLst/>
          </a:prstGeom>
          <a:noFill/>
          <a:ln w="9525" algn="ctr">
            <a:noFill/>
            <a:miter lim="800000"/>
            <a:headEnd/>
            <a:tailEnd/>
          </a:ln>
          <a:effectLst/>
        </p:spPr>
        <p:txBody>
          <a:bodyPr anchor="ctr">
            <a:spAutoFit/>
          </a:bodyPr>
          <a:lstStyle/>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p:txBody>
      </p:sp>
      <p:cxnSp>
        <p:nvCxnSpPr>
          <p:cNvPr id="3" name="AutoShape 6">
            <a:extLst>
              <a:ext uri="{FF2B5EF4-FFF2-40B4-BE49-F238E27FC236}">
                <a16:creationId xmlns:a16="http://schemas.microsoft.com/office/drawing/2014/main" id="{3B62DC06-BC16-4BF7-AFB3-8CF63F39AE8B}"/>
              </a:ext>
              <a:ext uri="{C183D7F6-B498-43B3-948B-1728B52AA6E4}">
                <adec:decorative xmlns:adec="http://schemas.microsoft.com/office/drawing/2017/decorative" val="1"/>
              </a:ext>
            </a:extLst>
          </p:cNvPr>
          <p:cNvCxnSpPr>
            <a:cxnSpLocks noChangeShapeType="1"/>
          </p:cNvCxnSpPr>
          <p:nvPr/>
        </p:nvCxnSpPr>
        <p:spPr bwMode="gray">
          <a:xfrm>
            <a:off x="4085642" y="3669914"/>
            <a:ext cx="1105931" cy="1877847"/>
          </a:xfrm>
          <a:prstGeom prst="bentConnector3">
            <a:avLst>
              <a:gd name="adj1" fmla="val 50000"/>
            </a:avLst>
          </a:prstGeom>
          <a:noFill/>
          <a:ln w="12700">
            <a:solidFill>
              <a:schemeClr val="bg1">
                <a:lumMod val="65000"/>
              </a:schemeClr>
            </a:solidFill>
            <a:miter lim="800000"/>
            <a:headEnd/>
            <a:tailEnd/>
          </a:ln>
          <a:effectLst/>
        </p:spPr>
      </p:cxnSp>
      <p:cxnSp>
        <p:nvCxnSpPr>
          <p:cNvPr id="4" name="AutoShape 13">
            <a:extLst>
              <a:ext uri="{FF2B5EF4-FFF2-40B4-BE49-F238E27FC236}">
                <a16:creationId xmlns:a16="http://schemas.microsoft.com/office/drawing/2014/main" id="{5C8A204F-D7FA-4F71-8364-53D8D9F5F621}"/>
              </a:ext>
              <a:ext uri="{C183D7F6-B498-43B3-948B-1728B52AA6E4}">
                <adec:decorative xmlns:adec="http://schemas.microsoft.com/office/drawing/2017/decorative" val="1"/>
              </a:ext>
            </a:extLst>
          </p:cNvPr>
          <p:cNvCxnSpPr>
            <a:cxnSpLocks noChangeShapeType="1"/>
          </p:cNvCxnSpPr>
          <p:nvPr/>
        </p:nvCxnSpPr>
        <p:spPr bwMode="gray">
          <a:xfrm>
            <a:off x="4085642" y="3669914"/>
            <a:ext cx="1105931" cy="740316"/>
          </a:xfrm>
          <a:prstGeom prst="bentConnector3">
            <a:avLst>
              <a:gd name="adj1" fmla="val 50000"/>
            </a:avLst>
          </a:prstGeom>
          <a:noFill/>
          <a:ln w="12700">
            <a:solidFill>
              <a:schemeClr val="bg1">
                <a:lumMod val="65000"/>
              </a:schemeClr>
            </a:solidFill>
            <a:miter lim="800000"/>
            <a:headEnd/>
            <a:tailEnd/>
          </a:ln>
          <a:effectLst/>
        </p:spPr>
      </p:cxnSp>
      <p:cxnSp>
        <p:nvCxnSpPr>
          <p:cNvPr id="5" name="AutoShape 14">
            <a:extLst>
              <a:ext uri="{FF2B5EF4-FFF2-40B4-BE49-F238E27FC236}">
                <a16:creationId xmlns:a16="http://schemas.microsoft.com/office/drawing/2014/main" id="{84A47587-69AE-4E49-85E6-73A02D54871C}"/>
              </a:ext>
              <a:ext uri="{C183D7F6-B498-43B3-948B-1728B52AA6E4}">
                <adec:decorative xmlns:adec="http://schemas.microsoft.com/office/drawing/2017/decorative" val="1"/>
              </a:ext>
            </a:extLst>
          </p:cNvPr>
          <p:cNvCxnSpPr>
            <a:cxnSpLocks noChangeShapeType="1"/>
          </p:cNvCxnSpPr>
          <p:nvPr/>
        </p:nvCxnSpPr>
        <p:spPr bwMode="gray">
          <a:xfrm flipV="1">
            <a:off x="4085642" y="3272701"/>
            <a:ext cx="1105931" cy="397213"/>
          </a:xfrm>
          <a:prstGeom prst="bentConnector3">
            <a:avLst>
              <a:gd name="adj1" fmla="val 50000"/>
            </a:avLst>
          </a:prstGeom>
          <a:noFill/>
          <a:ln w="12700">
            <a:solidFill>
              <a:schemeClr val="bg1">
                <a:lumMod val="65000"/>
              </a:schemeClr>
            </a:solidFill>
            <a:miter lim="800000"/>
            <a:headEnd/>
            <a:tailEnd/>
          </a:ln>
          <a:effectLst/>
        </p:spPr>
      </p:cxnSp>
      <p:cxnSp>
        <p:nvCxnSpPr>
          <p:cNvPr id="6" name="AutoShape 15">
            <a:extLst>
              <a:ext uri="{FF2B5EF4-FFF2-40B4-BE49-F238E27FC236}">
                <a16:creationId xmlns:a16="http://schemas.microsoft.com/office/drawing/2014/main" id="{43F2375B-808D-4E75-92DC-5DD6DDDB1A30}"/>
              </a:ext>
              <a:ext uri="{C183D7F6-B498-43B3-948B-1728B52AA6E4}">
                <adec:decorative xmlns:adec="http://schemas.microsoft.com/office/drawing/2017/decorative" val="1"/>
              </a:ext>
            </a:extLst>
          </p:cNvPr>
          <p:cNvCxnSpPr>
            <a:cxnSpLocks noChangeShapeType="1"/>
          </p:cNvCxnSpPr>
          <p:nvPr/>
        </p:nvCxnSpPr>
        <p:spPr bwMode="gray">
          <a:xfrm flipV="1">
            <a:off x="4085642" y="2135172"/>
            <a:ext cx="1105931" cy="1534742"/>
          </a:xfrm>
          <a:prstGeom prst="bentConnector3">
            <a:avLst>
              <a:gd name="adj1" fmla="val 50000"/>
            </a:avLst>
          </a:prstGeom>
          <a:noFill/>
          <a:ln w="12700">
            <a:solidFill>
              <a:schemeClr val="bg1">
                <a:lumMod val="65000"/>
              </a:schemeClr>
            </a:solidFill>
            <a:miter lim="800000"/>
            <a:headEnd/>
            <a:tailEnd/>
          </a:ln>
          <a:effectLst/>
        </p:spPr>
      </p:cxnSp>
    </p:spTree>
    <p:extLst>
      <p:ext uri="{BB962C8B-B14F-4D97-AF65-F5344CB8AC3E}">
        <p14:creationId xmlns:p14="http://schemas.microsoft.com/office/powerpoint/2010/main" val="35456937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FE66F-2595-43BF-8650-B77B2EF4784D}"/>
              </a:ext>
            </a:extLst>
          </p:cNvPr>
          <p:cNvSpPr>
            <a:spLocks noGrp="1"/>
          </p:cNvSpPr>
          <p:nvPr>
            <p:ph type="title"/>
          </p:nvPr>
        </p:nvSpPr>
        <p:spPr/>
        <p:txBody>
          <a:bodyPr/>
          <a:lstStyle/>
          <a:p>
            <a:r>
              <a:rPr lang="en-US" dirty="0"/>
              <a:t>Timeline</a:t>
            </a:r>
          </a:p>
        </p:txBody>
      </p:sp>
      <p:sp>
        <p:nvSpPr>
          <p:cNvPr id="74" name="Text Placeholder 4">
            <a:extLst>
              <a:ext uri="{FF2B5EF4-FFF2-40B4-BE49-F238E27FC236}">
                <a16:creationId xmlns:a16="http://schemas.microsoft.com/office/drawing/2014/main" id="{06BC925B-01A0-4E98-8670-C8E30C338AAD}"/>
              </a:ext>
            </a:extLst>
          </p:cNvPr>
          <p:cNvSpPr txBox="1">
            <a:spLocks/>
          </p:cNvSpPr>
          <p:nvPr/>
        </p:nvSpPr>
        <p:spPr>
          <a:xfrm>
            <a:off x="3071664" y="1594844"/>
            <a:ext cx="2733378" cy="1076400"/>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75" name="Text Placeholder 4">
            <a:extLst>
              <a:ext uri="{FF2B5EF4-FFF2-40B4-BE49-F238E27FC236}">
                <a16:creationId xmlns:a16="http://schemas.microsoft.com/office/drawing/2014/main" id="{F49B8EA4-CBFB-42E2-B703-ACC91ADF4358}"/>
              </a:ext>
            </a:extLst>
          </p:cNvPr>
          <p:cNvSpPr txBox="1">
            <a:spLocks/>
          </p:cNvSpPr>
          <p:nvPr/>
        </p:nvSpPr>
        <p:spPr>
          <a:xfrm>
            <a:off x="6528048" y="1594844"/>
            <a:ext cx="2733378" cy="1076400"/>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54" name="Rectangle 53">
            <a:extLst>
              <a:ext uri="{FF2B5EF4-FFF2-40B4-BE49-F238E27FC236}">
                <a16:creationId xmlns:a16="http://schemas.microsoft.com/office/drawing/2014/main" id="{76739E9B-0B5A-4D44-A676-887E006168B8}"/>
              </a:ext>
              <a:ext uri="{C183D7F6-B498-43B3-948B-1728B52AA6E4}">
                <adec:decorative xmlns:adec="http://schemas.microsoft.com/office/drawing/2017/decorative" val="1"/>
              </a:ext>
            </a:extLst>
          </p:cNvPr>
          <p:cNvSpPr/>
          <p:nvPr/>
        </p:nvSpPr>
        <p:spPr>
          <a:xfrm>
            <a:off x="-10160" y="3068041"/>
            <a:ext cx="1762945" cy="3934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56" name="Rectangle 55">
            <a:extLst>
              <a:ext uri="{FF2B5EF4-FFF2-40B4-BE49-F238E27FC236}">
                <a16:creationId xmlns:a16="http://schemas.microsoft.com/office/drawing/2014/main" id="{D8AC509F-1F9E-4FD3-9D65-3B7A1A1DC3F2}"/>
              </a:ext>
              <a:ext uri="{C183D7F6-B498-43B3-948B-1728B52AA6E4}">
                <adec:decorative xmlns:adec="http://schemas.microsoft.com/office/drawing/2017/decorative" val="1"/>
              </a:ext>
            </a:extLst>
          </p:cNvPr>
          <p:cNvSpPr/>
          <p:nvPr/>
        </p:nvSpPr>
        <p:spPr>
          <a:xfrm>
            <a:off x="1739745" y="3068041"/>
            <a:ext cx="1742451" cy="393403"/>
          </a:xfrm>
          <a:prstGeom prst="rect">
            <a:avLst/>
          </a:prstGeom>
          <a:solidFill>
            <a:srgbClr val="68D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62" name="Oval 61">
            <a:extLst>
              <a:ext uri="{FF2B5EF4-FFF2-40B4-BE49-F238E27FC236}">
                <a16:creationId xmlns:a16="http://schemas.microsoft.com/office/drawing/2014/main" id="{0B8C1407-203E-4C68-97A9-EB045AE80274}"/>
              </a:ext>
              <a:ext uri="{C183D7F6-B498-43B3-948B-1728B52AA6E4}">
                <adec:decorative xmlns:adec="http://schemas.microsoft.com/office/drawing/2017/decorative" val="1"/>
              </a:ext>
            </a:extLst>
          </p:cNvPr>
          <p:cNvSpPr/>
          <p:nvPr/>
        </p:nvSpPr>
        <p:spPr bwMode="auto">
          <a:xfrm>
            <a:off x="2186129" y="2787582"/>
            <a:ext cx="954320" cy="95432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200" b="0" u="none" strike="noStrike" cap="none" normalizeH="0" baseline="0">
              <a:ln>
                <a:noFill/>
              </a:ln>
              <a:effectLst/>
              <a:cs typeface="Arial" charset="0"/>
            </a:endParaRPr>
          </a:p>
        </p:txBody>
      </p:sp>
      <p:sp>
        <p:nvSpPr>
          <p:cNvPr id="67" name="TextBox 66">
            <a:extLst>
              <a:ext uri="{FF2B5EF4-FFF2-40B4-BE49-F238E27FC236}">
                <a16:creationId xmlns:a16="http://schemas.microsoft.com/office/drawing/2014/main" id="{4979CA48-B4BD-4733-9390-0F67CEB1E79B}"/>
              </a:ext>
            </a:extLst>
          </p:cNvPr>
          <p:cNvSpPr txBox="1"/>
          <p:nvPr/>
        </p:nvSpPr>
        <p:spPr>
          <a:xfrm>
            <a:off x="2223075" y="3033910"/>
            <a:ext cx="883575" cy="461665"/>
          </a:xfrm>
          <a:prstGeom prst="rect">
            <a:avLst/>
          </a:prstGeom>
          <a:noFill/>
        </p:spPr>
        <p:txBody>
          <a:bodyPr wrap="none" rtlCol="0" anchor="ctr">
            <a:spAutoFit/>
          </a:bodyPr>
          <a:lstStyle/>
          <a:p>
            <a:pPr algn="ctr" defTabSz="914400"/>
            <a:r>
              <a:rPr lang="en-US" sz="2400" dirty="0">
                <a:solidFill>
                  <a:schemeClr val="accent1"/>
                </a:solidFill>
                <a:latin typeface="+mj-lt"/>
              </a:rPr>
              <a:t>1980</a:t>
            </a:r>
          </a:p>
        </p:txBody>
      </p:sp>
      <p:sp>
        <p:nvSpPr>
          <p:cNvPr id="57" name="Rectangle 56">
            <a:extLst>
              <a:ext uri="{FF2B5EF4-FFF2-40B4-BE49-F238E27FC236}">
                <a16:creationId xmlns:a16="http://schemas.microsoft.com/office/drawing/2014/main" id="{785AAE2F-A771-4FA7-8CD0-B292B45347C2}"/>
              </a:ext>
              <a:ext uri="{C183D7F6-B498-43B3-948B-1728B52AA6E4}">
                <adec:decorative xmlns:adec="http://schemas.microsoft.com/office/drawing/2017/decorative" val="1"/>
              </a:ext>
            </a:extLst>
          </p:cNvPr>
          <p:cNvSpPr/>
          <p:nvPr/>
        </p:nvSpPr>
        <p:spPr>
          <a:xfrm>
            <a:off x="3480705" y="3068041"/>
            <a:ext cx="1742451" cy="39340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63" name="Oval 62">
            <a:extLst>
              <a:ext uri="{FF2B5EF4-FFF2-40B4-BE49-F238E27FC236}">
                <a16:creationId xmlns:a16="http://schemas.microsoft.com/office/drawing/2014/main" id="{FD6DC22C-3547-4155-B618-265AC4E5EBB4}"/>
              </a:ext>
              <a:ext uri="{C183D7F6-B498-43B3-948B-1728B52AA6E4}">
                <adec:decorative xmlns:adec="http://schemas.microsoft.com/office/drawing/2017/decorative" val="1"/>
              </a:ext>
            </a:extLst>
          </p:cNvPr>
          <p:cNvSpPr/>
          <p:nvPr/>
        </p:nvSpPr>
        <p:spPr bwMode="auto">
          <a:xfrm>
            <a:off x="3840959" y="2787582"/>
            <a:ext cx="954320" cy="95432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200" b="0" u="none" strike="noStrike" cap="none" normalizeH="0" baseline="0">
              <a:ln>
                <a:noFill/>
              </a:ln>
              <a:effectLst/>
              <a:cs typeface="Arial" charset="0"/>
            </a:endParaRPr>
          </a:p>
        </p:txBody>
      </p:sp>
      <p:sp>
        <p:nvSpPr>
          <p:cNvPr id="68" name="TextBox 67">
            <a:extLst>
              <a:ext uri="{FF2B5EF4-FFF2-40B4-BE49-F238E27FC236}">
                <a16:creationId xmlns:a16="http://schemas.microsoft.com/office/drawing/2014/main" id="{40B56B8E-2AE7-4FE6-853D-74FFB2FCBE46}"/>
              </a:ext>
            </a:extLst>
          </p:cNvPr>
          <p:cNvSpPr txBox="1"/>
          <p:nvPr/>
        </p:nvSpPr>
        <p:spPr>
          <a:xfrm>
            <a:off x="3895058" y="3033910"/>
            <a:ext cx="883575" cy="461665"/>
          </a:xfrm>
          <a:prstGeom prst="rect">
            <a:avLst/>
          </a:prstGeom>
          <a:noFill/>
        </p:spPr>
        <p:txBody>
          <a:bodyPr wrap="none" rtlCol="0" anchor="ctr">
            <a:spAutoFit/>
          </a:bodyPr>
          <a:lstStyle/>
          <a:p>
            <a:pPr algn="ctr" defTabSz="914400"/>
            <a:r>
              <a:rPr lang="en-US" sz="2400">
                <a:solidFill>
                  <a:schemeClr val="accent1"/>
                </a:solidFill>
                <a:latin typeface="+mj-lt"/>
              </a:rPr>
              <a:t>1990</a:t>
            </a:r>
          </a:p>
        </p:txBody>
      </p:sp>
      <p:sp>
        <p:nvSpPr>
          <p:cNvPr id="58" name="Rectangle 57">
            <a:extLst>
              <a:ext uri="{FF2B5EF4-FFF2-40B4-BE49-F238E27FC236}">
                <a16:creationId xmlns:a16="http://schemas.microsoft.com/office/drawing/2014/main" id="{E2E5AAB9-105E-4E1C-82AC-DAB3BD3DBCF3}"/>
              </a:ext>
              <a:ext uri="{C183D7F6-B498-43B3-948B-1728B52AA6E4}">
                <adec:decorative xmlns:adec="http://schemas.microsoft.com/office/drawing/2017/decorative" val="1"/>
              </a:ext>
            </a:extLst>
          </p:cNvPr>
          <p:cNvSpPr/>
          <p:nvPr/>
        </p:nvSpPr>
        <p:spPr>
          <a:xfrm>
            <a:off x="5223950" y="3068041"/>
            <a:ext cx="1742451" cy="39340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64" name="Oval 63">
            <a:extLst>
              <a:ext uri="{FF2B5EF4-FFF2-40B4-BE49-F238E27FC236}">
                <a16:creationId xmlns:a16="http://schemas.microsoft.com/office/drawing/2014/main" id="{FD6CC98C-003A-4C70-8745-96C8BE6CDFB6}"/>
              </a:ext>
              <a:ext uri="{C183D7F6-B498-43B3-948B-1728B52AA6E4}">
                <adec:decorative xmlns:adec="http://schemas.microsoft.com/office/drawing/2017/decorative" val="1"/>
              </a:ext>
            </a:extLst>
          </p:cNvPr>
          <p:cNvSpPr/>
          <p:nvPr/>
        </p:nvSpPr>
        <p:spPr bwMode="auto">
          <a:xfrm>
            <a:off x="5617618" y="2787582"/>
            <a:ext cx="954320" cy="95432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200" b="0" u="none" strike="noStrike" cap="none" normalizeH="0" baseline="0">
              <a:ln>
                <a:noFill/>
              </a:ln>
              <a:effectLst/>
              <a:cs typeface="Arial" charset="0"/>
            </a:endParaRPr>
          </a:p>
        </p:txBody>
      </p:sp>
      <p:sp>
        <p:nvSpPr>
          <p:cNvPr id="69" name="TextBox 68">
            <a:extLst>
              <a:ext uri="{FF2B5EF4-FFF2-40B4-BE49-F238E27FC236}">
                <a16:creationId xmlns:a16="http://schemas.microsoft.com/office/drawing/2014/main" id="{3C2F5027-3795-4CBF-A724-13226432C5A8}"/>
              </a:ext>
            </a:extLst>
          </p:cNvPr>
          <p:cNvSpPr txBox="1"/>
          <p:nvPr/>
        </p:nvSpPr>
        <p:spPr>
          <a:xfrm>
            <a:off x="5654845" y="3033910"/>
            <a:ext cx="883575" cy="461665"/>
          </a:xfrm>
          <a:prstGeom prst="rect">
            <a:avLst/>
          </a:prstGeom>
          <a:noFill/>
        </p:spPr>
        <p:txBody>
          <a:bodyPr wrap="none" rtlCol="0" anchor="ctr">
            <a:spAutoFit/>
          </a:bodyPr>
          <a:lstStyle/>
          <a:p>
            <a:pPr algn="ctr" defTabSz="914400"/>
            <a:r>
              <a:rPr lang="en-US" sz="2400">
                <a:solidFill>
                  <a:schemeClr val="accent1"/>
                </a:solidFill>
                <a:latin typeface="+mj-lt"/>
              </a:rPr>
              <a:t>2000</a:t>
            </a:r>
          </a:p>
        </p:txBody>
      </p:sp>
      <p:sp>
        <p:nvSpPr>
          <p:cNvPr id="59" name="Rectangle 58">
            <a:extLst>
              <a:ext uri="{FF2B5EF4-FFF2-40B4-BE49-F238E27FC236}">
                <a16:creationId xmlns:a16="http://schemas.microsoft.com/office/drawing/2014/main" id="{D93551C7-A186-4FD2-96F5-610F81E1554C}"/>
              </a:ext>
              <a:ext uri="{C183D7F6-B498-43B3-948B-1728B52AA6E4}">
                <adec:decorative xmlns:adec="http://schemas.microsoft.com/office/drawing/2017/decorative" val="1"/>
              </a:ext>
            </a:extLst>
          </p:cNvPr>
          <p:cNvSpPr/>
          <p:nvPr/>
        </p:nvSpPr>
        <p:spPr>
          <a:xfrm>
            <a:off x="6967197" y="3068041"/>
            <a:ext cx="1742451" cy="393403"/>
          </a:xfrm>
          <a:prstGeom prst="rect">
            <a:avLst/>
          </a:prstGeom>
          <a:solidFill>
            <a:srgbClr val="0054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65" name="Oval 64">
            <a:extLst>
              <a:ext uri="{FF2B5EF4-FFF2-40B4-BE49-F238E27FC236}">
                <a16:creationId xmlns:a16="http://schemas.microsoft.com/office/drawing/2014/main" id="{CA4CA1E1-EFE1-42EE-BB13-F3B9B841CC03}"/>
              </a:ext>
              <a:ext uri="{C183D7F6-B498-43B3-948B-1728B52AA6E4}">
                <adec:decorative xmlns:adec="http://schemas.microsoft.com/office/drawing/2017/decorative" val="1"/>
              </a:ext>
            </a:extLst>
          </p:cNvPr>
          <p:cNvSpPr/>
          <p:nvPr/>
        </p:nvSpPr>
        <p:spPr bwMode="auto">
          <a:xfrm>
            <a:off x="7302906" y="2787582"/>
            <a:ext cx="954320" cy="95432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200" b="0" u="none" strike="noStrike" cap="none" normalizeH="0" baseline="0">
              <a:ln>
                <a:noFill/>
              </a:ln>
              <a:effectLst/>
              <a:cs typeface="Arial" charset="0"/>
            </a:endParaRPr>
          </a:p>
        </p:txBody>
      </p:sp>
      <p:sp>
        <p:nvSpPr>
          <p:cNvPr id="70" name="TextBox 69">
            <a:extLst>
              <a:ext uri="{FF2B5EF4-FFF2-40B4-BE49-F238E27FC236}">
                <a16:creationId xmlns:a16="http://schemas.microsoft.com/office/drawing/2014/main" id="{CD17381E-EEE4-496C-90B6-A6F47CD821DA}"/>
              </a:ext>
            </a:extLst>
          </p:cNvPr>
          <p:cNvSpPr txBox="1"/>
          <p:nvPr/>
        </p:nvSpPr>
        <p:spPr>
          <a:xfrm>
            <a:off x="7339859" y="3033910"/>
            <a:ext cx="883575" cy="461665"/>
          </a:xfrm>
          <a:prstGeom prst="rect">
            <a:avLst/>
          </a:prstGeom>
          <a:noFill/>
        </p:spPr>
        <p:txBody>
          <a:bodyPr wrap="none" rtlCol="0" anchor="ctr">
            <a:spAutoFit/>
          </a:bodyPr>
          <a:lstStyle/>
          <a:p>
            <a:pPr algn="ctr" defTabSz="914400"/>
            <a:r>
              <a:rPr lang="en-US" sz="2400">
                <a:solidFill>
                  <a:schemeClr val="accent1"/>
                </a:solidFill>
                <a:latin typeface="+mj-lt"/>
              </a:rPr>
              <a:t>2010</a:t>
            </a:r>
          </a:p>
        </p:txBody>
      </p:sp>
      <p:sp>
        <p:nvSpPr>
          <p:cNvPr id="60" name="Rectangle 59">
            <a:extLst>
              <a:ext uri="{FF2B5EF4-FFF2-40B4-BE49-F238E27FC236}">
                <a16:creationId xmlns:a16="http://schemas.microsoft.com/office/drawing/2014/main" id="{4037D180-1F88-42FC-AE21-354572432ABE}"/>
              </a:ext>
              <a:ext uri="{C183D7F6-B498-43B3-948B-1728B52AA6E4}">
                <adec:decorative xmlns:adec="http://schemas.microsoft.com/office/drawing/2017/decorative" val="1"/>
              </a:ext>
            </a:extLst>
          </p:cNvPr>
          <p:cNvSpPr/>
          <p:nvPr/>
        </p:nvSpPr>
        <p:spPr>
          <a:xfrm>
            <a:off x="8709647" y="3068041"/>
            <a:ext cx="1742451" cy="393403"/>
          </a:xfrm>
          <a:prstGeom prst="rect">
            <a:avLst/>
          </a:prstGeom>
          <a:solidFill>
            <a:srgbClr val="003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66" name="Oval 65">
            <a:extLst>
              <a:ext uri="{FF2B5EF4-FFF2-40B4-BE49-F238E27FC236}">
                <a16:creationId xmlns:a16="http://schemas.microsoft.com/office/drawing/2014/main" id="{9128C097-C5CB-4E4B-B71B-D687F4420C1A}"/>
              </a:ext>
              <a:ext uri="{C183D7F6-B498-43B3-948B-1728B52AA6E4}">
                <adec:decorative xmlns:adec="http://schemas.microsoft.com/office/drawing/2017/decorative" val="1"/>
              </a:ext>
            </a:extLst>
          </p:cNvPr>
          <p:cNvSpPr/>
          <p:nvPr/>
        </p:nvSpPr>
        <p:spPr bwMode="auto">
          <a:xfrm>
            <a:off x="9049108" y="2787582"/>
            <a:ext cx="954320" cy="95432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200" b="0" u="none" strike="noStrike" cap="none" normalizeH="0" baseline="0">
              <a:ln>
                <a:noFill/>
              </a:ln>
              <a:effectLst/>
              <a:cs typeface="Arial" charset="0"/>
            </a:endParaRPr>
          </a:p>
        </p:txBody>
      </p:sp>
      <p:sp>
        <p:nvSpPr>
          <p:cNvPr id="71" name="TextBox 70">
            <a:extLst>
              <a:ext uri="{FF2B5EF4-FFF2-40B4-BE49-F238E27FC236}">
                <a16:creationId xmlns:a16="http://schemas.microsoft.com/office/drawing/2014/main" id="{6536F138-9AE4-4488-A4ED-01CE1DFC3EDE}"/>
              </a:ext>
            </a:extLst>
          </p:cNvPr>
          <p:cNvSpPr txBox="1"/>
          <p:nvPr/>
        </p:nvSpPr>
        <p:spPr>
          <a:xfrm>
            <a:off x="9091209" y="3033910"/>
            <a:ext cx="883575" cy="461665"/>
          </a:xfrm>
          <a:prstGeom prst="rect">
            <a:avLst/>
          </a:prstGeom>
          <a:noFill/>
        </p:spPr>
        <p:txBody>
          <a:bodyPr wrap="none" rtlCol="0" anchor="ctr">
            <a:spAutoFit/>
          </a:bodyPr>
          <a:lstStyle/>
          <a:p>
            <a:pPr algn="ctr" defTabSz="914400"/>
            <a:r>
              <a:rPr lang="en-US" sz="2400">
                <a:solidFill>
                  <a:schemeClr val="accent1"/>
                </a:solidFill>
                <a:latin typeface="+mj-lt"/>
              </a:rPr>
              <a:t>2020</a:t>
            </a:r>
          </a:p>
        </p:txBody>
      </p:sp>
      <p:sp>
        <p:nvSpPr>
          <p:cNvPr id="55" name="Rectangle 54">
            <a:extLst>
              <a:ext uri="{FF2B5EF4-FFF2-40B4-BE49-F238E27FC236}">
                <a16:creationId xmlns:a16="http://schemas.microsoft.com/office/drawing/2014/main" id="{4267CB6B-383B-4655-BAC2-5E17D44B9C5E}"/>
              </a:ext>
              <a:ext uri="{C183D7F6-B498-43B3-948B-1728B52AA6E4}">
                <adec:decorative xmlns:adec="http://schemas.microsoft.com/office/drawing/2017/decorative" val="1"/>
              </a:ext>
            </a:extLst>
          </p:cNvPr>
          <p:cNvSpPr/>
          <p:nvPr/>
        </p:nvSpPr>
        <p:spPr>
          <a:xfrm>
            <a:off x="10437568" y="3068041"/>
            <a:ext cx="1762148" cy="3934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12" name="Text Placeholder 4">
            <a:extLst>
              <a:ext uri="{FF2B5EF4-FFF2-40B4-BE49-F238E27FC236}">
                <a16:creationId xmlns:a16="http://schemas.microsoft.com/office/drawing/2014/main" id="{FBEF6B6B-1004-450D-9281-74CD146DC2E2}"/>
              </a:ext>
            </a:extLst>
          </p:cNvPr>
          <p:cNvSpPr txBox="1">
            <a:spLocks/>
          </p:cNvSpPr>
          <p:nvPr/>
        </p:nvSpPr>
        <p:spPr>
          <a:xfrm>
            <a:off x="1055440" y="4141274"/>
            <a:ext cx="2733378" cy="1076400"/>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72" name="Text Placeholder 4">
            <a:extLst>
              <a:ext uri="{FF2B5EF4-FFF2-40B4-BE49-F238E27FC236}">
                <a16:creationId xmlns:a16="http://schemas.microsoft.com/office/drawing/2014/main" id="{EAD19054-F3EC-400C-8A68-AEEE41EC19E6}"/>
              </a:ext>
            </a:extLst>
          </p:cNvPr>
          <p:cNvSpPr txBox="1">
            <a:spLocks/>
          </p:cNvSpPr>
          <p:nvPr/>
        </p:nvSpPr>
        <p:spPr>
          <a:xfrm>
            <a:off x="4727848" y="4141274"/>
            <a:ext cx="2733378" cy="1076400"/>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73" name="Text Placeholder 4">
            <a:extLst>
              <a:ext uri="{FF2B5EF4-FFF2-40B4-BE49-F238E27FC236}">
                <a16:creationId xmlns:a16="http://schemas.microsoft.com/office/drawing/2014/main" id="{33F3C99F-B52A-4CE3-8C28-C6D8137726BC}"/>
              </a:ext>
            </a:extLst>
          </p:cNvPr>
          <p:cNvSpPr txBox="1">
            <a:spLocks/>
          </p:cNvSpPr>
          <p:nvPr/>
        </p:nvSpPr>
        <p:spPr>
          <a:xfrm>
            <a:off x="8328248" y="4141274"/>
            <a:ext cx="2733378" cy="1076400"/>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Tree>
    <p:extLst>
      <p:ext uri="{BB962C8B-B14F-4D97-AF65-F5344CB8AC3E}">
        <p14:creationId xmlns:p14="http://schemas.microsoft.com/office/powerpoint/2010/main" val="4801978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46C1F4-5276-49A1-BBAB-8C9C75904DF8}"/>
              </a:ext>
            </a:extLst>
          </p:cNvPr>
          <p:cNvSpPr>
            <a:spLocks noGrp="1"/>
          </p:cNvSpPr>
          <p:nvPr>
            <p:ph type="title"/>
          </p:nvPr>
        </p:nvSpPr>
        <p:spPr/>
        <p:txBody>
          <a:bodyPr/>
          <a:lstStyle/>
          <a:p>
            <a:r>
              <a:rPr lang="en-US"/>
              <a:t>Timeline</a:t>
            </a:r>
          </a:p>
        </p:txBody>
      </p:sp>
      <p:sp>
        <p:nvSpPr>
          <p:cNvPr id="12" name="Freeform 582">
            <a:extLst>
              <a:ext uri="{FF2B5EF4-FFF2-40B4-BE49-F238E27FC236}">
                <a16:creationId xmlns:a16="http://schemas.microsoft.com/office/drawing/2014/main" id="{9BEC761E-37D0-485C-820E-026E6779303A}"/>
              </a:ext>
              <a:ext uri="{C183D7F6-B498-43B3-948B-1728B52AA6E4}">
                <adec:decorative xmlns:adec="http://schemas.microsoft.com/office/drawing/2017/decorative" val="1"/>
              </a:ext>
            </a:extLst>
          </p:cNvPr>
          <p:cNvSpPr>
            <a:spLocks/>
          </p:cNvSpPr>
          <p:nvPr/>
        </p:nvSpPr>
        <p:spPr bwMode="auto">
          <a:xfrm rot="16200000">
            <a:off x="623094" y="3627708"/>
            <a:ext cx="1028515" cy="1025883"/>
          </a:xfrm>
          <a:custGeom>
            <a:avLst/>
            <a:gdLst>
              <a:gd name="T0" fmla="*/ 1362 w 1562"/>
              <a:gd name="T1" fmla="*/ 260 h 1562"/>
              <a:gd name="T2" fmla="*/ 1461 w 1562"/>
              <a:gd name="T3" fmla="*/ 396 h 1562"/>
              <a:gd name="T4" fmla="*/ 1525 w 1562"/>
              <a:gd name="T5" fmla="*/ 546 h 1562"/>
              <a:gd name="T6" fmla="*/ 1558 w 1562"/>
              <a:gd name="T7" fmla="*/ 704 h 1562"/>
              <a:gd name="T8" fmla="*/ 1560 w 1562"/>
              <a:gd name="T9" fmla="*/ 825 h 1562"/>
              <a:gd name="T10" fmla="*/ 1547 w 1562"/>
              <a:gd name="T11" fmla="*/ 928 h 1562"/>
              <a:gd name="T12" fmla="*/ 1509 w 1562"/>
              <a:gd name="T13" fmla="*/ 1063 h 1562"/>
              <a:gd name="T14" fmla="*/ 1446 w 1562"/>
              <a:gd name="T15" fmla="*/ 1190 h 1562"/>
              <a:gd name="T16" fmla="*/ 1358 w 1562"/>
              <a:gd name="T17" fmla="*/ 1307 h 1562"/>
              <a:gd name="T18" fmla="*/ 1306 w 1562"/>
              <a:gd name="T19" fmla="*/ 1359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6 w 1562"/>
              <a:gd name="T31" fmla="*/ 1526 h 1562"/>
              <a:gd name="T32" fmla="*/ 396 w 1562"/>
              <a:gd name="T33" fmla="*/ 1461 h 1562"/>
              <a:gd name="T34" fmla="*/ 259 w 1562"/>
              <a:gd name="T35" fmla="*/ 1363 h 1562"/>
              <a:gd name="T36" fmla="*/ 201 w 1562"/>
              <a:gd name="T37" fmla="*/ 1304 h 1562"/>
              <a:gd name="T38" fmla="*/ 107 w 1562"/>
              <a:gd name="T39" fmla="*/ 1177 h 1562"/>
              <a:gd name="T40" fmla="*/ 43 w 1562"/>
              <a:gd name="T41" fmla="*/ 1040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9 h 1562"/>
              <a:gd name="T54" fmla="*/ 319 w 1562"/>
              <a:gd name="T55" fmla="*/ 151 h 1562"/>
              <a:gd name="T56" fmla="*/ 451 w 1562"/>
              <a:gd name="T57" fmla="*/ 72 h 1562"/>
              <a:gd name="T58" fmla="*/ 595 w 1562"/>
              <a:gd name="T59" fmla="*/ 22 h 1562"/>
              <a:gd name="T60" fmla="*/ 743 w 1562"/>
              <a:gd name="T61" fmla="*/ 0 h 1562"/>
              <a:gd name="T62" fmla="*/ 893 w 1562"/>
              <a:gd name="T63" fmla="*/ 8 h 1562"/>
              <a:gd name="T64" fmla="*/ 1039 w 1562"/>
              <a:gd name="T65" fmla="*/ 43 h 1562"/>
              <a:gd name="T66" fmla="*/ 1177 w 1562"/>
              <a:gd name="T67" fmla="*/ 108 h 1562"/>
              <a:gd name="T68" fmla="*/ 1304 w 1562"/>
              <a:gd name="T69" fmla="*/ 201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9"/>
                </a:moveTo>
                <a:lnTo>
                  <a:pt x="1362" y="260"/>
                </a:lnTo>
                <a:lnTo>
                  <a:pt x="1415" y="326"/>
                </a:lnTo>
                <a:lnTo>
                  <a:pt x="1461" y="396"/>
                </a:lnTo>
                <a:lnTo>
                  <a:pt x="1497" y="470"/>
                </a:lnTo>
                <a:lnTo>
                  <a:pt x="1525" y="546"/>
                </a:lnTo>
                <a:lnTo>
                  <a:pt x="1546" y="625"/>
                </a:lnTo>
                <a:lnTo>
                  <a:pt x="1558" y="704"/>
                </a:lnTo>
                <a:lnTo>
                  <a:pt x="1562" y="785"/>
                </a:lnTo>
                <a:lnTo>
                  <a:pt x="1560" y="825"/>
                </a:lnTo>
                <a:lnTo>
                  <a:pt x="1558" y="860"/>
                </a:lnTo>
                <a:lnTo>
                  <a:pt x="1547" y="928"/>
                </a:lnTo>
                <a:lnTo>
                  <a:pt x="1532" y="997"/>
                </a:lnTo>
                <a:lnTo>
                  <a:pt x="1509" y="1063"/>
                </a:lnTo>
                <a:lnTo>
                  <a:pt x="1480" y="1128"/>
                </a:lnTo>
                <a:lnTo>
                  <a:pt x="1446" y="1190"/>
                </a:lnTo>
                <a:lnTo>
                  <a:pt x="1405" y="1250"/>
                </a:lnTo>
                <a:lnTo>
                  <a:pt x="1358" y="1307"/>
                </a:lnTo>
                <a:lnTo>
                  <a:pt x="1332" y="1333"/>
                </a:lnTo>
                <a:lnTo>
                  <a:pt x="1306" y="1359"/>
                </a:lnTo>
                <a:lnTo>
                  <a:pt x="1249" y="1405"/>
                </a:lnTo>
                <a:lnTo>
                  <a:pt x="1190" y="1447"/>
                </a:lnTo>
                <a:lnTo>
                  <a:pt x="1127" y="1481"/>
                </a:lnTo>
                <a:lnTo>
                  <a:pt x="1063" y="1509"/>
                </a:lnTo>
                <a:lnTo>
                  <a:pt x="997" y="1532"/>
                </a:lnTo>
                <a:lnTo>
                  <a:pt x="928" y="1548"/>
                </a:lnTo>
                <a:lnTo>
                  <a:pt x="859" y="1558"/>
                </a:lnTo>
                <a:lnTo>
                  <a:pt x="825" y="1561"/>
                </a:lnTo>
                <a:lnTo>
                  <a:pt x="784" y="1562"/>
                </a:lnTo>
                <a:lnTo>
                  <a:pt x="704" y="1558"/>
                </a:lnTo>
                <a:lnTo>
                  <a:pt x="625" y="1547"/>
                </a:lnTo>
                <a:lnTo>
                  <a:pt x="546" y="1526"/>
                </a:lnTo>
                <a:lnTo>
                  <a:pt x="469" y="1497"/>
                </a:lnTo>
                <a:lnTo>
                  <a:pt x="396" y="1461"/>
                </a:lnTo>
                <a:lnTo>
                  <a:pt x="325" y="1416"/>
                </a:lnTo>
                <a:lnTo>
                  <a:pt x="259" y="1363"/>
                </a:lnTo>
                <a:lnTo>
                  <a:pt x="228" y="1333"/>
                </a:lnTo>
                <a:lnTo>
                  <a:pt x="201" y="1304"/>
                </a:lnTo>
                <a:lnTo>
                  <a:pt x="150" y="1243"/>
                </a:lnTo>
                <a:lnTo>
                  <a:pt x="107" y="1177"/>
                </a:lnTo>
                <a:lnTo>
                  <a:pt x="71" y="1110"/>
                </a:lnTo>
                <a:lnTo>
                  <a:pt x="43" y="1040"/>
                </a:lnTo>
                <a:lnTo>
                  <a:pt x="22" y="967"/>
                </a:lnTo>
                <a:lnTo>
                  <a:pt x="8" y="893"/>
                </a:lnTo>
                <a:lnTo>
                  <a:pt x="0" y="818"/>
                </a:lnTo>
                <a:lnTo>
                  <a:pt x="0" y="743"/>
                </a:lnTo>
                <a:lnTo>
                  <a:pt x="8" y="669"/>
                </a:lnTo>
                <a:lnTo>
                  <a:pt x="22" y="595"/>
                </a:lnTo>
                <a:lnTo>
                  <a:pt x="43" y="523"/>
                </a:lnTo>
                <a:lnTo>
                  <a:pt x="71" y="451"/>
                </a:lnTo>
                <a:lnTo>
                  <a:pt x="107" y="384"/>
                </a:lnTo>
                <a:lnTo>
                  <a:pt x="150" y="319"/>
                </a:lnTo>
                <a:lnTo>
                  <a:pt x="201" y="258"/>
                </a:lnTo>
                <a:lnTo>
                  <a:pt x="228" y="229"/>
                </a:lnTo>
                <a:lnTo>
                  <a:pt x="258" y="201"/>
                </a:lnTo>
                <a:lnTo>
                  <a:pt x="319" y="151"/>
                </a:lnTo>
                <a:lnTo>
                  <a:pt x="384" y="108"/>
                </a:lnTo>
                <a:lnTo>
                  <a:pt x="451" y="72"/>
                </a:lnTo>
                <a:lnTo>
                  <a:pt x="522" y="43"/>
                </a:lnTo>
                <a:lnTo>
                  <a:pt x="595" y="22"/>
                </a:lnTo>
                <a:lnTo>
                  <a:pt x="669" y="8"/>
                </a:lnTo>
                <a:lnTo>
                  <a:pt x="743" y="0"/>
                </a:lnTo>
                <a:lnTo>
                  <a:pt x="818" y="0"/>
                </a:lnTo>
                <a:lnTo>
                  <a:pt x="893" y="8"/>
                </a:lnTo>
                <a:lnTo>
                  <a:pt x="967" y="22"/>
                </a:lnTo>
                <a:lnTo>
                  <a:pt x="1039" y="43"/>
                </a:lnTo>
                <a:lnTo>
                  <a:pt x="1109" y="72"/>
                </a:lnTo>
                <a:lnTo>
                  <a:pt x="1177" y="108"/>
                </a:lnTo>
                <a:lnTo>
                  <a:pt x="1243" y="151"/>
                </a:lnTo>
                <a:lnTo>
                  <a:pt x="1304" y="201"/>
                </a:lnTo>
                <a:lnTo>
                  <a:pt x="1332" y="22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4" name="Freeform 584">
            <a:extLst>
              <a:ext uri="{FF2B5EF4-FFF2-40B4-BE49-F238E27FC236}">
                <a16:creationId xmlns:a16="http://schemas.microsoft.com/office/drawing/2014/main" id="{C6B0AAB6-76E8-405E-BFB2-8379714D3CD6}"/>
              </a:ext>
              <a:ext uri="{C183D7F6-B498-43B3-948B-1728B52AA6E4}">
                <adec:decorative xmlns:adec="http://schemas.microsoft.com/office/drawing/2017/decorative" val="0"/>
              </a:ext>
            </a:extLst>
          </p:cNvPr>
          <p:cNvSpPr>
            <a:spLocks/>
          </p:cNvSpPr>
          <p:nvPr/>
        </p:nvSpPr>
        <p:spPr bwMode="auto">
          <a:xfrm>
            <a:off x="796705" y="3800006"/>
            <a:ext cx="681292" cy="681292"/>
          </a:xfrm>
          <a:custGeom>
            <a:avLst/>
            <a:gdLst>
              <a:gd name="T0" fmla="*/ 151 w 1037"/>
              <a:gd name="T1" fmla="*/ 153 h 1038"/>
              <a:gd name="T2" fmla="*/ 115 w 1037"/>
              <a:gd name="T3" fmla="*/ 192 h 1038"/>
              <a:gd name="T4" fmla="*/ 57 w 1037"/>
              <a:gd name="T5" fmla="*/ 277 h 1038"/>
              <a:gd name="T6" fmla="*/ 19 w 1037"/>
              <a:gd name="T7" fmla="*/ 372 h 1038"/>
              <a:gd name="T8" fmla="*/ 0 w 1037"/>
              <a:gd name="T9" fmla="*/ 470 h 1038"/>
              <a:gd name="T10" fmla="*/ 0 w 1037"/>
              <a:gd name="T11" fmla="*/ 570 h 1038"/>
              <a:gd name="T12" fmla="*/ 19 w 1037"/>
              <a:gd name="T13" fmla="*/ 667 h 1038"/>
              <a:gd name="T14" fmla="*/ 57 w 1037"/>
              <a:gd name="T15" fmla="*/ 762 h 1038"/>
              <a:gd name="T16" fmla="*/ 115 w 1037"/>
              <a:gd name="T17" fmla="*/ 849 h 1038"/>
              <a:gd name="T18" fmla="*/ 151 w 1037"/>
              <a:gd name="T19" fmla="*/ 888 h 1038"/>
              <a:gd name="T20" fmla="*/ 151 w 1037"/>
              <a:gd name="T21" fmla="*/ 888 h 1038"/>
              <a:gd name="T22" fmla="*/ 190 w 1037"/>
              <a:gd name="T23" fmla="*/ 924 h 1038"/>
              <a:gd name="T24" fmla="*/ 277 w 1037"/>
              <a:gd name="T25" fmla="*/ 981 h 1038"/>
              <a:gd name="T26" fmla="*/ 370 w 1037"/>
              <a:gd name="T27" fmla="*/ 1019 h 1038"/>
              <a:gd name="T28" fmla="*/ 469 w 1037"/>
              <a:gd name="T29" fmla="*/ 1038 h 1038"/>
              <a:gd name="T30" fmla="*/ 569 w 1037"/>
              <a:gd name="T31" fmla="*/ 1038 h 1038"/>
              <a:gd name="T32" fmla="*/ 667 w 1037"/>
              <a:gd name="T33" fmla="*/ 1019 h 1038"/>
              <a:gd name="T34" fmla="*/ 761 w 1037"/>
              <a:gd name="T35" fmla="*/ 981 h 1038"/>
              <a:gd name="T36" fmla="*/ 847 w 1037"/>
              <a:gd name="T37" fmla="*/ 924 h 1038"/>
              <a:gd name="T38" fmla="*/ 886 w 1037"/>
              <a:gd name="T39" fmla="*/ 888 h 1038"/>
              <a:gd name="T40" fmla="*/ 886 w 1037"/>
              <a:gd name="T41" fmla="*/ 888 h 1038"/>
              <a:gd name="T42" fmla="*/ 923 w 1037"/>
              <a:gd name="T43" fmla="*/ 849 h 1038"/>
              <a:gd name="T44" fmla="*/ 980 w 1037"/>
              <a:gd name="T45" fmla="*/ 762 h 1038"/>
              <a:gd name="T46" fmla="*/ 1017 w 1037"/>
              <a:gd name="T47" fmla="*/ 667 h 1038"/>
              <a:gd name="T48" fmla="*/ 1037 w 1037"/>
              <a:gd name="T49" fmla="*/ 570 h 1038"/>
              <a:gd name="T50" fmla="*/ 1037 w 1037"/>
              <a:gd name="T51" fmla="*/ 470 h 1038"/>
              <a:gd name="T52" fmla="*/ 1017 w 1037"/>
              <a:gd name="T53" fmla="*/ 372 h 1038"/>
              <a:gd name="T54" fmla="*/ 980 w 1037"/>
              <a:gd name="T55" fmla="*/ 277 h 1038"/>
              <a:gd name="T56" fmla="*/ 923 w 1037"/>
              <a:gd name="T57" fmla="*/ 192 h 1038"/>
              <a:gd name="T58" fmla="*/ 886 w 1037"/>
              <a:gd name="T59" fmla="*/ 153 h 1038"/>
              <a:gd name="T60" fmla="*/ 886 w 1037"/>
              <a:gd name="T61" fmla="*/ 153 h 1038"/>
              <a:gd name="T62" fmla="*/ 847 w 1037"/>
              <a:gd name="T63" fmla="*/ 115 h 1038"/>
              <a:gd name="T64" fmla="*/ 761 w 1037"/>
              <a:gd name="T65" fmla="*/ 58 h 1038"/>
              <a:gd name="T66" fmla="*/ 667 w 1037"/>
              <a:gd name="T67" fmla="*/ 21 h 1038"/>
              <a:gd name="T68" fmla="*/ 569 w 1037"/>
              <a:gd name="T69" fmla="*/ 1 h 1038"/>
              <a:gd name="T70" fmla="*/ 518 w 1037"/>
              <a:gd name="T71" fmla="*/ 0 h 1038"/>
              <a:gd name="T72" fmla="*/ 518 w 1037"/>
              <a:gd name="T73" fmla="*/ 0 h 1038"/>
              <a:gd name="T74" fmla="*/ 469 w 1037"/>
              <a:gd name="T75" fmla="*/ 1 h 1038"/>
              <a:gd name="T76" fmla="*/ 370 w 1037"/>
              <a:gd name="T77" fmla="*/ 21 h 1038"/>
              <a:gd name="T78" fmla="*/ 277 w 1037"/>
              <a:gd name="T79" fmla="*/ 58 h 1038"/>
              <a:gd name="T80" fmla="*/ 190 w 1037"/>
              <a:gd name="T81" fmla="*/ 115 h 1038"/>
              <a:gd name="T82" fmla="*/ 151 w 1037"/>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7" h="1038">
                <a:moveTo>
                  <a:pt x="151" y="153"/>
                </a:moveTo>
                <a:lnTo>
                  <a:pt x="115" y="192"/>
                </a:lnTo>
                <a:lnTo>
                  <a:pt x="57" y="277"/>
                </a:lnTo>
                <a:lnTo>
                  <a:pt x="19" y="372"/>
                </a:lnTo>
                <a:lnTo>
                  <a:pt x="0" y="470"/>
                </a:lnTo>
                <a:lnTo>
                  <a:pt x="0" y="570"/>
                </a:lnTo>
                <a:lnTo>
                  <a:pt x="19" y="667"/>
                </a:lnTo>
                <a:lnTo>
                  <a:pt x="57" y="762"/>
                </a:lnTo>
                <a:lnTo>
                  <a:pt x="115" y="849"/>
                </a:lnTo>
                <a:lnTo>
                  <a:pt x="151" y="888"/>
                </a:lnTo>
                <a:lnTo>
                  <a:pt x="151" y="888"/>
                </a:lnTo>
                <a:lnTo>
                  <a:pt x="190" y="924"/>
                </a:lnTo>
                <a:lnTo>
                  <a:pt x="277" y="981"/>
                </a:lnTo>
                <a:lnTo>
                  <a:pt x="370" y="1019"/>
                </a:lnTo>
                <a:lnTo>
                  <a:pt x="469" y="1038"/>
                </a:lnTo>
                <a:lnTo>
                  <a:pt x="569" y="1038"/>
                </a:lnTo>
                <a:lnTo>
                  <a:pt x="667" y="1019"/>
                </a:lnTo>
                <a:lnTo>
                  <a:pt x="761" y="981"/>
                </a:lnTo>
                <a:lnTo>
                  <a:pt x="847" y="924"/>
                </a:lnTo>
                <a:lnTo>
                  <a:pt x="886" y="888"/>
                </a:lnTo>
                <a:lnTo>
                  <a:pt x="886" y="888"/>
                </a:lnTo>
                <a:lnTo>
                  <a:pt x="923" y="849"/>
                </a:lnTo>
                <a:lnTo>
                  <a:pt x="980" y="762"/>
                </a:lnTo>
                <a:lnTo>
                  <a:pt x="1017" y="667"/>
                </a:lnTo>
                <a:lnTo>
                  <a:pt x="1037" y="570"/>
                </a:lnTo>
                <a:lnTo>
                  <a:pt x="1037" y="470"/>
                </a:lnTo>
                <a:lnTo>
                  <a:pt x="1017" y="372"/>
                </a:lnTo>
                <a:lnTo>
                  <a:pt x="980" y="277"/>
                </a:lnTo>
                <a:lnTo>
                  <a:pt x="923" y="192"/>
                </a:lnTo>
                <a:lnTo>
                  <a:pt x="886" y="153"/>
                </a:lnTo>
                <a:lnTo>
                  <a:pt x="886" y="153"/>
                </a:lnTo>
                <a:lnTo>
                  <a:pt x="847" y="115"/>
                </a:lnTo>
                <a:lnTo>
                  <a:pt x="761" y="58"/>
                </a:lnTo>
                <a:lnTo>
                  <a:pt x="667" y="21"/>
                </a:lnTo>
                <a:lnTo>
                  <a:pt x="569" y="1"/>
                </a:lnTo>
                <a:lnTo>
                  <a:pt x="518" y="0"/>
                </a:lnTo>
                <a:lnTo>
                  <a:pt x="518" y="0"/>
                </a:lnTo>
                <a:lnTo>
                  <a:pt x="469" y="1"/>
                </a:lnTo>
                <a:lnTo>
                  <a:pt x="370" y="21"/>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1980</a:t>
            </a:r>
          </a:p>
        </p:txBody>
      </p:sp>
      <p:sp>
        <p:nvSpPr>
          <p:cNvPr id="2" name="TextBox 1">
            <a:extLst>
              <a:ext uri="{FF2B5EF4-FFF2-40B4-BE49-F238E27FC236}">
                <a16:creationId xmlns:a16="http://schemas.microsoft.com/office/drawing/2014/main" id="{AAA07C42-02DB-48C3-B2A1-5BF6B5CD084A}"/>
              </a:ext>
            </a:extLst>
          </p:cNvPr>
          <p:cNvSpPr txBox="1"/>
          <p:nvPr/>
        </p:nvSpPr>
        <p:spPr>
          <a:xfrm>
            <a:off x="624409" y="3157799"/>
            <a:ext cx="1025884" cy="307777"/>
          </a:xfrm>
          <a:prstGeom prst="rect">
            <a:avLst/>
          </a:prstGeom>
          <a:noFill/>
        </p:spPr>
        <p:txBody>
          <a:bodyPr wrap="square" rtlCol="0" anchor="b">
            <a:spAutoFit/>
          </a:bodyPr>
          <a:lstStyle/>
          <a:p>
            <a:pPr algn="ctr"/>
            <a:r>
              <a:rPr lang="en-US" sz="1400"/>
              <a:t>Add text</a:t>
            </a:r>
          </a:p>
        </p:txBody>
      </p:sp>
      <p:sp>
        <p:nvSpPr>
          <p:cNvPr id="17" name="Freeform 589">
            <a:extLst>
              <a:ext uri="{FF2B5EF4-FFF2-40B4-BE49-F238E27FC236}">
                <a16:creationId xmlns:a16="http://schemas.microsoft.com/office/drawing/2014/main" id="{9243CC54-628E-4DDF-89DA-16F9D1FB0868}"/>
              </a:ext>
              <a:ext uri="{C183D7F6-B498-43B3-948B-1728B52AA6E4}">
                <adec:decorative xmlns:adec="http://schemas.microsoft.com/office/drawing/2017/decorative" val="1"/>
              </a:ext>
            </a:extLst>
          </p:cNvPr>
          <p:cNvSpPr>
            <a:spLocks/>
          </p:cNvSpPr>
          <p:nvPr/>
        </p:nvSpPr>
        <p:spPr bwMode="auto">
          <a:xfrm rot="16200000">
            <a:off x="2053181" y="3077191"/>
            <a:ext cx="1028515" cy="1025883"/>
          </a:xfrm>
          <a:custGeom>
            <a:avLst/>
            <a:gdLst>
              <a:gd name="T0" fmla="*/ 1362 w 1562"/>
              <a:gd name="T1" fmla="*/ 260 h 1562"/>
              <a:gd name="T2" fmla="*/ 1460 w 1562"/>
              <a:gd name="T3" fmla="*/ 397 h 1562"/>
              <a:gd name="T4" fmla="*/ 1525 w 1562"/>
              <a:gd name="T5" fmla="*/ 546 h 1562"/>
              <a:gd name="T6" fmla="*/ 1558 w 1562"/>
              <a:gd name="T7" fmla="*/ 704 h 1562"/>
              <a:gd name="T8" fmla="*/ 1560 w 1562"/>
              <a:gd name="T9" fmla="*/ 825 h 1562"/>
              <a:gd name="T10" fmla="*/ 1547 w 1562"/>
              <a:gd name="T11" fmla="*/ 928 h 1562"/>
              <a:gd name="T12" fmla="*/ 1508 w 1562"/>
              <a:gd name="T13" fmla="*/ 1063 h 1562"/>
              <a:gd name="T14" fmla="*/ 1446 w 1562"/>
              <a:gd name="T15" fmla="*/ 1190 h 1562"/>
              <a:gd name="T16" fmla="*/ 1358 w 1562"/>
              <a:gd name="T17" fmla="*/ 1307 h 1562"/>
              <a:gd name="T18" fmla="*/ 1306 w 1562"/>
              <a:gd name="T19" fmla="*/ 1359 h 1562"/>
              <a:gd name="T20" fmla="*/ 1190 w 1562"/>
              <a:gd name="T21" fmla="*/ 1447 h 1562"/>
              <a:gd name="T22" fmla="*/ 1063 w 1562"/>
              <a:gd name="T23" fmla="*/ 1510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4 h 1562"/>
              <a:gd name="T36" fmla="*/ 201 w 1562"/>
              <a:gd name="T37" fmla="*/ 1304 h 1562"/>
              <a:gd name="T38" fmla="*/ 107 w 1562"/>
              <a:gd name="T39" fmla="*/ 1179 h 1562"/>
              <a:gd name="T40" fmla="*/ 43 w 1562"/>
              <a:gd name="T41" fmla="*/ 1040 h 1562"/>
              <a:gd name="T42" fmla="*/ 8 w 1562"/>
              <a:gd name="T43" fmla="*/ 893 h 1562"/>
              <a:gd name="T44" fmla="*/ 0 w 1562"/>
              <a:gd name="T45" fmla="*/ 743 h 1562"/>
              <a:gd name="T46" fmla="*/ 22 w 1562"/>
              <a:gd name="T47" fmla="*/ 595 h 1562"/>
              <a:gd name="T48" fmla="*/ 71 w 1562"/>
              <a:gd name="T49" fmla="*/ 453 h 1562"/>
              <a:gd name="T50" fmla="*/ 150 w 1562"/>
              <a:gd name="T51" fmla="*/ 319 h 1562"/>
              <a:gd name="T52" fmla="*/ 228 w 1562"/>
              <a:gd name="T53" fmla="*/ 229 h 1562"/>
              <a:gd name="T54" fmla="*/ 319 w 1562"/>
              <a:gd name="T55" fmla="*/ 151 h 1562"/>
              <a:gd name="T56" fmla="*/ 451 w 1562"/>
              <a:gd name="T57" fmla="*/ 72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1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9"/>
                </a:moveTo>
                <a:lnTo>
                  <a:pt x="1362" y="260"/>
                </a:lnTo>
                <a:lnTo>
                  <a:pt x="1415" y="326"/>
                </a:lnTo>
                <a:lnTo>
                  <a:pt x="1460" y="397"/>
                </a:lnTo>
                <a:lnTo>
                  <a:pt x="1497" y="470"/>
                </a:lnTo>
                <a:lnTo>
                  <a:pt x="1525" y="546"/>
                </a:lnTo>
                <a:lnTo>
                  <a:pt x="1546" y="625"/>
                </a:lnTo>
                <a:lnTo>
                  <a:pt x="1558" y="704"/>
                </a:lnTo>
                <a:lnTo>
                  <a:pt x="1562" y="785"/>
                </a:lnTo>
                <a:lnTo>
                  <a:pt x="1560" y="825"/>
                </a:lnTo>
                <a:lnTo>
                  <a:pt x="1558" y="860"/>
                </a:lnTo>
                <a:lnTo>
                  <a:pt x="1547" y="928"/>
                </a:lnTo>
                <a:lnTo>
                  <a:pt x="1532" y="997"/>
                </a:lnTo>
                <a:lnTo>
                  <a:pt x="1508" y="1063"/>
                </a:lnTo>
                <a:lnTo>
                  <a:pt x="1480" y="1128"/>
                </a:lnTo>
                <a:lnTo>
                  <a:pt x="1446" y="1190"/>
                </a:lnTo>
                <a:lnTo>
                  <a:pt x="1405" y="1250"/>
                </a:lnTo>
                <a:lnTo>
                  <a:pt x="1358" y="1307"/>
                </a:lnTo>
                <a:lnTo>
                  <a:pt x="1332" y="1333"/>
                </a:lnTo>
                <a:lnTo>
                  <a:pt x="1306" y="1359"/>
                </a:lnTo>
                <a:lnTo>
                  <a:pt x="1249" y="1407"/>
                </a:lnTo>
                <a:lnTo>
                  <a:pt x="1190" y="1447"/>
                </a:lnTo>
                <a:lnTo>
                  <a:pt x="1127" y="1482"/>
                </a:lnTo>
                <a:lnTo>
                  <a:pt x="1063" y="1510"/>
                </a:lnTo>
                <a:lnTo>
                  <a:pt x="996" y="1532"/>
                </a:lnTo>
                <a:lnTo>
                  <a:pt x="928" y="1548"/>
                </a:lnTo>
                <a:lnTo>
                  <a:pt x="859" y="1558"/>
                </a:lnTo>
                <a:lnTo>
                  <a:pt x="825" y="1561"/>
                </a:lnTo>
                <a:lnTo>
                  <a:pt x="784" y="1562"/>
                </a:lnTo>
                <a:lnTo>
                  <a:pt x="704" y="1558"/>
                </a:lnTo>
                <a:lnTo>
                  <a:pt x="624" y="1547"/>
                </a:lnTo>
                <a:lnTo>
                  <a:pt x="545" y="1526"/>
                </a:lnTo>
                <a:lnTo>
                  <a:pt x="469" y="1499"/>
                </a:lnTo>
                <a:lnTo>
                  <a:pt x="396" y="1461"/>
                </a:lnTo>
                <a:lnTo>
                  <a:pt x="325" y="1417"/>
                </a:lnTo>
                <a:lnTo>
                  <a:pt x="259" y="1364"/>
                </a:lnTo>
                <a:lnTo>
                  <a:pt x="228" y="1333"/>
                </a:lnTo>
                <a:lnTo>
                  <a:pt x="201" y="1304"/>
                </a:lnTo>
                <a:lnTo>
                  <a:pt x="150" y="1243"/>
                </a:lnTo>
                <a:lnTo>
                  <a:pt x="107" y="1179"/>
                </a:lnTo>
                <a:lnTo>
                  <a:pt x="71" y="1110"/>
                </a:lnTo>
                <a:lnTo>
                  <a:pt x="43" y="1040"/>
                </a:lnTo>
                <a:lnTo>
                  <a:pt x="22" y="967"/>
                </a:lnTo>
                <a:lnTo>
                  <a:pt x="8" y="893"/>
                </a:lnTo>
                <a:lnTo>
                  <a:pt x="0" y="818"/>
                </a:lnTo>
                <a:lnTo>
                  <a:pt x="0" y="743"/>
                </a:lnTo>
                <a:lnTo>
                  <a:pt x="8" y="669"/>
                </a:lnTo>
                <a:lnTo>
                  <a:pt x="22" y="595"/>
                </a:lnTo>
                <a:lnTo>
                  <a:pt x="43" y="523"/>
                </a:lnTo>
                <a:lnTo>
                  <a:pt x="71" y="453"/>
                </a:lnTo>
                <a:lnTo>
                  <a:pt x="107" y="384"/>
                </a:lnTo>
                <a:lnTo>
                  <a:pt x="150" y="319"/>
                </a:lnTo>
                <a:lnTo>
                  <a:pt x="201" y="258"/>
                </a:lnTo>
                <a:lnTo>
                  <a:pt x="228" y="229"/>
                </a:lnTo>
                <a:lnTo>
                  <a:pt x="258" y="201"/>
                </a:lnTo>
                <a:lnTo>
                  <a:pt x="319" y="151"/>
                </a:lnTo>
                <a:lnTo>
                  <a:pt x="383" y="108"/>
                </a:lnTo>
                <a:lnTo>
                  <a:pt x="451" y="72"/>
                </a:lnTo>
                <a:lnTo>
                  <a:pt x="522" y="43"/>
                </a:lnTo>
                <a:lnTo>
                  <a:pt x="595" y="22"/>
                </a:lnTo>
                <a:lnTo>
                  <a:pt x="669" y="8"/>
                </a:lnTo>
                <a:lnTo>
                  <a:pt x="742" y="0"/>
                </a:lnTo>
                <a:lnTo>
                  <a:pt x="818" y="0"/>
                </a:lnTo>
                <a:lnTo>
                  <a:pt x="893" y="8"/>
                </a:lnTo>
                <a:lnTo>
                  <a:pt x="967" y="22"/>
                </a:lnTo>
                <a:lnTo>
                  <a:pt x="1039" y="43"/>
                </a:lnTo>
                <a:lnTo>
                  <a:pt x="1109" y="72"/>
                </a:lnTo>
                <a:lnTo>
                  <a:pt x="1177" y="108"/>
                </a:lnTo>
                <a:lnTo>
                  <a:pt x="1243" y="151"/>
                </a:lnTo>
                <a:lnTo>
                  <a:pt x="1304" y="201"/>
                </a:lnTo>
                <a:lnTo>
                  <a:pt x="1332" y="2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9" name="Freeform 591">
            <a:extLst>
              <a:ext uri="{FF2B5EF4-FFF2-40B4-BE49-F238E27FC236}">
                <a16:creationId xmlns:a16="http://schemas.microsoft.com/office/drawing/2014/main" id="{A842E8FE-3D68-425B-B38E-E1C51C2B7FA9}"/>
              </a:ext>
              <a:ext uri="{C183D7F6-B498-43B3-948B-1728B52AA6E4}">
                <adec:decorative xmlns:adec="http://schemas.microsoft.com/office/drawing/2017/decorative" val="0"/>
              </a:ext>
            </a:extLst>
          </p:cNvPr>
          <p:cNvSpPr>
            <a:spLocks/>
          </p:cNvSpPr>
          <p:nvPr/>
        </p:nvSpPr>
        <p:spPr bwMode="auto">
          <a:xfrm>
            <a:off x="2226792" y="3249484"/>
            <a:ext cx="681292" cy="681292"/>
          </a:xfrm>
          <a:custGeom>
            <a:avLst/>
            <a:gdLst>
              <a:gd name="T0" fmla="*/ 151 w 1036"/>
              <a:gd name="T1" fmla="*/ 153 h 1038"/>
              <a:gd name="T2" fmla="*/ 115 w 1036"/>
              <a:gd name="T3" fmla="*/ 192 h 1038"/>
              <a:gd name="T4" fmla="*/ 57 w 1036"/>
              <a:gd name="T5" fmla="*/ 279 h 1038"/>
              <a:gd name="T6" fmla="*/ 19 w 1036"/>
              <a:gd name="T7" fmla="*/ 372 h 1038"/>
              <a:gd name="T8" fmla="*/ 0 w 1036"/>
              <a:gd name="T9" fmla="*/ 470 h 1038"/>
              <a:gd name="T10" fmla="*/ 0 w 1036"/>
              <a:gd name="T11" fmla="*/ 570 h 1038"/>
              <a:gd name="T12" fmla="*/ 19 w 1036"/>
              <a:gd name="T13" fmla="*/ 669 h 1038"/>
              <a:gd name="T14" fmla="*/ 57 w 1036"/>
              <a:gd name="T15" fmla="*/ 762 h 1038"/>
              <a:gd name="T16" fmla="*/ 115 w 1036"/>
              <a:gd name="T17" fmla="*/ 849 h 1038"/>
              <a:gd name="T18" fmla="*/ 151 w 1036"/>
              <a:gd name="T19" fmla="*/ 888 h 1038"/>
              <a:gd name="T20" fmla="*/ 151 w 1036"/>
              <a:gd name="T21" fmla="*/ 888 h 1038"/>
              <a:gd name="T22" fmla="*/ 190 w 1036"/>
              <a:gd name="T23" fmla="*/ 924 h 1038"/>
              <a:gd name="T24" fmla="*/ 277 w 1036"/>
              <a:gd name="T25" fmla="*/ 981 h 1038"/>
              <a:gd name="T26" fmla="*/ 370 w 1036"/>
              <a:gd name="T27" fmla="*/ 1020 h 1038"/>
              <a:gd name="T28" fmla="*/ 469 w 1036"/>
              <a:gd name="T29" fmla="*/ 1038 h 1038"/>
              <a:gd name="T30" fmla="*/ 569 w 1036"/>
              <a:gd name="T31" fmla="*/ 1038 h 1038"/>
              <a:gd name="T32" fmla="*/ 667 w 1036"/>
              <a:gd name="T33" fmla="*/ 1020 h 1038"/>
              <a:gd name="T34" fmla="*/ 760 w 1036"/>
              <a:gd name="T35" fmla="*/ 981 h 1038"/>
              <a:gd name="T36" fmla="*/ 847 w 1036"/>
              <a:gd name="T37" fmla="*/ 924 h 1038"/>
              <a:gd name="T38" fmla="*/ 886 w 1036"/>
              <a:gd name="T39" fmla="*/ 888 h 1038"/>
              <a:gd name="T40" fmla="*/ 886 w 1036"/>
              <a:gd name="T41" fmla="*/ 888 h 1038"/>
              <a:gd name="T42" fmla="*/ 922 w 1036"/>
              <a:gd name="T43" fmla="*/ 849 h 1038"/>
              <a:gd name="T44" fmla="*/ 979 w 1036"/>
              <a:gd name="T45" fmla="*/ 762 h 1038"/>
              <a:gd name="T46" fmla="*/ 1017 w 1036"/>
              <a:gd name="T47" fmla="*/ 669 h 1038"/>
              <a:gd name="T48" fmla="*/ 1036 w 1036"/>
              <a:gd name="T49" fmla="*/ 570 h 1038"/>
              <a:gd name="T50" fmla="*/ 1036 w 1036"/>
              <a:gd name="T51" fmla="*/ 470 h 1038"/>
              <a:gd name="T52" fmla="*/ 1017 w 1036"/>
              <a:gd name="T53" fmla="*/ 372 h 1038"/>
              <a:gd name="T54" fmla="*/ 979 w 1036"/>
              <a:gd name="T55" fmla="*/ 279 h 1038"/>
              <a:gd name="T56" fmla="*/ 922 w 1036"/>
              <a:gd name="T57" fmla="*/ 192 h 1038"/>
              <a:gd name="T58" fmla="*/ 886 w 1036"/>
              <a:gd name="T59" fmla="*/ 153 h 1038"/>
              <a:gd name="T60" fmla="*/ 886 w 1036"/>
              <a:gd name="T61" fmla="*/ 153 h 1038"/>
              <a:gd name="T62" fmla="*/ 847 w 1036"/>
              <a:gd name="T63" fmla="*/ 117 h 1038"/>
              <a:gd name="T64" fmla="*/ 760 w 1036"/>
              <a:gd name="T65" fmla="*/ 60 h 1038"/>
              <a:gd name="T66" fmla="*/ 667 w 1036"/>
              <a:gd name="T67" fmla="*/ 21 h 1038"/>
              <a:gd name="T68" fmla="*/ 569 w 1036"/>
              <a:gd name="T69" fmla="*/ 3 h 1038"/>
              <a:gd name="T70" fmla="*/ 518 w 1036"/>
              <a:gd name="T71" fmla="*/ 0 h 1038"/>
              <a:gd name="T72" fmla="*/ 518 w 1036"/>
              <a:gd name="T73" fmla="*/ 0 h 1038"/>
              <a:gd name="T74" fmla="*/ 469 w 1036"/>
              <a:gd name="T75" fmla="*/ 3 h 1038"/>
              <a:gd name="T76" fmla="*/ 370 w 1036"/>
              <a:gd name="T77" fmla="*/ 21 h 1038"/>
              <a:gd name="T78" fmla="*/ 277 w 1036"/>
              <a:gd name="T79" fmla="*/ 60 h 1038"/>
              <a:gd name="T80" fmla="*/ 190 w 1036"/>
              <a:gd name="T81" fmla="*/ 117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2"/>
                </a:lnTo>
                <a:lnTo>
                  <a:pt x="57" y="279"/>
                </a:lnTo>
                <a:lnTo>
                  <a:pt x="19" y="372"/>
                </a:lnTo>
                <a:lnTo>
                  <a:pt x="0" y="470"/>
                </a:lnTo>
                <a:lnTo>
                  <a:pt x="0" y="570"/>
                </a:lnTo>
                <a:lnTo>
                  <a:pt x="19" y="669"/>
                </a:lnTo>
                <a:lnTo>
                  <a:pt x="57" y="762"/>
                </a:lnTo>
                <a:lnTo>
                  <a:pt x="115" y="849"/>
                </a:lnTo>
                <a:lnTo>
                  <a:pt x="151" y="888"/>
                </a:lnTo>
                <a:lnTo>
                  <a:pt x="151" y="888"/>
                </a:lnTo>
                <a:lnTo>
                  <a:pt x="190" y="924"/>
                </a:lnTo>
                <a:lnTo>
                  <a:pt x="277" y="981"/>
                </a:lnTo>
                <a:lnTo>
                  <a:pt x="370" y="1020"/>
                </a:lnTo>
                <a:lnTo>
                  <a:pt x="469" y="1038"/>
                </a:lnTo>
                <a:lnTo>
                  <a:pt x="569" y="1038"/>
                </a:lnTo>
                <a:lnTo>
                  <a:pt x="667" y="1020"/>
                </a:lnTo>
                <a:lnTo>
                  <a:pt x="760" y="981"/>
                </a:lnTo>
                <a:lnTo>
                  <a:pt x="847" y="924"/>
                </a:lnTo>
                <a:lnTo>
                  <a:pt x="886" y="888"/>
                </a:lnTo>
                <a:lnTo>
                  <a:pt x="886" y="888"/>
                </a:lnTo>
                <a:lnTo>
                  <a:pt x="922" y="849"/>
                </a:lnTo>
                <a:lnTo>
                  <a:pt x="979" y="762"/>
                </a:lnTo>
                <a:lnTo>
                  <a:pt x="1017" y="669"/>
                </a:lnTo>
                <a:lnTo>
                  <a:pt x="1036" y="570"/>
                </a:lnTo>
                <a:lnTo>
                  <a:pt x="1036" y="470"/>
                </a:lnTo>
                <a:lnTo>
                  <a:pt x="1017" y="372"/>
                </a:lnTo>
                <a:lnTo>
                  <a:pt x="979" y="279"/>
                </a:lnTo>
                <a:lnTo>
                  <a:pt x="922" y="192"/>
                </a:lnTo>
                <a:lnTo>
                  <a:pt x="886" y="153"/>
                </a:lnTo>
                <a:lnTo>
                  <a:pt x="886" y="153"/>
                </a:lnTo>
                <a:lnTo>
                  <a:pt x="847" y="117"/>
                </a:lnTo>
                <a:lnTo>
                  <a:pt x="760" y="60"/>
                </a:lnTo>
                <a:lnTo>
                  <a:pt x="667" y="21"/>
                </a:lnTo>
                <a:lnTo>
                  <a:pt x="569" y="3"/>
                </a:lnTo>
                <a:lnTo>
                  <a:pt x="518" y="0"/>
                </a:lnTo>
                <a:lnTo>
                  <a:pt x="518" y="0"/>
                </a:lnTo>
                <a:lnTo>
                  <a:pt x="469" y="3"/>
                </a:lnTo>
                <a:lnTo>
                  <a:pt x="370" y="21"/>
                </a:lnTo>
                <a:lnTo>
                  <a:pt x="277" y="60"/>
                </a:lnTo>
                <a:lnTo>
                  <a:pt x="190" y="117"/>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1990</a:t>
            </a:r>
          </a:p>
        </p:txBody>
      </p:sp>
      <p:sp>
        <p:nvSpPr>
          <p:cNvPr id="35" name="TextBox 34">
            <a:extLst>
              <a:ext uri="{FF2B5EF4-FFF2-40B4-BE49-F238E27FC236}">
                <a16:creationId xmlns:a16="http://schemas.microsoft.com/office/drawing/2014/main" id="{0EB90491-93EB-4B62-BEDE-5E06D0FDE0D7}"/>
              </a:ext>
            </a:extLst>
          </p:cNvPr>
          <p:cNvSpPr txBox="1"/>
          <p:nvPr/>
        </p:nvSpPr>
        <p:spPr>
          <a:xfrm>
            <a:off x="2054496" y="4235546"/>
            <a:ext cx="1025884" cy="307777"/>
          </a:xfrm>
          <a:prstGeom prst="rect">
            <a:avLst/>
          </a:prstGeom>
          <a:noFill/>
        </p:spPr>
        <p:txBody>
          <a:bodyPr wrap="square" rtlCol="0">
            <a:spAutoFit/>
          </a:bodyPr>
          <a:lstStyle/>
          <a:p>
            <a:pPr algn="ctr"/>
            <a:r>
              <a:rPr lang="en-US" sz="1400"/>
              <a:t>Add text</a:t>
            </a:r>
          </a:p>
        </p:txBody>
      </p:sp>
      <p:sp>
        <p:nvSpPr>
          <p:cNvPr id="7" name="Freeform 9">
            <a:extLst>
              <a:ext uri="{FF2B5EF4-FFF2-40B4-BE49-F238E27FC236}">
                <a16:creationId xmlns:a16="http://schemas.microsoft.com/office/drawing/2014/main" id="{C5D0291C-C93E-4A62-A029-F9324E731BFE}"/>
              </a:ext>
              <a:ext uri="{C183D7F6-B498-43B3-948B-1728B52AA6E4}">
                <adec:decorative xmlns:adec="http://schemas.microsoft.com/office/drawing/2017/decorative" val="1"/>
              </a:ext>
            </a:extLst>
          </p:cNvPr>
          <p:cNvSpPr>
            <a:spLocks/>
          </p:cNvSpPr>
          <p:nvPr/>
        </p:nvSpPr>
        <p:spPr bwMode="auto">
          <a:xfrm rot="16200000">
            <a:off x="3483268" y="3627708"/>
            <a:ext cx="1028515" cy="1025883"/>
          </a:xfrm>
          <a:custGeom>
            <a:avLst/>
            <a:gdLst>
              <a:gd name="T0" fmla="*/ 1362 w 1562"/>
              <a:gd name="T1" fmla="*/ 259 h 1562"/>
              <a:gd name="T2" fmla="*/ 1461 w 1562"/>
              <a:gd name="T3" fmla="*/ 396 h 1562"/>
              <a:gd name="T4" fmla="*/ 1525 w 1562"/>
              <a:gd name="T5" fmla="*/ 545 h 1562"/>
              <a:gd name="T6" fmla="*/ 1558 w 1562"/>
              <a:gd name="T7" fmla="*/ 704 h 1562"/>
              <a:gd name="T8" fmla="*/ 1560 w 1562"/>
              <a:gd name="T9" fmla="*/ 825 h 1562"/>
              <a:gd name="T10" fmla="*/ 1547 w 1562"/>
              <a:gd name="T11" fmla="*/ 928 h 1562"/>
              <a:gd name="T12" fmla="*/ 1509 w 1562"/>
              <a:gd name="T13" fmla="*/ 1063 h 1562"/>
              <a:gd name="T14" fmla="*/ 1446 w 1562"/>
              <a:gd name="T15" fmla="*/ 1190 h 1562"/>
              <a:gd name="T16" fmla="*/ 1358 w 1562"/>
              <a:gd name="T17" fmla="*/ 1306 h 1562"/>
              <a:gd name="T18" fmla="*/ 1306 w 1562"/>
              <a:gd name="T19" fmla="*/ 1359 h 1562"/>
              <a:gd name="T20" fmla="*/ 1190 w 1562"/>
              <a:gd name="T21" fmla="*/ 1446 h 1562"/>
              <a:gd name="T22" fmla="*/ 1063 w 1562"/>
              <a:gd name="T23" fmla="*/ 1510 h 1562"/>
              <a:gd name="T24" fmla="*/ 928 w 1562"/>
              <a:gd name="T25" fmla="*/ 1547 h 1562"/>
              <a:gd name="T26" fmla="*/ 825 w 1562"/>
              <a:gd name="T27" fmla="*/ 1560 h 1562"/>
              <a:gd name="T28" fmla="*/ 704 w 1562"/>
              <a:gd name="T29" fmla="*/ 1558 h 1562"/>
              <a:gd name="T30" fmla="*/ 546 w 1562"/>
              <a:gd name="T31" fmla="*/ 1527 h 1562"/>
              <a:gd name="T32" fmla="*/ 396 w 1562"/>
              <a:gd name="T33" fmla="*/ 1461 h 1562"/>
              <a:gd name="T34" fmla="*/ 259 w 1562"/>
              <a:gd name="T35" fmla="*/ 1363 h 1562"/>
              <a:gd name="T36" fmla="*/ 201 w 1562"/>
              <a:gd name="T37" fmla="*/ 1304 h 1562"/>
              <a:gd name="T38" fmla="*/ 107 w 1562"/>
              <a:gd name="T39" fmla="*/ 1178 h 1562"/>
              <a:gd name="T40" fmla="*/ 43 w 1562"/>
              <a:gd name="T41" fmla="*/ 1039 h 1562"/>
              <a:gd name="T42" fmla="*/ 8 w 1562"/>
              <a:gd name="T43" fmla="*/ 893 h 1562"/>
              <a:gd name="T44" fmla="*/ 0 w 1562"/>
              <a:gd name="T45" fmla="*/ 744 h 1562"/>
              <a:gd name="T46" fmla="*/ 22 w 1562"/>
              <a:gd name="T47" fmla="*/ 595 h 1562"/>
              <a:gd name="T48" fmla="*/ 71 w 1562"/>
              <a:gd name="T49" fmla="*/ 452 h 1562"/>
              <a:gd name="T50" fmla="*/ 150 w 1562"/>
              <a:gd name="T51" fmla="*/ 319 h 1562"/>
              <a:gd name="T52" fmla="*/ 228 w 1562"/>
              <a:gd name="T53" fmla="*/ 228 h 1562"/>
              <a:gd name="T54" fmla="*/ 319 w 1562"/>
              <a:gd name="T55" fmla="*/ 150 h 1562"/>
              <a:gd name="T56" fmla="*/ 451 w 1562"/>
              <a:gd name="T57" fmla="*/ 72 h 1562"/>
              <a:gd name="T58" fmla="*/ 595 w 1562"/>
              <a:gd name="T59" fmla="*/ 22 h 1562"/>
              <a:gd name="T60" fmla="*/ 743 w 1562"/>
              <a:gd name="T61" fmla="*/ 0 h 1562"/>
              <a:gd name="T62" fmla="*/ 893 w 1562"/>
              <a:gd name="T63" fmla="*/ 8 h 1562"/>
              <a:gd name="T64" fmla="*/ 1039 w 1562"/>
              <a:gd name="T65" fmla="*/ 44 h 1562"/>
              <a:gd name="T66" fmla="*/ 1177 w 1562"/>
              <a:gd name="T67" fmla="*/ 107 h 1562"/>
              <a:gd name="T68" fmla="*/ 1304 w 1562"/>
              <a:gd name="T69" fmla="*/ 201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6"/>
                </a:lnTo>
                <a:lnTo>
                  <a:pt x="1461" y="396"/>
                </a:lnTo>
                <a:lnTo>
                  <a:pt x="1497" y="470"/>
                </a:lnTo>
                <a:lnTo>
                  <a:pt x="1525" y="545"/>
                </a:lnTo>
                <a:lnTo>
                  <a:pt x="1546" y="625"/>
                </a:lnTo>
                <a:lnTo>
                  <a:pt x="1558" y="704"/>
                </a:lnTo>
                <a:lnTo>
                  <a:pt x="1562" y="785"/>
                </a:lnTo>
                <a:lnTo>
                  <a:pt x="1560" y="825"/>
                </a:lnTo>
                <a:lnTo>
                  <a:pt x="1558" y="859"/>
                </a:lnTo>
                <a:lnTo>
                  <a:pt x="1547" y="928"/>
                </a:lnTo>
                <a:lnTo>
                  <a:pt x="1532" y="997"/>
                </a:lnTo>
                <a:lnTo>
                  <a:pt x="1509" y="1063"/>
                </a:lnTo>
                <a:lnTo>
                  <a:pt x="1480" y="1127"/>
                </a:lnTo>
                <a:lnTo>
                  <a:pt x="1446" y="1190"/>
                </a:lnTo>
                <a:lnTo>
                  <a:pt x="1405" y="1249"/>
                </a:lnTo>
                <a:lnTo>
                  <a:pt x="1358" y="1306"/>
                </a:lnTo>
                <a:lnTo>
                  <a:pt x="1332" y="1334"/>
                </a:lnTo>
                <a:lnTo>
                  <a:pt x="1306" y="1359"/>
                </a:lnTo>
                <a:lnTo>
                  <a:pt x="1249" y="1406"/>
                </a:lnTo>
                <a:lnTo>
                  <a:pt x="1190" y="1446"/>
                </a:lnTo>
                <a:lnTo>
                  <a:pt x="1127" y="1481"/>
                </a:lnTo>
                <a:lnTo>
                  <a:pt x="1063" y="1510"/>
                </a:lnTo>
                <a:lnTo>
                  <a:pt x="997" y="1532"/>
                </a:lnTo>
                <a:lnTo>
                  <a:pt x="928" y="1547"/>
                </a:lnTo>
                <a:lnTo>
                  <a:pt x="859" y="1558"/>
                </a:lnTo>
                <a:lnTo>
                  <a:pt x="825" y="1560"/>
                </a:lnTo>
                <a:lnTo>
                  <a:pt x="784" y="1562"/>
                </a:lnTo>
                <a:lnTo>
                  <a:pt x="704" y="1558"/>
                </a:lnTo>
                <a:lnTo>
                  <a:pt x="625" y="1546"/>
                </a:lnTo>
                <a:lnTo>
                  <a:pt x="546" y="1527"/>
                </a:lnTo>
                <a:lnTo>
                  <a:pt x="469" y="1498"/>
                </a:lnTo>
                <a:lnTo>
                  <a:pt x="396" y="1461"/>
                </a:lnTo>
                <a:lnTo>
                  <a:pt x="325" y="1416"/>
                </a:lnTo>
                <a:lnTo>
                  <a:pt x="259" y="1363"/>
                </a:lnTo>
                <a:lnTo>
                  <a:pt x="228" y="1334"/>
                </a:lnTo>
                <a:lnTo>
                  <a:pt x="201" y="1304"/>
                </a:lnTo>
                <a:lnTo>
                  <a:pt x="150" y="1243"/>
                </a:lnTo>
                <a:lnTo>
                  <a:pt x="107" y="1178"/>
                </a:lnTo>
                <a:lnTo>
                  <a:pt x="71" y="1109"/>
                </a:lnTo>
                <a:lnTo>
                  <a:pt x="43" y="1039"/>
                </a:lnTo>
                <a:lnTo>
                  <a:pt x="22" y="967"/>
                </a:lnTo>
                <a:lnTo>
                  <a:pt x="8" y="893"/>
                </a:lnTo>
                <a:lnTo>
                  <a:pt x="0" y="818"/>
                </a:lnTo>
                <a:lnTo>
                  <a:pt x="0" y="744"/>
                </a:lnTo>
                <a:lnTo>
                  <a:pt x="8" y="669"/>
                </a:lnTo>
                <a:lnTo>
                  <a:pt x="22" y="595"/>
                </a:lnTo>
                <a:lnTo>
                  <a:pt x="43" y="522"/>
                </a:lnTo>
                <a:lnTo>
                  <a:pt x="71" y="452"/>
                </a:lnTo>
                <a:lnTo>
                  <a:pt x="107" y="383"/>
                </a:lnTo>
                <a:lnTo>
                  <a:pt x="150" y="319"/>
                </a:lnTo>
                <a:lnTo>
                  <a:pt x="201" y="258"/>
                </a:lnTo>
                <a:lnTo>
                  <a:pt x="228" y="228"/>
                </a:lnTo>
                <a:lnTo>
                  <a:pt x="258" y="201"/>
                </a:lnTo>
                <a:lnTo>
                  <a:pt x="319" y="150"/>
                </a:lnTo>
                <a:lnTo>
                  <a:pt x="384" y="107"/>
                </a:lnTo>
                <a:lnTo>
                  <a:pt x="451" y="72"/>
                </a:lnTo>
                <a:lnTo>
                  <a:pt x="522" y="44"/>
                </a:lnTo>
                <a:lnTo>
                  <a:pt x="595" y="22"/>
                </a:lnTo>
                <a:lnTo>
                  <a:pt x="669" y="8"/>
                </a:lnTo>
                <a:lnTo>
                  <a:pt x="743" y="0"/>
                </a:lnTo>
                <a:lnTo>
                  <a:pt x="818" y="0"/>
                </a:lnTo>
                <a:lnTo>
                  <a:pt x="893" y="8"/>
                </a:lnTo>
                <a:lnTo>
                  <a:pt x="967" y="22"/>
                </a:lnTo>
                <a:lnTo>
                  <a:pt x="1039" y="44"/>
                </a:lnTo>
                <a:lnTo>
                  <a:pt x="1109" y="72"/>
                </a:lnTo>
                <a:lnTo>
                  <a:pt x="1177" y="107"/>
                </a:lnTo>
                <a:lnTo>
                  <a:pt x="1243" y="150"/>
                </a:lnTo>
                <a:lnTo>
                  <a:pt x="1304" y="201"/>
                </a:lnTo>
                <a:lnTo>
                  <a:pt x="1332" y="228"/>
                </a:lnTo>
                <a:close/>
              </a:path>
            </a:pathLst>
          </a:custGeom>
          <a:solidFill>
            <a:srgbClr val="00BFBF"/>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9" name="Freeform 11">
            <a:extLst>
              <a:ext uri="{FF2B5EF4-FFF2-40B4-BE49-F238E27FC236}">
                <a16:creationId xmlns:a16="http://schemas.microsoft.com/office/drawing/2014/main" id="{6766C22B-69CD-4BE5-A2B0-7085CA673D4E}"/>
              </a:ext>
              <a:ext uri="{C183D7F6-B498-43B3-948B-1728B52AA6E4}">
                <adec:decorative xmlns:adec="http://schemas.microsoft.com/office/drawing/2017/decorative" val="0"/>
              </a:ext>
            </a:extLst>
          </p:cNvPr>
          <p:cNvSpPr>
            <a:spLocks/>
          </p:cNvSpPr>
          <p:nvPr/>
        </p:nvSpPr>
        <p:spPr bwMode="auto">
          <a:xfrm>
            <a:off x="3656879" y="3798691"/>
            <a:ext cx="681292" cy="683921"/>
          </a:xfrm>
          <a:custGeom>
            <a:avLst/>
            <a:gdLst>
              <a:gd name="T0" fmla="*/ 151 w 1037"/>
              <a:gd name="T1" fmla="*/ 153 h 1039"/>
              <a:gd name="T2" fmla="*/ 115 w 1037"/>
              <a:gd name="T3" fmla="*/ 192 h 1039"/>
              <a:gd name="T4" fmla="*/ 57 w 1037"/>
              <a:gd name="T5" fmla="*/ 279 h 1039"/>
              <a:gd name="T6" fmla="*/ 19 w 1037"/>
              <a:gd name="T7" fmla="*/ 372 h 1039"/>
              <a:gd name="T8" fmla="*/ 0 w 1037"/>
              <a:gd name="T9" fmla="*/ 471 h 1039"/>
              <a:gd name="T10" fmla="*/ 0 w 1037"/>
              <a:gd name="T11" fmla="*/ 571 h 1039"/>
              <a:gd name="T12" fmla="*/ 19 w 1037"/>
              <a:gd name="T13" fmla="*/ 669 h 1039"/>
              <a:gd name="T14" fmla="*/ 57 w 1037"/>
              <a:gd name="T15" fmla="*/ 762 h 1039"/>
              <a:gd name="T16" fmla="*/ 115 w 1037"/>
              <a:gd name="T17" fmla="*/ 849 h 1039"/>
              <a:gd name="T18" fmla="*/ 151 w 1037"/>
              <a:gd name="T19" fmla="*/ 888 h 1039"/>
              <a:gd name="T20" fmla="*/ 151 w 1037"/>
              <a:gd name="T21" fmla="*/ 888 h 1039"/>
              <a:gd name="T22" fmla="*/ 190 w 1037"/>
              <a:gd name="T23" fmla="*/ 924 h 1039"/>
              <a:gd name="T24" fmla="*/ 277 w 1037"/>
              <a:gd name="T25" fmla="*/ 981 h 1039"/>
              <a:gd name="T26" fmla="*/ 370 w 1037"/>
              <a:gd name="T27" fmla="*/ 1020 h 1039"/>
              <a:gd name="T28" fmla="*/ 469 w 1037"/>
              <a:gd name="T29" fmla="*/ 1039 h 1039"/>
              <a:gd name="T30" fmla="*/ 569 w 1037"/>
              <a:gd name="T31" fmla="*/ 1039 h 1039"/>
              <a:gd name="T32" fmla="*/ 667 w 1037"/>
              <a:gd name="T33" fmla="*/ 1020 h 1039"/>
              <a:gd name="T34" fmla="*/ 761 w 1037"/>
              <a:gd name="T35" fmla="*/ 981 h 1039"/>
              <a:gd name="T36" fmla="*/ 847 w 1037"/>
              <a:gd name="T37" fmla="*/ 924 h 1039"/>
              <a:gd name="T38" fmla="*/ 886 w 1037"/>
              <a:gd name="T39" fmla="*/ 888 h 1039"/>
              <a:gd name="T40" fmla="*/ 886 w 1037"/>
              <a:gd name="T41" fmla="*/ 888 h 1039"/>
              <a:gd name="T42" fmla="*/ 923 w 1037"/>
              <a:gd name="T43" fmla="*/ 849 h 1039"/>
              <a:gd name="T44" fmla="*/ 980 w 1037"/>
              <a:gd name="T45" fmla="*/ 762 h 1039"/>
              <a:gd name="T46" fmla="*/ 1017 w 1037"/>
              <a:gd name="T47" fmla="*/ 669 h 1039"/>
              <a:gd name="T48" fmla="*/ 1037 w 1037"/>
              <a:gd name="T49" fmla="*/ 571 h 1039"/>
              <a:gd name="T50" fmla="*/ 1037 w 1037"/>
              <a:gd name="T51" fmla="*/ 471 h 1039"/>
              <a:gd name="T52" fmla="*/ 1017 w 1037"/>
              <a:gd name="T53" fmla="*/ 372 h 1039"/>
              <a:gd name="T54" fmla="*/ 980 w 1037"/>
              <a:gd name="T55" fmla="*/ 279 h 1039"/>
              <a:gd name="T56" fmla="*/ 923 w 1037"/>
              <a:gd name="T57" fmla="*/ 192 h 1039"/>
              <a:gd name="T58" fmla="*/ 886 w 1037"/>
              <a:gd name="T59" fmla="*/ 153 h 1039"/>
              <a:gd name="T60" fmla="*/ 886 w 1037"/>
              <a:gd name="T61" fmla="*/ 153 h 1039"/>
              <a:gd name="T62" fmla="*/ 847 w 1037"/>
              <a:gd name="T63" fmla="*/ 117 h 1039"/>
              <a:gd name="T64" fmla="*/ 761 w 1037"/>
              <a:gd name="T65" fmla="*/ 60 h 1039"/>
              <a:gd name="T66" fmla="*/ 667 w 1037"/>
              <a:gd name="T67" fmla="*/ 21 h 1039"/>
              <a:gd name="T68" fmla="*/ 569 w 1037"/>
              <a:gd name="T69" fmla="*/ 3 h 1039"/>
              <a:gd name="T70" fmla="*/ 518 w 1037"/>
              <a:gd name="T71" fmla="*/ 0 h 1039"/>
              <a:gd name="T72" fmla="*/ 518 w 1037"/>
              <a:gd name="T73" fmla="*/ 0 h 1039"/>
              <a:gd name="T74" fmla="*/ 469 w 1037"/>
              <a:gd name="T75" fmla="*/ 3 h 1039"/>
              <a:gd name="T76" fmla="*/ 370 w 1037"/>
              <a:gd name="T77" fmla="*/ 21 h 1039"/>
              <a:gd name="T78" fmla="*/ 277 w 1037"/>
              <a:gd name="T79" fmla="*/ 60 h 1039"/>
              <a:gd name="T80" fmla="*/ 190 w 1037"/>
              <a:gd name="T81" fmla="*/ 117 h 1039"/>
              <a:gd name="T82" fmla="*/ 151 w 1037"/>
              <a:gd name="T83" fmla="*/ 153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7" h="1039">
                <a:moveTo>
                  <a:pt x="151" y="153"/>
                </a:moveTo>
                <a:lnTo>
                  <a:pt x="115" y="192"/>
                </a:lnTo>
                <a:lnTo>
                  <a:pt x="57" y="279"/>
                </a:lnTo>
                <a:lnTo>
                  <a:pt x="19" y="372"/>
                </a:lnTo>
                <a:lnTo>
                  <a:pt x="0" y="471"/>
                </a:lnTo>
                <a:lnTo>
                  <a:pt x="0" y="571"/>
                </a:lnTo>
                <a:lnTo>
                  <a:pt x="19" y="669"/>
                </a:lnTo>
                <a:lnTo>
                  <a:pt x="57" y="762"/>
                </a:lnTo>
                <a:lnTo>
                  <a:pt x="115" y="849"/>
                </a:lnTo>
                <a:lnTo>
                  <a:pt x="151" y="888"/>
                </a:lnTo>
                <a:lnTo>
                  <a:pt x="151" y="888"/>
                </a:lnTo>
                <a:lnTo>
                  <a:pt x="190" y="924"/>
                </a:lnTo>
                <a:lnTo>
                  <a:pt x="277" y="981"/>
                </a:lnTo>
                <a:lnTo>
                  <a:pt x="370" y="1020"/>
                </a:lnTo>
                <a:lnTo>
                  <a:pt x="469" y="1039"/>
                </a:lnTo>
                <a:lnTo>
                  <a:pt x="569" y="1039"/>
                </a:lnTo>
                <a:lnTo>
                  <a:pt x="667" y="1020"/>
                </a:lnTo>
                <a:lnTo>
                  <a:pt x="761" y="981"/>
                </a:lnTo>
                <a:lnTo>
                  <a:pt x="847" y="924"/>
                </a:lnTo>
                <a:lnTo>
                  <a:pt x="886" y="888"/>
                </a:lnTo>
                <a:lnTo>
                  <a:pt x="886" y="888"/>
                </a:lnTo>
                <a:lnTo>
                  <a:pt x="923" y="849"/>
                </a:lnTo>
                <a:lnTo>
                  <a:pt x="980" y="762"/>
                </a:lnTo>
                <a:lnTo>
                  <a:pt x="1017" y="669"/>
                </a:lnTo>
                <a:lnTo>
                  <a:pt x="1037" y="571"/>
                </a:lnTo>
                <a:lnTo>
                  <a:pt x="1037" y="471"/>
                </a:lnTo>
                <a:lnTo>
                  <a:pt x="1017" y="372"/>
                </a:lnTo>
                <a:lnTo>
                  <a:pt x="980" y="279"/>
                </a:lnTo>
                <a:lnTo>
                  <a:pt x="923" y="192"/>
                </a:lnTo>
                <a:lnTo>
                  <a:pt x="886" y="153"/>
                </a:lnTo>
                <a:lnTo>
                  <a:pt x="886" y="153"/>
                </a:lnTo>
                <a:lnTo>
                  <a:pt x="847" y="117"/>
                </a:lnTo>
                <a:lnTo>
                  <a:pt x="761" y="60"/>
                </a:lnTo>
                <a:lnTo>
                  <a:pt x="667" y="21"/>
                </a:lnTo>
                <a:lnTo>
                  <a:pt x="569" y="3"/>
                </a:lnTo>
                <a:lnTo>
                  <a:pt x="518" y="0"/>
                </a:lnTo>
                <a:lnTo>
                  <a:pt x="518" y="0"/>
                </a:lnTo>
                <a:lnTo>
                  <a:pt x="469" y="3"/>
                </a:lnTo>
                <a:lnTo>
                  <a:pt x="370" y="21"/>
                </a:lnTo>
                <a:lnTo>
                  <a:pt x="277" y="60"/>
                </a:lnTo>
                <a:lnTo>
                  <a:pt x="190" y="117"/>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prstClr val="black"/>
                </a:solidFill>
                <a:latin typeface="+mj-lt"/>
              </a:rPr>
              <a:t>2000</a:t>
            </a:r>
            <a:endParaRPr kumimoji="0" lang="en-US" sz="1600" b="0" i="0" u="none" strike="noStrike" kern="1200" cap="none" spc="0" normalizeH="0" baseline="0" noProof="0">
              <a:ln>
                <a:noFill/>
              </a:ln>
              <a:solidFill>
                <a:prstClr val="black"/>
              </a:solidFill>
              <a:effectLst/>
              <a:uLnTx/>
              <a:uFillTx/>
              <a:latin typeface="+mj-lt"/>
              <a:ea typeface="+mn-ea"/>
              <a:cs typeface="+mn-cs"/>
            </a:endParaRPr>
          </a:p>
        </p:txBody>
      </p:sp>
      <p:sp>
        <p:nvSpPr>
          <p:cNvPr id="32" name="TextBox 31">
            <a:extLst>
              <a:ext uri="{FF2B5EF4-FFF2-40B4-BE49-F238E27FC236}">
                <a16:creationId xmlns:a16="http://schemas.microsoft.com/office/drawing/2014/main" id="{4BE66F6E-2F01-4E3C-AE36-AF2B9AEDEE2C}"/>
              </a:ext>
            </a:extLst>
          </p:cNvPr>
          <p:cNvSpPr txBox="1"/>
          <p:nvPr/>
        </p:nvSpPr>
        <p:spPr>
          <a:xfrm>
            <a:off x="3484583" y="3157799"/>
            <a:ext cx="1025884" cy="307777"/>
          </a:xfrm>
          <a:prstGeom prst="rect">
            <a:avLst/>
          </a:prstGeom>
          <a:noFill/>
        </p:spPr>
        <p:txBody>
          <a:bodyPr wrap="square" rtlCol="0" anchor="b">
            <a:spAutoFit/>
          </a:bodyPr>
          <a:lstStyle/>
          <a:p>
            <a:pPr algn="ctr"/>
            <a:r>
              <a:rPr lang="en-US" sz="1400"/>
              <a:t>Add text</a:t>
            </a:r>
          </a:p>
        </p:txBody>
      </p:sp>
      <p:sp>
        <p:nvSpPr>
          <p:cNvPr id="22" name="Freeform 596">
            <a:extLst>
              <a:ext uri="{FF2B5EF4-FFF2-40B4-BE49-F238E27FC236}">
                <a16:creationId xmlns:a16="http://schemas.microsoft.com/office/drawing/2014/main" id="{7760EB23-E9C8-4359-8603-E1B79FBB730E}"/>
              </a:ext>
              <a:ext uri="{C183D7F6-B498-43B3-948B-1728B52AA6E4}">
                <adec:decorative xmlns:adec="http://schemas.microsoft.com/office/drawing/2017/decorative" val="1"/>
              </a:ext>
            </a:extLst>
          </p:cNvPr>
          <p:cNvSpPr>
            <a:spLocks/>
          </p:cNvSpPr>
          <p:nvPr/>
        </p:nvSpPr>
        <p:spPr bwMode="auto">
          <a:xfrm rot="16200000">
            <a:off x="4913355" y="3077191"/>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rgbClr val="00929B"/>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4" name="Freeform 598">
            <a:extLst>
              <a:ext uri="{FF2B5EF4-FFF2-40B4-BE49-F238E27FC236}">
                <a16:creationId xmlns:a16="http://schemas.microsoft.com/office/drawing/2014/main" id="{3A0DB45C-8E2A-41BA-9B0D-F3F7CCD2FD2B}"/>
              </a:ext>
              <a:ext uri="{C183D7F6-B498-43B3-948B-1728B52AA6E4}">
                <adec:decorative xmlns:adec="http://schemas.microsoft.com/office/drawing/2017/decorative" val="0"/>
              </a:ext>
            </a:extLst>
          </p:cNvPr>
          <p:cNvSpPr>
            <a:spLocks/>
          </p:cNvSpPr>
          <p:nvPr/>
        </p:nvSpPr>
        <p:spPr bwMode="auto">
          <a:xfrm>
            <a:off x="5086966" y="3248169"/>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2010</a:t>
            </a:r>
          </a:p>
        </p:txBody>
      </p:sp>
      <p:sp>
        <p:nvSpPr>
          <p:cNvPr id="36" name="TextBox 35">
            <a:extLst>
              <a:ext uri="{FF2B5EF4-FFF2-40B4-BE49-F238E27FC236}">
                <a16:creationId xmlns:a16="http://schemas.microsoft.com/office/drawing/2014/main" id="{5B42C724-3363-4317-A847-19BC42528AB2}"/>
              </a:ext>
            </a:extLst>
          </p:cNvPr>
          <p:cNvSpPr txBox="1"/>
          <p:nvPr/>
        </p:nvSpPr>
        <p:spPr>
          <a:xfrm>
            <a:off x="4914670" y="4235546"/>
            <a:ext cx="1025884" cy="307777"/>
          </a:xfrm>
          <a:prstGeom prst="rect">
            <a:avLst/>
          </a:prstGeom>
          <a:noFill/>
        </p:spPr>
        <p:txBody>
          <a:bodyPr wrap="square" rtlCol="0">
            <a:spAutoFit/>
          </a:bodyPr>
          <a:lstStyle/>
          <a:p>
            <a:pPr algn="ctr"/>
            <a:r>
              <a:rPr lang="en-US" sz="1400"/>
              <a:t>Add text</a:t>
            </a:r>
          </a:p>
        </p:txBody>
      </p:sp>
      <p:sp>
        <p:nvSpPr>
          <p:cNvPr id="27" name="Freeform 596">
            <a:extLst>
              <a:ext uri="{FF2B5EF4-FFF2-40B4-BE49-F238E27FC236}">
                <a16:creationId xmlns:a16="http://schemas.microsoft.com/office/drawing/2014/main" id="{C303902A-CEB0-401A-A1A4-9920E4AC3B8A}"/>
              </a:ext>
              <a:ext uri="{C183D7F6-B498-43B3-948B-1728B52AA6E4}">
                <adec:decorative xmlns:adec="http://schemas.microsoft.com/office/drawing/2017/decorative" val="1"/>
              </a:ext>
            </a:extLst>
          </p:cNvPr>
          <p:cNvSpPr>
            <a:spLocks/>
          </p:cNvSpPr>
          <p:nvPr/>
        </p:nvSpPr>
        <p:spPr bwMode="auto">
          <a:xfrm rot="16200000">
            <a:off x="6343442" y="3627708"/>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8" name="Freeform 598">
            <a:extLst>
              <a:ext uri="{FF2B5EF4-FFF2-40B4-BE49-F238E27FC236}">
                <a16:creationId xmlns:a16="http://schemas.microsoft.com/office/drawing/2014/main" id="{EE1DE53A-BCDD-4C23-91FF-D98586701794}"/>
              </a:ext>
              <a:ext uri="{C183D7F6-B498-43B3-948B-1728B52AA6E4}">
                <adec:decorative xmlns:adec="http://schemas.microsoft.com/office/drawing/2017/decorative" val="0"/>
              </a:ext>
            </a:extLst>
          </p:cNvPr>
          <p:cNvSpPr>
            <a:spLocks/>
          </p:cNvSpPr>
          <p:nvPr/>
        </p:nvSpPr>
        <p:spPr bwMode="auto">
          <a:xfrm>
            <a:off x="6517053" y="3798686"/>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2015</a:t>
            </a:r>
          </a:p>
        </p:txBody>
      </p:sp>
      <p:sp>
        <p:nvSpPr>
          <p:cNvPr id="33" name="TextBox 32">
            <a:extLst>
              <a:ext uri="{FF2B5EF4-FFF2-40B4-BE49-F238E27FC236}">
                <a16:creationId xmlns:a16="http://schemas.microsoft.com/office/drawing/2014/main" id="{CD187715-91D8-4E2B-B3BF-8980C1EFE905}"/>
              </a:ext>
            </a:extLst>
          </p:cNvPr>
          <p:cNvSpPr txBox="1"/>
          <p:nvPr/>
        </p:nvSpPr>
        <p:spPr>
          <a:xfrm>
            <a:off x="6344757" y="3157799"/>
            <a:ext cx="1025884" cy="307777"/>
          </a:xfrm>
          <a:prstGeom prst="rect">
            <a:avLst/>
          </a:prstGeom>
          <a:noFill/>
        </p:spPr>
        <p:txBody>
          <a:bodyPr wrap="square" rtlCol="0" anchor="b">
            <a:spAutoFit/>
          </a:bodyPr>
          <a:lstStyle/>
          <a:p>
            <a:pPr algn="ctr"/>
            <a:r>
              <a:rPr lang="en-US" sz="1400"/>
              <a:t>Add text</a:t>
            </a:r>
          </a:p>
        </p:txBody>
      </p:sp>
      <p:sp>
        <p:nvSpPr>
          <p:cNvPr id="21" name="Freeform 596">
            <a:extLst>
              <a:ext uri="{FF2B5EF4-FFF2-40B4-BE49-F238E27FC236}">
                <a16:creationId xmlns:a16="http://schemas.microsoft.com/office/drawing/2014/main" id="{3D74794A-DCC1-42A7-A609-C6F9D3EEB0DD}"/>
              </a:ext>
              <a:ext uri="{C183D7F6-B498-43B3-948B-1728B52AA6E4}">
                <adec:decorative xmlns:adec="http://schemas.microsoft.com/office/drawing/2017/decorative" val="1"/>
              </a:ext>
            </a:extLst>
          </p:cNvPr>
          <p:cNvSpPr>
            <a:spLocks/>
          </p:cNvSpPr>
          <p:nvPr/>
        </p:nvSpPr>
        <p:spPr bwMode="auto">
          <a:xfrm rot="16200000">
            <a:off x="7773529" y="3077191"/>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rgbClr val="00B2A2"/>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3" name="Freeform 598">
            <a:extLst>
              <a:ext uri="{FF2B5EF4-FFF2-40B4-BE49-F238E27FC236}">
                <a16:creationId xmlns:a16="http://schemas.microsoft.com/office/drawing/2014/main" id="{9606A5D0-DB04-4A86-897F-37C38AADBA8E}"/>
              </a:ext>
              <a:ext uri="{C183D7F6-B498-43B3-948B-1728B52AA6E4}">
                <adec:decorative xmlns:adec="http://schemas.microsoft.com/office/drawing/2017/decorative" val="0"/>
              </a:ext>
            </a:extLst>
          </p:cNvPr>
          <p:cNvSpPr>
            <a:spLocks/>
          </p:cNvSpPr>
          <p:nvPr/>
        </p:nvSpPr>
        <p:spPr bwMode="auto">
          <a:xfrm>
            <a:off x="7947140" y="3248169"/>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2020</a:t>
            </a:r>
          </a:p>
        </p:txBody>
      </p:sp>
      <p:sp>
        <p:nvSpPr>
          <p:cNvPr id="37" name="TextBox 36">
            <a:extLst>
              <a:ext uri="{FF2B5EF4-FFF2-40B4-BE49-F238E27FC236}">
                <a16:creationId xmlns:a16="http://schemas.microsoft.com/office/drawing/2014/main" id="{9D94B7BD-1C00-4F70-BEE2-D7C34C239BBD}"/>
              </a:ext>
            </a:extLst>
          </p:cNvPr>
          <p:cNvSpPr txBox="1"/>
          <p:nvPr/>
        </p:nvSpPr>
        <p:spPr>
          <a:xfrm>
            <a:off x="7774844" y="4235546"/>
            <a:ext cx="1025884" cy="307777"/>
          </a:xfrm>
          <a:prstGeom prst="rect">
            <a:avLst/>
          </a:prstGeom>
          <a:noFill/>
        </p:spPr>
        <p:txBody>
          <a:bodyPr wrap="square" rtlCol="0">
            <a:spAutoFit/>
          </a:bodyPr>
          <a:lstStyle/>
          <a:p>
            <a:pPr algn="ctr"/>
            <a:r>
              <a:rPr lang="en-US" sz="1400"/>
              <a:t>Add text</a:t>
            </a:r>
          </a:p>
        </p:txBody>
      </p:sp>
      <p:sp>
        <p:nvSpPr>
          <p:cNvPr id="29" name="Freeform 596">
            <a:extLst>
              <a:ext uri="{FF2B5EF4-FFF2-40B4-BE49-F238E27FC236}">
                <a16:creationId xmlns:a16="http://schemas.microsoft.com/office/drawing/2014/main" id="{248CEDBE-90C6-4595-8225-0C7917791186}"/>
              </a:ext>
              <a:ext uri="{C183D7F6-B498-43B3-948B-1728B52AA6E4}">
                <adec:decorative xmlns:adec="http://schemas.microsoft.com/office/drawing/2017/decorative" val="1"/>
              </a:ext>
            </a:extLst>
          </p:cNvPr>
          <p:cNvSpPr>
            <a:spLocks/>
          </p:cNvSpPr>
          <p:nvPr/>
        </p:nvSpPr>
        <p:spPr bwMode="auto">
          <a:xfrm rot="16200000">
            <a:off x="9203616" y="3627708"/>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rgbClr val="0F434A"/>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0" name="Freeform 598">
            <a:extLst>
              <a:ext uri="{FF2B5EF4-FFF2-40B4-BE49-F238E27FC236}">
                <a16:creationId xmlns:a16="http://schemas.microsoft.com/office/drawing/2014/main" id="{A9AD4B4B-BBD3-4E50-AB5E-80D260164A25}"/>
              </a:ext>
              <a:ext uri="{C183D7F6-B498-43B3-948B-1728B52AA6E4}">
                <adec:decorative xmlns:adec="http://schemas.microsoft.com/office/drawing/2017/decorative" val="0"/>
              </a:ext>
            </a:extLst>
          </p:cNvPr>
          <p:cNvSpPr>
            <a:spLocks/>
          </p:cNvSpPr>
          <p:nvPr/>
        </p:nvSpPr>
        <p:spPr bwMode="auto">
          <a:xfrm>
            <a:off x="9377227" y="3798686"/>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2025</a:t>
            </a:r>
          </a:p>
        </p:txBody>
      </p:sp>
      <p:sp>
        <p:nvSpPr>
          <p:cNvPr id="34" name="TextBox 33">
            <a:extLst>
              <a:ext uri="{FF2B5EF4-FFF2-40B4-BE49-F238E27FC236}">
                <a16:creationId xmlns:a16="http://schemas.microsoft.com/office/drawing/2014/main" id="{5F5CAE07-A175-499B-8A1D-53C3843B0599}"/>
              </a:ext>
            </a:extLst>
          </p:cNvPr>
          <p:cNvSpPr txBox="1"/>
          <p:nvPr/>
        </p:nvSpPr>
        <p:spPr>
          <a:xfrm>
            <a:off x="9204931" y="3157799"/>
            <a:ext cx="1025884" cy="307777"/>
          </a:xfrm>
          <a:prstGeom prst="rect">
            <a:avLst/>
          </a:prstGeom>
          <a:noFill/>
        </p:spPr>
        <p:txBody>
          <a:bodyPr wrap="square" rtlCol="0" anchor="b">
            <a:spAutoFit/>
          </a:bodyPr>
          <a:lstStyle/>
          <a:p>
            <a:pPr algn="ctr"/>
            <a:r>
              <a:rPr lang="en-US" sz="1400"/>
              <a:t>Add text</a:t>
            </a:r>
          </a:p>
        </p:txBody>
      </p:sp>
      <p:sp>
        <p:nvSpPr>
          <p:cNvPr id="25" name="Freeform 596">
            <a:extLst>
              <a:ext uri="{FF2B5EF4-FFF2-40B4-BE49-F238E27FC236}">
                <a16:creationId xmlns:a16="http://schemas.microsoft.com/office/drawing/2014/main" id="{8BD5CE6A-7FD5-42E3-ABA9-92AC11AA74B7}"/>
              </a:ext>
              <a:ext uri="{C183D7F6-B498-43B3-948B-1728B52AA6E4}">
                <adec:decorative xmlns:adec="http://schemas.microsoft.com/office/drawing/2017/decorative" val="1"/>
              </a:ext>
            </a:extLst>
          </p:cNvPr>
          <p:cNvSpPr>
            <a:spLocks/>
          </p:cNvSpPr>
          <p:nvPr/>
        </p:nvSpPr>
        <p:spPr bwMode="auto">
          <a:xfrm rot="16200000">
            <a:off x="10633700" y="3077191"/>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6" name="Freeform 598">
            <a:extLst>
              <a:ext uri="{FF2B5EF4-FFF2-40B4-BE49-F238E27FC236}">
                <a16:creationId xmlns:a16="http://schemas.microsoft.com/office/drawing/2014/main" id="{44EA76D7-D8D1-43D5-B709-5881114D1594}"/>
              </a:ext>
              <a:ext uri="{C183D7F6-B498-43B3-948B-1728B52AA6E4}">
                <adec:decorative xmlns:adec="http://schemas.microsoft.com/office/drawing/2017/decorative" val="0"/>
              </a:ext>
            </a:extLst>
          </p:cNvPr>
          <p:cNvSpPr>
            <a:spLocks/>
          </p:cNvSpPr>
          <p:nvPr/>
        </p:nvSpPr>
        <p:spPr bwMode="auto">
          <a:xfrm>
            <a:off x="10807311" y="3248169"/>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2030</a:t>
            </a:r>
          </a:p>
        </p:txBody>
      </p:sp>
      <p:sp>
        <p:nvSpPr>
          <p:cNvPr id="38" name="TextBox 37">
            <a:extLst>
              <a:ext uri="{FF2B5EF4-FFF2-40B4-BE49-F238E27FC236}">
                <a16:creationId xmlns:a16="http://schemas.microsoft.com/office/drawing/2014/main" id="{F2166502-83A7-4D1B-A909-B67818820FD6}"/>
              </a:ext>
            </a:extLst>
          </p:cNvPr>
          <p:cNvSpPr txBox="1"/>
          <p:nvPr/>
        </p:nvSpPr>
        <p:spPr>
          <a:xfrm>
            <a:off x="10635015" y="4235546"/>
            <a:ext cx="1025884" cy="307777"/>
          </a:xfrm>
          <a:prstGeom prst="rect">
            <a:avLst/>
          </a:prstGeom>
          <a:noFill/>
        </p:spPr>
        <p:txBody>
          <a:bodyPr wrap="square" rtlCol="0">
            <a:spAutoFit/>
          </a:bodyPr>
          <a:lstStyle/>
          <a:p>
            <a:pPr algn="ctr"/>
            <a:r>
              <a:rPr lang="en-US" sz="1400"/>
              <a:t>Add text</a:t>
            </a:r>
          </a:p>
        </p:txBody>
      </p:sp>
      <p:grpSp>
        <p:nvGrpSpPr>
          <p:cNvPr id="41" name="Group 40">
            <a:extLst>
              <a:ext uri="{FF2B5EF4-FFF2-40B4-BE49-F238E27FC236}">
                <a16:creationId xmlns:a16="http://schemas.microsoft.com/office/drawing/2014/main" id="{DCBEC788-1E40-9A49-81E7-25610E082F1F}"/>
              </a:ext>
              <a:ext uri="{C183D7F6-B498-43B3-948B-1728B52AA6E4}">
                <adec:decorative xmlns:adec="http://schemas.microsoft.com/office/drawing/2017/decorative" val="1"/>
              </a:ext>
            </a:extLst>
          </p:cNvPr>
          <p:cNvGrpSpPr/>
          <p:nvPr/>
        </p:nvGrpSpPr>
        <p:grpSpPr>
          <a:xfrm>
            <a:off x="1641" y="2737549"/>
            <a:ext cx="13725719" cy="2252788"/>
            <a:chOff x="1641" y="2737549"/>
            <a:chExt cx="13725719" cy="2252788"/>
          </a:xfrm>
        </p:grpSpPr>
        <p:sp>
          <p:nvSpPr>
            <p:cNvPr id="4" name="Freeform: Shape 3">
              <a:extLst>
                <a:ext uri="{FF2B5EF4-FFF2-40B4-BE49-F238E27FC236}">
                  <a16:creationId xmlns:a16="http://schemas.microsoft.com/office/drawing/2014/main" id="{6504EC48-06B1-453C-9934-46A5F2DCD3B2}"/>
                </a:ext>
                <a:ext uri="{C183D7F6-B498-43B3-948B-1728B52AA6E4}">
                  <adec:decorative xmlns:adec="http://schemas.microsoft.com/office/drawing/2017/decorative" val="1"/>
                </a:ext>
              </a:extLst>
            </p:cNvPr>
            <p:cNvSpPr>
              <a:spLocks/>
            </p:cNvSpPr>
            <p:nvPr/>
          </p:nvSpPr>
          <p:spPr bwMode="auto">
            <a:xfrm rot="16200000">
              <a:off x="2304801" y="434389"/>
              <a:ext cx="2251680" cy="6858000"/>
            </a:xfrm>
            <a:custGeom>
              <a:avLst/>
              <a:gdLst>
                <a:gd name="connsiteX0" fmla="*/ 909161 w 1596507"/>
                <a:gd name="connsiteY0" fmla="*/ 0 h 4862523"/>
                <a:gd name="connsiteX1" fmla="*/ 1090434 w 1596507"/>
                <a:gd name="connsiteY1" fmla="*/ 0 h 4862523"/>
                <a:gd name="connsiteX2" fmla="*/ 1090434 w 1596507"/>
                <a:gd name="connsiteY2" fmla="*/ 102601 h 4862523"/>
                <a:gd name="connsiteX3" fmla="*/ 1089968 w 1596507"/>
                <a:gd name="connsiteY3" fmla="*/ 117525 h 4862523"/>
                <a:gd name="connsiteX4" fmla="*/ 1086706 w 1596507"/>
                <a:gd name="connsiteY4" fmla="*/ 147373 h 4862523"/>
                <a:gd name="connsiteX5" fmla="*/ 1081580 w 1596507"/>
                <a:gd name="connsiteY5" fmla="*/ 175822 h 4862523"/>
                <a:gd name="connsiteX6" fmla="*/ 1072726 w 1596507"/>
                <a:gd name="connsiteY6" fmla="*/ 203337 h 4862523"/>
                <a:gd name="connsiteX7" fmla="*/ 1055484 w 1596507"/>
                <a:gd name="connsiteY7" fmla="*/ 242046 h 4862523"/>
                <a:gd name="connsiteX8" fmla="*/ 1023796 w 1596507"/>
                <a:gd name="connsiteY8" fmla="*/ 288683 h 4862523"/>
                <a:gd name="connsiteX9" fmla="*/ 984187 w 1596507"/>
                <a:gd name="connsiteY9" fmla="*/ 328791 h 4862523"/>
                <a:gd name="connsiteX10" fmla="*/ 937587 w 1596507"/>
                <a:gd name="connsiteY10" fmla="*/ 360038 h 4862523"/>
                <a:gd name="connsiteX11" fmla="*/ 898909 w 1596507"/>
                <a:gd name="connsiteY11" fmla="*/ 377760 h 4862523"/>
                <a:gd name="connsiteX12" fmla="*/ 870949 w 1596507"/>
                <a:gd name="connsiteY12" fmla="*/ 386155 h 4862523"/>
                <a:gd name="connsiteX13" fmla="*/ 842989 w 1596507"/>
                <a:gd name="connsiteY13" fmla="*/ 391751 h 4862523"/>
                <a:gd name="connsiteX14" fmla="*/ 813166 w 1596507"/>
                <a:gd name="connsiteY14" fmla="*/ 394549 h 4862523"/>
                <a:gd name="connsiteX15" fmla="*/ 798720 w 1596507"/>
                <a:gd name="connsiteY15" fmla="*/ 395016 h 4862523"/>
                <a:gd name="connsiteX16" fmla="*/ 596943 w 1596507"/>
                <a:gd name="connsiteY16" fmla="*/ 395016 h 4862523"/>
                <a:gd name="connsiteX17" fmla="*/ 576439 w 1596507"/>
                <a:gd name="connsiteY17" fmla="*/ 395016 h 4862523"/>
                <a:gd name="connsiteX18" fmla="*/ 534965 w 1596507"/>
                <a:gd name="connsiteY18" fmla="*/ 399213 h 4862523"/>
                <a:gd name="connsiteX19" fmla="*/ 494423 w 1596507"/>
                <a:gd name="connsiteY19" fmla="*/ 407141 h 4862523"/>
                <a:gd name="connsiteX20" fmla="*/ 454814 w 1596507"/>
                <a:gd name="connsiteY20" fmla="*/ 419267 h 4862523"/>
                <a:gd name="connsiteX21" fmla="*/ 417534 w 1596507"/>
                <a:gd name="connsiteY21" fmla="*/ 435123 h 4862523"/>
                <a:gd name="connsiteX22" fmla="*/ 381186 w 1596507"/>
                <a:gd name="connsiteY22" fmla="*/ 455177 h 4862523"/>
                <a:gd name="connsiteX23" fmla="*/ 347634 w 1596507"/>
                <a:gd name="connsiteY23" fmla="*/ 478029 h 4862523"/>
                <a:gd name="connsiteX24" fmla="*/ 315480 w 1596507"/>
                <a:gd name="connsiteY24" fmla="*/ 504613 h 4862523"/>
                <a:gd name="connsiteX25" fmla="*/ 300569 w 1596507"/>
                <a:gd name="connsiteY25" fmla="*/ 519536 h 4862523"/>
                <a:gd name="connsiteX26" fmla="*/ 286123 w 1596507"/>
                <a:gd name="connsiteY26" fmla="*/ 534927 h 4862523"/>
                <a:gd name="connsiteX27" fmla="*/ 260027 w 1596507"/>
                <a:gd name="connsiteY27" fmla="*/ 566640 h 4862523"/>
                <a:gd name="connsiteX28" fmla="*/ 237659 w 1596507"/>
                <a:gd name="connsiteY28" fmla="*/ 601151 h 4862523"/>
                <a:gd name="connsiteX29" fmla="*/ 218087 w 1596507"/>
                <a:gd name="connsiteY29" fmla="*/ 637994 h 4862523"/>
                <a:gd name="connsiteX30" fmla="*/ 203175 w 1596507"/>
                <a:gd name="connsiteY30" fmla="*/ 675770 h 4862523"/>
                <a:gd name="connsiteX31" fmla="*/ 192457 w 1596507"/>
                <a:gd name="connsiteY31" fmla="*/ 715412 h 4862523"/>
                <a:gd name="connsiteX32" fmla="*/ 184535 w 1596507"/>
                <a:gd name="connsiteY32" fmla="*/ 755986 h 4862523"/>
                <a:gd name="connsiteX33" fmla="*/ 181273 w 1596507"/>
                <a:gd name="connsiteY33" fmla="*/ 797027 h 4862523"/>
                <a:gd name="connsiteX34" fmla="*/ 181273 w 1596507"/>
                <a:gd name="connsiteY34" fmla="*/ 818480 h 4862523"/>
                <a:gd name="connsiteX35" fmla="*/ 182205 w 1596507"/>
                <a:gd name="connsiteY35" fmla="*/ 839466 h 4862523"/>
                <a:gd name="connsiteX36" fmla="*/ 186865 w 1596507"/>
                <a:gd name="connsiteY36" fmla="*/ 880507 h 4862523"/>
                <a:gd name="connsiteX37" fmla="*/ 195719 w 1596507"/>
                <a:gd name="connsiteY37" fmla="*/ 920615 h 4862523"/>
                <a:gd name="connsiteX38" fmla="*/ 208767 w 1596507"/>
                <a:gd name="connsiteY38" fmla="*/ 959324 h 4862523"/>
                <a:gd name="connsiteX39" fmla="*/ 225543 w 1596507"/>
                <a:gd name="connsiteY39" fmla="*/ 996167 h 4862523"/>
                <a:gd name="connsiteX40" fmla="*/ 245581 w 1596507"/>
                <a:gd name="connsiteY40" fmla="*/ 1030678 h 4862523"/>
                <a:gd name="connsiteX41" fmla="*/ 268415 w 1596507"/>
                <a:gd name="connsiteY41" fmla="*/ 1063324 h 4862523"/>
                <a:gd name="connsiteX42" fmla="*/ 294511 w 1596507"/>
                <a:gd name="connsiteY42" fmla="*/ 1093172 h 4862523"/>
                <a:gd name="connsiteX43" fmla="*/ 323402 w 1596507"/>
                <a:gd name="connsiteY43" fmla="*/ 1121154 h 4862523"/>
                <a:gd name="connsiteX44" fmla="*/ 354158 w 1596507"/>
                <a:gd name="connsiteY44" fmla="*/ 1146338 h 4862523"/>
                <a:gd name="connsiteX45" fmla="*/ 388176 w 1596507"/>
                <a:gd name="connsiteY45" fmla="*/ 1168257 h 4862523"/>
                <a:gd name="connsiteX46" fmla="*/ 424058 w 1596507"/>
                <a:gd name="connsiteY46" fmla="*/ 1187845 h 4862523"/>
                <a:gd name="connsiteX47" fmla="*/ 461804 w 1596507"/>
                <a:gd name="connsiteY47" fmla="*/ 1202769 h 4862523"/>
                <a:gd name="connsiteX48" fmla="*/ 500947 w 1596507"/>
                <a:gd name="connsiteY48" fmla="*/ 1214894 h 4862523"/>
                <a:gd name="connsiteX49" fmla="*/ 541955 w 1596507"/>
                <a:gd name="connsiteY49" fmla="*/ 1223289 h 4862523"/>
                <a:gd name="connsiteX50" fmla="*/ 584361 w 1596507"/>
                <a:gd name="connsiteY50" fmla="*/ 1227486 h 4862523"/>
                <a:gd name="connsiteX51" fmla="*/ 605331 w 1596507"/>
                <a:gd name="connsiteY51" fmla="*/ 1227486 h 4862523"/>
                <a:gd name="connsiteX52" fmla="*/ 1000031 w 1596507"/>
                <a:gd name="connsiteY52" fmla="*/ 1227486 h 4862523"/>
                <a:gd name="connsiteX53" fmla="*/ 1029854 w 1596507"/>
                <a:gd name="connsiteY53" fmla="*/ 1227953 h 4862523"/>
                <a:gd name="connsiteX54" fmla="*/ 1089036 w 1596507"/>
                <a:gd name="connsiteY54" fmla="*/ 1234016 h 4862523"/>
                <a:gd name="connsiteX55" fmla="*/ 1147286 w 1596507"/>
                <a:gd name="connsiteY55" fmla="*/ 1245675 h 4862523"/>
                <a:gd name="connsiteX56" fmla="*/ 1203205 w 1596507"/>
                <a:gd name="connsiteY56" fmla="*/ 1263397 h 4862523"/>
                <a:gd name="connsiteX57" fmla="*/ 1257727 w 1596507"/>
                <a:gd name="connsiteY57" fmla="*/ 1285783 h 4862523"/>
                <a:gd name="connsiteX58" fmla="*/ 1308987 w 1596507"/>
                <a:gd name="connsiteY58" fmla="*/ 1313299 h 4862523"/>
                <a:gd name="connsiteX59" fmla="*/ 1357917 w 1596507"/>
                <a:gd name="connsiteY59" fmla="*/ 1346411 h 4862523"/>
                <a:gd name="connsiteX60" fmla="*/ 1404050 w 1596507"/>
                <a:gd name="connsiteY60" fmla="*/ 1385120 h 4862523"/>
                <a:gd name="connsiteX61" fmla="*/ 1425486 w 1596507"/>
                <a:gd name="connsiteY61" fmla="*/ 1406573 h 4862523"/>
                <a:gd name="connsiteX62" fmla="*/ 1445990 w 1596507"/>
                <a:gd name="connsiteY62" fmla="*/ 1428026 h 4862523"/>
                <a:gd name="connsiteX63" fmla="*/ 1483736 w 1596507"/>
                <a:gd name="connsiteY63" fmla="*/ 1474663 h 4862523"/>
                <a:gd name="connsiteX64" fmla="*/ 1516356 w 1596507"/>
                <a:gd name="connsiteY64" fmla="*/ 1524564 h 4862523"/>
                <a:gd name="connsiteX65" fmla="*/ 1543383 w 1596507"/>
                <a:gd name="connsiteY65" fmla="*/ 1576331 h 4862523"/>
                <a:gd name="connsiteX66" fmla="*/ 1565285 w 1596507"/>
                <a:gd name="connsiteY66" fmla="*/ 1630897 h 4862523"/>
                <a:gd name="connsiteX67" fmla="*/ 1581595 w 1596507"/>
                <a:gd name="connsiteY67" fmla="*/ 1687327 h 4862523"/>
                <a:gd name="connsiteX68" fmla="*/ 1591847 w 1596507"/>
                <a:gd name="connsiteY68" fmla="*/ 1745624 h 4862523"/>
                <a:gd name="connsiteX69" fmla="*/ 1596507 w 1596507"/>
                <a:gd name="connsiteY69" fmla="*/ 1805319 h 4862523"/>
                <a:gd name="connsiteX70" fmla="*/ 1596507 w 1596507"/>
                <a:gd name="connsiteY70" fmla="*/ 1835633 h 4862523"/>
                <a:gd name="connsiteX71" fmla="*/ 1596041 w 1596507"/>
                <a:gd name="connsiteY71" fmla="*/ 1865947 h 4862523"/>
                <a:gd name="connsiteX72" fmla="*/ 1588585 w 1596507"/>
                <a:gd name="connsiteY72" fmla="*/ 1925176 h 4862523"/>
                <a:gd name="connsiteX73" fmla="*/ 1576003 w 1596507"/>
                <a:gd name="connsiteY73" fmla="*/ 1982540 h 4862523"/>
                <a:gd name="connsiteX74" fmla="*/ 1557363 w 1596507"/>
                <a:gd name="connsiteY74" fmla="*/ 2037571 h 4862523"/>
                <a:gd name="connsiteX75" fmla="*/ 1533598 w 1596507"/>
                <a:gd name="connsiteY75" fmla="*/ 2090271 h 4862523"/>
                <a:gd name="connsiteX76" fmla="*/ 1505172 w 1596507"/>
                <a:gd name="connsiteY76" fmla="*/ 2140173 h 4862523"/>
                <a:gd name="connsiteX77" fmla="*/ 1472552 w 1596507"/>
                <a:gd name="connsiteY77" fmla="*/ 2186810 h 4862523"/>
                <a:gd name="connsiteX78" fmla="*/ 1435272 w 1596507"/>
                <a:gd name="connsiteY78" fmla="*/ 2230182 h 4862523"/>
                <a:gd name="connsiteX79" fmla="*/ 1394264 w 1596507"/>
                <a:gd name="connsiteY79" fmla="*/ 2270290 h 4862523"/>
                <a:gd name="connsiteX80" fmla="*/ 1349529 w 1596507"/>
                <a:gd name="connsiteY80" fmla="*/ 2306667 h 4862523"/>
                <a:gd name="connsiteX81" fmla="*/ 1301997 w 1596507"/>
                <a:gd name="connsiteY81" fmla="*/ 2337914 h 4862523"/>
                <a:gd name="connsiteX82" fmla="*/ 1250271 w 1596507"/>
                <a:gd name="connsiteY82" fmla="*/ 2364963 h 4862523"/>
                <a:gd name="connsiteX83" fmla="*/ 1196681 w 1596507"/>
                <a:gd name="connsiteY83" fmla="*/ 2387349 h 4862523"/>
                <a:gd name="connsiteX84" fmla="*/ 1140762 w 1596507"/>
                <a:gd name="connsiteY84" fmla="*/ 2404605 h 4862523"/>
                <a:gd name="connsiteX85" fmla="*/ 1082046 w 1596507"/>
                <a:gd name="connsiteY85" fmla="*/ 2416730 h 4862523"/>
                <a:gd name="connsiteX86" fmla="*/ 1021932 w 1596507"/>
                <a:gd name="connsiteY86" fmla="*/ 2422793 h 4862523"/>
                <a:gd name="connsiteX87" fmla="*/ 991177 w 1596507"/>
                <a:gd name="connsiteY87" fmla="*/ 2423260 h 4862523"/>
                <a:gd name="connsiteX88" fmla="*/ 596943 w 1596507"/>
                <a:gd name="connsiteY88" fmla="*/ 2423260 h 4862523"/>
                <a:gd name="connsiteX89" fmla="*/ 576439 w 1596507"/>
                <a:gd name="connsiteY89" fmla="*/ 2423260 h 4862523"/>
                <a:gd name="connsiteX90" fmla="*/ 534965 w 1596507"/>
                <a:gd name="connsiteY90" fmla="*/ 2427457 h 4862523"/>
                <a:gd name="connsiteX91" fmla="*/ 494423 w 1596507"/>
                <a:gd name="connsiteY91" fmla="*/ 2435852 h 4862523"/>
                <a:gd name="connsiteX92" fmla="*/ 454814 w 1596507"/>
                <a:gd name="connsiteY92" fmla="*/ 2447511 h 4862523"/>
                <a:gd name="connsiteX93" fmla="*/ 417534 w 1596507"/>
                <a:gd name="connsiteY93" fmla="*/ 2463834 h 4862523"/>
                <a:gd name="connsiteX94" fmla="*/ 381186 w 1596507"/>
                <a:gd name="connsiteY94" fmla="*/ 2482955 h 4862523"/>
                <a:gd name="connsiteX95" fmla="*/ 347634 w 1596507"/>
                <a:gd name="connsiteY95" fmla="*/ 2505807 h 4862523"/>
                <a:gd name="connsiteX96" fmla="*/ 315480 w 1596507"/>
                <a:gd name="connsiteY96" fmla="*/ 2532390 h 4862523"/>
                <a:gd name="connsiteX97" fmla="*/ 300569 w 1596507"/>
                <a:gd name="connsiteY97" fmla="*/ 2547780 h 4862523"/>
                <a:gd name="connsiteX98" fmla="*/ 286123 w 1596507"/>
                <a:gd name="connsiteY98" fmla="*/ 2562704 h 4862523"/>
                <a:gd name="connsiteX99" fmla="*/ 260027 w 1596507"/>
                <a:gd name="connsiteY99" fmla="*/ 2594884 h 4862523"/>
                <a:gd name="connsiteX100" fmla="*/ 237659 w 1596507"/>
                <a:gd name="connsiteY100" fmla="*/ 2629862 h 4862523"/>
                <a:gd name="connsiteX101" fmla="*/ 218087 w 1596507"/>
                <a:gd name="connsiteY101" fmla="*/ 2666238 h 4862523"/>
                <a:gd name="connsiteX102" fmla="*/ 203175 w 1596507"/>
                <a:gd name="connsiteY102" fmla="*/ 2704481 h 4862523"/>
                <a:gd name="connsiteX103" fmla="*/ 192457 w 1596507"/>
                <a:gd name="connsiteY103" fmla="*/ 2743656 h 4862523"/>
                <a:gd name="connsiteX104" fmla="*/ 184535 w 1596507"/>
                <a:gd name="connsiteY104" fmla="*/ 2784230 h 4862523"/>
                <a:gd name="connsiteX105" fmla="*/ 181273 w 1596507"/>
                <a:gd name="connsiteY105" fmla="*/ 2825737 h 4862523"/>
                <a:gd name="connsiteX106" fmla="*/ 181273 w 1596507"/>
                <a:gd name="connsiteY106" fmla="*/ 2846257 h 4862523"/>
                <a:gd name="connsiteX107" fmla="*/ 182205 w 1596507"/>
                <a:gd name="connsiteY107" fmla="*/ 2867710 h 4862523"/>
                <a:gd name="connsiteX108" fmla="*/ 186865 w 1596507"/>
                <a:gd name="connsiteY108" fmla="*/ 2908751 h 4862523"/>
                <a:gd name="connsiteX109" fmla="*/ 195719 w 1596507"/>
                <a:gd name="connsiteY109" fmla="*/ 2948392 h 4862523"/>
                <a:gd name="connsiteX110" fmla="*/ 208767 w 1596507"/>
                <a:gd name="connsiteY110" fmla="*/ 2987101 h 4862523"/>
                <a:gd name="connsiteX111" fmla="*/ 225543 w 1596507"/>
                <a:gd name="connsiteY111" fmla="*/ 3023944 h 4862523"/>
                <a:gd name="connsiteX112" fmla="*/ 245581 w 1596507"/>
                <a:gd name="connsiteY112" fmla="*/ 3058456 h 4862523"/>
                <a:gd name="connsiteX113" fmla="*/ 268415 w 1596507"/>
                <a:gd name="connsiteY113" fmla="*/ 3091102 h 4862523"/>
                <a:gd name="connsiteX114" fmla="*/ 294511 w 1596507"/>
                <a:gd name="connsiteY114" fmla="*/ 3121416 h 4862523"/>
                <a:gd name="connsiteX115" fmla="*/ 323402 w 1596507"/>
                <a:gd name="connsiteY115" fmla="*/ 3149398 h 4862523"/>
                <a:gd name="connsiteX116" fmla="*/ 354158 w 1596507"/>
                <a:gd name="connsiteY116" fmla="*/ 3174582 h 4862523"/>
                <a:gd name="connsiteX117" fmla="*/ 388176 w 1596507"/>
                <a:gd name="connsiteY117" fmla="*/ 3196501 h 4862523"/>
                <a:gd name="connsiteX118" fmla="*/ 424058 w 1596507"/>
                <a:gd name="connsiteY118" fmla="*/ 3215623 h 4862523"/>
                <a:gd name="connsiteX119" fmla="*/ 461804 w 1596507"/>
                <a:gd name="connsiteY119" fmla="*/ 3230546 h 4862523"/>
                <a:gd name="connsiteX120" fmla="*/ 500947 w 1596507"/>
                <a:gd name="connsiteY120" fmla="*/ 3242672 h 4862523"/>
                <a:gd name="connsiteX121" fmla="*/ 541955 w 1596507"/>
                <a:gd name="connsiteY121" fmla="*/ 3251533 h 4862523"/>
                <a:gd name="connsiteX122" fmla="*/ 584361 w 1596507"/>
                <a:gd name="connsiteY122" fmla="*/ 3255730 h 4862523"/>
                <a:gd name="connsiteX123" fmla="*/ 605331 w 1596507"/>
                <a:gd name="connsiteY123" fmla="*/ 3255730 h 4862523"/>
                <a:gd name="connsiteX124" fmla="*/ 1000031 w 1596507"/>
                <a:gd name="connsiteY124" fmla="*/ 3255730 h 4862523"/>
                <a:gd name="connsiteX125" fmla="*/ 1029854 w 1596507"/>
                <a:gd name="connsiteY125" fmla="*/ 3256197 h 4862523"/>
                <a:gd name="connsiteX126" fmla="*/ 1089036 w 1596507"/>
                <a:gd name="connsiteY126" fmla="*/ 3262260 h 4862523"/>
                <a:gd name="connsiteX127" fmla="*/ 1147286 w 1596507"/>
                <a:gd name="connsiteY127" fmla="*/ 3273919 h 4862523"/>
                <a:gd name="connsiteX128" fmla="*/ 1203205 w 1596507"/>
                <a:gd name="connsiteY128" fmla="*/ 3291175 h 4862523"/>
                <a:gd name="connsiteX129" fmla="*/ 1257727 w 1596507"/>
                <a:gd name="connsiteY129" fmla="*/ 3313560 h 4862523"/>
                <a:gd name="connsiteX130" fmla="*/ 1308987 w 1596507"/>
                <a:gd name="connsiteY130" fmla="*/ 3341543 h 4862523"/>
                <a:gd name="connsiteX131" fmla="*/ 1357917 w 1596507"/>
                <a:gd name="connsiteY131" fmla="*/ 3374655 h 4862523"/>
                <a:gd name="connsiteX132" fmla="*/ 1404050 w 1596507"/>
                <a:gd name="connsiteY132" fmla="*/ 3413364 h 4862523"/>
                <a:gd name="connsiteX133" fmla="*/ 1425486 w 1596507"/>
                <a:gd name="connsiteY133" fmla="*/ 3434350 h 4862523"/>
                <a:gd name="connsiteX134" fmla="*/ 1445990 w 1596507"/>
                <a:gd name="connsiteY134" fmla="*/ 3456270 h 4862523"/>
                <a:gd name="connsiteX135" fmla="*/ 1483736 w 1596507"/>
                <a:gd name="connsiteY135" fmla="*/ 3502907 h 4862523"/>
                <a:gd name="connsiteX136" fmla="*/ 1516356 w 1596507"/>
                <a:gd name="connsiteY136" fmla="*/ 3552342 h 4862523"/>
                <a:gd name="connsiteX137" fmla="*/ 1543383 w 1596507"/>
                <a:gd name="connsiteY137" fmla="*/ 3604109 h 4862523"/>
                <a:gd name="connsiteX138" fmla="*/ 1565285 w 1596507"/>
                <a:gd name="connsiteY138" fmla="*/ 3658674 h 4862523"/>
                <a:gd name="connsiteX139" fmla="*/ 1581595 w 1596507"/>
                <a:gd name="connsiteY139" fmla="*/ 3715571 h 4862523"/>
                <a:gd name="connsiteX140" fmla="*/ 1591847 w 1596507"/>
                <a:gd name="connsiteY140" fmla="*/ 3773401 h 4862523"/>
                <a:gd name="connsiteX141" fmla="*/ 1596507 w 1596507"/>
                <a:gd name="connsiteY141" fmla="*/ 3833563 h 4862523"/>
                <a:gd name="connsiteX142" fmla="*/ 1596507 w 1596507"/>
                <a:gd name="connsiteY142" fmla="*/ 3863877 h 4862523"/>
                <a:gd name="connsiteX143" fmla="*/ 1596041 w 1596507"/>
                <a:gd name="connsiteY143" fmla="*/ 3893725 h 4862523"/>
                <a:gd name="connsiteX144" fmla="*/ 1588585 w 1596507"/>
                <a:gd name="connsiteY144" fmla="*/ 3952954 h 4862523"/>
                <a:gd name="connsiteX145" fmla="*/ 1576003 w 1596507"/>
                <a:gd name="connsiteY145" fmla="*/ 4010317 h 4862523"/>
                <a:gd name="connsiteX146" fmla="*/ 1557363 w 1596507"/>
                <a:gd name="connsiteY146" fmla="*/ 4065349 h 4862523"/>
                <a:gd name="connsiteX147" fmla="*/ 1533598 w 1596507"/>
                <a:gd name="connsiteY147" fmla="*/ 4118049 h 4862523"/>
                <a:gd name="connsiteX148" fmla="*/ 1505172 w 1596507"/>
                <a:gd name="connsiteY148" fmla="*/ 4168417 h 4862523"/>
                <a:gd name="connsiteX149" fmla="*/ 1472552 w 1596507"/>
                <a:gd name="connsiteY149" fmla="*/ 4215054 h 4862523"/>
                <a:gd name="connsiteX150" fmla="*/ 1435272 w 1596507"/>
                <a:gd name="connsiteY150" fmla="*/ 4258426 h 4862523"/>
                <a:gd name="connsiteX151" fmla="*/ 1394264 w 1596507"/>
                <a:gd name="connsiteY151" fmla="*/ 4298068 h 4862523"/>
                <a:gd name="connsiteX152" fmla="*/ 1349529 w 1596507"/>
                <a:gd name="connsiteY152" fmla="*/ 4334445 h 4862523"/>
                <a:gd name="connsiteX153" fmla="*/ 1301997 w 1596507"/>
                <a:gd name="connsiteY153" fmla="*/ 4366158 h 4862523"/>
                <a:gd name="connsiteX154" fmla="*/ 1250271 w 1596507"/>
                <a:gd name="connsiteY154" fmla="*/ 4393207 h 4862523"/>
                <a:gd name="connsiteX155" fmla="*/ 1196681 w 1596507"/>
                <a:gd name="connsiteY155" fmla="*/ 4415593 h 4862523"/>
                <a:gd name="connsiteX156" fmla="*/ 1140762 w 1596507"/>
                <a:gd name="connsiteY156" fmla="*/ 4432849 h 4862523"/>
                <a:gd name="connsiteX157" fmla="*/ 1082046 w 1596507"/>
                <a:gd name="connsiteY157" fmla="*/ 4444508 h 4862523"/>
                <a:gd name="connsiteX158" fmla="*/ 1021932 w 1596507"/>
                <a:gd name="connsiteY158" fmla="*/ 4450571 h 4862523"/>
                <a:gd name="connsiteX159" fmla="*/ 991177 w 1596507"/>
                <a:gd name="connsiteY159" fmla="*/ 4451037 h 4862523"/>
                <a:gd name="connsiteX160" fmla="*/ 596943 w 1596507"/>
                <a:gd name="connsiteY160" fmla="*/ 4451037 h 4862523"/>
                <a:gd name="connsiteX161" fmla="*/ 576439 w 1596507"/>
                <a:gd name="connsiteY161" fmla="*/ 4451037 h 4862523"/>
                <a:gd name="connsiteX162" fmla="*/ 534965 w 1596507"/>
                <a:gd name="connsiteY162" fmla="*/ 4455235 h 4862523"/>
                <a:gd name="connsiteX163" fmla="*/ 494423 w 1596507"/>
                <a:gd name="connsiteY163" fmla="*/ 4464096 h 4862523"/>
                <a:gd name="connsiteX164" fmla="*/ 454814 w 1596507"/>
                <a:gd name="connsiteY164" fmla="*/ 4475289 h 4862523"/>
                <a:gd name="connsiteX165" fmla="*/ 417534 w 1596507"/>
                <a:gd name="connsiteY165" fmla="*/ 4491612 h 4862523"/>
                <a:gd name="connsiteX166" fmla="*/ 381186 w 1596507"/>
                <a:gd name="connsiteY166" fmla="*/ 4511199 h 4862523"/>
                <a:gd name="connsiteX167" fmla="*/ 347634 w 1596507"/>
                <a:gd name="connsiteY167" fmla="*/ 4534051 h 4862523"/>
                <a:gd name="connsiteX168" fmla="*/ 315480 w 1596507"/>
                <a:gd name="connsiteY168" fmla="*/ 4560634 h 4862523"/>
                <a:gd name="connsiteX169" fmla="*/ 300569 w 1596507"/>
                <a:gd name="connsiteY169" fmla="*/ 4575558 h 4862523"/>
                <a:gd name="connsiteX170" fmla="*/ 286123 w 1596507"/>
                <a:gd name="connsiteY170" fmla="*/ 4590948 h 4862523"/>
                <a:gd name="connsiteX171" fmla="*/ 260027 w 1596507"/>
                <a:gd name="connsiteY171" fmla="*/ 4622662 h 4862523"/>
                <a:gd name="connsiteX172" fmla="*/ 237659 w 1596507"/>
                <a:gd name="connsiteY172" fmla="*/ 4658106 h 4862523"/>
                <a:gd name="connsiteX173" fmla="*/ 218087 w 1596507"/>
                <a:gd name="connsiteY173" fmla="*/ 4694016 h 4862523"/>
                <a:gd name="connsiteX174" fmla="*/ 203175 w 1596507"/>
                <a:gd name="connsiteY174" fmla="*/ 4732259 h 4862523"/>
                <a:gd name="connsiteX175" fmla="*/ 192457 w 1596507"/>
                <a:gd name="connsiteY175" fmla="*/ 4771434 h 4862523"/>
                <a:gd name="connsiteX176" fmla="*/ 184535 w 1596507"/>
                <a:gd name="connsiteY176" fmla="*/ 4812008 h 4862523"/>
                <a:gd name="connsiteX177" fmla="*/ 181273 w 1596507"/>
                <a:gd name="connsiteY177" fmla="*/ 4853981 h 4862523"/>
                <a:gd name="connsiteX178" fmla="*/ 181273 w 1596507"/>
                <a:gd name="connsiteY178" fmla="*/ 4862523 h 4862523"/>
                <a:gd name="connsiteX179" fmla="*/ 0 w 1596507"/>
                <a:gd name="connsiteY179" fmla="*/ 4862523 h 4862523"/>
                <a:gd name="connsiteX180" fmla="*/ 0 w 1596507"/>
                <a:gd name="connsiteY180" fmla="*/ 4846986 h 4862523"/>
                <a:gd name="connsiteX181" fmla="*/ 5126 w 1596507"/>
                <a:gd name="connsiteY181" fmla="*/ 4787757 h 4862523"/>
                <a:gd name="connsiteX182" fmla="*/ 15378 w 1596507"/>
                <a:gd name="connsiteY182" fmla="*/ 4729460 h 4862523"/>
                <a:gd name="connsiteX183" fmla="*/ 31688 w 1596507"/>
                <a:gd name="connsiteY183" fmla="*/ 4673030 h 4862523"/>
                <a:gd name="connsiteX184" fmla="*/ 53590 w 1596507"/>
                <a:gd name="connsiteY184" fmla="*/ 4618464 h 4862523"/>
                <a:gd name="connsiteX185" fmla="*/ 80618 w 1596507"/>
                <a:gd name="connsiteY185" fmla="*/ 4566231 h 4862523"/>
                <a:gd name="connsiteX186" fmla="*/ 113238 w 1596507"/>
                <a:gd name="connsiteY186" fmla="*/ 4516329 h 4862523"/>
                <a:gd name="connsiteX187" fmla="*/ 150517 w 1596507"/>
                <a:gd name="connsiteY187" fmla="*/ 4470625 h 4862523"/>
                <a:gd name="connsiteX188" fmla="*/ 171021 w 1596507"/>
                <a:gd name="connsiteY188" fmla="*/ 4448239 h 4862523"/>
                <a:gd name="connsiteX189" fmla="*/ 192923 w 1596507"/>
                <a:gd name="connsiteY189" fmla="*/ 4427252 h 4862523"/>
                <a:gd name="connsiteX190" fmla="*/ 238591 w 1596507"/>
                <a:gd name="connsiteY190" fmla="*/ 4389010 h 4862523"/>
                <a:gd name="connsiteX191" fmla="*/ 287521 w 1596507"/>
                <a:gd name="connsiteY191" fmla="*/ 4355898 h 4862523"/>
                <a:gd name="connsiteX192" fmla="*/ 339246 w 1596507"/>
                <a:gd name="connsiteY192" fmla="*/ 4327916 h 4862523"/>
                <a:gd name="connsiteX193" fmla="*/ 393302 w 1596507"/>
                <a:gd name="connsiteY193" fmla="*/ 4305063 h 4862523"/>
                <a:gd name="connsiteX194" fmla="*/ 449688 w 1596507"/>
                <a:gd name="connsiteY194" fmla="*/ 4287808 h 4862523"/>
                <a:gd name="connsiteX195" fmla="*/ 507471 w 1596507"/>
                <a:gd name="connsiteY195" fmla="*/ 4275682 h 4862523"/>
                <a:gd name="connsiteX196" fmla="*/ 566653 w 1596507"/>
                <a:gd name="connsiteY196" fmla="*/ 4270552 h 4862523"/>
                <a:gd name="connsiteX197" fmla="*/ 596943 w 1596507"/>
                <a:gd name="connsiteY197" fmla="*/ 4270086 h 4862523"/>
                <a:gd name="connsiteX198" fmla="*/ 991177 w 1596507"/>
                <a:gd name="connsiteY198" fmla="*/ 4270086 h 4862523"/>
                <a:gd name="connsiteX199" fmla="*/ 1013079 w 1596507"/>
                <a:gd name="connsiteY199" fmla="*/ 4269153 h 4862523"/>
                <a:gd name="connsiteX200" fmla="*/ 1054552 w 1596507"/>
                <a:gd name="connsiteY200" fmla="*/ 4264956 h 4862523"/>
                <a:gd name="connsiteX201" fmla="*/ 1096026 w 1596507"/>
                <a:gd name="connsiteY201" fmla="*/ 4257027 h 4862523"/>
                <a:gd name="connsiteX202" fmla="*/ 1135170 w 1596507"/>
                <a:gd name="connsiteY202" fmla="*/ 4244902 h 4862523"/>
                <a:gd name="connsiteX203" fmla="*/ 1173382 w 1596507"/>
                <a:gd name="connsiteY203" fmla="*/ 4229511 h 4862523"/>
                <a:gd name="connsiteX204" fmla="*/ 1208797 w 1596507"/>
                <a:gd name="connsiteY204" fmla="*/ 4210857 h 4862523"/>
                <a:gd name="connsiteX205" fmla="*/ 1242815 w 1596507"/>
                <a:gd name="connsiteY205" fmla="*/ 4188471 h 4862523"/>
                <a:gd name="connsiteX206" fmla="*/ 1274037 w 1596507"/>
                <a:gd name="connsiteY206" fmla="*/ 4163287 h 4862523"/>
                <a:gd name="connsiteX207" fmla="*/ 1302463 w 1596507"/>
                <a:gd name="connsiteY207" fmla="*/ 4135771 h 4862523"/>
                <a:gd name="connsiteX208" fmla="*/ 1328559 w 1596507"/>
                <a:gd name="connsiteY208" fmla="*/ 4105457 h 4862523"/>
                <a:gd name="connsiteX209" fmla="*/ 1351859 w 1596507"/>
                <a:gd name="connsiteY209" fmla="*/ 4072811 h 4862523"/>
                <a:gd name="connsiteX210" fmla="*/ 1371896 w 1596507"/>
                <a:gd name="connsiteY210" fmla="*/ 4037833 h 4862523"/>
                <a:gd name="connsiteX211" fmla="*/ 1388206 w 1596507"/>
                <a:gd name="connsiteY211" fmla="*/ 4001456 h 4862523"/>
                <a:gd name="connsiteX212" fmla="*/ 1400788 w 1596507"/>
                <a:gd name="connsiteY212" fmla="*/ 3962748 h 4862523"/>
                <a:gd name="connsiteX213" fmla="*/ 1410108 w 1596507"/>
                <a:gd name="connsiteY213" fmla="*/ 3923106 h 4862523"/>
                <a:gd name="connsiteX214" fmla="*/ 1414768 w 1596507"/>
                <a:gd name="connsiteY214" fmla="*/ 3881599 h 4862523"/>
                <a:gd name="connsiteX215" fmla="*/ 1415234 w 1596507"/>
                <a:gd name="connsiteY215" fmla="*/ 3860613 h 4862523"/>
                <a:gd name="connsiteX216" fmla="*/ 1416166 w 1596507"/>
                <a:gd name="connsiteY216" fmla="*/ 3839626 h 4862523"/>
                <a:gd name="connsiteX217" fmla="*/ 1412438 w 1596507"/>
                <a:gd name="connsiteY217" fmla="*/ 3797653 h 4862523"/>
                <a:gd name="connsiteX218" fmla="*/ 1404982 w 1596507"/>
                <a:gd name="connsiteY218" fmla="*/ 3757078 h 4862523"/>
                <a:gd name="connsiteX219" fmla="*/ 1393798 w 1596507"/>
                <a:gd name="connsiteY219" fmla="*/ 3717903 h 4862523"/>
                <a:gd name="connsiteX220" fmla="*/ 1378420 w 1596507"/>
                <a:gd name="connsiteY220" fmla="*/ 3680127 h 4862523"/>
                <a:gd name="connsiteX221" fmla="*/ 1359315 w 1596507"/>
                <a:gd name="connsiteY221" fmla="*/ 3643750 h 4862523"/>
                <a:gd name="connsiteX222" fmla="*/ 1336947 w 1596507"/>
                <a:gd name="connsiteY222" fmla="*/ 3609239 h 4862523"/>
                <a:gd name="connsiteX223" fmla="*/ 1310851 w 1596507"/>
                <a:gd name="connsiteY223" fmla="*/ 3576593 h 4862523"/>
                <a:gd name="connsiteX224" fmla="*/ 1296405 w 1596507"/>
                <a:gd name="connsiteY224" fmla="*/ 3561203 h 4862523"/>
                <a:gd name="connsiteX225" fmla="*/ 1281493 w 1596507"/>
                <a:gd name="connsiteY225" fmla="*/ 3546745 h 4862523"/>
                <a:gd name="connsiteX226" fmla="*/ 1249339 w 1596507"/>
                <a:gd name="connsiteY226" fmla="*/ 3520162 h 4862523"/>
                <a:gd name="connsiteX227" fmla="*/ 1215321 w 1596507"/>
                <a:gd name="connsiteY227" fmla="*/ 3496844 h 4862523"/>
                <a:gd name="connsiteX228" fmla="*/ 1178974 w 1596507"/>
                <a:gd name="connsiteY228" fmla="*/ 3477256 h 4862523"/>
                <a:gd name="connsiteX229" fmla="*/ 1141694 w 1596507"/>
                <a:gd name="connsiteY229" fmla="*/ 3461866 h 4862523"/>
                <a:gd name="connsiteX230" fmla="*/ 1102550 w 1596507"/>
                <a:gd name="connsiteY230" fmla="*/ 3449740 h 4862523"/>
                <a:gd name="connsiteX231" fmla="*/ 1062008 w 1596507"/>
                <a:gd name="connsiteY231" fmla="*/ 3441812 h 4862523"/>
                <a:gd name="connsiteX232" fmla="*/ 1021000 w 1596507"/>
                <a:gd name="connsiteY232" fmla="*/ 3437615 h 4862523"/>
                <a:gd name="connsiteX233" fmla="*/ 1000031 w 1596507"/>
                <a:gd name="connsiteY233" fmla="*/ 3436682 h 4862523"/>
                <a:gd name="connsiteX234" fmla="*/ 605331 w 1596507"/>
                <a:gd name="connsiteY234" fmla="*/ 3436682 h 4862523"/>
                <a:gd name="connsiteX235" fmla="*/ 574575 w 1596507"/>
                <a:gd name="connsiteY235" fmla="*/ 3436216 h 4862523"/>
                <a:gd name="connsiteX236" fmla="*/ 514927 w 1596507"/>
                <a:gd name="connsiteY236" fmla="*/ 3430153 h 4862523"/>
                <a:gd name="connsiteX237" fmla="*/ 456212 w 1596507"/>
                <a:gd name="connsiteY237" fmla="*/ 3418960 h 4862523"/>
                <a:gd name="connsiteX238" fmla="*/ 399826 w 1596507"/>
                <a:gd name="connsiteY238" fmla="*/ 3401704 h 4862523"/>
                <a:gd name="connsiteX239" fmla="*/ 346236 w 1596507"/>
                <a:gd name="connsiteY239" fmla="*/ 3379318 h 4862523"/>
                <a:gd name="connsiteX240" fmla="*/ 295443 w 1596507"/>
                <a:gd name="connsiteY240" fmla="*/ 3352269 h 4862523"/>
                <a:gd name="connsiteX241" fmla="*/ 247445 w 1596507"/>
                <a:gd name="connsiteY241" fmla="*/ 3320089 h 4862523"/>
                <a:gd name="connsiteX242" fmla="*/ 202709 w 1596507"/>
                <a:gd name="connsiteY242" fmla="*/ 3284645 h 4862523"/>
                <a:gd name="connsiteX243" fmla="*/ 161701 w 1596507"/>
                <a:gd name="connsiteY243" fmla="*/ 3244538 h 4862523"/>
                <a:gd name="connsiteX244" fmla="*/ 123956 w 1596507"/>
                <a:gd name="connsiteY244" fmla="*/ 3201165 h 4862523"/>
                <a:gd name="connsiteX245" fmla="*/ 91336 w 1596507"/>
                <a:gd name="connsiteY245" fmla="*/ 3154062 h 4862523"/>
                <a:gd name="connsiteX246" fmla="*/ 62910 w 1596507"/>
                <a:gd name="connsiteY246" fmla="*/ 3104626 h 4862523"/>
                <a:gd name="connsiteX247" fmla="*/ 39610 w 1596507"/>
                <a:gd name="connsiteY247" fmla="*/ 3051460 h 4862523"/>
                <a:gd name="connsiteX248" fmla="*/ 21436 w 1596507"/>
                <a:gd name="connsiteY248" fmla="*/ 2996429 h 4862523"/>
                <a:gd name="connsiteX249" fmla="*/ 7922 w 1596507"/>
                <a:gd name="connsiteY249" fmla="*/ 2938599 h 4862523"/>
                <a:gd name="connsiteX250" fmla="*/ 932 w 1596507"/>
                <a:gd name="connsiteY250" fmla="*/ 2879370 h 4862523"/>
                <a:gd name="connsiteX251" fmla="*/ 0 w 1596507"/>
                <a:gd name="connsiteY251" fmla="*/ 2849522 h 4862523"/>
                <a:gd name="connsiteX252" fmla="*/ 0 w 1596507"/>
                <a:gd name="connsiteY252" fmla="*/ 2819208 h 4862523"/>
                <a:gd name="connsiteX253" fmla="*/ 5126 w 1596507"/>
                <a:gd name="connsiteY253" fmla="*/ 2759979 h 4862523"/>
                <a:gd name="connsiteX254" fmla="*/ 15378 w 1596507"/>
                <a:gd name="connsiteY254" fmla="*/ 2701216 h 4862523"/>
                <a:gd name="connsiteX255" fmla="*/ 31688 w 1596507"/>
                <a:gd name="connsiteY255" fmla="*/ 2645252 h 4862523"/>
                <a:gd name="connsiteX256" fmla="*/ 53590 w 1596507"/>
                <a:gd name="connsiteY256" fmla="*/ 2590687 h 4862523"/>
                <a:gd name="connsiteX257" fmla="*/ 80618 w 1596507"/>
                <a:gd name="connsiteY257" fmla="*/ 2537987 h 4862523"/>
                <a:gd name="connsiteX258" fmla="*/ 113238 w 1596507"/>
                <a:gd name="connsiteY258" fmla="*/ 2488551 h 4862523"/>
                <a:gd name="connsiteX259" fmla="*/ 150517 w 1596507"/>
                <a:gd name="connsiteY259" fmla="*/ 2441914 h 4862523"/>
                <a:gd name="connsiteX260" fmla="*/ 171021 w 1596507"/>
                <a:gd name="connsiteY260" fmla="*/ 2419995 h 4862523"/>
                <a:gd name="connsiteX261" fmla="*/ 192923 w 1596507"/>
                <a:gd name="connsiteY261" fmla="*/ 2399008 h 4862523"/>
                <a:gd name="connsiteX262" fmla="*/ 238591 w 1596507"/>
                <a:gd name="connsiteY262" fmla="*/ 2360766 h 4862523"/>
                <a:gd name="connsiteX263" fmla="*/ 287521 w 1596507"/>
                <a:gd name="connsiteY263" fmla="*/ 2327654 h 4862523"/>
                <a:gd name="connsiteX264" fmla="*/ 339246 w 1596507"/>
                <a:gd name="connsiteY264" fmla="*/ 2299672 h 4862523"/>
                <a:gd name="connsiteX265" fmla="*/ 393302 w 1596507"/>
                <a:gd name="connsiteY265" fmla="*/ 2276819 h 4862523"/>
                <a:gd name="connsiteX266" fmla="*/ 449688 w 1596507"/>
                <a:gd name="connsiteY266" fmla="*/ 2260030 h 4862523"/>
                <a:gd name="connsiteX267" fmla="*/ 507471 w 1596507"/>
                <a:gd name="connsiteY267" fmla="*/ 2247904 h 4862523"/>
                <a:gd name="connsiteX268" fmla="*/ 566653 w 1596507"/>
                <a:gd name="connsiteY268" fmla="*/ 2242308 h 4862523"/>
                <a:gd name="connsiteX269" fmla="*/ 596943 w 1596507"/>
                <a:gd name="connsiteY269" fmla="*/ 2241842 h 4862523"/>
                <a:gd name="connsiteX270" fmla="*/ 991177 w 1596507"/>
                <a:gd name="connsiteY270" fmla="*/ 2241842 h 4862523"/>
                <a:gd name="connsiteX271" fmla="*/ 1013079 w 1596507"/>
                <a:gd name="connsiteY271" fmla="*/ 2241375 h 4862523"/>
                <a:gd name="connsiteX272" fmla="*/ 1054552 w 1596507"/>
                <a:gd name="connsiteY272" fmla="*/ 2237178 h 4862523"/>
                <a:gd name="connsiteX273" fmla="*/ 1096026 w 1596507"/>
                <a:gd name="connsiteY273" fmla="*/ 2229250 h 4862523"/>
                <a:gd name="connsiteX274" fmla="*/ 1135170 w 1596507"/>
                <a:gd name="connsiteY274" fmla="*/ 2217124 h 4862523"/>
                <a:gd name="connsiteX275" fmla="*/ 1173382 w 1596507"/>
                <a:gd name="connsiteY275" fmla="*/ 2201267 h 4862523"/>
                <a:gd name="connsiteX276" fmla="*/ 1208797 w 1596507"/>
                <a:gd name="connsiteY276" fmla="*/ 2182613 h 4862523"/>
                <a:gd name="connsiteX277" fmla="*/ 1242815 w 1596507"/>
                <a:gd name="connsiteY277" fmla="*/ 2160227 h 4862523"/>
                <a:gd name="connsiteX278" fmla="*/ 1274037 w 1596507"/>
                <a:gd name="connsiteY278" fmla="*/ 2135509 h 4862523"/>
                <a:gd name="connsiteX279" fmla="*/ 1302463 w 1596507"/>
                <a:gd name="connsiteY279" fmla="*/ 2107527 h 4862523"/>
                <a:gd name="connsiteX280" fmla="*/ 1328559 w 1596507"/>
                <a:gd name="connsiteY280" fmla="*/ 2077213 h 4862523"/>
                <a:gd name="connsiteX281" fmla="*/ 1351859 w 1596507"/>
                <a:gd name="connsiteY281" fmla="*/ 2044567 h 4862523"/>
                <a:gd name="connsiteX282" fmla="*/ 1371896 w 1596507"/>
                <a:gd name="connsiteY282" fmla="*/ 2009589 h 4862523"/>
                <a:gd name="connsiteX283" fmla="*/ 1388206 w 1596507"/>
                <a:gd name="connsiteY283" fmla="*/ 1972746 h 4862523"/>
                <a:gd name="connsiteX284" fmla="*/ 1400788 w 1596507"/>
                <a:gd name="connsiteY284" fmla="*/ 1934970 h 4862523"/>
                <a:gd name="connsiteX285" fmla="*/ 1410108 w 1596507"/>
                <a:gd name="connsiteY285" fmla="*/ 1894862 h 4862523"/>
                <a:gd name="connsiteX286" fmla="*/ 1414768 w 1596507"/>
                <a:gd name="connsiteY286" fmla="*/ 1853822 h 4862523"/>
                <a:gd name="connsiteX287" fmla="*/ 1415234 w 1596507"/>
                <a:gd name="connsiteY287" fmla="*/ 1832835 h 4862523"/>
                <a:gd name="connsiteX288" fmla="*/ 1416166 w 1596507"/>
                <a:gd name="connsiteY288" fmla="*/ 1811382 h 4862523"/>
                <a:gd name="connsiteX289" fmla="*/ 1412438 w 1596507"/>
                <a:gd name="connsiteY289" fmla="*/ 1769875 h 4862523"/>
                <a:gd name="connsiteX290" fmla="*/ 1404982 w 1596507"/>
                <a:gd name="connsiteY290" fmla="*/ 1729301 h 4862523"/>
                <a:gd name="connsiteX291" fmla="*/ 1393798 w 1596507"/>
                <a:gd name="connsiteY291" fmla="*/ 1690126 h 4862523"/>
                <a:gd name="connsiteX292" fmla="*/ 1378420 w 1596507"/>
                <a:gd name="connsiteY292" fmla="*/ 1651883 h 4862523"/>
                <a:gd name="connsiteX293" fmla="*/ 1359315 w 1596507"/>
                <a:gd name="connsiteY293" fmla="*/ 1615506 h 4862523"/>
                <a:gd name="connsiteX294" fmla="*/ 1336947 w 1596507"/>
                <a:gd name="connsiteY294" fmla="*/ 1580995 h 4862523"/>
                <a:gd name="connsiteX295" fmla="*/ 1310851 w 1596507"/>
                <a:gd name="connsiteY295" fmla="*/ 1548349 h 4862523"/>
                <a:gd name="connsiteX296" fmla="*/ 1296405 w 1596507"/>
                <a:gd name="connsiteY296" fmla="*/ 1533425 h 4862523"/>
                <a:gd name="connsiteX297" fmla="*/ 1281493 w 1596507"/>
                <a:gd name="connsiteY297" fmla="*/ 1518968 h 4862523"/>
                <a:gd name="connsiteX298" fmla="*/ 1249339 w 1596507"/>
                <a:gd name="connsiteY298" fmla="*/ 1492385 h 4862523"/>
                <a:gd name="connsiteX299" fmla="*/ 1215321 w 1596507"/>
                <a:gd name="connsiteY299" fmla="*/ 1468600 h 4862523"/>
                <a:gd name="connsiteX300" fmla="*/ 1178974 w 1596507"/>
                <a:gd name="connsiteY300" fmla="*/ 1449479 h 4862523"/>
                <a:gd name="connsiteX301" fmla="*/ 1141694 w 1596507"/>
                <a:gd name="connsiteY301" fmla="*/ 1433622 h 4862523"/>
                <a:gd name="connsiteX302" fmla="*/ 1102550 w 1596507"/>
                <a:gd name="connsiteY302" fmla="*/ 1421496 h 4862523"/>
                <a:gd name="connsiteX303" fmla="*/ 1062008 w 1596507"/>
                <a:gd name="connsiteY303" fmla="*/ 1413568 h 4862523"/>
                <a:gd name="connsiteX304" fmla="*/ 1021000 w 1596507"/>
                <a:gd name="connsiteY304" fmla="*/ 1409371 h 4862523"/>
                <a:gd name="connsiteX305" fmla="*/ 1000031 w 1596507"/>
                <a:gd name="connsiteY305" fmla="*/ 1408904 h 4862523"/>
                <a:gd name="connsiteX306" fmla="*/ 605331 w 1596507"/>
                <a:gd name="connsiteY306" fmla="*/ 1408904 h 4862523"/>
                <a:gd name="connsiteX307" fmla="*/ 574575 w 1596507"/>
                <a:gd name="connsiteY307" fmla="*/ 1408438 h 4862523"/>
                <a:gd name="connsiteX308" fmla="*/ 514927 w 1596507"/>
                <a:gd name="connsiteY308" fmla="*/ 1402375 h 4862523"/>
                <a:gd name="connsiteX309" fmla="*/ 456212 w 1596507"/>
                <a:gd name="connsiteY309" fmla="*/ 1390716 h 4862523"/>
                <a:gd name="connsiteX310" fmla="*/ 399826 w 1596507"/>
                <a:gd name="connsiteY310" fmla="*/ 1373927 h 4862523"/>
                <a:gd name="connsiteX311" fmla="*/ 346236 w 1596507"/>
                <a:gd name="connsiteY311" fmla="*/ 1351541 h 4862523"/>
                <a:gd name="connsiteX312" fmla="*/ 295443 w 1596507"/>
                <a:gd name="connsiteY312" fmla="*/ 1324025 h 4862523"/>
                <a:gd name="connsiteX313" fmla="*/ 247445 w 1596507"/>
                <a:gd name="connsiteY313" fmla="*/ 1292312 h 4862523"/>
                <a:gd name="connsiteX314" fmla="*/ 202709 w 1596507"/>
                <a:gd name="connsiteY314" fmla="*/ 1256401 h 4862523"/>
                <a:gd name="connsiteX315" fmla="*/ 161701 w 1596507"/>
                <a:gd name="connsiteY315" fmla="*/ 1216760 h 4862523"/>
                <a:gd name="connsiteX316" fmla="*/ 123956 w 1596507"/>
                <a:gd name="connsiteY316" fmla="*/ 1172921 h 4862523"/>
                <a:gd name="connsiteX317" fmla="*/ 91336 w 1596507"/>
                <a:gd name="connsiteY317" fmla="*/ 1125818 h 4862523"/>
                <a:gd name="connsiteX318" fmla="*/ 62910 w 1596507"/>
                <a:gd name="connsiteY318" fmla="*/ 1076382 h 4862523"/>
                <a:gd name="connsiteX319" fmla="*/ 39610 w 1596507"/>
                <a:gd name="connsiteY319" fmla="*/ 1023216 h 4862523"/>
                <a:gd name="connsiteX320" fmla="*/ 21436 w 1596507"/>
                <a:gd name="connsiteY320" fmla="*/ 968185 h 4862523"/>
                <a:gd name="connsiteX321" fmla="*/ 7922 w 1596507"/>
                <a:gd name="connsiteY321" fmla="*/ 910821 h 4862523"/>
                <a:gd name="connsiteX322" fmla="*/ 932 w 1596507"/>
                <a:gd name="connsiteY322" fmla="*/ 851592 h 4862523"/>
                <a:gd name="connsiteX323" fmla="*/ 0 w 1596507"/>
                <a:gd name="connsiteY323" fmla="*/ 821278 h 4862523"/>
                <a:gd name="connsiteX324" fmla="*/ 0 w 1596507"/>
                <a:gd name="connsiteY324" fmla="*/ 790964 h 4862523"/>
                <a:gd name="connsiteX325" fmla="*/ 5126 w 1596507"/>
                <a:gd name="connsiteY325" fmla="*/ 731735 h 4862523"/>
                <a:gd name="connsiteX326" fmla="*/ 15378 w 1596507"/>
                <a:gd name="connsiteY326" fmla="*/ 673439 h 4862523"/>
                <a:gd name="connsiteX327" fmla="*/ 31688 w 1596507"/>
                <a:gd name="connsiteY327" fmla="*/ 617008 h 4862523"/>
                <a:gd name="connsiteX328" fmla="*/ 53590 w 1596507"/>
                <a:gd name="connsiteY328" fmla="*/ 562442 h 4862523"/>
                <a:gd name="connsiteX329" fmla="*/ 80618 w 1596507"/>
                <a:gd name="connsiteY329" fmla="*/ 510209 h 4862523"/>
                <a:gd name="connsiteX330" fmla="*/ 113238 w 1596507"/>
                <a:gd name="connsiteY330" fmla="*/ 460307 h 4862523"/>
                <a:gd name="connsiteX331" fmla="*/ 150517 w 1596507"/>
                <a:gd name="connsiteY331" fmla="*/ 414137 h 4862523"/>
                <a:gd name="connsiteX332" fmla="*/ 171021 w 1596507"/>
                <a:gd name="connsiteY332" fmla="*/ 392217 h 4862523"/>
                <a:gd name="connsiteX333" fmla="*/ 192923 w 1596507"/>
                <a:gd name="connsiteY333" fmla="*/ 370764 h 4862523"/>
                <a:gd name="connsiteX334" fmla="*/ 238591 w 1596507"/>
                <a:gd name="connsiteY334" fmla="*/ 332988 h 4862523"/>
                <a:gd name="connsiteX335" fmla="*/ 287521 w 1596507"/>
                <a:gd name="connsiteY335" fmla="*/ 299876 h 4862523"/>
                <a:gd name="connsiteX336" fmla="*/ 339246 w 1596507"/>
                <a:gd name="connsiteY336" fmla="*/ 271894 h 4862523"/>
                <a:gd name="connsiteX337" fmla="*/ 393302 w 1596507"/>
                <a:gd name="connsiteY337" fmla="*/ 249042 h 4862523"/>
                <a:gd name="connsiteX338" fmla="*/ 449688 w 1596507"/>
                <a:gd name="connsiteY338" fmla="*/ 231786 h 4862523"/>
                <a:gd name="connsiteX339" fmla="*/ 507471 w 1596507"/>
                <a:gd name="connsiteY339" fmla="*/ 219660 h 4862523"/>
                <a:gd name="connsiteX340" fmla="*/ 566653 w 1596507"/>
                <a:gd name="connsiteY340" fmla="*/ 214530 h 4862523"/>
                <a:gd name="connsiteX341" fmla="*/ 596943 w 1596507"/>
                <a:gd name="connsiteY341" fmla="*/ 213598 h 4862523"/>
                <a:gd name="connsiteX342" fmla="*/ 798720 w 1596507"/>
                <a:gd name="connsiteY342" fmla="*/ 213598 h 4862523"/>
                <a:gd name="connsiteX343" fmla="*/ 809438 w 1596507"/>
                <a:gd name="connsiteY343" fmla="*/ 213131 h 4862523"/>
                <a:gd name="connsiteX344" fmla="*/ 831340 w 1596507"/>
                <a:gd name="connsiteY344" fmla="*/ 208934 h 4862523"/>
                <a:gd name="connsiteX345" fmla="*/ 851377 w 1596507"/>
                <a:gd name="connsiteY345" fmla="*/ 200539 h 4862523"/>
                <a:gd name="connsiteX346" fmla="*/ 868619 w 1596507"/>
                <a:gd name="connsiteY346" fmla="*/ 188414 h 4862523"/>
                <a:gd name="connsiteX347" fmla="*/ 883997 w 1596507"/>
                <a:gd name="connsiteY347" fmla="*/ 173490 h 4862523"/>
                <a:gd name="connsiteX348" fmla="*/ 896113 w 1596507"/>
                <a:gd name="connsiteY348" fmla="*/ 155768 h 4862523"/>
                <a:gd name="connsiteX349" fmla="*/ 904501 w 1596507"/>
                <a:gd name="connsiteY349" fmla="*/ 135714 h 4862523"/>
                <a:gd name="connsiteX350" fmla="*/ 908695 w 1596507"/>
                <a:gd name="connsiteY350" fmla="*/ 114261 h 4862523"/>
                <a:gd name="connsiteX351" fmla="*/ 909161 w 1596507"/>
                <a:gd name="connsiteY351" fmla="*/ 102601 h 4862523"/>
                <a:gd name="connsiteX352" fmla="*/ 909161 w 1596507"/>
                <a:gd name="connsiteY352" fmla="*/ 0 h 486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1596507" h="4862523">
                  <a:moveTo>
                    <a:pt x="909161" y="0"/>
                  </a:moveTo>
                  <a:lnTo>
                    <a:pt x="1090434" y="0"/>
                  </a:lnTo>
                  <a:lnTo>
                    <a:pt x="1090434" y="102601"/>
                  </a:lnTo>
                  <a:lnTo>
                    <a:pt x="1089968" y="117525"/>
                  </a:lnTo>
                  <a:lnTo>
                    <a:pt x="1086706" y="147373"/>
                  </a:lnTo>
                  <a:lnTo>
                    <a:pt x="1081580" y="175822"/>
                  </a:lnTo>
                  <a:lnTo>
                    <a:pt x="1072726" y="203337"/>
                  </a:lnTo>
                  <a:lnTo>
                    <a:pt x="1055484" y="242046"/>
                  </a:lnTo>
                  <a:lnTo>
                    <a:pt x="1023796" y="288683"/>
                  </a:lnTo>
                  <a:lnTo>
                    <a:pt x="984187" y="328791"/>
                  </a:lnTo>
                  <a:lnTo>
                    <a:pt x="937587" y="360038"/>
                  </a:lnTo>
                  <a:lnTo>
                    <a:pt x="898909" y="377760"/>
                  </a:lnTo>
                  <a:lnTo>
                    <a:pt x="870949" y="386155"/>
                  </a:lnTo>
                  <a:lnTo>
                    <a:pt x="842989" y="391751"/>
                  </a:lnTo>
                  <a:lnTo>
                    <a:pt x="813166" y="394549"/>
                  </a:lnTo>
                  <a:lnTo>
                    <a:pt x="798720" y="395016"/>
                  </a:lnTo>
                  <a:lnTo>
                    <a:pt x="596943" y="395016"/>
                  </a:lnTo>
                  <a:lnTo>
                    <a:pt x="576439" y="395016"/>
                  </a:lnTo>
                  <a:lnTo>
                    <a:pt x="534965" y="399213"/>
                  </a:lnTo>
                  <a:lnTo>
                    <a:pt x="494423" y="407141"/>
                  </a:lnTo>
                  <a:lnTo>
                    <a:pt x="454814" y="419267"/>
                  </a:lnTo>
                  <a:lnTo>
                    <a:pt x="417534" y="435123"/>
                  </a:lnTo>
                  <a:lnTo>
                    <a:pt x="381186" y="455177"/>
                  </a:lnTo>
                  <a:lnTo>
                    <a:pt x="347634" y="478029"/>
                  </a:lnTo>
                  <a:lnTo>
                    <a:pt x="315480" y="504613"/>
                  </a:lnTo>
                  <a:lnTo>
                    <a:pt x="300569" y="519536"/>
                  </a:lnTo>
                  <a:lnTo>
                    <a:pt x="286123" y="534927"/>
                  </a:lnTo>
                  <a:lnTo>
                    <a:pt x="260027" y="566640"/>
                  </a:lnTo>
                  <a:lnTo>
                    <a:pt x="237659" y="601151"/>
                  </a:lnTo>
                  <a:lnTo>
                    <a:pt x="218087" y="637994"/>
                  </a:lnTo>
                  <a:lnTo>
                    <a:pt x="203175" y="675770"/>
                  </a:lnTo>
                  <a:lnTo>
                    <a:pt x="192457" y="715412"/>
                  </a:lnTo>
                  <a:lnTo>
                    <a:pt x="184535" y="755986"/>
                  </a:lnTo>
                  <a:lnTo>
                    <a:pt x="181273" y="797027"/>
                  </a:lnTo>
                  <a:lnTo>
                    <a:pt x="181273" y="818480"/>
                  </a:lnTo>
                  <a:lnTo>
                    <a:pt x="182205" y="839466"/>
                  </a:lnTo>
                  <a:lnTo>
                    <a:pt x="186865" y="880507"/>
                  </a:lnTo>
                  <a:lnTo>
                    <a:pt x="195719" y="920615"/>
                  </a:lnTo>
                  <a:lnTo>
                    <a:pt x="208767" y="959324"/>
                  </a:lnTo>
                  <a:lnTo>
                    <a:pt x="225543" y="996167"/>
                  </a:lnTo>
                  <a:lnTo>
                    <a:pt x="245581" y="1030678"/>
                  </a:lnTo>
                  <a:lnTo>
                    <a:pt x="268415" y="1063324"/>
                  </a:lnTo>
                  <a:lnTo>
                    <a:pt x="294511" y="1093172"/>
                  </a:lnTo>
                  <a:lnTo>
                    <a:pt x="323402" y="1121154"/>
                  </a:lnTo>
                  <a:lnTo>
                    <a:pt x="354158" y="1146338"/>
                  </a:lnTo>
                  <a:lnTo>
                    <a:pt x="388176" y="1168257"/>
                  </a:lnTo>
                  <a:lnTo>
                    <a:pt x="424058" y="1187845"/>
                  </a:lnTo>
                  <a:lnTo>
                    <a:pt x="461804" y="1202769"/>
                  </a:lnTo>
                  <a:lnTo>
                    <a:pt x="500947" y="1214894"/>
                  </a:lnTo>
                  <a:lnTo>
                    <a:pt x="541955" y="1223289"/>
                  </a:lnTo>
                  <a:lnTo>
                    <a:pt x="584361" y="1227486"/>
                  </a:lnTo>
                  <a:lnTo>
                    <a:pt x="605331" y="1227486"/>
                  </a:lnTo>
                  <a:lnTo>
                    <a:pt x="1000031" y="1227486"/>
                  </a:lnTo>
                  <a:lnTo>
                    <a:pt x="1029854" y="1227953"/>
                  </a:lnTo>
                  <a:lnTo>
                    <a:pt x="1089036" y="1234016"/>
                  </a:lnTo>
                  <a:lnTo>
                    <a:pt x="1147286" y="1245675"/>
                  </a:lnTo>
                  <a:lnTo>
                    <a:pt x="1203205" y="1263397"/>
                  </a:lnTo>
                  <a:lnTo>
                    <a:pt x="1257727" y="1285783"/>
                  </a:lnTo>
                  <a:lnTo>
                    <a:pt x="1308987" y="1313299"/>
                  </a:lnTo>
                  <a:lnTo>
                    <a:pt x="1357917" y="1346411"/>
                  </a:lnTo>
                  <a:lnTo>
                    <a:pt x="1404050" y="1385120"/>
                  </a:lnTo>
                  <a:lnTo>
                    <a:pt x="1425486" y="1406573"/>
                  </a:lnTo>
                  <a:lnTo>
                    <a:pt x="1445990" y="1428026"/>
                  </a:lnTo>
                  <a:lnTo>
                    <a:pt x="1483736" y="1474663"/>
                  </a:lnTo>
                  <a:lnTo>
                    <a:pt x="1516356" y="1524564"/>
                  </a:lnTo>
                  <a:lnTo>
                    <a:pt x="1543383" y="1576331"/>
                  </a:lnTo>
                  <a:lnTo>
                    <a:pt x="1565285" y="1630897"/>
                  </a:lnTo>
                  <a:lnTo>
                    <a:pt x="1581595" y="1687327"/>
                  </a:lnTo>
                  <a:lnTo>
                    <a:pt x="1591847" y="1745624"/>
                  </a:lnTo>
                  <a:lnTo>
                    <a:pt x="1596507" y="1805319"/>
                  </a:lnTo>
                  <a:lnTo>
                    <a:pt x="1596507" y="1835633"/>
                  </a:lnTo>
                  <a:lnTo>
                    <a:pt x="1596041" y="1865947"/>
                  </a:lnTo>
                  <a:lnTo>
                    <a:pt x="1588585" y="1925176"/>
                  </a:lnTo>
                  <a:lnTo>
                    <a:pt x="1576003" y="1982540"/>
                  </a:lnTo>
                  <a:lnTo>
                    <a:pt x="1557363" y="2037571"/>
                  </a:lnTo>
                  <a:lnTo>
                    <a:pt x="1533598" y="2090271"/>
                  </a:lnTo>
                  <a:lnTo>
                    <a:pt x="1505172" y="2140173"/>
                  </a:lnTo>
                  <a:lnTo>
                    <a:pt x="1472552" y="2186810"/>
                  </a:lnTo>
                  <a:lnTo>
                    <a:pt x="1435272" y="2230182"/>
                  </a:lnTo>
                  <a:lnTo>
                    <a:pt x="1394264" y="2270290"/>
                  </a:lnTo>
                  <a:lnTo>
                    <a:pt x="1349529" y="2306667"/>
                  </a:lnTo>
                  <a:lnTo>
                    <a:pt x="1301997" y="2337914"/>
                  </a:lnTo>
                  <a:lnTo>
                    <a:pt x="1250271" y="2364963"/>
                  </a:lnTo>
                  <a:lnTo>
                    <a:pt x="1196681" y="2387349"/>
                  </a:lnTo>
                  <a:lnTo>
                    <a:pt x="1140762" y="2404605"/>
                  </a:lnTo>
                  <a:lnTo>
                    <a:pt x="1082046" y="2416730"/>
                  </a:lnTo>
                  <a:lnTo>
                    <a:pt x="1021932" y="2422793"/>
                  </a:lnTo>
                  <a:lnTo>
                    <a:pt x="991177" y="2423260"/>
                  </a:lnTo>
                  <a:lnTo>
                    <a:pt x="596943" y="2423260"/>
                  </a:lnTo>
                  <a:lnTo>
                    <a:pt x="576439" y="2423260"/>
                  </a:lnTo>
                  <a:lnTo>
                    <a:pt x="534965" y="2427457"/>
                  </a:lnTo>
                  <a:lnTo>
                    <a:pt x="494423" y="2435852"/>
                  </a:lnTo>
                  <a:lnTo>
                    <a:pt x="454814" y="2447511"/>
                  </a:lnTo>
                  <a:lnTo>
                    <a:pt x="417534" y="2463834"/>
                  </a:lnTo>
                  <a:lnTo>
                    <a:pt x="381186" y="2482955"/>
                  </a:lnTo>
                  <a:lnTo>
                    <a:pt x="347634" y="2505807"/>
                  </a:lnTo>
                  <a:lnTo>
                    <a:pt x="315480" y="2532390"/>
                  </a:lnTo>
                  <a:lnTo>
                    <a:pt x="300569" y="2547780"/>
                  </a:lnTo>
                  <a:lnTo>
                    <a:pt x="286123" y="2562704"/>
                  </a:lnTo>
                  <a:lnTo>
                    <a:pt x="260027" y="2594884"/>
                  </a:lnTo>
                  <a:lnTo>
                    <a:pt x="237659" y="2629862"/>
                  </a:lnTo>
                  <a:lnTo>
                    <a:pt x="218087" y="2666238"/>
                  </a:lnTo>
                  <a:lnTo>
                    <a:pt x="203175" y="2704481"/>
                  </a:lnTo>
                  <a:lnTo>
                    <a:pt x="192457" y="2743656"/>
                  </a:lnTo>
                  <a:lnTo>
                    <a:pt x="184535" y="2784230"/>
                  </a:lnTo>
                  <a:lnTo>
                    <a:pt x="181273" y="2825737"/>
                  </a:lnTo>
                  <a:lnTo>
                    <a:pt x="181273" y="2846257"/>
                  </a:lnTo>
                  <a:lnTo>
                    <a:pt x="182205" y="2867710"/>
                  </a:lnTo>
                  <a:lnTo>
                    <a:pt x="186865" y="2908751"/>
                  </a:lnTo>
                  <a:lnTo>
                    <a:pt x="195719" y="2948392"/>
                  </a:lnTo>
                  <a:lnTo>
                    <a:pt x="208767" y="2987101"/>
                  </a:lnTo>
                  <a:lnTo>
                    <a:pt x="225543" y="3023944"/>
                  </a:lnTo>
                  <a:lnTo>
                    <a:pt x="245581" y="3058456"/>
                  </a:lnTo>
                  <a:lnTo>
                    <a:pt x="268415" y="3091102"/>
                  </a:lnTo>
                  <a:lnTo>
                    <a:pt x="294511" y="3121416"/>
                  </a:lnTo>
                  <a:lnTo>
                    <a:pt x="323402" y="3149398"/>
                  </a:lnTo>
                  <a:lnTo>
                    <a:pt x="354158" y="3174582"/>
                  </a:lnTo>
                  <a:lnTo>
                    <a:pt x="388176" y="3196501"/>
                  </a:lnTo>
                  <a:lnTo>
                    <a:pt x="424058" y="3215623"/>
                  </a:lnTo>
                  <a:lnTo>
                    <a:pt x="461804" y="3230546"/>
                  </a:lnTo>
                  <a:lnTo>
                    <a:pt x="500947" y="3242672"/>
                  </a:lnTo>
                  <a:lnTo>
                    <a:pt x="541955" y="3251533"/>
                  </a:lnTo>
                  <a:lnTo>
                    <a:pt x="584361" y="3255730"/>
                  </a:lnTo>
                  <a:lnTo>
                    <a:pt x="605331" y="3255730"/>
                  </a:lnTo>
                  <a:lnTo>
                    <a:pt x="1000031" y="3255730"/>
                  </a:lnTo>
                  <a:lnTo>
                    <a:pt x="1029854" y="3256197"/>
                  </a:lnTo>
                  <a:lnTo>
                    <a:pt x="1089036" y="3262260"/>
                  </a:lnTo>
                  <a:lnTo>
                    <a:pt x="1147286" y="3273919"/>
                  </a:lnTo>
                  <a:lnTo>
                    <a:pt x="1203205" y="3291175"/>
                  </a:lnTo>
                  <a:lnTo>
                    <a:pt x="1257727" y="3313560"/>
                  </a:lnTo>
                  <a:lnTo>
                    <a:pt x="1308987" y="3341543"/>
                  </a:lnTo>
                  <a:lnTo>
                    <a:pt x="1357917" y="3374655"/>
                  </a:lnTo>
                  <a:lnTo>
                    <a:pt x="1404050" y="3413364"/>
                  </a:lnTo>
                  <a:lnTo>
                    <a:pt x="1425486" y="3434350"/>
                  </a:lnTo>
                  <a:lnTo>
                    <a:pt x="1445990" y="3456270"/>
                  </a:lnTo>
                  <a:lnTo>
                    <a:pt x="1483736" y="3502907"/>
                  </a:lnTo>
                  <a:lnTo>
                    <a:pt x="1516356" y="3552342"/>
                  </a:lnTo>
                  <a:lnTo>
                    <a:pt x="1543383" y="3604109"/>
                  </a:lnTo>
                  <a:lnTo>
                    <a:pt x="1565285" y="3658674"/>
                  </a:lnTo>
                  <a:lnTo>
                    <a:pt x="1581595" y="3715571"/>
                  </a:lnTo>
                  <a:lnTo>
                    <a:pt x="1591847" y="3773401"/>
                  </a:lnTo>
                  <a:lnTo>
                    <a:pt x="1596507" y="3833563"/>
                  </a:lnTo>
                  <a:lnTo>
                    <a:pt x="1596507" y="3863877"/>
                  </a:lnTo>
                  <a:lnTo>
                    <a:pt x="1596041" y="3893725"/>
                  </a:lnTo>
                  <a:lnTo>
                    <a:pt x="1588585" y="3952954"/>
                  </a:lnTo>
                  <a:lnTo>
                    <a:pt x="1576003" y="4010317"/>
                  </a:lnTo>
                  <a:lnTo>
                    <a:pt x="1557363" y="4065349"/>
                  </a:lnTo>
                  <a:lnTo>
                    <a:pt x="1533598" y="4118049"/>
                  </a:lnTo>
                  <a:lnTo>
                    <a:pt x="1505172" y="4168417"/>
                  </a:lnTo>
                  <a:lnTo>
                    <a:pt x="1472552" y="4215054"/>
                  </a:lnTo>
                  <a:lnTo>
                    <a:pt x="1435272" y="4258426"/>
                  </a:lnTo>
                  <a:lnTo>
                    <a:pt x="1394264" y="4298068"/>
                  </a:lnTo>
                  <a:lnTo>
                    <a:pt x="1349529" y="4334445"/>
                  </a:lnTo>
                  <a:lnTo>
                    <a:pt x="1301997" y="4366158"/>
                  </a:lnTo>
                  <a:lnTo>
                    <a:pt x="1250271" y="4393207"/>
                  </a:lnTo>
                  <a:lnTo>
                    <a:pt x="1196681" y="4415593"/>
                  </a:lnTo>
                  <a:lnTo>
                    <a:pt x="1140762" y="4432849"/>
                  </a:lnTo>
                  <a:lnTo>
                    <a:pt x="1082046" y="4444508"/>
                  </a:lnTo>
                  <a:lnTo>
                    <a:pt x="1021932" y="4450571"/>
                  </a:lnTo>
                  <a:lnTo>
                    <a:pt x="991177" y="4451037"/>
                  </a:lnTo>
                  <a:lnTo>
                    <a:pt x="596943" y="4451037"/>
                  </a:lnTo>
                  <a:lnTo>
                    <a:pt x="576439" y="4451037"/>
                  </a:lnTo>
                  <a:lnTo>
                    <a:pt x="534965" y="4455235"/>
                  </a:lnTo>
                  <a:lnTo>
                    <a:pt x="494423" y="4464096"/>
                  </a:lnTo>
                  <a:lnTo>
                    <a:pt x="454814" y="4475289"/>
                  </a:lnTo>
                  <a:lnTo>
                    <a:pt x="417534" y="4491612"/>
                  </a:lnTo>
                  <a:lnTo>
                    <a:pt x="381186" y="4511199"/>
                  </a:lnTo>
                  <a:lnTo>
                    <a:pt x="347634" y="4534051"/>
                  </a:lnTo>
                  <a:lnTo>
                    <a:pt x="315480" y="4560634"/>
                  </a:lnTo>
                  <a:lnTo>
                    <a:pt x="300569" y="4575558"/>
                  </a:lnTo>
                  <a:lnTo>
                    <a:pt x="286123" y="4590948"/>
                  </a:lnTo>
                  <a:lnTo>
                    <a:pt x="260027" y="4622662"/>
                  </a:lnTo>
                  <a:lnTo>
                    <a:pt x="237659" y="4658106"/>
                  </a:lnTo>
                  <a:lnTo>
                    <a:pt x="218087" y="4694016"/>
                  </a:lnTo>
                  <a:lnTo>
                    <a:pt x="203175" y="4732259"/>
                  </a:lnTo>
                  <a:lnTo>
                    <a:pt x="192457" y="4771434"/>
                  </a:lnTo>
                  <a:lnTo>
                    <a:pt x="184535" y="4812008"/>
                  </a:lnTo>
                  <a:lnTo>
                    <a:pt x="181273" y="4853981"/>
                  </a:lnTo>
                  <a:lnTo>
                    <a:pt x="181273" y="4862523"/>
                  </a:lnTo>
                  <a:lnTo>
                    <a:pt x="0" y="4862523"/>
                  </a:lnTo>
                  <a:lnTo>
                    <a:pt x="0" y="4846986"/>
                  </a:lnTo>
                  <a:lnTo>
                    <a:pt x="5126" y="4787757"/>
                  </a:lnTo>
                  <a:lnTo>
                    <a:pt x="15378" y="4729460"/>
                  </a:lnTo>
                  <a:lnTo>
                    <a:pt x="31688" y="4673030"/>
                  </a:lnTo>
                  <a:lnTo>
                    <a:pt x="53590" y="4618464"/>
                  </a:lnTo>
                  <a:lnTo>
                    <a:pt x="80618" y="4566231"/>
                  </a:lnTo>
                  <a:lnTo>
                    <a:pt x="113238" y="4516329"/>
                  </a:lnTo>
                  <a:lnTo>
                    <a:pt x="150517" y="4470625"/>
                  </a:lnTo>
                  <a:lnTo>
                    <a:pt x="171021" y="4448239"/>
                  </a:lnTo>
                  <a:lnTo>
                    <a:pt x="192923" y="4427252"/>
                  </a:lnTo>
                  <a:lnTo>
                    <a:pt x="238591" y="4389010"/>
                  </a:lnTo>
                  <a:lnTo>
                    <a:pt x="287521" y="4355898"/>
                  </a:lnTo>
                  <a:lnTo>
                    <a:pt x="339246" y="4327916"/>
                  </a:lnTo>
                  <a:lnTo>
                    <a:pt x="393302" y="4305063"/>
                  </a:lnTo>
                  <a:lnTo>
                    <a:pt x="449688" y="4287808"/>
                  </a:lnTo>
                  <a:lnTo>
                    <a:pt x="507471" y="4275682"/>
                  </a:lnTo>
                  <a:lnTo>
                    <a:pt x="566653" y="4270552"/>
                  </a:lnTo>
                  <a:lnTo>
                    <a:pt x="596943" y="4270086"/>
                  </a:lnTo>
                  <a:lnTo>
                    <a:pt x="991177" y="4270086"/>
                  </a:lnTo>
                  <a:lnTo>
                    <a:pt x="1013079" y="4269153"/>
                  </a:lnTo>
                  <a:lnTo>
                    <a:pt x="1054552" y="4264956"/>
                  </a:lnTo>
                  <a:lnTo>
                    <a:pt x="1096026" y="4257027"/>
                  </a:lnTo>
                  <a:lnTo>
                    <a:pt x="1135170" y="4244902"/>
                  </a:lnTo>
                  <a:lnTo>
                    <a:pt x="1173382" y="4229511"/>
                  </a:lnTo>
                  <a:lnTo>
                    <a:pt x="1208797" y="4210857"/>
                  </a:lnTo>
                  <a:lnTo>
                    <a:pt x="1242815" y="4188471"/>
                  </a:lnTo>
                  <a:lnTo>
                    <a:pt x="1274037" y="4163287"/>
                  </a:lnTo>
                  <a:lnTo>
                    <a:pt x="1302463" y="4135771"/>
                  </a:lnTo>
                  <a:lnTo>
                    <a:pt x="1328559" y="4105457"/>
                  </a:lnTo>
                  <a:lnTo>
                    <a:pt x="1351859" y="4072811"/>
                  </a:lnTo>
                  <a:lnTo>
                    <a:pt x="1371896" y="4037833"/>
                  </a:lnTo>
                  <a:lnTo>
                    <a:pt x="1388206" y="4001456"/>
                  </a:lnTo>
                  <a:lnTo>
                    <a:pt x="1400788" y="3962748"/>
                  </a:lnTo>
                  <a:lnTo>
                    <a:pt x="1410108" y="3923106"/>
                  </a:lnTo>
                  <a:lnTo>
                    <a:pt x="1414768" y="3881599"/>
                  </a:lnTo>
                  <a:lnTo>
                    <a:pt x="1415234" y="3860613"/>
                  </a:lnTo>
                  <a:lnTo>
                    <a:pt x="1416166" y="3839626"/>
                  </a:lnTo>
                  <a:lnTo>
                    <a:pt x="1412438" y="3797653"/>
                  </a:lnTo>
                  <a:lnTo>
                    <a:pt x="1404982" y="3757078"/>
                  </a:lnTo>
                  <a:lnTo>
                    <a:pt x="1393798" y="3717903"/>
                  </a:lnTo>
                  <a:lnTo>
                    <a:pt x="1378420" y="3680127"/>
                  </a:lnTo>
                  <a:lnTo>
                    <a:pt x="1359315" y="3643750"/>
                  </a:lnTo>
                  <a:lnTo>
                    <a:pt x="1336947" y="3609239"/>
                  </a:lnTo>
                  <a:lnTo>
                    <a:pt x="1310851" y="3576593"/>
                  </a:lnTo>
                  <a:lnTo>
                    <a:pt x="1296405" y="3561203"/>
                  </a:lnTo>
                  <a:lnTo>
                    <a:pt x="1281493" y="3546745"/>
                  </a:lnTo>
                  <a:lnTo>
                    <a:pt x="1249339" y="3520162"/>
                  </a:lnTo>
                  <a:lnTo>
                    <a:pt x="1215321" y="3496844"/>
                  </a:lnTo>
                  <a:lnTo>
                    <a:pt x="1178974" y="3477256"/>
                  </a:lnTo>
                  <a:lnTo>
                    <a:pt x="1141694" y="3461866"/>
                  </a:lnTo>
                  <a:lnTo>
                    <a:pt x="1102550" y="3449740"/>
                  </a:lnTo>
                  <a:lnTo>
                    <a:pt x="1062008" y="3441812"/>
                  </a:lnTo>
                  <a:lnTo>
                    <a:pt x="1021000" y="3437615"/>
                  </a:lnTo>
                  <a:lnTo>
                    <a:pt x="1000031" y="3436682"/>
                  </a:lnTo>
                  <a:lnTo>
                    <a:pt x="605331" y="3436682"/>
                  </a:lnTo>
                  <a:lnTo>
                    <a:pt x="574575" y="3436216"/>
                  </a:lnTo>
                  <a:lnTo>
                    <a:pt x="514927" y="3430153"/>
                  </a:lnTo>
                  <a:lnTo>
                    <a:pt x="456212" y="3418960"/>
                  </a:lnTo>
                  <a:lnTo>
                    <a:pt x="399826" y="3401704"/>
                  </a:lnTo>
                  <a:lnTo>
                    <a:pt x="346236" y="3379318"/>
                  </a:lnTo>
                  <a:lnTo>
                    <a:pt x="295443" y="3352269"/>
                  </a:lnTo>
                  <a:lnTo>
                    <a:pt x="247445" y="3320089"/>
                  </a:lnTo>
                  <a:lnTo>
                    <a:pt x="202709" y="3284645"/>
                  </a:lnTo>
                  <a:lnTo>
                    <a:pt x="161701" y="3244538"/>
                  </a:lnTo>
                  <a:lnTo>
                    <a:pt x="123956" y="3201165"/>
                  </a:lnTo>
                  <a:lnTo>
                    <a:pt x="91336" y="3154062"/>
                  </a:lnTo>
                  <a:lnTo>
                    <a:pt x="62910" y="3104626"/>
                  </a:lnTo>
                  <a:lnTo>
                    <a:pt x="39610" y="3051460"/>
                  </a:lnTo>
                  <a:lnTo>
                    <a:pt x="21436" y="2996429"/>
                  </a:lnTo>
                  <a:lnTo>
                    <a:pt x="7922" y="2938599"/>
                  </a:lnTo>
                  <a:lnTo>
                    <a:pt x="932" y="2879370"/>
                  </a:lnTo>
                  <a:lnTo>
                    <a:pt x="0" y="2849522"/>
                  </a:lnTo>
                  <a:lnTo>
                    <a:pt x="0" y="2819208"/>
                  </a:lnTo>
                  <a:lnTo>
                    <a:pt x="5126" y="2759979"/>
                  </a:lnTo>
                  <a:lnTo>
                    <a:pt x="15378" y="2701216"/>
                  </a:lnTo>
                  <a:lnTo>
                    <a:pt x="31688" y="2645252"/>
                  </a:lnTo>
                  <a:lnTo>
                    <a:pt x="53590" y="2590687"/>
                  </a:lnTo>
                  <a:lnTo>
                    <a:pt x="80618" y="2537987"/>
                  </a:lnTo>
                  <a:lnTo>
                    <a:pt x="113238" y="2488551"/>
                  </a:lnTo>
                  <a:lnTo>
                    <a:pt x="150517" y="2441914"/>
                  </a:lnTo>
                  <a:lnTo>
                    <a:pt x="171021" y="2419995"/>
                  </a:lnTo>
                  <a:lnTo>
                    <a:pt x="192923" y="2399008"/>
                  </a:lnTo>
                  <a:lnTo>
                    <a:pt x="238591" y="2360766"/>
                  </a:lnTo>
                  <a:lnTo>
                    <a:pt x="287521" y="2327654"/>
                  </a:lnTo>
                  <a:lnTo>
                    <a:pt x="339246" y="2299672"/>
                  </a:lnTo>
                  <a:lnTo>
                    <a:pt x="393302" y="2276819"/>
                  </a:lnTo>
                  <a:lnTo>
                    <a:pt x="449688" y="2260030"/>
                  </a:lnTo>
                  <a:lnTo>
                    <a:pt x="507471" y="2247904"/>
                  </a:lnTo>
                  <a:lnTo>
                    <a:pt x="566653" y="2242308"/>
                  </a:lnTo>
                  <a:lnTo>
                    <a:pt x="596943" y="2241842"/>
                  </a:lnTo>
                  <a:lnTo>
                    <a:pt x="991177" y="2241842"/>
                  </a:lnTo>
                  <a:lnTo>
                    <a:pt x="1013079" y="2241375"/>
                  </a:lnTo>
                  <a:lnTo>
                    <a:pt x="1054552" y="2237178"/>
                  </a:lnTo>
                  <a:lnTo>
                    <a:pt x="1096026" y="2229250"/>
                  </a:lnTo>
                  <a:lnTo>
                    <a:pt x="1135170" y="2217124"/>
                  </a:lnTo>
                  <a:lnTo>
                    <a:pt x="1173382" y="2201267"/>
                  </a:lnTo>
                  <a:lnTo>
                    <a:pt x="1208797" y="2182613"/>
                  </a:lnTo>
                  <a:lnTo>
                    <a:pt x="1242815" y="2160227"/>
                  </a:lnTo>
                  <a:lnTo>
                    <a:pt x="1274037" y="2135509"/>
                  </a:lnTo>
                  <a:lnTo>
                    <a:pt x="1302463" y="2107527"/>
                  </a:lnTo>
                  <a:lnTo>
                    <a:pt x="1328559" y="2077213"/>
                  </a:lnTo>
                  <a:lnTo>
                    <a:pt x="1351859" y="2044567"/>
                  </a:lnTo>
                  <a:lnTo>
                    <a:pt x="1371896" y="2009589"/>
                  </a:lnTo>
                  <a:lnTo>
                    <a:pt x="1388206" y="1972746"/>
                  </a:lnTo>
                  <a:lnTo>
                    <a:pt x="1400788" y="1934970"/>
                  </a:lnTo>
                  <a:lnTo>
                    <a:pt x="1410108" y="1894862"/>
                  </a:lnTo>
                  <a:lnTo>
                    <a:pt x="1414768" y="1853822"/>
                  </a:lnTo>
                  <a:lnTo>
                    <a:pt x="1415234" y="1832835"/>
                  </a:lnTo>
                  <a:lnTo>
                    <a:pt x="1416166" y="1811382"/>
                  </a:lnTo>
                  <a:lnTo>
                    <a:pt x="1412438" y="1769875"/>
                  </a:lnTo>
                  <a:lnTo>
                    <a:pt x="1404982" y="1729301"/>
                  </a:lnTo>
                  <a:lnTo>
                    <a:pt x="1393798" y="1690126"/>
                  </a:lnTo>
                  <a:lnTo>
                    <a:pt x="1378420" y="1651883"/>
                  </a:lnTo>
                  <a:lnTo>
                    <a:pt x="1359315" y="1615506"/>
                  </a:lnTo>
                  <a:lnTo>
                    <a:pt x="1336947" y="1580995"/>
                  </a:lnTo>
                  <a:lnTo>
                    <a:pt x="1310851" y="1548349"/>
                  </a:lnTo>
                  <a:lnTo>
                    <a:pt x="1296405" y="1533425"/>
                  </a:lnTo>
                  <a:lnTo>
                    <a:pt x="1281493" y="1518968"/>
                  </a:lnTo>
                  <a:lnTo>
                    <a:pt x="1249339" y="1492385"/>
                  </a:lnTo>
                  <a:lnTo>
                    <a:pt x="1215321" y="1468600"/>
                  </a:lnTo>
                  <a:lnTo>
                    <a:pt x="1178974" y="1449479"/>
                  </a:lnTo>
                  <a:lnTo>
                    <a:pt x="1141694" y="1433622"/>
                  </a:lnTo>
                  <a:lnTo>
                    <a:pt x="1102550" y="1421496"/>
                  </a:lnTo>
                  <a:lnTo>
                    <a:pt x="1062008" y="1413568"/>
                  </a:lnTo>
                  <a:lnTo>
                    <a:pt x="1021000" y="1409371"/>
                  </a:lnTo>
                  <a:lnTo>
                    <a:pt x="1000031" y="1408904"/>
                  </a:lnTo>
                  <a:lnTo>
                    <a:pt x="605331" y="1408904"/>
                  </a:lnTo>
                  <a:lnTo>
                    <a:pt x="574575" y="1408438"/>
                  </a:lnTo>
                  <a:lnTo>
                    <a:pt x="514927" y="1402375"/>
                  </a:lnTo>
                  <a:lnTo>
                    <a:pt x="456212" y="1390716"/>
                  </a:lnTo>
                  <a:lnTo>
                    <a:pt x="399826" y="1373927"/>
                  </a:lnTo>
                  <a:lnTo>
                    <a:pt x="346236" y="1351541"/>
                  </a:lnTo>
                  <a:lnTo>
                    <a:pt x="295443" y="1324025"/>
                  </a:lnTo>
                  <a:lnTo>
                    <a:pt x="247445" y="1292312"/>
                  </a:lnTo>
                  <a:lnTo>
                    <a:pt x="202709" y="1256401"/>
                  </a:lnTo>
                  <a:lnTo>
                    <a:pt x="161701" y="1216760"/>
                  </a:lnTo>
                  <a:lnTo>
                    <a:pt x="123956" y="1172921"/>
                  </a:lnTo>
                  <a:lnTo>
                    <a:pt x="91336" y="1125818"/>
                  </a:lnTo>
                  <a:lnTo>
                    <a:pt x="62910" y="1076382"/>
                  </a:lnTo>
                  <a:lnTo>
                    <a:pt x="39610" y="1023216"/>
                  </a:lnTo>
                  <a:lnTo>
                    <a:pt x="21436" y="968185"/>
                  </a:lnTo>
                  <a:lnTo>
                    <a:pt x="7922" y="910821"/>
                  </a:lnTo>
                  <a:lnTo>
                    <a:pt x="932" y="851592"/>
                  </a:lnTo>
                  <a:lnTo>
                    <a:pt x="0" y="821278"/>
                  </a:lnTo>
                  <a:lnTo>
                    <a:pt x="0" y="790964"/>
                  </a:lnTo>
                  <a:lnTo>
                    <a:pt x="5126" y="731735"/>
                  </a:lnTo>
                  <a:lnTo>
                    <a:pt x="15378" y="673439"/>
                  </a:lnTo>
                  <a:lnTo>
                    <a:pt x="31688" y="617008"/>
                  </a:lnTo>
                  <a:lnTo>
                    <a:pt x="53590" y="562442"/>
                  </a:lnTo>
                  <a:lnTo>
                    <a:pt x="80618" y="510209"/>
                  </a:lnTo>
                  <a:lnTo>
                    <a:pt x="113238" y="460307"/>
                  </a:lnTo>
                  <a:lnTo>
                    <a:pt x="150517" y="414137"/>
                  </a:lnTo>
                  <a:lnTo>
                    <a:pt x="171021" y="392217"/>
                  </a:lnTo>
                  <a:lnTo>
                    <a:pt x="192923" y="370764"/>
                  </a:lnTo>
                  <a:lnTo>
                    <a:pt x="238591" y="332988"/>
                  </a:lnTo>
                  <a:lnTo>
                    <a:pt x="287521" y="299876"/>
                  </a:lnTo>
                  <a:lnTo>
                    <a:pt x="339246" y="271894"/>
                  </a:lnTo>
                  <a:lnTo>
                    <a:pt x="393302" y="249042"/>
                  </a:lnTo>
                  <a:lnTo>
                    <a:pt x="449688" y="231786"/>
                  </a:lnTo>
                  <a:lnTo>
                    <a:pt x="507471" y="219660"/>
                  </a:lnTo>
                  <a:lnTo>
                    <a:pt x="566653" y="214530"/>
                  </a:lnTo>
                  <a:lnTo>
                    <a:pt x="596943" y="213598"/>
                  </a:lnTo>
                  <a:lnTo>
                    <a:pt x="798720" y="213598"/>
                  </a:lnTo>
                  <a:lnTo>
                    <a:pt x="809438" y="213131"/>
                  </a:lnTo>
                  <a:lnTo>
                    <a:pt x="831340" y="208934"/>
                  </a:lnTo>
                  <a:lnTo>
                    <a:pt x="851377" y="200539"/>
                  </a:lnTo>
                  <a:lnTo>
                    <a:pt x="868619" y="188414"/>
                  </a:lnTo>
                  <a:lnTo>
                    <a:pt x="883997" y="173490"/>
                  </a:lnTo>
                  <a:lnTo>
                    <a:pt x="896113" y="155768"/>
                  </a:lnTo>
                  <a:lnTo>
                    <a:pt x="904501" y="135714"/>
                  </a:lnTo>
                  <a:lnTo>
                    <a:pt x="908695" y="114261"/>
                  </a:lnTo>
                  <a:lnTo>
                    <a:pt x="909161" y="102601"/>
                  </a:lnTo>
                  <a:lnTo>
                    <a:pt x="909161"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1" name="Freeform: Shape 30">
              <a:extLst>
                <a:ext uri="{FF2B5EF4-FFF2-40B4-BE49-F238E27FC236}">
                  <a16:creationId xmlns:a16="http://schemas.microsoft.com/office/drawing/2014/main" id="{BB9F302A-FEC4-4B3C-A2A7-FDD37140B040}"/>
                </a:ext>
                <a:ext uri="{C183D7F6-B498-43B3-948B-1728B52AA6E4}">
                  <adec:decorative xmlns:adec="http://schemas.microsoft.com/office/drawing/2017/decorative" val="1"/>
                </a:ext>
              </a:extLst>
            </p:cNvPr>
            <p:cNvSpPr>
              <a:spLocks/>
            </p:cNvSpPr>
            <p:nvPr/>
          </p:nvSpPr>
          <p:spPr bwMode="auto">
            <a:xfrm rot="5400000" flipH="1">
              <a:off x="9172520" y="435497"/>
              <a:ext cx="2251680" cy="6858000"/>
            </a:xfrm>
            <a:custGeom>
              <a:avLst/>
              <a:gdLst>
                <a:gd name="connsiteX0" fmla="*/ 909161 w 1596507"/>
                <a:gd name="connsiteY0" fmla="*/ 0 h 4862523"/>
                <a:gd name="connsiteX1" fmla="*/ 1090434 w 1596507"/>
                <a:gd name="connsiteY1" fmla="*/ 0 h 4862523"/>
                <a:gd name="connsiteX2" fmla="*/ 1090434 w 1596507"/>
                <a:gd name="connsiteY2" fmla="*/ 102601 h 4862523"/>
                <a:gd name="connsiteX3" fmla="*/ 1089968 w 1596507"/>
                <a:gd name="connsiteY3" fmla="*/ 117525 h 4862523"/>
                <a:gd name="connsiteX4" fmla="*/ 1086706 w 1596507"/>
                <a:gd name="connsiteY4" fmla="*/ 147373 h 4862523"/>
                <a:gd name="connsiteX5" fmla="*/ 1081580 w 1596507"/>
                <a:gd name="connsiteY5" fmla="*/ 175822 h 4862523"/>
                <a:gd name="connsiteX6" fmla="*/ 1072726 w 1596507"/>
                <a:gd name="connsiteY6" fmla="*/ 203337 h 4862523"/>
                <a:gd name="connsiteX7" fmla="*/ 1055484 w 1596507"/>
                <a:gd name="connsiteY7" fmla="*/ 242046 h 4862523"/>
                <a:gd name="connsiteX8" fmla="*/ 1023796 w 1596507"/>
                <a:gd name="connsiteY8" fmla="*/ 288683 h 4862523"/>
                <a:gd name="connsiteX9" fmla="*/ 984187 w 1596507"/>
                <a:gd name="connsiteY9" fmla="*/ 328791 h 4862523"/>
                <a:gd name="connsiteX10" fmla="*/ 937587 w 1596507"/>
                <a:gd name="connsiteY10" fmla="*/ 360038 h 4862523"/>
                <a:gd name="connsiteX11" fmla="*/ 898909 w 1596507"/>
                <a:gd name="connsiteY11" fmla="*/ 377760 h 4862523"/>
                <a:gd name="connsiteX12" fmla="*/ 870949 w 1596507"/>
                <a:gd name="connsiteY12" fmla="*/ 386155 h 4862523"/>
                <a:gd name="connsiteX13" fmla="*/ 842989 w 1596507"/>
                <a:gd name="connsiteY13" fmla="*/ 391751 h 4862523"/>
                <a:gd name="connsiteX14" fmla="*/ 813166 w 1596507"/>
                <a:gd name="connsiteY14" fmla="*/ 394549 h 4862523"/>
                <a:gd name="connsiteX15" fmla="*/ 798720 w 1596507"/>
                <a:gd name="connsiteY15" fmla="*/ 395016 h 4862523"/>
                <a:gd name="connsiteX16" fmla="*/ 596943 w 1596507"/>
                <a:gd name="connsiteY16" fmla="*/ 395016 h 4862523"/>
                <a:gd name="connsiteX17" fmla="*/ 576439 w 1596507"/>
                <a:gd name="connsiteY17" fmla="*/ 395016 h 4862523"/>
                <a:gd name="connsiteX18" fmla="*/ 534965 w 1596507"/>
                <a:gd name="connsiteY18" fmla="*/ 399213 h 4862523"/>
                <a:gd name="connsiteX19" fmla="*/ 494423 w 1596507"/>
                <a:gd name="connsiteY19" fmla="*/ 407141 h 4862523"/>
                <a:gd name="connsiteX20" fmla="*/ 454814 w 1596507"/>
                <a:gd name="connsiteY20" fmla="*/ 419267 h 4862523"/>
                <a:gd name="connsiteX21" fmla="*/ 417534 w 1596507"/>
                <a:gd name="connsiteY21" fmla="*/ 435123 h 4862523"/>
                <a:gd name="connsiteX22" fmla="*/ 381186 w 1596507"/>
                <a:gd name="connsiteY22" fmla="*/ 455177 h 4862523"/>
                <a:gd name="connsiteX23" fmla="*/ 347634 w 1596507"/>
                <a:gd name="connsiteY23" fmla="*/ 478029 h 4862523"/>
                <a:gd name="connsiteX24" fmla="*/ 315480 w 1596507"/>
                <a:gd name="connsiteY24" fmla="*/ 504613 h 4862523"/>
                <a:gd name="connsiteX25" fmla="*/ 300569 w 1596507"/>
                <a:gd name="connsiteY25" fmla="*/ 519536 h 4862523"/>
                <a:gd name="connsiteX26" fmla="*/ 286123 w 1596507"/>
                <a:gd name="connsiteY26" fmla="*/ 534927 h 4862523"/>
                <a:gd name="connsiteX27" fmla="*/ 260027 w 1596507"/>
                <a:gd name="connsiteY27" fmla="*/ 566640 h 4862523"/>
                <a:gd name="connsiteX28" fmla="*/ 237659 w 1596507"/>
                <a:gd name="connsiteY28" fmla="*/ 601151 h 4862523"/>
                <a:gd name="connsiteX29" fmla="*/ 218087 w 1596507"/>
                <a:gd name="connsiteY29" fmla="*/ 637994 h 4862523"/>
                <a:gd name="connsiteX30" fmla="*/ 203175 w 1596507"/>
                <a:gd name="connsiteY30" fmla="*/ 675770 h 4862523"/>
                <a:gd name="connsiteX31" fmla="*/ 192457 w 1596507"/>
                <a:gd name="connsiteY31" fmla="*/ 715412 h 4862523"/>
                <a:gd name="connsiteX32" fmla="*/ 184535 w 1596507"/>
                <a:gd name="connsiteY32" fmla="*/ 755986 h 4862523"/>
                <a:gd name="connsiteX33" fmla="*/ 181273 w 1596507"/>
                <a:gd name="connsiteY33" fmla="*/ 797027 h 4862523"/>
                <a:gd name="connsiteX34" fmla="*/ 181273 w 1596507"/>
                <a:gd name="connsiteY34" fmla="*/ 818480 h 4862523"/>
                <a:gd name="connsiteX35" fmla="*/ 182205 w 1596507"/>
                <a:gd name="connsiteY35" fmla="*/ 839466 h 4862523"/>
                <a:gd name="connsiteX36" fmla="*/ 186865 w 1596507"/>
                <a:gd name="connsiteY36" fmla="*/ 880507 h 4862523"/>
                <a:gd name="connsiteX37" fmla="*/ 195719 w 1596507"/>
                <a:gd name="connsiteY37" fmla="*/ 920615 h 4862523"/>
                <a:gd name="connsiteX38" fmla="*/ 208767 w 1596507"/>
                <a:gd name="connsiteY38" fmla="*/ 959324 h 4862523"/>
                <a:gd name="connsiteX39" fmla="*/ 225543 w 1596507"/>
                <a:gd name="connsiteY39" fmla="*/ 996167 h 4862523"/>
                <a:gd name="connsiteX40" fmla="*/ 245581 w 1596507"/>
                <a:gd name="connsiteY40" fmla="*/ 1030678 h 4862523"/>
                <a:gd name="connsiteX41" fmla="*/ 268415 w 1596507"/>
                <a:gd name="connsiteY41" fmla="*/ 1063324 h 4862523"/>
                <a:gd name="connsiteX42" fmla="*/ 294511 w 1596507"/>
                <a:gd name="connsiteY42" fmla="*/ 1093172 h 4862523"/>
                <a:gd name="connsiteX43" fmla="*/ 323402 w 1596507"/>
                <a:gd name="connsiteY43" fmla="*/ 1121154 h 4862523"/>
                <a:gd name="connsiteX44" fmla="*/ 354158 w 1596507"/>
                <a:gd name="connsiteY44" fmla="*/ 1146338 h 4862523"/>
                <a:gd name="connsiteX45" fmla="*/ 388176 w 1596507"/>
                <a:gd name="connsiteY45" fmla="*/ 1168257 h 4862523"/>
                <a:gd name="connsiteX46" fmla="*/ 424058 w 1596507"/>
                <a:gd name="connsiteY46" fmla="*/ 1187845 h 4862523"/>
                <a:gd name="connsiteX47" fmla="*/ 461804 w 1596507"/>
                <a:gd name="connsiteY47" fmla="*/ 1202769 h 4862523"/>
                <a:gd name="connsiteX48" fmla="*/ 500947 w 1596507"/>
                <a:gd name="connsiteY48" fmla="*/ 1214894 h 4862523"/>
                <a:gd name="connsiteX49" fmla="*/ 541955 w 1596507"/>
                <a:gd name="connsiteY49" fmla="*/ 1223289 h 4862523"/>
                <a:gd name="connsiteX50" fmla="*/ 584361 w 1596507"/>
                <a:gd name="connsiteY50" fmla="*/ 1227486 h 4862523"/>
                <a:gd name="connsiteX51" fmla="*/ 605331 w 1596507"/>
                <a:gd name="connsiteY51" fmla="*/ 1227486 h 4862523"/>
                <a:gd name="connsiteX52" fmla="*/ 1000031 w 1596507"/>
                <a:gd name="connsiteY52" fmla="*/ 1227486 h 4862523"/>
                <a:gd name="connsiteX53" fmla="*/ 1029854 w 1596507"/>
                <a:gd name="connsiteY53" fmla="*/ 1227953 h 4862523"/>
                <a:gd name="connsiteX54" fmla="*/ 1089036 w 1596507"/>
                <a:gd name="connsiteY54" fmla="*/ 1234016 h 4862523"/>
                <a:gd name="connsiteX55" fmla="*/ 1147286 w 1596507"/>
                <a:gd name="connsiteY55" fmla="*/ 1245675 h 4862523"/>
                <a:gd name="connsiteX56" fmla="*/ 1203205 w 1596507"/>
                <a:gd name="connsiteY56" fmla="*/ 1263397 h 4862523"/>
                <a:gd name="connsiteX57" fmla="*/ 1257727 w 1596507"/>
                <a:gd name="connsiteY57" fmla="*/ 1285783 h 4862523"/>
                <a:gd name="connsiteX58" fmla="*/ 1308987 w 1596507"/>
                <a:gd name="connsiteY58" fmla="*/ 1313299 h 4862523"/>
                <a:gd name="connsiteX59" fmla="*/ 1357917 w 1596507"/>
                <a:gd name="connsiteY59" fmla="*/ 1346411 h 4862523"/>
                <a:gd name="connsiteX60" fmla="*/ 1404050 w 1596507"/>
                <a:gd name="connsiteY60" fmla="*/ 1385120 h 4862523"/>
                <a:gd name="connsiteX61" fmla="*/ 1425486 w 1596507"/>
                <a:gd name="connsiteY61" fmla="*/ 1406573 h 4862523"/>
                <a:gd name="connsiteX62" fmla="*/ 1445990 w 1596507"/>
                <a:gd name="connsiteY62" fmla="*/ 1428026 h 4862523"/>
                <a:gd name="connsiteX63" fmla="*/ 1483736 w 1596507"/>
                <a:gd name="connsiteY63" fmla="*/ 1474663 h 4862523"/>
                <a:gd name="connsiteX64" fmla="*/ 1516356 w 1596507"/>
                <a:gd name="connsiteY64" fmla="*/ 1524564 h 4862523"/>
                <a:gd name="connsiteX65" fmla="*/ 1543383 w 1596507"/>
                <a:gd name="connsiteY65" fmla="*/ 1576331 h 4862523"/>
                <a:gd name="connsiteX66" fmla="*/ 1565285 w 1596507"/>
                <a:gd name="connsiteY66" fmla="*/ 1630897 h 4862523"/>
                <a:gd name="connsiteX67" fmla="*/ 1581595 w 1596507"/>
                <a:gd name="connsiteY67" fmla="*/ 1687327 h 4862523"/>
                <a:gd name="connsiteX68" fmla="*/ 1591847 w 1596507"/>
                <a:gd name="connsiteY68" fmla="*/ 1745624 h 4862523"/>
                <a:gd name="connsiteX69" fmla="*/ 1596507 w 1596507"/>
                <a:gd name="connsiteY69" fmla="*/ 1805319 h 4862523"/>
                <a:gd name="connsiteX70" fmla="*/ 1596507 w 1596507"/>
                <a:gd name="connsiteY70" fmla="*/ 1835633 h 4862523"/>
                <a:gd name="connsiteX71" fmla="*/ 1596041 w 1596507"/>
                <a:gd name="connsiteY71" fmla="*/ 1865947 h 4862523"/>
                <a:gd name="connsiteX72" fmla="*/ 1588585 w 1596507"/>
                <a:gd name="connsiteY72" fmla="*/ 1925176 h 4862523"/>
                <a:gd name="connsiteX73" fmla="*/ 1576003 w 1596507"/>
                <a:gd name="connsiteY73" fmla="*/ 1982540 h 4862523"/>
                <a:gd name="connsiteX74" fmla="*/ 1557363 w 1596507"/>
                <a:gd name="connsiteY74" fmla="*/ 2037571 h 4862523"/>
                <a:gd name="connsiteX75" fmla="*/ 1533598 w 1596507"/>
                <a:gd name="connsiteY75" fmla="*/ 2090271 h 4862523"/>
                <a:gd name="connsiteX76" fmla="*/ 1505172 w 1596507"/>
                <a:gd name="connsiteY76" fmla="*/ 2140173 h 4862523"/>
                <a:gd name="connsiteX77" fmla="*/ 1472552 w 1596507"/>
                <a:gd name="connsiteY77" fmla="*/ 2186810 h 4862523"/>
                <a:gd name="connsiteX78" fmla="*/ 1435272 w 1596507"/>
                <a:gd name="connsiteY78" fmla="*/ 2230182 h 4862523"/>
                <a:gd name="connsiteX79" fmla="*/ 1394264 w 1596507"/>
                <a:gd name="connsiteY79" fmla="*/ 2270290 h 4862523"/>
                <a:gd name="connsiteX80" fmla="*/ 1349529 w 1596507"/>
                <a:gd name="connsiteY80" fmla="*/ 2306667 h 4862523"/>
                <a:gd name="connsiteX81" fmla="*/ 1301997 w 1596507"/>
                <a:gd name="connsiteY81" fmla="*/ 2337914 h 4862523"/>
                <a:gd name="connsiteX82" fmla="*/ 1250271 w 1596507"/>
                <a:gd name="connsiteY82" fmla="*/ 2364963 h 4862523"/>
                <a:gd name="connsiteX83" fmla="*/ 1196681 w 1596507"/>
                <a:gd name="connsiteY83" fmla="*/ 2387349 h 4862523"/>
                <a:gd name="connsiteX84" fmla="*/ 1140762 w 1596507"/>
                <a:gd name="connsiteY84" fmla="*/ 2404605 h 4862523"/>
                <a:gd name="connsiteX85" fmla="*/ 1082046 w 1596507"/>
                <a:gd name="connsiteY85" fmla="*/ 2416730 h 4862523"/>
                <a:gd name="connsiteX86" fmla="*/ 1021932 w 1596507"/>
                <a:gd name="connsiteY86" fmla="*/ 2422793 h 4862523"/>
                <a:gd name="connsiteX87" fmla="*/ 991177 w 1596507"/>
                <a:gd name="connsiteY87" fmla="*/ 2423260 h 4862523"/>
                <a:gd name="connsiteX88" fmla="*/ 596943 w 1596507"/>
                <a:gd name="connsiteY88" fmla="*/ 2423260 h 4862523"/>
                <a:gd name="connsiteX89" fmla="*/ 576439 w 1596507"/>
                <a:gd name="connsiteY89" fmla="*/ 2423260 h 4862523"/>
                <a:gd name="connsiteX90" fmla="*/ 534965 w 1596507"/>
                <a:gd name="connsiteY90" fmla="*/ 2427457 h 4862523"/>
                <a:gd name="connsiteX91" fmla="*/ 494423 w 1596507"/>
                <a:gd name="connsiteY91" fmla="*/ 2435852 h 4862523"/>
                <a:gd name="connsiteX92" fmla="*/ 454814 w 1596507"/>
                <a:gd name="connsiteY92" fmla="*/ 2447511 h 4862523"/>
                <a:gd name="connsiteX93" fmla="*/ 417534 w 1596507"/>
                <a:gd name="connsiteY93" fmla="*/ 2463834 h 4862523"/>
                <a:gd name="connsiteX94" fmla="*/ 381186 w 1596507"/>
                <a:gd name="connsiteY94" fmla="*/ 2482955 h 4862523"/>
                <a:gd name="connsiteX95" fmla="*/ 347634 w 1596507"/>
                <a:gd name="connsiteY95" fmla="*/ 2505807 h 4862523"/>
                <a:gd name="connsiteX96" fmla="*/ 315480 w 1596507"/>
                <a:gd name="connsiteY96" fmla="*/ 2532390 h 4862523"/>
                <a:gd name="connsiteX97" fmla="*/ 300569 w 1596507"/>
                <a:gd name="connsiteY97" fmla="*/ 2547780 h 4862523"/>
                <a:gd name="connsiteX98" fmla="*/ 286123 w 1596507"/>
                <a:gd name="connsiteY98" fmla="*/ 2562704 h 4862523"/>
                <a:gd name="connsiteX99" fmla="*/ 260027 w 1596507"/>
                <a:gd name="connsiteY99" fmla="*/ 2594884 h 4862523"/>
                <a:gd name="connsiteX100" fmla="*/ 237659 w 1596507"/>
                <a:gd name="connsiteY100" fmla="*/ 2629862 h 4862523"/>
                <a:gd name="connsiteX101" fmla="*/ 218087 w 1596507"/>
                <a:gd name="connsiteY101" fmla="*/ 2666238 h 4862523"/>
                <a:gd name="connsiteX102" fmla="*/ 203175 w 1596507"/>
                <a:gd name="connsiteY102" fmla="*/ 2704481 h 4862523"/>
                <a:gd name="connsiteX103" fmla="*/ 192457 w 1596507"/>
                <a:gd name="connsiteY103" fmla="*/ 2743656 h 4862523"/>
                <a:gd name="connsiteX104" fmla="*/ 184535 w 1596507"/>
                <a:gd name="connsiteY104" fmla="*/ 2784230 h 4862523"/>
                <a:gd name="connsiteX105" fmla="*/ 181273 w 1596507"/>
                <a:gd name="connsiteY105" fmla="*/ 2825737 h 4862523"/>
                <a:gd name="connsiteX106" fmla="*/ 181273 w 1596507"/>
                <a:gd name="connsiteY106" fmla="*/ 2846257 h 4862523"/>
                <a:gd name="connsiteX107" fmla="*/ 182205 w 1596507"/>
                <a:gd name="connsiteY107" fmla="*/ 2867710 h 4862523"/>
                <a:gd name="connsiteX108" fmla="*/ 186865 w 1596507"/>
                <a:gd name="connsiteY108" fmla="*/ 2908751 h 4862523"/>
                <a:gd name="connsiteX109" fmla="*/ 195719 w 1596507"/>
                <a:gd name="connsiteY109" fmla="*/ 2948392 h 4862523"/>
                <a:gd name="connsiteX110" fmla="*/ 208767 w 1596507"/>
                <a:gd name="connsiteY110" fmla="*/ 2987101 h 4862523"/>
                <a:gd name="connsiteX111" fmla="*/ 225543 w 1596507"/>
                <a:gd name="connsiteY111" fmla="*/ 3023944 h 4862523"/>
                <a:gd name="connsiteX112" fmla="*/ 245581 w 1596507"/>
                <a:gd name="connsiteY112" fmla="*/ 3058456 h 4862523"/>
                <a:gd name="connsiteX113" fmla="*/ 268415 w 1596507"/>
                <a:gd name="connsiteY113" fmla="*/ 3091102 h 4862523"/>
                <a:gd name="connsiteX114" fmla="*/ 294511 w 1596507"/>
                <a:gd name="connsiteY114" fmla="*/ 3121416 h 4862523"/>
                <a:gd name="connsiteX115" fmla="*/ 323402 w 1596507"/>
                <a:gd name="connsiteY115" fmla="*/ 3149398 h 4862523"/>
                <a:gd name="connsiteX116" fmla="*/ 354158 w 1596507"/>
                <a:gd name="connsiteY116" fmla="*/ 3174582 h 4862523"/>
                <a:gd name="connsiteX117" fmla="*/ 388176 w 1596507"/>
                <a:gd name="connsiteY117" fmla="*/ 3196501 h 4862523"/>
                <a:gd name="connsiteX118" fmla="*/ 424058 w 1596507"/>
                <a:gd name="connsiteY118" fmla="*/ 3215623 h 4862523"/>
                <a:gd name="connsiteX119" fmla="*/ 461804 w 1596507"/>
                <a:gd name="connsiteY119" fmla="*/ 3230546 h 4862523"/>
                <a:gd name="connsiteX120" fmla="*/ 500947 w 1596507"/>
                <a:gd name="connsiteY120" fmla="*/ 3242672 h 4862523"/>
                <a:gd name="connsiteX121" fmla="*/ 541955 w 1596507"/>
                <a:gd name="connsiteY121" fmla="*/ 3251533 h 4862523"/>
                <a:gd name="connsiteX122" fmla="*/ 584361 w 1596507"/>
                <a:gd name="connsiteY122" fmla="*/ 3255730 h 4862523"/>
                <a:gd name="connsiteX123" fmla="*/ 605331 w 1596507"/>
                <a:gd name="connsiteY123" fmla="*/ 3255730 h 4862523"/>
                <a:gd name="connsiteX124" fmla="*/ 1000031 w 1596507"/>
                <a:gd name="connsiteY124" fmla="*/ 3255730 h 4862523"/>
                <a:gd name="connsiteX125" fmla="*/ 1029854 w 1596507"/>
                <a:gd name="connsiteY125" fmla="*/ 3256197 h 4862523"/>
                <a:gd name="connsiteX126" fmla="*/ 1089036 w 1596507"/>
                <a:gd name="connsiteY126" fmla="*/ 3262260 h 4862523"/>
                <a:gd name="connsiteX127" fmla="*/ 1147286 w 1596507"/>
                <a:gd name="connsiteY127" fmla="*/ 3273919 h 4862523"/>
                <a:gd name="connsiteX128" fmla="*/ 1203205 w 1596507"/>
                <a:gd name="connsiteY128" fmla="*/ 3291175 h 4862523"/>
                <a:gd name="connsiteX129" fmla="*/ 1257727 w 1596507"/>
                <a:gd name="connsiteY129" fmla="*/ 3313560 h 4862523"/>
                <a:gd name="connsiteX130" fmla="*/ 1308987 w 1596507"/>
                <a:gd name="connsiteY130" fmla="*/ 3341543 h 4862523"/>
                <a:gd name="connsiteX131" fmla="*/ 1357917 w 1596507"/>
                <a:gd name="connsiteY131" fmla="*/ 3374655 h 4862523"/>
                <a:gd name="connsiteX132" fmla="*/ 1404050 w 1596507"/>
                <a:gd name="connsiteY132" fmla="*/ 3413364 h 4862523"/>
                <a:gd name="connsiteX133" fmla="*/ 1425486 w 1596507"/>
                <a:gd name="connsiteY133" fmla="*/ 3434350 h 4862523"/>
                <a:gd name="connsiteX134" fmla="*/ 1445990 w 1596507"/>
                <a:gd name="connsiteY134" fmla="*/ 3456270 h 4862523"/>
                <a:gd name="connsiteX135" fmla="*/ 1483736 w 1596507"/>
                <a:gd name="connsiteY135" fmla="*/ 3502907 h 4862523"/>
                <a:gd name="connsiteX136" fmla="*/ 1516356 w 1596507"/>
                <a:gd name="connsiteY136" fmla="*/ 3552342 h 4862523"/>
                <a:gd name="connsiteX137" fmla="*/ 1543383 w 1596507"/>
                <a:gd name="connsiteY137" fmla="*/ 3604109 h 4862523"/>
                <a:gd name="connsiteX138" fmla="*/ 1565285 w 1596507"/>
                <a:gd name="connsiteY138" fmla="*/ 3658674 h 4862523"/>
                <a:gd name="connsiteX139" fmla="*/ 1581595 w 1596507"/>
                <a:gd name="connsiteY139" fmla="*/ 3715571 h 4862523"/>
                <a:gd name="connsiteX140" fmla="*/ 1591847 w 1596507"/>
                <a:gd name="connsiteY140" fmla="*/ 3773401 h 4862523"/>
                <a:gd name="connsiteX141" fmla="*/ 1596507 w 1596507"/>
                <a:gd name="connsiteY141" fmla="*/ 3833563 h 4862523"/>
                <a:gd name="connsiteX142" fmla="*/ 1596507 w 1596507"/>
                <a:gd name="connsiteY142" fmla="*/ 3863877 h 4862523"/>
                <a:gd name="connsiteX143" fmla="*/ 1596041 w 1596507"/>
                <a:gd name="connsiteY143" fmla="*/ 3893725 h 4862523"/>
                <a:gd name="connsiteX144" fmla="*/ 1588585 w 1596507"/>
                <a:gd name="connsiteY144" fmla="*/ 3952954 h 4862523"/>
                <a:gd name="connsiteX145" fmla="*/ 1576003 w 1596507"/>
                <a:gd name="connsiteY145" fmla="*/ 4010317 h 4862523"/>
                <a:gd name="connsiteX146" fmla="*/ 1557363 w 1596507"/>
                <a:gd name="connsiteY146" fmla="*/ 4065349 h 4862523"/>
                <a:gd name="connsiteX147" fmla="*/ 1533598 w 1596507"/>
                <a:gd name="connsiteY147" fmla="*/ 4118049 h 4862523"/>
                <a:gd name="connsiteX148" fmla="*/ 1505172 w 1596507"/>
                <a:gd name="connsiteY148" fmla="*/ 4168417 h 4862523"/>
                <a:gd name="connsiteX149" fmla="*/ 1472552 w 1596507"/>
                <a:gd name="connsiteY149" fmla="*/ 4215054 h 4862523"/>
                <a:gd name="connsiteX150" fmla="*/ 1435272 w 1596507"/>
                <a:gd name="connsiteY150" fmla="*/ 4258426 h 4862523"/>
                <a:gd name="connsiteX151" fmla="*/ 1394264 w 1596507"/>
                <a:gd name="connsiteY151" fmla="*/ 4298068 h 4862523"/>
                <a:gd name="connsiteX152" fmla="*/ 1349529 w 1596507"/>
                <a:gd name="connsiteY152" fmla="*/ 4334445 h 4862523"/>
                <a:gd name="connsiteX153" fmla="*/ 1301997 w 1596507"/>
                <a:gd name="connsiteY153" fmla="*/ 4366158 h 4862523"/>
                <a:gd name="connsiteX154" fmla="*/ 1250271 w 1596507"/>
                <a:gd name="connsiteY154" fmla="*/ 4393207 h 4862523"/>
                <a:gd name="connsiteX155" fmla="*/ 1196681 w 1596507"/>
                <a:gd name="connsiteY155" fmla="*/ 4415593 h 4862523"/>
                <a:gd name="connsiteX156" fmla="*/ 1140762 w 1596507"/>
                <a:gd name="connsiteY156" fmla="*/ 4432849 h 4862523"/>
                <a:gd name="connsiteX157" fmla="*/ 1082046 w 1596507"/>
                <a:gd name="connsiteY157" fmla="*/ 4444508 h 4862523"/>
                <a:gd name="connsiteX158" fmla="*/ 1021932 w 1596507"/>
                <a:gd name="connsiteY158" fmla="*/ 4450571 h 4862523"/>
                <a:gd name="connsiteX159" fmla="*/ 991177 w 1596507"/>
                <a:gd name="connsiteY159" fmla="*/ 4451037 h 4862523"/>
                <a:gd name="connsiteX160" fmla="*/ 596943 w 1596507"/>
                <a:gd name="connsiteY160" fmla="*/ 4451037 h 4862523"/>
                <a:gd name="connsiteX161" fmla="*/ 576439 w 1596507"/>
                <a:gd name="connsiteY161" fmla="*/ 4451037 h 4862523"/>
                <a:gd name="connsiteX162" fmla="*/ 534965 w 1596507"/>
                <a:gd name="connsiteY162" fmla="*/ 4455235 h 4862523"/>
                <a:gd name="connsiteX163" fmla="*/ 494423 w 1596507"/>
                <a:gd name="connsiteY163" fmla="*/ 4464096 h 4862523"/>
                <a:gd name="connsiteX164" fmla="*/ 454814 w 1596507"/>
                <a:gd name="connsiteY164" fmla="*/ 4475289 h 4862523"/>
                <a:gd name="connsiteX165" fmla="*/ 417534 w 1596507"/>
                <a:gd name="connsiteY165" fmla="*/ 4491612 h 4862523"/>
                <a:gd name="connsiteX166" fmla="*/ 381186 w 1596507"/>
                <a:gd name="connsiteY166" fmla="*/ 4511199 h 4862523"/>
                <a:gd name="connsiteX167" fmla="*/ 347634 w 1596507"/>
                <a:gd name="connsiteY167" fmla="*/ 4534051 h 4862523"/>
                <a:gd name="connsiteX168" fmla="*/ 315480 w 1596507"/>
                <a:gd name="connsiteY168" fmla="*/ 4560634 h 4862523"/>
                <a:gd name="connsiteX169" fmla="*/ 300569 w 1596507"/>
                <a:gd name="connsiteY169" fmla="*/ 4575558 h 4862523"/>
                <a:gd name="connsiteX170" fmla="*/ 286123 w 1596507"/>
                <a:gd name="connsiteY170" fmla="*/ 4590948 h 4862523"/>
                <a:gd name="connsiteX171" fmla="*/ 260027 w 1596507"/>
                <a:gd name="connsiteY171" fmla="*/ 4622662 h 4862523"/>
                <a:gd name="connsiteX172" fmla="*/ 237659 w 1596507"/>
                <a:gd name="connsiteY172" fmla="*/ 4658106 h 4862523"/>
                <a:gd name="connsiteX173" fmla="*/ 218087 w 1596507"/>
                <a:gd name="connsiteY173" fmla="*/ 4694016 h 4862523"/>
                <a:gd name="connsiteX174" fmla="*/ 203175 w 1596507"/>
                <a:gd name="connsiteY174" fmla="*/ 4732259 h 4862523"/>
                <a:gd name="connsiteX175" fmla="*/ 192457 w 1596507"/>
                <a:gd name="connsiteY175" fmla="*/ 4771434 h 4862523"/>
                <a:gd name="connsiteX176" fmla="*/ 184535 w 1596507"/>
                <a:gd name="connsiteY176" fmla="*/ 4812008 h 4862523"/>
                <a:gd name="connsiteX177" fmla="*/ 181273 w 1596507"/>
                <a:gd name="connsiteY177" fmla="*/ 4853981 h 4862523"/>
                <a:gd name="connsiteX178" fmla="*/ 181273 w 1596507"/>
                <a:gd name="connsiteY178" fmla="*/ 4862523 h 4862523"/>
                <a:gd name="connsiteX179" fmla="*/ 0 w 1596507"/>
                <a:gd name="connsiteY179" fmla="*/ 4862523 h 4862523"/>
                <a:gd name="connsiteX180" fmla="*/ 0 w 1596507"/>
                <a:gd name="connsiteY180" fmla="*/ 4846986 h 4862523"/>
                <a:gd name="connsiteX181" fmla="*/ 5126 w 1596507"/>
                <a:gd name="connsiteY181" fmla="*/ 4787757 h 4862523"/>
                <a:gd name="connsiteX182" fmla="*/ 15378 w 1596507"/>
                <a:gd name="connsiteY182" fmla="*/ 4729460 h 4862523"/>
                <a:gd name="connsiteX183" fmla="*/ 31688 w 1596507"/>
                <a:gd name="connsiteY183" fmla="*/ 4673030 h 4862523"/>
                <a:gd name="connsiteX184" fmla="*/ 53590 w 1596507"/>
                <a:gd name="connsiteY184" fmla="*/ 4618464 h 4862523"/>
                <a:gd name="connsiteX185" fmla="*/ 80618 w 1596507"/>
                <a:gd name="connsiteY185" fmla="*/ 4566231 h 4862523"/>
                <a:gd name="connsiteX186" fmla="*/ 113238 w 1596507"/>
                <a:gd name="connsiteY186" fmla="*/ 4516329 h 4862523"/>
                <a:gd name="connsiteX187" fmla="*/ 150517 w 1596507"/>
                <a:gd name="connsiteY187" fmla="*/ 4470625 h 4862523"/>
                <a:gd name="connsiteX188" fmla="*/ 171021 w 1596507"/>
                <a:gd name="connsiteY188" fmla="*/ 4448239 h 4862523"/>
                <a:gd name="connsiteX189" fmla="*/ 192923 w 1596507"/>
                <a:gd name="connsiteY189" fmla="*/ 4427252 h 4862523"/>
                <a:gd name="connsiteX190" fmla="*/ 238591 w 1596507"/>
                <a:gd name="connsiteY190" fmla="*/ 4389010 h 4862523"/>
                <a:gd name="connsiteX191" fmla="*/ 287521 w 1596507"/>
                <a:gd name="connsiteY191" fmla="*/ 4355898 h 4862523"/>
                <a:gd name="connsiteX192" fmla="*/ 339246 w 1596507"/>
                <a:gd name="connsiteY192" fmla="*/ 4327916 h 4862523"/>
                <a:gd name="connsiteX193" fmla="*/ 393302 w 1596507"/>
                <a:gd name="connsiteY193" fmla="*/ 4305063 h 4862523"/>
                <a:gd name="connsiteX194" fmla="*/ 449688 w 1596507"/>
                <a:gd name="connsiteY194" fmla="*/ 4287808 h 4862523"/>
                <a:gd name="connsiteX195" fmla="*/ 507471 w 1596507"/>
                <a:gd name="connsiteY195" fmla="*/ 4275682 h 4862523"/>
                <a:gd name="connsiteX196" fmla="*/ 566653 w 1596507"/>
                <a:gd name="connsiteY196" fmla="*/ 4270552 h 4862523"/>
                <a:gd name="connsiteX197" fmla="*/ 596943 w 1596507"/>
                <a:gd name="connsiteY197" fmla="*/ 4270086 h 4862523"/>
                <a:gd name="connsiteX198" fmla="*/ 991177 w 1596507"/>
                <a:gd name="connsiteY198" fmla="*/ 4270086 h 4862523"/>
                <a:gd name="connsiteX199" fmla="*/ 1013079 w 1596507"/>
                <a:gd name="connsiteY199" fmla="*/ 4269153 h 4862523"/>
                <a:gd name="connsiteX200" fmla="*/ 1054552 w 1596507"/>
                <a:gd name="connsiteY200" fmla="*/ 4264956 h 4862523"/>
                <a:gd name="connsiteX201" fmla="*/ 1096026 w 1596507"/>
                <a:gd name="connsiteY201" fmla="*/ 4257027 h 4862523"/>
                <a:gd name="connsiteX202" fmla="*/ 1135170 w 1596507"/>
                <a:gd name="connsiteY202" fmla="*/ 4244902 h 4862523"/>
                <a:gd name="connsiteX203" fmla="*/ 1173382 w 1596507"/>
                <a:gd name="connsiteY203" fmla="*/ 4229511 h 4862523"/>
                <a:gd name="connsiteX204" fmla="*/ 1208797 w 1596507"/>
                <a:gd name="connsiteY204" fmla="*/ 4210857 h 4862523"/>
                <a:gd name="connsiteX205" fmla="*/ 1242815 w 1596507"/>
                <a:gd name="connsiteY205" fmla="*/ 4188471 h 4862523"/>
                <a:gd name="connsiteX206" fmla="*/ 1274037 w 1596507"/>
                <a:gd name="connsiteY206" fmla="*/ 4163287 h 4862523"/>
                <a:gd name="connsiteX207" fmla="*/ 1302463 w 1596507"/>
                <a:gd name="connsiteY207" fmla="*/ 4135771 h 4862523"/>
                <a:gd name="connsiteX208" fmla="*/ 1328559 w 1596507"/>
                <a:gd name="connsiteY208" fmla="*/ 4105457 h 4862523"/>
                <a:gd name="connsiteX209" fmla="*/ 1351859 w 1596507"/>
                <a:gd name="connsiteY209" fmla="*/ 4072811 h 4862523"/>
                <a:gd name="connsiteX210" fmla="*/ 1371896 w 1596507"/>
                <a:gd name="connsiteY210" fmla="*/ 4037833 h 4862523"/>
                <a:gd name="connsiteX211" fmla="*/ 1388206 w 1596507"/>
                <a:gd name="connsiteY211" fmla="*/ 4001456 h 4862523"/>
                <a:gd name="connsiteX212" fmla="*/ 1400788 w 1596507"/>
                <a:gd name="connsiteY212" fmla="*/ 3962748 h 4862523"/>
                <a:gd name="connsiteX213" fmla="*/ 1410108 w 1596507"/>
                <a:gd name="connsiteY213" fmla="*/ 3923106 h 4862523"/>
                <a:gd name="connsiteX214" fmla="*/ 1414768 w 1596507"/>
                <a:gd name="connsiteY214" fmla="*/ 3881599 h 4862523"/>
                <a:gd name="connsiteX215" fmla="*/ 1415234 w 1596507"/>
                <a:gd name="connsiteY215" fmla="*/ 3860613 h 4862523"/>
                <a:gd name="connsiteX216" fmla="*/ 1416166 w 1596507"/>
                <a:gd name="connsiteY216" fmla="*/ 3839626 h 4862523"/>
                <a:gd name="connsiteX217" fmla="*/ 1412438 w 1596507"/>
                <a:gd name="connsiteY217" fmla="*/ 3797653 h 4862523"/>
                <a:gd name="connsiteX218" fmla="*/ 1404982 w 1596507"/>
                <a:gd name="connsiteY218" fmla="*/ 3757078 h 4862523"/>
                <a:gd name="connsiteX219" fmla="*/ 1393798 w 1596507"/>
                <a:gd name="connsiteY219" fmla="*/ 3717903 h 4862523"/>
                <a:gd name="connsiteX220" fmla="*/ 1378420 w 1596507"/>
                <a:gd name="connsiteY220" fmla="*/ 3680127 h 4862523"/>
                <a:gd name="connsiteX221" fmla="*/ 1359315 w 1596507"/>
                <a:gd name="connsiteY221" fmla="*/ 3643750 h 4862523"/>
                <a:gd name="connsiteX222" fmla="*/ 1336947 w 1596507"/>
                <a:gd name="connsiteY222" fmla="*/ 3609239 h 4862523"/>
                <a:gd name="connsiteX223" fmla="*/ 1310851 w 1596507"/>
                <a:gd name="connsiteY223" fmla="*/ 3576593 h 4862523"/>
                <a:gd name="connsiteX224" fmla="*/ 1296405 w 1596507"/>
                <a:gd name="connsiteY224" fmla="*/ 3561203 h 4862523"/>
                <a:gd name="connsiteX225" fmla="*/ 1281493 w 1596507"/>
                <a:gd name="connsiteY225" fmla="*/ 3546745 h 4862523"/>
                <a:gd name="connsiteX226" fmla="*/ 1249339 w 1596507"/>
                <a:gd name="connsiteY226" fmla="*/ 3520162 h 4862523"/>
                <a:gd name="connsiteX227" fmla="*/ 1215321 w 1596507"/>
                <a:gd name="connsiteY227" fmla="*/ 3496844 h 4862523"/>
                <a:gd name="connsiteX228" fmla="*/ 1178974 w 1596507"/>
                <a:gd name="connsiteY228" fmla="*/ 3477256 h 4862523"/>
                <a:gd name="connsiteX229" fmla="*/ 1141694 w 1596507"/>
                <a:gd name="connsiteY229" fmla="*/ 3461866 h 4862523"/>
                <a:gd name="connsiteX230" fmla="*/ 1102550 w 1596507"/>
                <a:gd name="connsiteY230" fmla="*/ 3449740 h 4862523"/>
                <a:gd name="connsiteX231" fmla="*/ 1062008 w 1596507"/>
                <a:gd name="connsiteY231" fmla="*/ 3441812 h 4862523"/>
                <a:gd name="connsiteX232" fmla="*/ 1021000 w 1596507"/>
                <a:gd name="connsiteY232" fmla="*/ 3437615 h 4862523"/>
                <a:gd name="connsiteX233" fmla="*/ 1000031 w 1596507"/>
                <a:gd name="connsiteY233" fmla="*/ 3436682 h 4862523"/>
                <a:gd name="connsiteX234" fmla="*/ 605331 w 1596507"/>
                <a:gd name="connsiteY234" fmla="*/ 3436682 h 4862523"/>
                <a:gd name="connsiteX235" fmla="*/ 574575 w 1596507"/>
                <a:gd name="connsiteY235" fmla="*/ 3436216 h 4862523"/>
                <a:gd name="connsiteX236" fmla="*/ 514927 w 1596507"/>
                <a:gd name="connsiteY236" fmla="*/ 3430153 h 4862523"/>
                <a:gd name="connsiteX237" fmla="*/ 456212 w 1596507"/>
                <a:gd name="connsiteY237" fmla="*/ 3418960 h 4862523"/>
                <a:gd name="connsiteX238" fmla="*/ 399826 w 1596507"/>
                <a:gd name="connsiteY238" fmla="*/ 3401704 h 4862523"/>
                <a:gd name="connsiteX239" fmla="*/ 346236 w 1596507"/>
                <a:gd name="connsiteY239" fmla="*/ 3379318 h 4862523"/>
                <a:gd name="connsiteX240" fmla="*/ 295443 w 1596507"/>
                <a:gd name="connsiteY240" fmla="*/ 3352269 h 4862523"/>
                <a:gd name="connsiteX241" fmla="*/ 247445 w 1596507"/>
                <a:gd name="connsiteY241" fmla="*/ 3320089 h 4862523"/>
                <a:gd name="connsiteX242" fmla="*/ 202709 w 1596507"/>
                <a:gd name="connsiteY242" fmla="*/ 3284645 h 4862523"/>
                <a:gd name="connsiteX243" fmla="*/ 161701 w 1596507"/>
                <a:gd name="connsiteY243" fmla="*/ 3244538 h 4862523"/>
                <a:gd name="connsiteX244" fmla="*/ 123956 w 1596507"/>
                <a:gd name="connsiteY244" fmla="*/ 3201165 h 4862523"/>
                <a:gd name="connsiteX245" fmla="*/ 91336 w 1596507"/>
                <a:gd name="connsiteY245" fmla="*/ 3154062 h 4862523"/>
                <a:gd name="connsiteX246" fmla="*/ 62910 w 1596507"/>
                <a:gd name="connsiteY246" fmla="*/ 3104626 h 4862523"/>
                <a:gd name="connsiteX247" fmla="*/ 39610 w 1596507"/>
                <a:gd name="connsiteY247" fmla="*/ 3051460 h 4862523"/>
                <a:gd name="connsiteX248" fmla="*/ 21436 w 1596507"/>
                <a:gd name="connsiteY248" fmla="*/ 2996429 h 4862523"/>
                <a:gd name="connsiteX249" fmla="*/ 7922 w 1596507"/>
                <a:gd name="connsiteY249" fmla="*/ 2938599 h 4862523"/>
                <a:gd name="connsiteX250" fmla="*/ 932 w 1596507"/>
                <a:gd name="connsiteY250" fmla="*/ 2879370 h 4862523"/>
                <a:gd name="connsiteX251" fmla="*/ 0 w 1596507"/>
                <a:gd name="connsiteY251" fmla="*/ 2849522 h 4862523"/>
                <a:gd name="connsiteX252" fmla="*/ 0 w 1596507"/>
                <a:gd name="connsiteY252" fmla="*/ 2819208 h 4862523"/>
                <a:gd name="connsiteX253" fmla="*/ 5126 w 1596507"/>
                <a:gd name="connsiteY253" fmla="*/ 2759979 h 4862523"/>
                <a:gd name="connsiteX254" fmla="*/ 15378 w 1596507"/>
                <a:gd name="connsiteY254" fmla="*/ 2701216 h 4862523"/>
                <a:gd name="connsiteX255" fmla="*/ 31688 w 1596507"/>
                <a:gd name="connsiteY255" fmla="*/ 2645252 h 4862523"/>
                <a:gd name="connsiteX256" fmla="*/ 53590 w 1596507"/>
                <a:gd name="connsiteY256" fmla="*/ 2590687 h 4862523"/>
                <a:gd name="connsiteX257" fmla="*/ 80618 w 1596507"/>
                <a:gd name="connsiteY257" fmla="*/ 2537987 h 4862523"/>
                <a:gd name="connsiteX258" fmla="*/ 113238 w 1596507"/>
                <a:gd name="connsiteY258" fmla="*/ 2488551 h 4862523"/>
                <a:gd name="connsiteX259" fmla="*/ 150517 w 1596507"/>
                <a:gd name="connsiteY259" fmla="*/ 2441914 h 4862523"/>
                <a:gd name="connsiteX260" fmla="*/ 171021 w 1596507"/>
                <a:gd name="connsiteY260" fmla="*/ 2419995 h 4862523"/>
                <a:gd name="connsiteX261" fmla="*/ 192923 w 1596507"/>
                <a:gd name="connsiteY261" fmla="*/ 2399008 h 4862523"/>
                <a:gd name="connsiteX262" fmla="*/ 238591 w 1596507"/>
                <a:gd name="connsiteY262" fmla="*/ 2360766 h 4862523"/>
                <a:gd name="connsiteX263" fmla="*/ 287521 w 1596507"/>
                <a:gd name="connsiteY263" fmla="*/ 2327654 h 4862523"/>
                <a:gd name="connsiteX264" fmla="*/ 339246 w 1596507"/>
                <a:gd name="connsiteY264" fmla="*/ 2299672 h 4862523"/>
                <a:gd name="connsiteX265" fmla="*/ 393302 w 1596507"/>
                <a:gd name="connsiteY265" fmla="*/ 2276819 h 4862523"/>
                <a:gd name="connsiteX266" fmla="*/ 449688 w 1596507"/>
                <a:gd name="connsiteY266" fmla="*/ 2260030 h 4862523"/>
                <a:gd name="connsiteX267" fmla="*/ 507471 w 1596507"/>
                <a:gd name="connsiteY267" fmla="*/ 2247904 h 4862523"/>
                <a:gd name="connsiteX268" fmla="*/ 566653 w 1596507"/>
                <a:gd name="connsiteY268" fmla="*/ 2242308 h 4862523"/>
                <a:gd name="connsiteX269" fmla="*/ 596943 w 1596507"/>
                <a:gd name="connsiteY269" fmla="*/ 2241842 h 4862523"/>
                <a:gd name="connsiteX270" fmla="*/ 991177 w 1596507"/>
                <a:gd name="connsiteY270" fmla="*/ 2241842 h 4862523"/>
                <a:gd name="connsiteX271" fmla="*/ 1013079 w 1596507"/>
                <a:gd name="connsiteY271" fmla="*/ 2241375 h 4862523"/>
                <a:gd name="connsiteX272" fmla="*/ 1054552 w 1596507"/>
                <a:gd name="connsiteY272" fmla="*/ 2237178 h 4862523"/>
                <a:gd name="connsiteX273" fmla="*/ 1096026 w 1596507"/>
                <a:gd name="connsiteY273" fmla="*/ 2229250 h 4862523"/>
                <a:gd name="connsiteX274" fmla="*/ 1135170 w 1596507"/>
                <a:gd name="connsiteY274" fmla="*/ 2217124 h 4862523"/>
                <a:gd name="connsiteX275" fmla="*/ 1173382 w 1596507"/>
                <a:gd name="connsiteY275" fmla="*/ 2201267 h 4862523"/>
                <a:gd name="connsiteX276" fmla="*/ 1208797 w 1596507"/>
                <a:gd name="connsiteY276" fmla="*/ 2182613 h 4862523"/>
                <a:gd name="connsiteX277" fmla="*/ 1242815 w 1596507"/>
                <a:gd name="connsiteY277" fmla="*/ 2160227 h 4862523"/>
                <a:gd name="connsiteX278" fmla="*/ 1274037 w 1596507"/>
                <a:gd name="connsiteY278" fmla="*/ 2135509 h 4862523"/>
                <a:gd name="connsiteX279" fmla="*/ 1302463 w 1596507"/>
                <a:gd name="connsiteY279" fmla="*/ 2107527 h 4862523"/>
                <a:gd name="connsiteX280" fmla="*/ 1328559 w 1596507"/>
                <a:gd name="connsiteY280" fmla="*/ 2077213 h 4862523"/>
                <a:gd name="connsiteX281" fmla="*/ 1351859 w 1596507"/>
                <a:gd name="connsiteY281" fmla="*/ 2044567 h 4862523"/>
                <a:gd name="connsiteX282" fmla="*/ 1371896 w 1596507"/>
                <a:gd name="connsiteY282" fmla="*/ 2009589 h 4862523"/>
                <a:gd name="connsiteX283" fmla="*/ 1388206 w 1596507"/>
                <a:gd name="connsiteY283" fmla="*/ 1972746 h 4862523"/>
                <a:gd name="connsiteX284" fmla="*/ 1400788 w 1596507"/>
                <a:gd name="connsiteY284" fmla="*/ 1934970 h 4862523"/>
                <a:gd name="connsiteX285" fmla="*/ 1410108 w 1596507"/>
                <a:gd name="connsiteY285" fmla="*/ 1894862 h 4862523"/>
                <a:gd name="connsiteX286" fmla="*/ 1414768 w 1596507"/>
                <a:gd name="connsiteY286" fmla="*/ 1853822 h 4862523"/>
                <a:gd name="connsiteX287" fmla="*/ 1415234 w 1596507"/>
                <a:gd name="connsiteY287" fmla="*/ 1832835 h 4862523"/>
                <a:gd name="connsiteX288" fmla="*/ 1416166 w 1596507"/>
                <a:gd name="connsiteY288" fmla="*/ 1811382 h 4862523"/>
                <a:gd name="connsiteX289" fmla="*/ 1412438 w 1596507"/>
                <a:gd name="connsiteY289" fmla="*/ 1769875 h 4862523"/>
                <a:gd name="connsiteX290" fmla="*/ 1404982 w 1596507"/>
                <a:gd name="connsiteY290" fmla="*/ 1729301 h 4862523"/>
                <a:gd name="connsiteX291" fmla="*/ 1393798 w 1596507"/>
                <a:gd name="connsiteY291" fmla="*/ 1690126 h 4862523"/>
                <a:gd name="connsiteX292" fmla="*/ 1378420 w 1596507"/>
                <a:gd name="connsiteY292" fmla="*/ 1651883 h 4862523"/>
                <a:gd name="connsiteX293" fmla="*/ 1359315 w 1596507"/>
                <a:gd name="connsiteY293" fmla="*/ 1615506 h 4862523"/>
                <a:gd name="connsiteX294" fmla="*/ 1336947 w 1596507"/>
                <a:gd name="connsiteY294" fmla="*/ 1580995 h 4862523"/>
                <a:gd name="connsiteX295" fmla="*/ 1310851 w 1596507"/>
                <a:gd name="connsiteY295" fmla="*/ 1548349 h 4862523"/>
                <a:gd name="connsiteX296" fmla="*/ 1296405 w 1596507"/>
                <a:gd name="connsiteY296" fmla="*/ 1533425 h 4862523"/>
                <a:gd name="connsiteX297" fmla="*/ 1281493 w 1596507"/>
                <a:gd name="connsiteY297" fmla="*/ 1518968 h 4862523"/>
                <a:gd name="connsiteX298" fmla="*/ 1249339 w 1596507"/>
                <a:gd name="connsiteY298" fmla="*/ 1492385 h 4862523"/>
                <a:gd name="connsiteX299" fmla="*/ 1215321 w 1596507"/>
                <a:gd name="connsiteY299" fmla="*/ 1468600 h 4862523"/>
                <a:gd name="connsiteX300" fmla="*/ 1178974 w 1596507"/>
                <a:gd name="connsiteY300" fmla="*/ 1449479 h 4862523"/>
                <a:gd name="connsiteX301" fmla="*/ 1141694 w 1596507"/>
                <a:gd name="connsiteY301" fmla="*/ 1433622 h 4862523"/>
                <a:gd name="connsiteX302" fmla="*/ 1102550 w 1596507"/>
                <a:gd name="connsiteY302" fmla="*/ 1421496 h 4862523"/>
                <a:gd name="connsiteX303" fmla="*/ 1062008 w 1596507"/>
                <a:gd name="connsiteY303" fmla="*/ 1413568 h 4862523"/>
                <a:gd name="connsiteX304" fmla="*/ 1021000 w 1596507"/>
                <a:gd name="connsiteY304" fmla="*/ 1409371 h 4862523"/>
                <a:gd name="connsiteX305" fmla="*/ 1000031 w 1596507"/>
                <a:gd name="connsiteY305" fmla="*/ 1408904 h 4862523"/>
                <a:gd name="connsiteX306" fmla="*/ 605331 w 1596507"/>
                <a:gd name="connsiteY306" fmla="*/ 1408904 h 4862523"/>
                <a:gd name="connsiteX307" fmla="*/ 574575 w 1596507"/>
                <a:gd name="connsiteY307" fmla="*/ 1408438 h 4862523"/>
                <a:gd name="connsiteX308" fmla="*/ 514927 w 1596507"/>
                <a:gd name="connsiteY308" fmla="*/ 1402375 h 4862523"/>
                <a:gd name="connsiteX309" fmla="*/ 456212 w 1596507"/>
                <a:gd name="connsiteY309" fmla="*/ 1390716 h 4862523"/>
                <a:gd name="connsiteX310" fmla="*/ 399826 w 1596507"/>
                <a:gd name="connsiteY310" fmla="*/ 1373927 h 4862523"/>
                <a:gd name="connsiteX311" fmla="*/ 346236 w 1596507"/>
                <a:gd name="connsiteY311" fmla="*/ 1351541 h 4862523"/>
                <a:gd name="connsiteX312" fmla="*/ 295443 w 1596507"/>
                <a:gd name="connsiteY312" fmla="*/ 1324025 h 4862523"/>
                <a:gd name="connsiteX313" fmla="*/ 247445 w 1596507"/>
                <a:gd name="connsiteY313" fmla="*/ 1292312 h 4862523"/>
                <a:gd name="connsiteX314" fmla="*/ 202709 w 1596507"/>
                <a:gd name="connsiteY314" fmla="*/ 1256401 h 4862523"/>
                <a:gd name="connsiteX315" fmla="*/ 161701 w 1596507"/>
                <a:gd name="connsiteY315" fmla="*/ 1216760 h 4862523"/>
                <a:gd name="connsiteX316" fmla="*/ 123956 w 1596507"/>
                <a:gd name="connsiteY316" fmla="*/ 1172921 h 4862523"/>
                <a:gd name="connsiteX317" fmla="*/ 91336 w 1596507"/>
                <a:gd name="connsiteY317" fmla="*/ 1125818 h 4862523"/>
                <a:gd name="connsiteX318" fmla="*/ 62910 w 1596507"/>
                <a:gd name="connsiteY318" fmla="*/ 1076382 h 4862523"/>
                <a:gd name="connsiteX319" fmla="*/ 39610 w 1596507"/>
                <a:gd name="connsiteY319" fmla="*/ 1023216 h 4862523"/>
                <a:gd name="connsiteX320" fmla="*/ 21436 w 1596507"/>
                <a:gd name="connsiteY320" fmla="*/ 968185 h 4862523"/>
                <a:gd name="connsiteX321" fmla="*/ 7922 w 1596507"/>
                <a:gd name="connsiteY321" fmla="*/ 910821 h 4862523"/>
                <a:gd name="connsiteX322" fmla="*/ 932 w 1596507"/>
                <a:gd name="connsiteY322" fmla="*/ 851592 h 4862523"/>
                <a:gd name="connsiteX323" fmla="*/ 0 w 1596507"/>
                <a:gd name="connsiteY323" fmla="*/ 821278 h 4862523"/>
                <a:gd name="connsiteX324" fmla="*/ 0 w 1596507"/>
                <a:gd name="connsiteY324" fmla="*/ 790964 h 4862523"/>
                <a:gd name="connsiteX325" fmla="*/ 5126 w 1596507"/>
                <a:gd name="connsiteY325" fmla="*/ 731735 h 4862523"/>
                <a:gd name="connsiteX326" fmla="*/ 15378 w 1596507"/>
                <a:gd name="connsiteY326" fmla="*/ 673439 h 4862523"/>
                <a:gd name="connsiteX327" fmla="*/ 31688 w 1596507"/>
                <a:gd name="connsiteY327" fmla="*/ 617008 h 4862523"/>
                <a:gd name="connsiteX328" fmla="*/ 53590 w 1596507"/>
                <a:gd name="connsiteY328" fmla="*/ 562442 h 4862523"/>
                <a:gd name="connsiteX329" fmla="*/ 80618 w 1596507"/>
                <a:gd name="connsiteY329" fmla="*/ 510209 h 4862523"/>
                <a:gd name="connsiteX330" fmla="*/ 113238 w 1596507"/>
                <a:gd name="connsiteY330" fmla="*/ 460307 h 4862523"/>
                <a:gd name="connsiteX331" fmla="*/ 150517 w 1596507"/>
                <a:gd name="connsiteY331" fmla="*/ 414137 h 4862523"/>
                <a:gd name="connsiteX332" fmla="*/ 171021 w 1596507"/>
                <a:gd name="connsiteY332" fmla="*/ 392217 h 4862523"/>
                <a:gd name="connsiteX333" fmla="*/ 192923 w 1596507"/>
                <a:gd name="connsiteY333" fmla="*/ 370764 h 4862523"/>
                <a:gd name="connsiteX334" fmla="*/ 238591 w 1596507"/>
                <a:gd name="connsiteY334" fmla="*/ 332988 h 4862523"/>
                <a:gd name="connsiteX335" fmla="*/ 287521 w 1596507"/>
                <a:gd name="connsiteY335" fmla="*/ 299876 h 4862523"/>
                <a:gd name="connsiteX336" fmla="*/ 339246 w 1596507"/>
                <a:gd name="connsiteY336" fmla="*/ 271894 h 4862523"/>
                <a:gd name="connsiteX337" fmla="*/ 393302 w 1596507"/>
                <a:gd name="connsiteY337" fmla="*/ 249042 h 4862523"/>
                <a:gd name="connsiteX338" fmla="*/ 449688 w 1596507"/>
                <a:gd name="connsiteY338" fmla="*/ 231786 h 4862523"/>
                <a:gd name="connsiteX339" fmla="*/ 507471 w 1596507"/>
                <a:gd name="connsiteY339" fmla="*/ 219660 h 4862523"/>
                <a:gd name="connsiteX340" fmla="*/ 566653 w 1596507"/>
                <a:gd name="connsiteY340" fmla="*/ 214530 h 4862523"/>
                <a:gd name="connsiteX341" fmla="*/ 596943 w 1596507"/>
                <a:gd name="connsiteY341" fmla="*/ 213598 h 4862523"/>
                <a:gd name="connsiteX342" fmla="*/ 798720 w 1596507"/>
                <a:gd name="connsiteY342" fmla="*/ 213598 h 4862523"/>
                <a:gd name="connsiteX343" fmla="*/ 809438 w 1596507"/>
                <a:gd name="connsiteY343" fmla="*/ 213131 h 4862523"/>
                <a:gd name="connsiteX344" fmla="*/ 831340 w 1596507"/>
                <a:gd name="connsiteY344" fmla="*/ 208934 h 4862523"/>
                <a:gd name="connsiteX345" fmla="*/ 851377 w 1596507"/>
                <a:gd name="connsiteY345" fmla="*/ 200539 h 4862523"/>
                <a:gd name="connsiteX346" fmla="*/ 868619 w 1596507"/>
                <a:gd name="connsiteY346" fmla="*/ 188414 h 4862523"/>
                <a:gd name="connsiteX347" fmla="*/ 883997 w 1596507"/>
                <a:gd name="connsiteY347" fmla="*/ 173490 h 4862523"/>
                <a:gd name="connsiteX348" fmla="*/ 896113 w 1596507"/>
                <a:gd name="connsiteY348" fmla="*/ 155768 h 4862523"/>
                <a:gd name="connsiteX349" fmla="*/ 904501 w 1596507"/>
                <a:gd name="connsiteY349" fmla="*/ 135714 h 4862523"/>
                <a:gd name="connsiteX350" fmla="*/ 908695 w 1596507"/>
                <a:gd name="connsiteY350" fmla="*/ 114261 h 4862523"/>
                <a:gd name="connsiteX351" fmla="*/ 909161 w 1596507"/>
                <a:gd name="connsiteY351" fmla="*/ 102601 h 4862523"/>
                <a:gd name="connsiteX352" fmla="*/ 909161 w 1596507"/>
                <a:gd name="connsiteY352" fmla="*/ 0 h 486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1596507" h="4862523">
                  <a:moveTo>
                    <a:pt x="909161" y="0"/>
                  </a:moveTo>
                  <a:lnTo>
                    <a:pt x="1090434" y="0"/>
                  </a:lnTo>
                  <a:lnTo>
                    <a:pt x="1090434" y="102601"/>
                  </a:lnTo>
                  <a:lnTo>
                    <a:pt x="1089968" y="117525"/>
                  </a:lnTo>
                  <a:lnTo>
                    <a:pt x="1086706" y="147373"/>
                  </a:lnTo>
                  <a:lnTo>
                    <a:pt x="1081580" y="175822"/>
                  </a:lnTo>
                  <a:lnTo>
                    <a:pt x="1072726" y="203337"/>
                  </a:lnTo>
                  <a:lnTo>
                    <a:pt x="1055484" y="242046"/>
                  </a:lnTo>
                  <a:lnTo>
                    <a:pt x="1023796" y="288683"/>
                  </a:lnTo>
                  <a:lnTo>
                    <a:pt x="984187" y="328791"/>
                  </a:lnTo>
                  <a:lnTo>
                    <a:pt x="937587" y="360038"/>
                  </a:lnTo>
                  <a:lnTo>
                    <a:pt x="898909" y="377760"/>
                  </a:lnTo>
                  <a:lnTo>
                    <a:pt x="870949" y="386155"/>
                  </a:lnTo>
                  <a:lnTo>
                    <a:pt x="842989" y="391751"/>
                  </a:lnTo>
                  <a:lnTo>
                    <a:pt x="813166" y="394549"/>
                  </a:lnTo>
                  <a:lnTo>
                    <a:pt x="798720" y="395016"/>
                  </a:lnTo>
                  <a:lnTo>
                    <a:pt x="596943" y="395016"/>
                  </a:lnTo>
                  <a:lnTo>
                    <a:pt x="576439" y="395016"/>
                  </a:lnTo>
                  <a:lnTo>
                    <a:pt x="534965" y="399213"/>
                  </a:lnTo>
                  <a:lnTo>
                    <a:pt x="494423" y="407141"/>
                  </a:lnTo>
                  <a:lnTo>
                    <a:pt x="454814" y="419267"/>
                  </a:lnTo>
                  <a:lnTo>
                    <a:pt x="417534" y="435123"/>
                  </a:lnTo>
                  <a:lnTo>
                    <a:pt x="381186" y="455177"/>
                  </a:lnTo>
                  <a:lnTo>
                    <a:pt x="347634" y="478029"/>
                  </a:lnTo>
                  <a:lnTo>
                    <a:pt x="315480" y="504613"/>
                  </a:lnTo>
                  <a:lnTo>
                    <a:pt x="300569" y="519536"/>
                  </a:lnTo>
                  <a:lnTo>
                    <a:pt x="286123" y="534927"/>
                  </a:lnTo>
                  <a:lnTo>
                    <a:pt x="260027" y="566640"/>
                  </a:lnTo>
                  <a:lnTo>
                    <a:pt x="237659" y="601151"/>
                  </a:lnTo>
                  <a:lnTo>
                    <a:pt x="218087" y="637994"/>
                  </a:lnTo>
                  <a:lnTo>
                    <a:pt x="203175" y="675770"/>
                  </a:lnTo>
                  <a:lnTo>
                    <a:pt x="192457" y="715412"/>
                  </a:lnTo>
                  <a:lnTo>
                    <a:pt x="184535" y="755986"/>
                  </a:lnTo>
                  <a:lnTo>
                    <a:pt x="181273" y="797027"/>
                  </a:lnTo>
                  <a:lnTo>
                    <a:pt x="181273" y="818480"/>
                  </a:lnTo>
                  <a:lnTo>
                    <a:pt x="182205" y="839466"/>
                  </a:lnTo>
                  <a:lnTo>
                    <a:pt x="186865" y="880507"/>
                  </a:lnTo>
                  <a:lnTo>
                    <a:pt x="195719" y="920615"/>
                  </a:lnTo>
                  <a:lnTo>
                    <a:pt x="208767" y="959324"/>
                  </a:lnTo>
                  <a:lnTo>
                    <a:pt x="225543" y="996167"/>
                  </a:lnTo>
                  <a:lnTo>
                    <a:pt x="245581" y="1030678"/>
                  </a:lnTo>
                  <a:lnTo>
                    <a:pt x="268415" y="1063324"/>
                  </a:lnTo>
                  <a:lnTo>
                    <a:pt x="294511" y="1093172"/>
                  </a:lnTo>
                  <a:lnTo>
                    <a:pt x="323402" y="1121154"/>
                  </a:lnTo>
                  <a:lnTo>
                    <a:pt x="354158" y="1146338"/>
                  </a:lnTo>
                  <a:lnTo>
                    <a:pt x="388176" y="1168257"/>
                  </a:lnTo>
                  <a:lnTo>
                    <a:pt x="424058" y="1187845"/>
                  </a:lnTo>
                  <a:lnTo>
                    <a:pt x="461804" y="1202769"/>
                  </a:lnTo>
                  <a:lnTo>
                    <a:pt x="500947" y="1214894"/>
                  </a:lnTo>
                  <a:lnTo>
                    <a:pt x="541955" y="1223289"/>
                  </a:lnTo>
                  <a:lnTo>
                    <a:pt x="584361" y="1227486"/>
                  </a:lnTo>
                  <a:lnTo>
                    <a:pt x="605331" y="1227486"/>
                  </a:lnTo>
                  <a:lnTo>
                    <a:pt x="1000031" y="1227486"/>
                  </a:lnTo>
                  <a:lnTo>
                    <a:pt x="1029854" y="1227953"/>
                  </a:lnTo>
                  <a:lnTo>
                    <a:pt x="1089036" y="1234016"/>
                  </a:lnTo>
                  <a:lnTo>
                    <a:pt x="1147286" y="1245675"/>
                  </a:lnTo>
                  <a:lnTo>
                    <a:pt x="1203205" y="1263397"/>
                  </a:lnTo>
                  <a:lnTo>
                    <a:pt x="1257727" y="1285783"/>
                  </a:lnTo>
                  <a:lnTo>
                    <a:pt x="1308987" y="1313299"/>
                  </a:lnTo>
                  <a:lnTo>
                    <a:pt x="1357917" y="1346411"/>
                  </a:lnTo>
                  <a:lnTo>
                    <a:pt x="1404050" y="1385120"/>
                  </a:lnTo>
                  <a:lnTo>
                    <a:pt x="1425486" y="1406573"/>
                  </a:lnTo>
                  <a:lnTo>
                    <a:pt x="1445990" y="1428026"/>
                  </a:lnTo>
                  <a:lnTo>
                    <a:pt x="1483736" y="1474663"/>
                  </a:lnTo>
                  <a:lnTo>
                    <a:pt x="1516356" y="1524564"/>
                  </a:lnTo>
                  <a:lnTo>
                    <a:pt x="1543383" y="1576331"/>
                  </a:lnTo>
                  <a:lnTo>
                    <a:pt x="1565285" y="1630897"/>
                  </a:lnTo>
                  <a:lnTo>
                    <a:pt x="1581595" y="1687327"/>
                  </a:lnTo>
                  <a:lnTo>
                    <a:pt x="1591847" y="1745624"/>
                  </a:lnTo>
                  <a:lnTo>
                    <a:pt x="1596507" y="1805319"/>
                  </a:lnTo>
                  <a:lnTo>
                    <a:pt x="1596507" y="1835633"/>
                  </a:lnTo>
                  <a:lnTo>
                    <a:pt x="1596041" y="1865947"/>
                  </a:lnTo>
                  <a:lnTo>
                    <a:pt x="1588585" y="1925176"/>
                  </a:lnTo>
                  <a:lnTo>
                    <a:pt x="1576003" y="1982540"/>
                  </a:lnTo>
                  <a:lnTo>
                    <a:pt x="1557363" y="2037571"/>
                  </a:lnTo>
                  <a:lnTo>
                    <a:pt x="1533598" y="2090271"/>
                  </a:lnTo>
                  <a:lnTo>
                    <a:pt x="1505172" y="2140173"/>
                  </a:lnTo>
                  <a:lnTo>
                    <a:pt x="1472552" y="2186810"/>
                  </a:lnTo>
                  <a:lnTo>
                    <a:pt x="1435272" y="2230182"/>
                  </a:lnTo>
                  <a:lnTo>
                    <a:pt x="1394264" y="2270290"/>
                  </a:lnTo>
                  <a:lnTo>
                    <a:pt x="1349529" y="2306667"/>
                  </a:lnTo>
                  <a:lnTo>
                    <a:pt x="1301997" y="2337914"/>
                  </a:lnTo>
                  <a:lnTo>
                    <a:pt x="1250271" y="2364963"/>
                  </a:lnTo>
                  <a:lnTo>
                    <a:pt x="1196681" y="2387349"/>
                  </a:lnTo>
                  <a:lnTo>
                    <a:pt x="1140762" y="2404605"/>
                  </a:lnTo>
                  <a:lnTo>
                    <a:pt x="1082046" y="2416730"/>
                  </a:lnTo>
                  <a:lnTo>
                    <a:pt x="1021932" y="2422793"/>
                  </a:lnTo>
                  <a:lnTo>
                    <a:pt x="991177" y="2423260"/>
                  </a:lnTo>
                  <a:lnTo>
                    <a:pt x="596943" y="2423260"/>
                  </a:lnTo>
                  <a:lnTo>
                    <a:pt x="576439" y="2423260"/>
                  </a:lnTo>
                  <a:lnTo>
                    <a:pt x="534965" y="2427457"/>
                  </a:lnTo>
                  <a:lnTo>
                    <a:pt x="494423" y="2435852"/>
                  </a:lnTo>
                  <a:lnTo>
                    <a:pt x="454814" y="2447511"/>
                  </a:lnTo>
                  <a:lnTo>
                    <a:pt x="417534" y="2463834"/>
                  </a:lnTo>
                  <a:lnTo>
                    <a:pt x="381186" y="2482955"/>
                  </a:lnTo>
                  <a:lnTo>
                    <a:pt x="347634" y="2505807"/>
                  </a:lnTo>
                  <a:lnTo>
                    <a:pt x="315480" y="2532390"/>
                  </a:lnTo>
                  <a:lnTo>
                    <a:pt x="300569" y="2547780"/>
                  </a:lnTo>
                  <a:lnTo>
                    <a:pt x="286123" y="2562704"/>
                  </a:lnTo>
                  <a:lnTo>
                    <a:pt x="260027" y="2594884"/>
                  </a:lnTo>
                  <a:lnTo>
                    <a:pt x="237659" y="2629862"/>
                  </a:lnTo>
                  <a:lnTo>
                    <a:pt x="218087" y="2666238"/>
                  </a:lnTo>
                  <a:lnTo>
                    <a:pt x="203175" y="2704481"/>
                  </a:lnTo>
                  <a:lnTo>
                    <a:pt x="192457" y="2743656"/>
                  </a:lnTo>
                  <a:lnTo>
                    <a:pt x="184535" y="2784230"/>
                  </a:lnTo>
                  <a:lnTo>
                    <a:pt x="181273" y="2825737"/>
                  </a:lnTo>
                  <a:lnTo>
                    <a:pt x="181273" y="2846257"/>
                  </a:lnTo>
                  <a:lnTo>
                    <a:pt x="182205" y="2867710"/>
                  </a:lnTo>
                  <a:lnTo>
                    <a:pt x="186865" y="2908751"/>
                  </a:lnTo>
                  <a:lnTo>
                    <a:pt x="195719" y="2948392"/>
                  </a:lnTo>
                  <a:lnTo>
                    <a:pt x="208767" y="2987101"/>
                  </a:lnTo>
                  <a:lnTo>
                    <a:pt x="225543" y="3023944"/>
                  </a:lnTo>
                  <a:lnTo>
                    <a:pt x="245581" y="3058456"/>
                  </a:lnTo>
                  <a:lnTo>
                    <a:pt x="268415" y="3091102"/>
                  </a:lnTo>
                  <a:lnTo>
                    <a:pt x="294511" y="3121416"/>
                  </a:lnTo>
                  <a:lnTo>
                    <a:pt x="323402" y="3149398"/>
                  </a:lnTo>
                  <a:lnTo>
                    <a:pt x="354158" y="3174582"/>
                  </a:lnTo>
                  <a:lnTo>
                    <a:pt x="388176" y="3196501"/>
                  </a:lnTo>
                  <a:lnTo>
                    <a:pt x="424058" y="3215623"/>
                  </a:lnTo>
                  <a:lnTo>
                    <a:pt x="461804" y="3230546"/>
                  </a:lnTo>
                  <a:lnTo>
                    <a:pt x="500947" y="3242672"/>
                  </a:lnTo>
                  <a:lnTo>
                    <a:pt x="541955" y="3251533"/>
                  </a:lnTo>
                  <a:lnTo>
                    <a:pt x="584361" y="3255730"/>
                  </a:lnTo>
                  <a:lnTo>
                    <a:pt x="605331" y="3255730"/>
                  </a:lnTo>
                  <a:lnTo>
                    <a:pt x="1000031" y="3255730"/>
                  </a:lnTo>
                  <a:lnTo>
                    <a:pt x="1029854" y="3256197"/>
                  </a:lnTo>
                  <a:lnTo>
                    <a:pt x="1089036" y="3262260"/>
                  </a:lnTo>
                  <a:lnTo>
                    <a:pt x="1147286" y="3273919"/>
                  </a:lnTo>
                  <a:lnTo>
                    <a:pt x="1203205" y="3291175"/>
                  </a:lnTo>
                  <a:lnTo>
                    <a:pt x="1257727" y="3313560"/>
                  </a:lnTo>
                  <a:lnTo>
                    <a:pt x="1308987" y="3341543"/>
                  </a:lnTo>
                  <a:lnTo>
                    <a:pt x="1357917" y="3374655"/>
                  </a:lnTo>
                  <a:lnTo>
                    <a:pt x="1404050" y="3413364"/>
                  </a:lnTo>
                  <a:lnTo>
                    <a:pt x="1425486" y="3434350"/>
                  </a:lnTo>
                  <a:lnTo>
                    <a:pt x="1445990" y="3456270"/>
                  </a:lnTo>
                  <a:lnTo>
                    <a:pt x="1483736" y="3502907"/>
                  </a:lnTo>
                  <a:lnTo>
                    <a:pt x="1516356" y="3552342"/>
                  </a:lnTo>
                  <a:lnTo>
                    <a:pt x="1543383" y="3604109"/>
                  </a:lnTo>
                  <a:lnTo>
                    <a:pt x="1565285" y="3658674"/>
                  </a:lnTo>
                  <a:lnTo>
                    <a:pt x="1581595" y="3715571"/>
                  </a:lnTo>
                  <a:lnTo>
                    <a:pt x="1591847" y="3773401"/>
                  </a:lnTo>
                  <a:lnTo>
                    <a:pt x="1596507" y="3833563"/>
                  </a:lnTo>
                  <a:lnTo>
                    <a:pt x="1596507" y="3863877"/>
                  </a:lnTo>
                  <a:lnTo>
                    <a:pt x="1596041" y="3893725"/>
                  </a:lnTo>
                  <a:lnTo>
                    <a:pt x="1588585" y="3952954"/>
                  </a:lnTo>
                  <a:lnTo>
                    <a:pt x="1576003" y="4010317"/>
                  </a:lnTo>
                  <a:lnTo>
                    <a:pt x="1557363" y="4065349"/>
                  </a:lnTo>
                  <a:lnTo>
                    <a:pt x="1533598" y="4118049"/>
                  </a:lnTo>
                  <a:lnTo>
                    <a:pt x="1505172" y="4168417"/>
                  </a:lnTo>
                  <a:lnTo>
                    <a:pt x="1472552" y="4215054"/>
                  </a:lnTo>
                  <a:lnTo>
                    <a:pt x="1435272" y="4258426"/>
                  </a:lnTo>
                  <a:lnTo>
                    <a:pt x="1394264" y="4298068"/>
                  </a:lnTo>
                  <a:lnTo>
                    <a:pt x="1349529" y="4334445"/>
                  </a:lnTo>
                  <a:lnTo>
                    <a:pt x="1301997" y="4366158"/>
                  </a:lnTo>
                  <a:lnTo>
                    <a:pt x="1250271" y="4393207"/>
                  </a:lnTo>
                  <a:lnTo>
                    <a:pt x="1196681" y="4415593"/>
                  </a:lnTo>
                  <a:lnTo>
                    <a:pt x="1140762" y="4432849"/>
                  </a:lnTo>
                  <a:lnTo>
                    <a:pt x="1082046" y="4444508"/>
                  </a:lnTo>
                  <a:lnTo>
                    <a:pt x="1021932" y="4450571"/>
                  </a:lnTo>
                  <a:lnTo>
                    <a:pt x="991177" y="4451037"/>
                  </a:lnTo>
                  <a:lnTo>
                    <a:pt x="596943" y="4451037"/>
                  </a:lnTo>
                  <a:lnTo>
                    <a:pt x="576439" y="4451037"/>
                  </a:lnTo>
                  <a:lnTo>
                    <a:pt x="534965" y="4455235"/>
                  </a:lnTo>
                  <a:lnTo>
                    <a:pt x="494423" y="4464096"/>
                  </a:lnTo>
                  <a:lnTo>
                    <a:pt x="454814" y="4475289"/>
                  </a:lnTo>
                  <a:lnTo>
                    <a:pt x="417534" y="4491612"/>
                  </a:lnTo>
                  <a:lnTo>
                    <a:pt x="381186" y="4511199"/>
                  </a:lnTo>
                  <a:lnTo>
                    <a:pt x="347634" y="4534051"/>
                  </a:lnTo>
                  <a:lnTo>
                    <a:pt x="315480" y="4560634"/>
                  </a:lnTo>
                  <a:lnTo>
                    <a:pt x="300569" y="4575558"/>
                  </a:lnTo>
                  <a:lnTo>
                    <a:pt x="286123" y="4590948"/>
                  </a:lnTo>
                  <a:lnTo>
                    <a:pt x="260027" y="4622662"/>
                  </a:lnTo>
                  <a:lnTo>
                    <a:pt x="237659" y="4658106"/>
                  </a:lnTo>
                  <a:lnTo>
                    <a:pt x="218087" y="4694016"/>
                  </a:lnTo>
                  <a:lnTo>
                    <a:pt x="203175" y="4732259"/>
                  </a:lnTo>
                  <a:lnTo>
                    <a:pt x="192457" y="4771434"/>
                  </a:lnTo>
                  <a:lnTo>
                    <a:pt x="184535" y="4812008"/>
                  </a:lnTo>
                  <a:lnTo>
                    <a:pt x="181273" y="4853981"/>
                  </a:lnTo>
                  <a:lnTo>
                    <a:pt x="181273" y="4862523"/>
                  </a:lnTo>
                  <a:lnTo>
                    <a:pt x="0" y="4862523"/>
                  </a:lnTo>
                  <a:lnTo>
                    <a:pt x="0" y="4846986"/>
                  </a:lnTo>
                  <a:lnTo>
                    <a:pt x="5126" y="4787757"/>
                  </a:lnTo>
                  <a:lnTo>
                    <a:pt x="15378" y="4729460"/>
                  </a:lnTo>
                  <a:lnTo>
                    <a:pt x="31688" y="4673030"/>
                  </a:lnTo>
                  <a:lnTo>
                    <a:pt x="53590" y="4618464"/>
                  </a:lnTo>
                  <a:lnTo>
                    <a:pt x="80618" y="4566231"/>
                  </a:lnTo>
                  <a:lnTo>
                    <a:pt x="113238" y="4516329"/>
                  </a:lnTo>
                  <a:lnTo>
                    <a:pt x="150517" y="4470625"/>
                  </a:lnTo>
                  <a:lnTo>
                    <a:pt x="171021" y="4448239"/>
                  </a:lnTo>
                  <a:lnTo>
                    <a:pt x="192923" y="4427252"/>
                  </a:lnTo>
                  <a:lnTo>
                    <a:pt x="238591" y="4389010"/>
                  </a:lnTo>
                  <a:lnTo>
                    <a:pt x="287521" y="4355898"/>
                  </a:lnTo>
                  <a:lnTo>
                    <a:pt x="339246" y="4327916"/>
                  </a:lnTo>
                  <a:lnTo>
                    <a:pt x="393302" y="4305063"/>
                  </a:lnTo>
                  <a:lnTo>
                    <a:pt x="449688" y="4287808"/>
                  </a:lnTo>
                  <a:lnTo>
                    <a:pt x="507471" y="4275682"/>
                  </a:lnTo>
                  <a:lnTo>
                    <a:pt x="566653" y="4270552"/>
                  </a:lnTo>
                  <a:lnTo>
                    <a:pt x="596943" y="4270086"/>
                  </a:lnTo>
                  <a:lnTo>
                    <a:pt x="991177" y="4270086"/>
                  </a:lnTo>
                  <a:lnTo>
                    <a:pt x="1013079" y="4269153"/>
                  </a:lnTo>
                  <a:lnTo>
                    <a:pt x="1054552" y="4264956"/>
                  </a:lnTo>
                  <a:lnTo>
                    <a:pt x="1096026" y="4257027"/>
                  </a:lnTo>
                  <a:lnTo>
                    <a:pt x="1135170" y="4244902"/>
                  </a:lnTo>
                  <a:lnTo>
                    <a:pt x="1173382" y="4229511"/>
                  </a:lnTo>
                  <a:lnTo>
                    <a:pt x="1208797" y="4210857"/>
                  </a:lnTo>
                  <a:lnTo>
                    <a:pt x="1242815" y="4188471"/>
                  </a:lnTo>
                  <a:lnTo>
                    <a:pt x="1274037" y="4163287"/>
                  </a:lnTo>
                  <a:lnTo>
                    <a:pt x="1302463" y="4135771"/>
                  </a:lnTo>
                  <a:lnTo>
                    <a:pt x="1328559" y="4105457"/>
                  </a:lnTo>
                  <a:lnTo>
                    <a:pt x="1351859" y="4072811"/>
                  </a:lnTo>
                  <a:lnTo>
                    <a:pt x="1371896" y="4037833"/>
                  </a:lnTo>
                  <a:lnTo>
                    <a:pt x="1388206" y="4001456"/>
                  </a:lnTo>
                  <a:lnTo>
                    <a:pt x="1400788" y="3962748"/>
                  </a:lnTo>
                  <a:lnTo>
                    <a:pt x="1410108" y="3923106"/>
                  </a:lnTo>
                  <a:lnTo>
                    <a:pt x="1414768" y="3881599"/>
                  </a:lnTo>
                  <a:lnTo>
                    <a:pt x="1415234" y="3860613"/>
                  </a:lnTo>
                  <a:lnTo>
                    <a:pt x="1416166" y="3839626"/>
                  </a:lnTo>
                  <a:lnTo>
                    <a:pt x="1412438" y="3797653"/>
                  </a:lnTo>
                  <a:lnTo>
                    <a:pt x="1404982" y="3757078"/>
                  </a:lnTo>
                  <a:lnTo>
                    <a:pt x="1393798" y="3717903"/>
                  </a:lnTo>
                  <a:lnTo>
                    <a:pt x="1378420" y="3680127"/>
                  </a:lnTo>
                  <a:lnTo>
                    <a:pt x="1359315" y="3643750"/>
                  </a:lnTo>
                  <a:lnTo>
                    <a:pt x="1336947" y="3609239"/>
                  </a:lnTo>
                  <a:lnTo>
                    <a:pt x="1310851" y="3576593"/>
                  </a:lnTo>
                  <a:lnTo>
                    <a:pt x="1296405" y="3561203"/>
                  </a:lnTo>
                  <a:lnTo>
                    <a:pt x="1281493" y="3546745"/>
                  </a:lnTo>
                  <a:lnTo>
                    <a:pt x="1249339" y="3520162"/>
                  </a:lnTo>
                  <a:lnTo>
                    <a:pt x="1215321" y="3496844"/>
                  </a:lnTo>
                  <a:lnTo>
                    <a:pt x="1178974" y="3477256"/>
                  </a:lnTo>
                  <a:lnTo>
                    <a:pt x="1141694" y="3461866"/>
                  </a:lnTo>
                  <a:lnTo>
                    <a:pt x="1102550" y="3449740"/>
                  </a:lnTo>
                  <a:lnTo>
                    <a:pt x="1062008" y="3441812"/>
                  </a:lnTo>
                  <a:lnTo>
                    <a:pt x="1021000" y="3437615"/>
                  </a:lnTo>
                  <a:lnTo>
                    <a:pt x="1000031" y="3436682"/>
                  </a:lnTo>
                  <a:lnTo>
                    <a:pt x="605331" y="3436682"/>
                  </a:lnTo>
                  <a:lnTo>
                    <a:pt x="574575" y="3436216"/>
                  </a:lnTo>
                  <a:lnTo>
                    <a:pt x="514927" y="3430153"/>
                  </a:lnTo>
                  <a:lnTo>
                    <a:pt x="456212" y="3418960"/>
                  </a:lnTo>
                  <a:lnTo>
                    <a:pt x="399826" y="3401704"/>
                  </a:lnTo>
                  <a:lnTo>
                    <a:pt x="346236" y="3379318"/>
                  </a:lnTo>
                  <a:lnTo>
                    <a:pt x="295443" y="3352269"/>
                  </a:lnTo>
                  <a:lnTo>
                    <a:pt x="247445" y="3320089"/>
                  </a:lnTo>
                  <a:lnTo>
                    <a:pt x="202709" y="3284645"/>
                  </a:lnTo>
                  <a:lnTo>
                    <a:pt x="161701" y="3244538"/>
                  </a:lnTo>
                  <a:lnTo>
                    <a:pt x="123956" y="3201165"/>
                  </a:lnTo>
                  <a:lnTo>
                    <a:pt x="91336" y="3154062"/>
                  </a:lnTo>
                  <a:lnTo>
                    <a:pt x="62910" y="3104626"/>
                  </a:lnTo>
                  <a:lnTo>
                    <a:pt x="39610" y="3051460"/>
                  </a:lnTo>
                  <a:lnTo>
                    <a:pt x="21436" y="2996429"/>
                  </a:lnTo>
                  <a:lnTo>
                    <a:pt x="7922" y="2938599"/>
                  </a:lnTo>
                  <a:lnTo>
                    <a:pt x="932" y="2879370"/>
                  </a:lnTo>
                  <a:lnTo>
                    <a:pt x="0" y="2849522"/>
                  </a:lnTo>
                  <a:lnTo>
                    <a:pt x="0" y="2819208"/>
                  </a:lnTo>
                  <a:lnTo>
                    <a:pt x="5126" y="2759979"/>
                  </a:lnTo>
                  <a:lnTo>
                    <a:pt x="15378" y="2701216"/>
                  </a:lnTo>
                  <a:lnTo>
                    <a:pt x="31688" y="2645252"/>
                  </a:lnTo>
                  <a:lnTo>
                    <a:pt x="53590" y="2590687"/>
                  </a:lnTo>
                  <a:lnTo>
                    <a:pt x="80618" y="2537987"/>
                  </a:lnTo>
                  <a:lnTo>
                    <a:pt x="113238" y="2488551"/>
                  </a:lnTo>
                  <a:lnTo>
                    <a:pt x="150517" y="2441914"/>
                  </a:lnTo>
                  <a:lnTo>
                    <a:pt x="171021" y="2419995"/>
                  </a:lnTo>
                  <a:lnTo>
                    <a:pt x="192923" y="2399008"/>
                  </a:lnTo>
                  <a:lnTo>
                    <a:pt x="238591" y="2360766"/>
                  </a:lnTo>
                  <a:lnTo>
                    <a:pt x="287521" y="2327654"/>
                  </a:lnTo>
                  <a:lnTo>
                    <a:pt x="339246" y="2299672"/>
                  </a:lnTo>
                  <a:lnTo>
                    <a:pt x="393302" y="2276819"/>
                  </a:lnTo>
                  <a:lnTo>
                    <a:pt x="449688" y="2260030"/>
                  </a:lnTo>
                  <a:lnTo>
                    <a:pt x="507471" y="2247904"/>
                  </a:lnTo>
                  <a:lnTo>
                    <a:pt x="566653" y="2242308"/>
                  </a:lnTo>
                  <a:lnTo>
                    <a:pt x="596943" y="2241842"/>
                  </a:lnTo>
                  <a:lnTo>
                    <a:pt x="991177" y="2241842"/>
                  </a:lnTo>
                  <a:lnTo>
                    <a:pt x="1013079" y="2241375"/>
                  </a:lnTo>
                  <a:lnTo>
                    <a:pt x="1054552" y="2237178"/>
                  </a:lnTo>
                  <a:lnTo>
                    <a:pt x="1096026" y="2229250"/>
                  </a:lnTo>
                  <a:lnTo>
                    <a:pt x="1135170" y="2217124"/>
                  </a:lnTo>
                  <a:lnTo>
                    <a:pt x="1173382" y="2201267"/>
                  </a:lnTo>
                  <a:lnTo>
                    <a:pt x="1208797" y="2182613"/>
                  </a:lnTo>
                  <a:lnTo>
                    <a:pt x="1242815" y="2160227"/>
                  </a:lnTo>
                  <a:lnTo>
                    <a:pt x="1274037" y="2135509"/>
                  </a:lnTo>
                  <a:lnTo>
                    <a:pt x="1302463" y="2107527"/>
                  </a:lnTo>
                  <a:lnTo>
                    <a:pt x="1328559" y="2077213"/>
                  </a:lnTo>
                  <a:lnTo>
                    <a:pt x="1351859" y="2044567"/>
                  </a:lnTo>
                  <a:lnTo>
                    <a:pt x="1371896" y="2009589"/>
                  </a:lnTo>
                  <a:lnTo>
                    <a:pt x="1388206" y="1972746"/>
                  </a:lnTo>
                  <a:lnTo>
                    <a:pt x="1400788" y="1934970"/>
                  </a:lnTo>
                  <a:lnTo>
                    <a:pt x="1410108" y="1894862"/>
                  </a:lnTo>
                  <a:lnTo>
                    <a:pt x="1414768" y="1853822"/>
                  </a:lnTo>
                  <a:lnTo>
                    <a:pt x="1415234" y="1832835"/>
                  </a:lnTo>
                  <a:lnTo>
                    <a:pt x="1416166" y="1811382"/>
                  </a:lnTo>
                  <a:lnTo>
                    <a:pt x="1412438" y="1769875"/>
                  </a:lnTo>
                  <a:lnTo>
                    <a:pt x="1404982" y="1729301"/>
                  </a:lnTo>
                  <a:lnTo>
                    <a:pt x="1393798" y="1690126"/>
                  </a:lnTo>
                  <a:lnTo>
                    <a:pt x="1378420" y="1651883"/>
                  </a:lnTo>
                  <a:lnTo>
                    <a:pt x="1359315" y="1615506"/>
                  </a:lnTo>
                  <a:lnTo>
                    <a:pt x="1336947" y="1580995"/>
                  </a:lnTo>
                  <a:lnTo>
                    <a:pt x="1310851" y="1548349"/>
                  </a:lnTo>
                  <a:lnTo>
                    <a:pt x="1296405" y="1533425"/>
                  </a:lnTo>
                  <a:lnTo>
                    <a:pt x="1281493" y="1518968"/>
                  </a:lnTo>
                  <a:lnTo>
                    <a:pt x="1249339" y="1492385"/>
                  </a:lnTo>
                  <a:lnTo>
                    <a:pt x="1215321" y="1468600"/>
                  </a:lnTo>
                  <a:lnTo>
                    <a:pt x="1178974" y="1449479"/>
                  </a:lnTo>
                  <a:lnTo>
                    <a:pt x="1141694" y="1433622"/>
                  </a:lnTo>
                  <a:lnTo>
                    <a:pt x="1102550" y="1421496"/>
                  </a:lnTo>
                  <a:lnTo>
                    <a:pt x="1062008" y="1413568"/>
                  </a:lnTo>
                  <a:lnTo>
                    <a:pt x="1021000" y="1409371"/>
                  </a:lnTo>
                  <a:lnTo>
                    <a:pt x="1000031" y="1408904"/>
                  </a:lnTo>
                  <a:lnTo>
                    <a:pt x="605331" y="1408904"/>
                  </a:lnTo>
                  <a:lnTo>
                    <a:pt x="574575" y="1408438"/>
                  </a:lnTo>
                  <a:lnTo>
                    <a:pt x="514927" y="1402375"/>
                  </a:lnTo>
                  <a:lnTo>
                    <a:pt x="456212" y="1390716"/>
                  </a:lnTo>
                  <a:lnTo>
                    <a:pt x="399826" y="1373927"/>
                  </a:lnTo>
                  <a:lnTo>
                    <a:pt x="346236" y="1351541"/>
                  </a:lnTo>
                  <a:lnTo>
                    <a:pt x="295443" y="1324025"/>
                  </a:lnTo>
                  <a:lnTo>
                    <a:pt x="247445" y="1292312"/>
                  </a:lnTo>
                  <a:lnTo>
                    <a:pt x="202709" y="1256401"/>
                  </a:lnTo>
                  <a:lnTo>
                    <a:pt x="161701" y="1216760"/>
                  </a:lnTo>
                  <a:lnTo>
                    <a:pt x="123956" y="1172921"/>
                  </a:lnTo>
                  <a:lnTo>
                    <a:pt x="91336" y="1125818"/>
                  </a:lnTo>
                  <a:lnTo>
                    <a:pt x="62910" y="1076382"/>
                  </a:lnTo>
                  <a:lnTo>
                    <a:pt x="39610" y="1023216"/>
                  </a:lnTo>
                  <a:lnTo>
                    <a:pt x="21436" y="968185"/>
                  </a:lnTo>
                  <a:lnTo>
                    <a:pt x="7922" y="910821"/>
                  </a:lnTo>
                  <a:lnTo>
                    <a:pt x="932" y="851592"/>
                  </a:lnTo>
                  <a:lnTo>
                    <a:pt x="0" y="821278"/>
                  </a:lnTo>
                  <a:lnTo>
                    <a:pt x="0" y="790964"/>
                  </a:lnTo>
                  <a:lnTo>
                    <a:pt x="5126" y="731735"/>
                  </a:lnTo>
                  <a:lnTo>
                    <a:pt x="15378" y="673439"/>
                  </a:lnTo>
                  <a:lnTo>
                    <a:pt x="31688" y="617008"/>
                  </a:lnTo>
                  <a:lnTo>
                    <a:pt x="53590" y="562442"/>
                  </a:lnTo>
                  <a:lnTo>
                    <a:pt x="80618" y="510209"/>
                  </a:lnTo>
                  <a:lnTo>
                    <a:pt x="113238" y="460307"/>
                  </a:lnTo>
                  <a:lnTo>
                    <a:pt x="150517" y="414137"/>
                  </a:lnTo>
                  <a:lnTo>
                    <a:pt x="171021" y="392217"/>
                  </a:lnTo>
                  <a:lnTo>
                    <a:pt x="192923" y="370764"/>
                  </a:lnTo>
                  <a:lnTo>
                    <a:pt x="238591" y="332988"/>
                  </a:lnTo>
                  <a:lnTo>
                    <a:pt x="287521" y="299876"/>
                  </a:lnTo>
                  <a:lnTo>
                    <a:pt x="339246" y="271894"/>
                  </a:lnTo>
                  <a:lnTo>
                    <a:pt x="393302" y="249042"/>
                  </a:lnTo>
                  <a:lnTo>
                    <a:pt x="449688" y="231786"/>
                  </a:lnTo>
                  <a:lnTo>
                    <a:pt x="507471" y="219660"/>
                  </a:lnTo>
                  <a:lnTo>
                    <a:pt x="566653" y="214530"/>
                  </a:lnTo>
                  <a:lnTo>
                    <a:pt x="596943" y="213598"/>
                  </a:lnTo>
                  <a:lnTo>
                    <a:pt x="798720" y="213598"/>
                  </a:lnTo>
                  <a:lnTo>
                    <a:pt x="809438" y="213131"/>
                  </a:lnTo>
                  <a:lnTo>
                    <a:pt x="831340" y="208934"/>
                  </a:lnTo>
                  <a:lnTo>
                    <a:pt x="851377" y="200539"/>
                  </a:lnTo>
                  <a:lnTo>
                    <a:pt x="868619" y="188414"/>
                  </a:lnTo>
                  <a:lnTo>
                    <a:pt x="883997" y="173490"/>
                  </a:lnTo>
                  <a:lnTo>
                    <a:pt x="896113" y="155768"/>
                  </a:lnTo>
                  <a:lnTo>
                    <a:pt x="904501" y="135714"/>
                  </a:lnTo>
                  <a:lnTo>
                    <a:pt x="908695" y="114261"/>
                  </a:lnTo>
                  <a:lnTo>
                    <a:pt x="909161" y="102601"/>
                  </a:lnTo>
                  <a:lnTo>
                    <a:pt x="909161"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 name="Rectangle 4">
              <a:extLst>
                <a:ext uri="{FF2B5EF4-FFF2-40B4-BE49-F238E27FC236}">
                  <a16:creationId xmlns:a16="http://schemas.microsoft.com/office/drawing/2014/main" id="{58C147CF-0CD3-B040-9E40-83118D8EB10E}"/>
                </a:ext>
                <a:ext uri="{C183D7F6-B498-43B3-948B-1728B52AA6E4}">
                  <adec:decorative xmlns:adec="http://schemas.microsoft.com/office/drawing/2017/decorative" val="1"/>
                </a:ext>
              </a:extLst>
            </p:cNvPr>
            <p:cNvSpPr/>
            <p:nvPr/>
          </p:nvSpPr>
          <p:spPr>
            <a:xfrm>
              <a:off x="6834840" y="4733924"/>
              <a:ext cx="45719" cy="25530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Tree>
    <p:extLst>
      <p:ext uri="{BB962C8B-B14F-4D97-AF65-F5344CB8AC3E}">
        <p14:creationId xmlns:p14="http://schemas.microsoft.com/office/powerpoint/2010/main" val="38677207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143A88-C215-4C38-BDA1-8D492CDBDA6D}"/>
              </a:ext>
            </a:extLst>
          </p:cNvPr>
          <p:cNvSpPr>
            <a:spLocks noGrp="1"/>
          </p:cNvSpPr>
          <p:nvPr>
            <p:ph type="title"/>
          </p:nvPr>
        </p:nvSpPr>
        <p:spPr/>
        <p:txBody>
          <a:bodyPr/>
          <a:lstStyle/>
          <a:p>
            <a:r>
              <a:rPr lang="en-US"/>
              <a:t>TIMELINE</a:t>
            </a:r>
          </a:p>
        </p:txBody>
      </p:sp>
      <p:sp>
        <p:nvSpPr>
          <p:cNvPr id="8" name="Textfeld 40" descr="&#10;&#10;&#10;&#10;&#10;&#10;&#10;&#10;&#10;&#10;&#10;&#10;&#10;&#10;&#10;&#10;&#10;&#10;&#10;&#10;&#10;&#10;&#10;&#10;&#10;&#10;&#10;&#10;&#10;&#10;&#10;&#10;&#10;&#10;&#10;&#10;&#10;&#10;&#10;&#10;&#10;&#10;&#10;&#10;&#10;&#10;&#10;&#10;&#10;&#10;&#10;&#10;&#10;&#10;&#10;&#10;&#10;&#10;&#10;&#10;&#10;&#10;&#10;PresentationLoad.com">
            <a:extLst>
              <a:ext uri="{FF2B5EF4-FFF2-40B4-BE49-F238E27FC236}">
                <a16:creationId xmlns:a16="http://schemas.microsoft.com/office/drawing/2014/main" id="{086C69AE-DDF6-43AE-B3A9-229DC271BF00}"/>
              </a:ext>
            </a:extLst>
          </p:cNvPr>
          <p:cNvSpPr txBox="1"/>
          <p:nvPr/>
        </p:nvSpPr>
        <p:spPr>
          <a:xfrm>
            <a:off x="230345" y="2004795"/>
            <a:ext cx="2270196" cy="1661707"/>
          </a:xfrm>
          <a:prstGeom prst="rect">
            <a:avLst/>
          </a:prstGeom>
          <a:noFill/>
        </p:spPr>
        <p:txBody>
          <a:bodyPr wrap="square" lIns="91431" tIns="45715" rIns="91431" bIns="45715" rtlCol="0" anchor="t">
            <a:noAutofit/>
          </a:bodyPr>
          <a:lstStyle/>
          <a:p>
            <a:pPr algn="ctr" defTabSz="801688">
              <a:spcAft>
                <a:spcPts val="600"/>
              </a:spcAft>
            </a:pPr>
            <a:r>
              <a:rPr lang="en-GB" sz="2000" b="1">
                <a:solidFill>
                  <a:srgbClr val="811B6F"/>
                </a:solidFill>
                <a:latin typeface="+mj-lt"/>
              </a:rPr>
              <a:t>2000</a:t>
            </a:r>
          </a:p>
          <a:p>
            <a:pPr algn="ctr">
              <a:spcAft>
                <a:spcPts val="800"/>
              </a:spcAft>
            </a:pPr>
            <a:r>
              <a:rPr lang="en-GB" sz="1400"/>
              <a:t>This is a placeholder text. This text can be replaced with your own text.</a:t>
            </a:r>
          </a:p>
        </p:txBody>
      </p:sp>
      <p:sp>
        <p:nvSpPr>
          <p:cNvPr id="9" name="Textfeld 41" descr="&#10;&#10;&#10;&#10;&#10;&#10;&#10;&#10;&#10;&#10;&#10;&#10;&#10;&#10;&#10;&#10;&#10;&#10;&#10;&#10;&#10;&#10;&#10;&#10;&#10;&#10;&#10;&#10;&#10;&#10;&#10;&#10;&#10;&#10;&#10;&#10;&#10;&#10;&#10;&#10;&#10;&#10;&#10;&#10;&#10;&#10;&#10;&#10;&#10;&#10;&#10;&#10;&#10;&#10;&#10;&#10;&#10;&#10;&#10;&#10;&#10;&#10;&#10;PresentationLoad.com">
            <a:extLst>
              <a:ext uri="{FF2B5EF4-FFF2-40B4-BE49-F238E27FC236}">
                <a16:creationId xmlns:a16="http://schemas.microsoft.com/office/drawing/2014/main" id="{DBD359D0-35BC-4EB4-BD31-AA5DF350DF01}"/>
              </a:ext>
            </a:extLst>
          </p:cNvPr>
          <p:cNvSpPr txBox="1"/>
          <p:nvPr/>
        </p:nvSpPr>
        <p:spPr>
          <a:xfrm>
            <a:off x="2152806" y="4142064"/>
            <a:ext cx="2270196" cy="1654987"/>
          </a:xfrm>
          <a:prstGeom prst="rect">
            <a:avLst/>
          </a:prstGeom>
          <a:noFill/>
        </p:spPr>
        <p:txBody>
          <a:bodyPr wrap="square" lIns="91431" tIns="45715" rIns="91431" bIns="45715" rtlCol="0" anchor="t">
            <a:noAutofit/>
          </a:bodyPr>
          <a:lstStyle/>
          <a:p>
            <a:pPr algn="ctr" defTabSz="801688">
              <a:spcAft>
                <a:spcPts val="600"/>
              </a:spcAft>
            </a:pPr>
            <a:r>
              <a:rPr lang="en-GB" sz="2000" b="1">
                <a:solidFill>
                  <a:srgbClr val="007D74"/>
                </a:solidFill>
                <a:latin typeface="+mj-lt"/>
              </a:rPr>
              <a:t>2005</a:t>
            </a:r>
          </a:p>
          <a:p>
            <a:pPr algn="ctr">
              <a:spcAft>
                <a:spcPts val="800"/>
              </a:spcAft>
            </a:pPr>
            <a:r>
              <a:rPr lang="en-GB" sz="1400"/>
              <a:t>This is a placeholder text. This text can be replaced with your own text.</a:t>
            </a:r>
          </a:p>
        </p:txBody>
      </p:sp>
      <p:sp>
        <p:nvSpPr>
          <p:cNvPr id="10" name="Textfeld 42" descr="&#10;&#10;&#10;&#10;&#10;&#10;&#10;&#10;&#10;&#10;&#10;&#10;&#10;&#10;&#10;&#10;&#10;&#10;&#10;&#10;&#10;&#10;&#10;&#10;&#10;&#10;&#10;&#10;&#10;&#10;&#10;&#10;&#10;&#10;&#10;&#10;&#10;&#10;&#10;&#10;&#10;&#10;&#10;&#10;&#10;&#10;&#10;&#10;&#10;&#10;&#10;&#10;&#10;&#10;&#10;&#10;&#10;&#10;&#10;&#10;&#10;&#10;&#10;PresentationLoad.com">
            <a:extLst>
              <a:ext uri="{FF2B5EF4-FFF2-40B4-BE49-F238E27FC236}">
                <a16:creationId xmlns:a16="http://schemas.microsoft.com/office/drawing/2014/main" id="{235B6D34-F837-4318-83A6-6EA329E3C695}"/>
              </a:ext>
            </a:extLst>
          </p:cNvPr>
          <p:cNvSpPr txBox="1"/>
          <p:nvPr/>
        </p:nvSpPr>
        <p:spPr>
          <a:xfrm>
            <a:off x="4103031" y="2074826"/>
            <a:ext cx="2270196" cy="1558897"/>
          </a:xfrm>
          <a:prstGeom prst="rect">
            <a:avLst/>
          </a:prstGeom>
          <a:noFill/>
        </p:spPr>
        <p:txBody>
          <a:bodyPr wrap="square" lIns="91431" tIns="45715" rIns="91431" bIns="45715" rtlCol="0" anchor="t">
            <a:noAutofit/>
          </a:bodyPr>
          <a:lstStyle/>
          <a:p>
            <a:pPr algn="ctr" defTabSz="801688">
              <a:spcAft>
                <a:spcPts val="600"/>
              </a:spcAft>
            </a:pPr>
            <a:r>
              <a:rPr lang="en-GB" sz="2000" b="1">
                <a:solidFill>
                  <a:srgbClr val="007D74"/>
                </a:solidFill>
                <a:latin typeface="+mj-lt"/>
              </a:rPr>
              <a:t>2010</a:t>
            </a:r>
          </a:p>
          <a:p>
            <a:pPr algn="ctr">
              <a:spcAft>
                <a:spcPts val="800"/>
              </a:spcAft>
            </a:pPr>
            <a:r>
              <a:rPr lang="en-GB" sz="1400"/>
              <a:t>This is a placeholder text. This text can be replaced with your own text.</a:t>
            </a:r>
          </a:p>
        </p:txBody>
      </p:sp>
      <p:sp>
        <p:nvSpPr>
          <p:cNvPr id="17" name="Textfeld 18" descr="&#10;&#10;&#10;&#10;&#10;&#10;&#10;&#10;&#10;&#10;&#10;&#10;&#10;&#10;&#10;&#10;&#10;&#10;&#10;&#10;&#10;&#10;&#10;&#10;&#10;&#10;&#10;&#10;&#10;&#10;&#10;&#10;&#10;&#10;&#10;&#10;&#10;&#10;&#10;&#10;&#10;&#10;&#10;&#10;&#10;&#10;&#10;&#10;&#10;&#10;&#10;&#10;&#10;&#10;&#10;&#10;&#10;&#10;&#10;&#10;&#10;&#10;&#10;PresentationLoad.com">
            <a:extLst>
              <a:ext uri="{FF2B5EF4-FFF2-40B4-BE49-F238E27FC236}">
                <a16:creationId xmlns:a16="http://schemas.microsoft.com/office/drawing/2014/main" id="{964BBC21-B372-483B-A919-52203DD7DEC4}"/>
              </a:ext>
            </a:extLst>
          </p:cNvPr>
          <p:cNvSpPr txBox="1"/>
          <p:nvPr/>
        </p:nvSpPr>
        <p:spPr>
          <a:xfrm>
            <a:off x="6003450" y="4149080"/>
            <a:ext cx="2270196" cy="1640954"/>
          </a:xfrm>
          <a:prstGeom prst="rect">
            <a:avLst/>
          </a:prstGeom>
          <a:noFill/>
        </p:spPr>
        <p:txBody>
          <a:bodyPr wrap="square" lIns="91431" tIns="45715" rIns="91431" bIns="45715" rtlCol="0" anchor="t">
            <a:noAutofit/>
          </a:bodyPr>
          <a:lstStyle/>
          <a:p>
            <a:pPr algn="ctr" defTabSz="801688">
              <a:spcAft>
                <a:spcPts val="600"/>
              </a:spcAft>
            </a:pPr>
            <a:r>
              <a:rPr lang="en-GB" sz="2000" b="1">
                <a:solidFill>
                  <a:srgbClr val="007D74"/>
                </a:solidFill>
                <a:latin typeface="+mj-lt"/>
              </a:rPr>
              <a:t>2015</a:t>
            </a:r>
          </a:p>
          <a:p>
            <a:pPr algn="ctr">
              <a:spcAft>
                <a:spcPts val="800"/>
              </a:spcAft>
            </a:pPr>
            <a:r>
              <a:rPr lang="en-GB" sz="1400"/>
              <a:t>This is a placeholder text. This text can be replaced with your own text.</a:t>
            </a:r>
          </a:p>
        </p:txBody>
      </p:sp>
      <p:sp>
        <p:nvSpPr>
          <p:cNvPr id="11" name="Textfeld 44" descr="&#10;&#10;&#10;&#10;&#10;&#10;&#10;&#10;&#10;&#10;&#10;&#10;&#10;&#10;&#10;&#10;&#10;&#10;&#10;&#10;&#10;&#10;&#10;&#10;&#10;&#10;&#10;&#10;&#10;&#10;&#10;&#10;&#10;&#10;&#10;&#10;&#10;&#10;&#10;&#10;&#10;&#10;&#10;&#10;&#10;&#10;&#10;&#10;&#10;&#10;&#10;&#10;&#10;&#10;&#10;&#10;&#10;&#10;&#10;&#10;&#10;&#10;&#10;PresentationLoad.com">
            <a:extLst>
              <a:ext uri="{FF2B5EF4-FFF2-40B4-BE49-F238E27FC236}">
                <a16:creationId xmlns:a16="http://schemas.microsoft.com/office/drawing/2014/main" id="{348D2C90-C648-41CB-A2C4-BFFCEC797A91}"/>
              </a:ext>
            </a:extLst>
          </p:cNvPr>
          <p:cNvSpPr txBox="1"/>
          <p:nvPr/>
        </p:nvSpPr>
        <p:spPr>
          <a:xfrm>
            <a:off x="7876105" y="2069489"/>
            <a:ext cx="2270196" cy="1569570"/>
          </a:xfrm>
          <a:prstGeom prst="rect">
            <a:avLst/>
          </a:prstGeom>
          <a:noFill/>
        </p:spPr>
        <p:txBody>
          <a:bodyPr wrap="square" lIns="91431" tIns="45715" rIns="91431" bIns="45715" rtlCol="0" anchor="t">
            <a:noAutofit/>
          </a:bodyPr>
          <a:lstStyle/>
          <a:p>
            <a:pPr algn="ctr" defTabSz="801688">
              <a:spcAft>
                <a:spcPts val="600"/>
              </a:spcAft>
            </a:pPr>
            <a:r>
              <a:rPr lang="en-GB" sz="2000" b="1">
                <a:solidFill>
                  <a:srgbClr val="007D74"/>
                </a:solidFill>
                <a:latin typeface="+mj-lt"/>
              </a:rPr>
              <a:t>2020</a:t>
            </a:r>
          </a:p>
          <a:p>
            <a:pPr algn="ctr">
              <a:spcAft>
                <a:spcPts val="800"/>
              </a:spcAft>
            </a:pPr>
            <a:r>
              <a:rPr lang="en-GB" sz="1400"/>
              <a:t>This is a placeholder text. This text can be replaced with your own text.</a:t>
            </a:r>
          </a:p>
        </p:txBody>
      </p:sp>
      <p:sp>
        <p:nvSpPr>
          <p:cNvPr id="20" name="Textfeld 18" descr="&#10;&#10;&#10;&#10;&#10;&#10;&#10;&#10;&#10;&#10;&#10;&#10;&#10;&#10;&#10;&#10;&#10;&#10;&#10;&#10;&#10;&#10;&#10;&#10;&#10;&#10;&#10;&#10;&#10;&#10;&#10;&#10;&#10;&#10;&#10;&#10;&#10;&#10;&#10;&#10;&#10;&#10;&#10;&#10;&#10;&#10;&#10;&#10;&#10;&#10;&#10;&#10;&#10;&#10;&#10;&#10;&#10;&#10;&#10;&#10;&#10;&#10;&#10;PresentationLoad.com">
            <a:extLst>
              <a:ext uri="{FF2B5EF4-FFF2-40B4-BE49-F238E27FC236}">
                <a16:creationId xmlns:a16="http://schemas.microsoft.com/office/drawing/2014/main" id="{99AD86A3-664E-4EF1-83EF-0100931FBE48}"/>
              </a:ext>
            </a:extLst>
          </p:cNvPr>
          <p:cNvSpPr txBox="1"/>
          <p:nvPr/>
        </p:nvSpPr>
        <p:spPr>
          <a:xfrm>
            <a:off x="9740645" y="4149080"/>
            <a:ext cx="2270196" cy="1640954"/>
          </a:xfrm>
          <a:prstGeom prst="rect">
            <a:avLst/>
          </a:prstGeom>
          <a:noFill/>
        </p:spPr>
        <p:txBody>
          <a:bodyPr wrap="square" lIns="91431" tIns="45715" rIns="91431" bIns="45715" rtlCol="0" anchor="t">
            <a:noAutofit/>
          </a:bodyPr>
          <a:lstStyle/>
          <a:p>
            <a:pPr algn="ctr">
              <a:spcAft>
                <a:spcPts val="800"/>
              </a:spcAft>
            </a:pPr>
            <a:r>
              <a:rPr lang="en-GB" sz="2000">
                <a:solidFill>
                  <a:srgbClr val="0070AD"/>
                </a:solidFill>
                <a:latin typeface="+mj-lt"/>
              </a:rPr>
              <a:t>2025</a:t>
            </a:r>
            <a:endParaRPr lang="en-GB" sz="1400">
              <a:solidFill>
                <a:srgbClr val="0070AD"/>
              </a:solidFill>
              <a:latin typeface="+mj-lt"/>
            </a:endParaRPr>
          </a:p>
          <a:p>
            <a:pPr algn="ctr">
              <a:spcAft>
                <a:spcPts val="800"/>
              </a:spcAft>
            </a:pPr>
            <a:r>
              <a:rPr lang="en-GB" sz="1400"/>
              <a:t>This is a placeholder text. This text can be replaced with your own text.</a:t>
            </a:r>
          </a:p>
        </p:txBody>
      </p:sp>
      <p:sp>
        <p:nvSpPr>
          <p:cNvPr id="12" name="Gleichschenkliges Dreieck 2">
            <a:extLst>
              <a:ext uri="{FF2B5EF4-FFF2-40B4-BE49-F238E27FC236}">
                <a16:creationId xmlns:a16="http://schemas.microsoft.com/office/drawing/2014/main" id="{9DA07F2C-7F82-4060-9741-DDFEB909BC51}"/>
              </a:ext>
              <a:ext uri="{C183D7F6-B498-43B3-948B-1728B52AA6E4}">
                <adec:decorative xmlns:adec="http://schemas.microsoft.com/office/drawing/2017/decorative" val="1"/>
              </a:ext>
            </a:extLst>
          </p:cNvPr>
          <p:cNvSpPr/>
          <p:nvPr/>
        </p:nvSpPr>
        <p:spPr bwMode="auto">
          <a:xfrm>
            <a:off x="510195" y="3497389"/>
            <a:ext cx="1710496" cy="348243"/>
          </a:xfrm>
          <a:custGeom>
            <a:avLst/>
            <a:gdLst/>
            <a:ahLst/>
            <a:cxnLst/>
            <a:rect l="l" t="t" r="r" b="b"/>
            <a:pathLst>
              <a:path w="2106718" h="310743">
                <a:moveTo>
                  <a:pt x="1063010" y="0"/>
                </a:moveTo>
                <a:lnTo>
                  <a:pt x="1279901" y="138261"/>
                </a:lnTo>
                <a:lnTo>
                  <a:pt x="2106718" y="138261"/>
                </a:lnTo>
                <a:lnTo>
                  <a:pt x="2106718" y="310743"/>
                </a:lnTo>
                <a:lnTo>
                  <a:pt x="0" y="310743"/>
                </a:lnTo>
                <a:lnTo>
                  <a:pt x="0" y="138261"/>
                </a:lnTo>
                <a:lnTo>
                  <a:pt x="846119" y="138261"/>
                </a:lnTo>
                <a:close/>
              </a:path>
            </a:pathLst>
          </a:custGeom>
          <a:solidFill>
            <a:srgbClr val="811B6F"/>
          </a:solidFill>
          <a:ln w="12700">
            <a:noFill/>
            <a:round/>
            <a:headEnd/>
            <a:tailEnd/>
          </a:ln>
        </p:spPr>
        <p:txBody>
          <a:bodyPr rtlCol="0" anchor="ctr"/>
          <a:lstStyle/>
          <a:p>
            <a:pPr algn="ctr"/>
            <a:endParaRPr lang="en-GB">
              <a:latin typeface="+mj-lt"/>
            </a:endParaRPr>
          </a:p>
        </p:txBody>
      </p:sp>
      <p:sp>
        <p:nvSpPr>
          <p:cNvPr id="13" name="Gleichschenkliges Dreieck 49">
            <a:extLst>
              <a:ext uri="{FF2B5EF4-FFF2-40B4-BE49-F238E27FC236}">
                <a16:creationId xmlns:a16="http://schemas.microsoft.com/office/drawing/2014/main" id="{5EBE836F-65B4-49BC-87FD-796B4449C716}"/>
              </a:ext>
              <a:ext uri="{C183D7F6-B498-43B3-948B-1728B52AA6E4}">
                <adec:decorative xmlns:adec="http://schemas.microsoft.com/office/drawing/2017/decorative" val="1"/>
              </a:ext>
            </a:extLst>
          </p:cNvPr>
          <p:cNvSpPr/>
          <p:nvPr/>
        </p:nvSpPr>
        <p:spPr bwMode="auto">
          <a:xfrm rot="10800000">
            <a:off x="2376617" y="3653383"/>
            <a:ext cx="1822575" cy="344896"/>
          </a:xfrm>
          <a:custGeom>
            <a:avLst/>
            <a:gdLst/>
            <a:ahLst/>
            <a:cxnLst/>
            <a:rect l="l" t="t" r="r" b="b"/>
            <a:pathLst>
              <a:path w="2106718" h="307757">
                <a:moveTo>
                  <a:pt x="2106718" y="307757"/>
                </a:moveTo>
                <a:lnTo>
                  <a:pt x="0" y="307757"/>
                </a:lnTo>
                <a:lnTo>
                  <a:pt x="0" y="135275"/>
                </a:lnTo>
                <a:lnTo>
                  <a:pt x="841152" y="135275"/>
                </a:lnTo>
                <a:lnTo>
                  <a:pt x="1053359" y="0"/>
                </a:lnTo>
                <a:lnTo>
                  <a:pt x="1265565" y="135275"/>
                </a:lnTo>
                <a:lnTo>
                  <a:pt x="2106718" y="135275"/>
                </a:lnTo>
                <a:close/>
              </a:path>
            </a:pathLst>
          </a:custGeom>
          <a:solidFill>
            <a:srgbClr val="007D74"/>
          </a:solidFill>
          <a:ln w="12700">
            <a:noFill/>
            <a:round/>
            <a:headEnd/>
            <a:tailEnd/>
          </a:ln>
        </p:spPr>
        <p:txBody>
          <a:bodyPr rtlCol="0" anchor="ctr"/>
          <a:lstStyle/>
          <a:p>
            <a:pPr algn="ctr"/>
            <a:endParaRPr lang="en-GB">
              <a:latin typeface="+mj-lt"/>
            </a:endParaRPr>
          </a:p>
        </p:txBody>
      </p:sp>
      <p:sp>
        <p:nvSpPr>
          <p:cNvPr id="14" name="Gleichschenkliges Dreieck 50">
            <a:extLst>
              <a:ext uri="{FF2B5EF4-FFF2-40B4-BE49-F238E27FC236}">
                <a16:creationId xmlns:a16="http://schemas.microsoft.com/office/drawing/2014/main" id="{1B5F5FCC-104D-4A34-AF2A-3E6557B0D58D}"/>
              </a:ext>
              <a:ext uri="{C183D7F6-B498-43B3-948B-1728B52AA6E4}">
                <adec:decorative xmlns:adec="http://schemas.microsoft.com/office/drawing/2017/decorative" val="1"/>
              </a:ext>
            </a:extLst>
          </p:cNvPr>
          <p:cNvSpPr/>
          <p:nvPr/>
        </p:nvSpPr>
        <p:spPr bwMode="auto">
          <a:xfrm>
            <a:off x="4355118" y="3505059"/>
            <a:ext cx="1766023" cy="347170"/>
          </a:xfrm>
          <a:custGeom>
            <a:avLst/>
            <a:gdLst/>
            <a:ahLst/>
            <a:cxnLst/>
            <a:rect l="l" t="t" r="r" b="b"/>
            <a:pathLst>
              <a:path w="2106718" h="309786">
                <a:moveTo>
                  <a:pt x="1053362" y="0"/>
                </a:moveTo>
                <a:lnTo>
                  <a:pt x="1268751" y="137304"/>
                </a:lnTo>
                <a:lnTo>
                  <a:pt x="2106718" y="137304"/>
                </a:lnTo>
                <a:lnTo>
                  <a:pt x="2106718" y="309786"/>
                </a:lnTo>
                <a:lnTo>
                  <a:pt x="0" y="309786"/>
                </a:lnTo>
                <a:lnTo>
                  <a:pt x="0" y="137304"/>
                </a:lnTo>
                <a:lnTo>
                  <a:pt x="837972" y="137304"/>
                </a:lnTo>
                <a:close/>
              </a:path>
            </a:pathLst>
          </a:custGeom>
          <a:solidFill>
            <a:srgbClr val="007D74"/>
          </a:solidFill>
          <a:ln w="12700">
            <a:noFill/>
            <a:round/>
            <a:headEnd/>
            <a:tailEnd/>
          </a:ln>
        </p:spPr>
        <p:txBody>
          <a:bodyPr rtlCol="0" anchor="ctr"/>
          <a:lstStyle/>
          <a:p>
            <a:pPr algn="ctr"/>
            <a:endParaRPr lang="en-GB">
              <a:latin typeface="+mj-lt"/>
            </a:endParaRPr>
          </a:p>
        </p:txBody>
      </p:sp>
      <p:sp>
        <p:nvSpPr>
          <p:cNvPr id="15" name="Gleichschenkliges Dreieck 51">
            <a:extLst>
              <a:ext uri="{FF2B5EF4-FFF2-40B4-BE49-F238E27FC236}">
                <a16:creationId xmlns:a16="http://schemas.microsoft.com/office/drawing/2014/main" id="{71B8FEBE-FAB4-47EE-A7BD-09C81EBB802C}"/>
              </a:ext>
              <a:ext uri="{C183D7F6-B498-43B3-948B-1728B52AA6E4}">
                <adec:decorative xmlns:adec="http://schemas.microsoft.com/office/drawing/2017/decorative" val="1"/>
              </a:ext>
            </a:extLst>
          </p:cNvPr>
          <p:cNvSpPr/>
          <p:nvPr/>
        </p:nvSpPr>
        <p:spPr bwMode="auto">
          <a:xfrm rot="10800000">
            <a:off x="6277067" y="3652932"/>
            <a:ext cx="1722963" cy="327395"/>
          </a:xfrm>
          <a:custGeom>
            <a:avLst/>
            <a:gdLst/>
            <a:ahLst/>
            <a:cxnLst/>
            <a:rect l="l" t="t" r="r" b="b"/>
            <a:pathLst>
              <a:path w="2106718" h="292140">
                <a:moveTo>
                  <a:pt x="2106718" y="292140"/>
                </a:moveTo>
                <a:lnTo>
                  <a:pt x="0" y="292140"/>
                </a:lnTo>
                <a:lnTo>
                  <a:pt x="0" y="119658"/>
                </a:lnTo>
                <a:lnTo>
                  <a:pt x="865651" y="119658"/>
                </a:lnTo>
                <a:lnTo>
                  <a:pt x="1053360" y="0"/>
                </a:lnTo>
                <a:lnTo>
                  <a:pt x="1241068" y="119658"/>
                </a:lnTo>
                <a:lnTo>
                  <a:pt x="2106718" y="119658"/>
                </a:lnTo>
                <a:close/>
              </a:path>
            </a:pathLst>
          </a:custGeom>
          <a:solidFill>
            <a:srgbClr val="007D74"/>
          </a:solidFill>
          <a:ln w="12700">
            <a:noFill/>
            <a:round/>
            <a:headEnd/>
            <a:tailEnd/>
          </a:ln>
        </p:spPr>
        <p:txBody>
          <a:bodyPr rtlCol="0" anchor="ctr"/>
          <a:lstStyle/>
          <a:p>
            <a:pPr algn="ctr"/>
            <a:endParaRPr lang="en-GB">
              <a:latin typeface="+mj-lt"/>
            </a:endParaRPr>
          </a:p>
        </p:txBody>
      </p:sp>
      <p:sp>
        <p:nvSpPr>
          <p:cNvPr id="16" name="Gleichschenkliges Dreieck 52">
            <a:extLst>
              <a:ext uri="{FF2B5EF4-FFF2-40B4-BE49-F238E27FC236}">
                <a16:creationId xmlns:a16="http://schemas.microsoft.com/office/drawing/2014/main" id="{E632BE59-576E-4BA7-805D-EA90291000AE}"/>
              </a:ext>
              <a:ext uri="{C183D7F6-B498-43B3-948B-1728B52AA6E4}">
                <adec:decorative xmlns:adec="http://schemas.microsoft.com/office/drawing/2017/decorative" val="1"/>
              </a:ext>
            </a:extLst>
          </p:cNvPr>
          <p:cNvSpPr/>
          <p:nvPr/>
        </p:nvSpPr>
        <p:spPr bwMode="auto">
          <a:xfrm>
            <a:off x="8155955" y="3510954"/>
            <a:ext cx="1710496" cy="339711"/>
          </a:xfrm>
          <a:custGeom>
            <a:avLst/>
            <a:gdLst/>
            <a:ahLst/>
            <a:cxnLst/>
            <a:rect l="l" t="t" r="r" b="b"/>
            <a:pathLst>
              <a:path w="2106718" h="303130">
                <a:moveTo>
                  <a:pt x="1053360" y="0"/>
                </a:moveTo>
                <a:lnTo>
                  <a:pt x="1258308" y="130648"/>
                </a:lnTo>
                <a:lnTo>
                  <a:pt x="2106718" y="130648"/>
                </a:lnTo>
                <a:lnTo>
                  <a:pt x="2106718" y="303130"/>
                </a:lnTo>
                <a:lnTo>
                  <a:pt x="0" y="303130"/>
                </a:lnTo>
                <a:lnTo>
                  <a:pt x="0" y="130648"/>
                </a:lnTo>
                <a:lnTo>
                  <a:pt x="848411" y="130648"/>
                </a:lnTo>
                <a:close/>
              </a:path>
            </a:pathLst>
          </a:custGeom>
          <a:solidFill>
            <a:srgbClr val="007D74"/>
          </a:solidFill>
          <a:ln w="12700">
            <a:noFill/>
            <a:round/>
            <a:headEnd/>
            <a:tailEnd/>
          </a:ln>
        </p:spPr>
        <p:txBody>
          <a:bodyPr rtlCol="0" anchor="ctr"/>
          <a:lstStyle/>
          <a:p>
            <a:pPr algn="ctr"/>
            <a:endParaRPr lang="en-GB">
              <a:latin typeface="+mj-lt"/>
            </a:endParaRPr>
          </a:p>
        </p:txBody>
      </p:sp>
      <p:sp>
        <p:nvSpPr>
          <p:cNvPr id="19" name="Gleichschenkliges Dreieck 51">
            <a:extLst>
              <a:ext uri="{FF2B5EF4-FFF2-40B4-BE49-F238E27FC236}">
                <a16:creationId xmlns:a16="http://schemas.microsoft.com/office/drawing/2014/main" id="{EB64DF0A-6EF4-4997-82DB-D9C61529105D}"/>
              </a:ext>
              <a:ext uri="{C183D7F6-B498-43B3-948B-1728B52AA6E4}">
                <adec:decorative xmlns:adec="http://schemas.microsoft.com/office/drawing/2017/decorative" val="1"/>
              </a:ext>
            </a:extLst>
          </p:cNvPr>
          <p:cNvSpPr/>
          <p:nvPr/>
        </p:nvSpPr>
        <p:spPr bwMode="auto">
          <a:xfrm rot="10800000">
            <a:off x="10014262" y="3652932"/>
            <a:ext cx="1722963" cy="327395"/>
          </a:xfrm>
          <a:custGeom>
            <a:avLst/>
            <a:gdLst/>
            <a:ahLst/>
            <a:cxnLst/>
            <a:rect l="l" t="t" r="r" b="b"/>
            <a:pathLst>
              <a:path w="2106718" h="292140">
                <a:moveTo>
                  <a:pt x="2106718" y="292140"/>
                </a:moveTo>
                <a:lnTo>
                  <a:pt x="0" y="292140"/>
                </a:lnTo>
                <a:lnTo>
                  <a:pt x="0" y="119658"/>
                </a:lnTo>
                <a:lnTo>
                  <a:pt x="865651" y="119658"/>
                </a:lnTo>
                <a:lnTo>
                  <a:pt x="1053360" y="0"/>
                </a:lnTo>
                <a:lnTo>
                  <a:pt x="1241068" y="119658"/>
                </a:lnTo>
                <a:lnTo>
                  <a:pt x="2106718" y="119658"/>
                </a:lnTo>
                <a:close/>
              </a:path>
            </a:pathLst>
          </a:custGeom>
          <a:solidFill>
            <a:srgbClr val="0070AD"/>
          </a:solidFill>
          <a:ln w="12700">
            <a:noFill/>
            <a:round/>
            <a:headEnd/>
            <a:tailEnd/>
          </a:ln>
        </p:spPr>
        <p:txBody>
          <a:bodyPr rtlCol="0" anchor="ctr"/>
          <a:lstStyle/>
          <a:p>
            <a:pPr algn="ctr"/>
            <a:endParaRPr lang="en-GB">
              <a:latin typeface="+mj-lt"/>
            </a:endParaRPr>
          </a:p>
        </p:txBody>
      </p:sp>
    </p:spTree>
    <p:extLst>
      <p:ext uri="{BB962C8B-B14F-4D97-AF65-F5344CB8AC3E}">
        <p14:creationId xmlns:p14="http://schemas.microsoft.com/office/powerpoint/2010/main" val="7992935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CC615-662F-4CE3-B86C-1AE2552E9FF4}"/>
              </a:ext>
            </a:extLst>
          </p:cNvPr>
          <p:cNvSpPr>
            <a:spLocks noGrp="1"/>
          </p:cNvSpPr>
          <p:nvPr>
            <p:ph type="title"/>
          </p:nvPr>
        </p:nvSpPr>
        <p:spPr/>
        <p:txBody>
          <a:bodyPr/>
          <a:lstStyle/>
          <a:p>
            <a:r>
              <a:rPr lang="en-US"/>
              <a:t>TIMELINE</a:t>
            </a:r>
          </a:p>
        </p:txBody>
      </p:sp>
      <p:sp>
        <p:nvSpPr>
          <p:cNvPr id="3" name="Eingekerbter Richtungspfeil 145">
            <a:extLst>
              <a:ext uri="{FF2B5EF4-FFF2-40B4-BE49-F238E27FC236}">
                <a16:creationId xmlns:a16="http://schemas.microsoft.com/office/drawing/2014/main" id="{C8F00844-39BB-4525-BD9F-801E8BB41B96}"/>
              </a:ext>
            </a:extLst>
          </p:cNvPr>
          <p:cNvSpPr/>
          <p:nvPr/>
        </p:nvSpPr>
        <p:spPr bwMode="gray">
          <a:xfrm>
            <a:off x="650435" y="3629760"/>
            <a:ext cx="1198863" cy="462787"/>
          </a:xfrm>
          <a:prstGeom prst="chevron">
            <a:avLst/>
          </a:prstGeom>
          <a:solidFill>
            <a:srgbClr val="338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p>
        </p:txBody>
      </p:sp>
      <p:sp>
        <p:nvSpPr>
          <p:cNvPr id="4" name="Rechteck 125">
            <a:extLst>
              <a:ext uri="{FF2B5EF4-FFF2-40B4-BE49-F238E27FC236}">
                <a16:creationId xmlns:a16="http://schemas.microsoft.com/office/drawing/2014/main" id="{77B791E6-42F7-4FFA-A251-EC0EF28B3D06}"/>
              </a:ext>
            </a:extLst>
          </p:cNvPr>
          <p:cNvSpPr/>
          <p:nvPr/>
        </p:nvSpPr>
        <p:spPr bwMode="gray">
          <a:xfrm>
            <a:off x="650433" y="2717428"/>
            <a:ext cx="1522413" cy="1016578"/>
          </a:xfrm>
          <a:prstGeom prst="rect">
            <a:avLst/>
          </a:prstGeom>
        </p:spPr>
        <p:txBody>
          <a:bodyPr wrap="square" lIns="72000" tIns="46800" rIns="72000">
            <a:noAutofit/>
          </a:bodyPr>
          <a:lstStyle/>
          <a:p>
            <a:pPr defTabSz="801608">
              <a:spcAft>
                <a:spcPts val="400"/>
              </a:spcAft>
            </a:pPr>
            <a:r>
              <a:rPr lang="en-US" sz="1200" dirty="0">
                <a:solidFill>
                  <a:srgbClr val="338091"/>
                </a:solidFill>
                <a:latin typeface="+mj-lt"/>
              </a:rPr>
              <a:t>Description</a:t>
            </a:r>
          </a:p>
          <a:p>
            <a:pPr defTabSz="801608">
              <a:spcAft>
                <a:spcPts val="400"/>
              </a:spcAft>
            </a:pPr>
            <a:r>
              <a:rPr lang="en-US" sz="1200" dirty="0">
                <a:latin typeface="+mj-lt"/>
              </a:rPr>
              <a:t>This text can be replaced with your own text.</a:t>
            </a:r>
          </a:p>
        </p:txBody>
      </p:sp>
      <p:sp>
        <p:nvSpPr>
          <p:cNvPr id="5" name="Eingekerbter Richtungspfeil 146">
            <a:extLst>
              <a:ext uri="{FF2B5EF4-FFF2-40B4-BE49-F238E27FC236}">
                <a16:creationId xmlns:a16="http://schemas.microsoft.com/office/drawing/2014/main" id="{7D6CC1F8-9B90-4CE1-8B32-1C5E841A806D}"/>
              </a:ext>
            </a:extLst>
          </p:cNvPr>
          <p:cNvSpPr/>
          <p:nvPr/>
        </p:nvSpPr>
        <p:spPr bwMode="gray">
          <a:xfrm>
            <a:off x="1813228" y="3629760"/>
            <a:ext cx="1198863" cy="462787"/>
          </a:xfrm>
          <a:prstGeom prst="chevron">
            <a:avLst/>
          </a:prstGeom>
          <a:solidFill>
            <a:srgbClr val="338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6" name="Rechteck 127">
            <a:extLst>
              <a:ext uri="{FF2B5EF4-FFF2-40B4-BE49-F238E27FC236}">
                <a16:creationId xmlns:a16="http://schemas.microsoft.com/office/drawing/2014/main" id="{9AB5BE37-6945-4EAE-94C5-3E9BB8DC3C3F}"/>
              </a:ext>
            </a:extLst>
          </p:cNvPr>
          <p:cNvSpPr/>
          <p:nvPr/>
        </p:nvSpPr>
        <p:spPr bwMode="gray">
          <a:xfrm>
            <a:off x="1813226" y="4122971"/>
            <a:ext cx="1522413" cy="1016578"/>
          </a:xfrm>
          <a:prstGeom prst="rect">
            <a:avLst/>
          </a:prstGeom>
        </p:spPr>
        <p:txBody>
          <a:bodyPr wrap="square" lIns="72000" tIns="46800" rIns="72000">
            <a:noAutofit/>
          </a:bodyPr>
          <a:lstStyle/>
          <a:p>
            <a:pPr defTabSz="801608">
              <a:spcAft>
                <a:spcPts val="400"/>
              </a:spcAft>
            </a:pPr>
            <a:r>
              <a:rPr lang="en-US" sz="1200" dirty="0">
                <a:solidFill>
                  <a:srgbClr val="338091"/>
                </a:solidFill>
                <a:latin typeface="+mj-lt"/>
              </a:rPr>
              <a:t>Description</a:t>
            </a:r>
          </a:p>
          <a:p>
            <a:pPr defTabSz="801608">
              <a:spcAft>
                <a:spcPts val="400"/>
              </a:spcAft>
            </a:pPr>
            <a:r>
              <a:rPr lang="en-US" sz="1200">
                <a:latin typeface="+mj-lt"/>
              </a:rPr>
              <a:t>This text can be replaced with your own text.</a:t>
            </a:r>
          </a:p>
        </p:txBody>
      </p:sp>
      <p:sp>
        <p:nvSpPr>
          <p:cNvPr id="7" name="Eingekerbter Richtungspfeil 145">
            <a:extLst>
              <a:ext uri="{FF2B5EF4-FFF2-40B4-BE49-F238E27FC236}">
                <a16:creationId xmlns:a16="http://schemas.microsoft.com/office/drawing/2014/main" id="{C84162A7-A0A8-4098-9508-97A4F44A9DE9}"/>
              </a:ext>
            </a:extLst>
          </p:cNvPr>
          <p:cNvSpPr/>
          <p:nvPr/>
        </p:nvSpPr>
        <p:spPr bwMode="gray">
          <a:xfrm>
            <a:off x="2976019" y="3629760"/>
            <a:ext cx="1198863" cy="462787"/>
          </a:xfrm>
          <a:prstGeom prst="chevron">
            <a:avLst/>
          </a:prstGeom>
          <a:solidFill>
            <a:srgbClr val="338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8" name="Rechteck 125">
            <a:extLst>
              <a:ext uri="{FF2B5EF4-FFF2-40B4-BE49-F238E27FC236}">
                <a16:creationId xmlns:a16="http://schemas.microsoft.com/office/drawing/2014/main" id="{477C32BE-78BE-414E-AD05-C5A4341ED8AE}"/>
              </a:ext>
            </a:extLst>
          </p:cNvPr>
          <p:cNvSpPr/>
          <p:nvPr/>
        </p:nvSpPr>
        <p:spPr bwMode="gray">
          <a:xfrm>
            <a:off x="2976019" y="2717428"/>
            <a:ext cx="1522413" cy="1016578"/>
          </a:xfrm>
          <a:prstGeom prst="rect">
            <a:avLst/>
          </a:prstGeom>
        </p:spPr>
        <p:txBody>
          <a:bodyPr wrap="square" lIns="72000" tIns="46800" rIns="72000">
            <a:noAutofit/>
          </a:bodyPr>
          <a:lstStyle/>
          <a:p>
            <a:pPr defTabSz="801608">
              <a:spcAft>
                <a:spcPts val="400"/>
              </a:spcAft>
            </a:pPr>
            <a:r>
              <a:rPr lang="en-US" sz="1200" dirty="0">
                <a:solidFill>
                  <a:srgbClr val="338091"/>
                </a:solidFill>
                <a:latin typeface="+mj-lt"/>
              </a:rPr>
              <a:t>Description</a:t>
            </a:r>
          </a:p>
          <a:p>
            <a:pPr defTabSz="801608">
              <a:spcAft>
                <a:spcPts val="400"/>
              </a:spcAft>
            </a:pPr>
            <a:r>
              <a:rPr lang="en-US" sz="1200">
                <a:latin typeface="+mj-lt"/>
              </a:rPr>
              <a:t>This text can be replaced with your own text.</a:t>
            </a:r>
          </a:p>
        </p:txBody>
      </p:sp>
      <p:sp>
        <p:nvSpPr>
          <p:cNvPr id="9" name="Eingekerbter Richtungspfeil 146">
            <a:extLst>
              <a:ext uri="{FF2B5EF4-FFF2-40B4-BE49-F238E27FC236}">
                <a16:creationId xmlns:a16="http://schemas.microsoft.com/office/drawing/2014/main" id="{F13D9012-4487-43D1-864E-6E4890D8547A}"/>
              </a:ext>
            </a:extLst>
          </p:cNvPr>
          <p:cNvSpPr/>
          <p:nvPr/>
        </p:nvSpPr>
        <p:spPr bwMode="gray">
          <a:xfrm>
            <a:off x="4138815" y="3629760"/>
            <a:ext cx="1198863" cy="462787"/>
          </a:xfrm>
          <a:prstGeom prst="chevron">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10" name="Rechteck 127">
            <a:extLst>
              <a:ext uri="{FF2B5EF4-FFF2-40B4-BE49-F238E27FC236}">
                <a16:creationId xmlns:a16="http://schemas.microsoft.com/office/drawing/2014/main" id="{CA344D8F-E8AA-42CA-9F23-3BDC0069BF04}"/>
              </a:ext>
            </a:extLst>
          </p:cNvPr>
          <p:cNvSpPr/>
          <p:nvPr/>
        </p:nvSpPr>
        <p:spPr bwMode="gray">
          <a:xfrm>
            <a:off x="4174882" y="4122971"/>
            <a:ext cx="1522413" cy="1016578"/>
          </a:xfrm>
          <a:prstGeom prst="rect">
            <a:avLst/>
          </a:prstGeom>
        </p:spPr>
        <p:txBody>
          <a:bodyPr wrap="square" lIns="72000" tIns="46800" rIns="72000">
            <a:noAutofit/>
          </a:bodyPr>
          <a:lstStyle/>
          <a:p>
            <a:pPr defTabSz="801608">
              <a:spcAft>
                <a:spcPts val="400"/>
              </a:spcAft>
            </a:pPr>
            <a:r>
              <a:rPr lang="en-US" sz="1200" dirty="0">
                <a:solidFill>
                  <a:srgbClr val="173340"/>
                </a:solidFill>
                <a:latin typeface="+mj-lt"/>
              </a:rPr>
              <a:t>Description</a:t>
            </a:r>
          </a:p>
          <a:p>
            <a:pPr defTabSz="801608">
              <a:spcAft>
                <a:spcPts val="400"/>
              </a:spcAft>
            </a:pPr>
            <a:r>
              <a:rPr lang="en-US" sz="1200">
                <a:latin typeface="+mj-lt"/>
              </a:rPr>
              <a:t>This text can be replaced with your own text.</a:t>
            </a:r>
          </a:p>
        </p:txBody>
      </p:sp>
      <p:sp>
        <p:nvSpPr>
          <p:cNvPr id="11" name="Eingekerbter Richtungspfeil 147">
            <a:extLst>
              <a:ext uri="{FF2B5EF4-FFF2-40B4-BE49-F238E27FC236}">
                <a16:creationId xmlns:a16="http://schemas.microsoft.com/office/drawing/2014/main" id="{A3FFEDC9-5081-4B6A-86FF-003928336165}"/>
              </a:ext>
            </a:extLst>
          </p:cNvPr>
          <p:cNvSpPr/>
          <p:nvPr/>
        </p:nvSpPr>
        <p:spPr bwMode="gray">
          <a:xfrm>
            <a:off x="5301608" y="3629760"/>
            <a:ext cx="1198863" cy="462787"/>
          </a:xfrm>
          <a:prstGeom prst="chevron">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12" name="Rechteck 126">
            <a:extLst>
              <a:ext uri="{FF2B5EF4-FFF2-40B4-BE49-F238E27FC236}">
                <a16:creationId xmlns:a16="http://schemas.microsoft.com/office/drawing/2014/main" id="{0DB09261-BAA4-490C-B187-C0BB75518AEF}"/>
              </a:ext>
            </a:extLst>
          </p:cNvPr>
          <p:cNvSpPr/>
          <p:nvPr/>
        </p:nvSpPr>
        <p:spPr bwMode="gray">
          <a:xfrm>
            <a:off x="5301605" y="2717428"/>
            <a:ext cx="1522413" cy="1016578"/>
          </a:xfrm>
          <a:prstGeom prst="rect">
            <a:avLst/>
          </a:prstGeom>
        </p:spPr>
        <p:txBody>
          <a:bodyPr wrap="square" lIns="72000" tIns="46800" rIns="72000">
            <a:noAutofit/>
          </a:bodyPr>
          <a:lstStyle/>
          <a:p>
            <a:pPr defTabSz="801608">
              <a:spcAft>
                <a:spcPts val="400"/>
              </a:spcAft>
            </a:pPr>
            <a:r>
              <a:rPr lang="en-US" sz="1200" dirty="0">
                <a:solidFill>
                  <a:srgbClr val="173340"/>
                </a:solidFill>
                <a:latin typeface="+mj-lt"/>
              </a:rPr>
              <a:t>Description</a:t>
            </a:r>
          </a:p>
          <a:p>
            <a:pPr defTabSz="801608">
              <a:spcAft>
                <a:spcPts val="400"/>
              </a:spcAft>
            </a:pPr>
            <a:r>
              <a:rPr lang="en-US" sz="1200">
                <a:latin typeface="+mj-lt"/>
              </a:rPr>
              <a:t>This text can be replaced with your own text.</a:t>
            </a:r>
          </a:p>
        </p:txBody>
      </p:sp>
      <p:sp>
        <p:nvSpPr>
          <p:cNvPr id="13" name="Eingekerbter Richtungspfeil 148">
            <a:extLst>
              <a:ext uri="{FF2B5EF4-FFF2-40B4-BE49-F238E27FC236}">
                <a16:creationId xmlns:a16="http://schemas.microsoft.com/office/drawing/2014/main" id="{62CE7EDA-F34F-460B-9E59-54C88E3F8B74}"/>
              </a:ext>
            </a:extLst>
          </p:cNvPr>
          <p:cNvSpPr/>
          <p:nvPr/>
        </p:nvSpPr>
        <p:spPr bwMode="gray">
          <a:xfrm>
            <a:off x="6464401" y="3629760"/>
            <a:ext cx="1198863" cy="462787"/>
          </a:xfrm>
          <a:prstGeom prst="chevron">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14" name="Rechteck 129">
            <a:extLst>
              <a:ext uri="{FF2B5EF4-FFF2-40B4-BE49-F238E27FC236}">
                <a16:creationId xmlns:a16="http://schemas.microsoft.com/office/drawing/2014/main" id="{E90F7654-421F-4C48-B7F4-01665957219D}"/>
              </a:ext>
            </a:extLst>
          </p:cNvPr>
          <p:cNvSpPr/>
          <p:nvPr/>
        </p:nvSpPr>
        <p:spPr bwMode="gray">
          <a:xfrm>
            <a:off x="6464401" y="4122971"/>
            <a:ext cx="1522413" cy="1016578"/>
          </a:xfrm>
          <a:prstGeom prst="rect">
            <a:avLst/>
          </a:prstGeom>
        </p:spPr>
        <p:txBody>
          <a:bodyPr wrap="square" lIns="72000" tIns="46800" rIns="72000">
            <a:noAutofit/>
          </a:bodyPr>
          <a:lstStyle/>
          <a:p>
            <a:pPr defTabSz="801608">
              <a:spcAft>
                <a:spcPts val="400"/>
              </a:spcAft>
            </a:pPr>
            <a:r>
              <a:rPr lang="en-US" sz="1200" dirty="0">
                <a:solidFill>
                  <a:srgbClr val="173340"/>
                </a:solidFill>
                <a:latin typeface="+mj-lt"/>
              </a:rPr>
              <a:t>Description</a:t>
            </a:r>
          </a:p>
          <a:p>
            <a:pPr defTabSz="801608">
              <a:spcAft>
                <a:spcPts val="400"/>
              </a:spcAft>
            </a:pPr>
            <a:r>
              <a:rPr lang="en-US" sz="1200">
                <a:latin typeface="+mj-lt"/>
              </a:rPr>
              <a:t>This text can be replaced with your own text.</a:t>
            </a:r>
          </a:p>
        </p:txBody>
      </p:sp>
      <p:sp>
        <p:nvSpPr>
          <p:cNvPr id="15" name="Eingekerbter Richtungspfeil 149">
            <a:extLst>
              <a:ext uri="{FF2B5EF4-FFF2-40B4-BE49-F238E27FC236}">
                <a16:creationId xmlns:a16="http://schemas.microsoft.com/office/drawing/2014/main" id="{D80EE80D-B93F-4A60-8A1F-220B4CA8E87B}"/>
              </a:ext>
            </a:extLst>
          </p:cNvPr>
          <p:cNvSpPr/>
          <p:nvPr/>
        </p:nvSpPr>
        <p:spPr bwMode="gray">
          <a:xfrm>
            <a:off x="7627194" y="3629760"/>
            <a:ext cx="1198863" cy="462787"/>
          </a:xfrm>
          <a:prstGeom prst="chevron">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16" name="Rechteck 128">
            <a:extLst>
              <a:ext uri="{FF2B5EF4-FFF2-40B4-BE49-F238E27FC236}">
                <a16:creationId xmlns:a16="http://schemas.microsoft.com/office/drawing/2014/main" id="{BDF49E89-19BD-4E81-A004-8708B4D018B9}"/>
              </a:ext>
            </a:extLst>
          </p:cNvPr>
          <p:cNvSpPr/>
          <p:nvPr/>
        </p:nvSpPr>
        <p:spPr bwMode="gray">
          <a:xfrm>
            <a:off x="7627192" y="2717428"/>
            <a:ext cx="1522413" cy="1016578"/>
          </a:xfrm>
          <a:prstGeom prst="rect">
            <a:avLst/>
          </a:prstGeom>
        </p:spPr>
        <p:txBody>
          <a:bodyPr wrap="square" lIns="72000" tIns="46800" rIns="72000">
            <a:noAutofit/>
          </a:bodyPr>
          <a:lstStyle/>
          <a:p>
            <a:pPr defTabSz="801608">
              <a:spcAft>
                <a:spcPts val="400"/>
              </a:spcAft>
            </a:pPr>
            <a:r>
              <a:rPr lang="en-US" sz="1200" dirty="0">
                <a:solidFill>
                  <a:srgbClr val="007D74"/>
                </a:solidFill>
                <a:latin typeface="+mj-lt"/>
              </a:rPr>
              <a:t>Description</a:t>
            </a:r>
          </a:p>
          <a:p>
            <a:pPr defTabSz="801608">
              <a:spcAft>
                <a:spcPts val="400"/>
              </a:spcAft>
            </a:pPr>
            <a:r>
              <a:rPr lang="en-US" sz="1200">
                <a:latin typeface="+mj-lt"/>
              </a:rPr>
              <a:t>This text can be replaced with your own text.</a:t>
            </a:r>
          </a:p>
        </p:txBody>
      </p:sp>
      <p:sp>
        <p:nvSpPr>
          <p:cNvPr id="17" name="Eingekerbter Richtungspfeil 150">
            <a:extLst>
              <a:ext uri="{FF2B5EF4-FFF2-40B4-BE49-F238E27FC236}">
                <a16:creationId xmlns:a16="http://schemas.microsoft.com/office/drawing/2014/main" id="{CC91FFE7-96F7-4494-BC3E-77DC11E12872}"/>
              </a:ext>
            </a:extLst>
          </p:cNvPr>
          <p:cNvSpPr/>
          <p:nvPr/>
        </p:nvSpPr>
        <p:spPr bwMode="gray">
          <a:xfrm>
            <a:off x="8789988" y="3629760"/>
            <a:ext cx="1198863" cy="462787"/>
          </a:xfrm>
          <a:prstGeom prst="chevron">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18" name="Rechteck 130">
            <a:extLst>
              <a:ext uri="{FF2B5EF4-FFF2-40B4-BE49-F238E27FC236}">
                <a16:creationId xmlns:a16="http://schemas.microsoft.com/office/drawing/2014/main" id="{C14C6BE1-2830-414F-B119-45E8C9AB7189}"/>
              </a:ext>
            </a:extLst>
          </p:cNvPr>
          <p:cNvSpPr/>
          <p:nvPr/>
        </p:nvSpPr>
        <p:spPr bwMode="gray">
          <a:xfrm>
            <a:off x="8789987" y="4122971"/>
            <a:ext cx="1522413" cy="1016578"/>
          </a:xfrm>
          <a:prstGeom prst="rect">
            <a:avLst/>
          </a:prstGeom>
        </p:spPr>
        <p:txBody>
          <a:bodyPr wrap="square" lIns="72000" tIns="46800" rIns="72000">
            <a:noAutofit/>
          </a:bodyPr>
          <a:lstStyle/>
          <a:p>
            <a:pPr defTabSz="801608">
              <a:spcAft>
                <a:spcPts val="400"/>
              </a:spcAft>
            </a:pPr>
            <a:r>
              <a:rPr lang="en-US" sz="1200" dirty="0">
                <a:solidFill>
                  <a:srgbClr val="007D74"/>
                </a:solidFill>
                <a:latin typeface="+mj-lt"/>
              </a:rPr>
              <a:t>Description</a:t>
            </a:r>
          </a:p>
          <a:p>
            <a:pPr defTabSz="801608">
              <a:spcAft>
                <a:spcPts val="400"/>
              </a:spcAft>
            </a:pPr>
            <a:r>
              <a:rPr lang="en-US" sz="1200">
                <a:latin typeface="+mj-lt"/>
              </a:rPr>
              <a:t>This text can be replaced with your own text.</a:t>
            </a:r>
          </a:p>
        </p:txBody>
      </p:sp>
      <p:sp>
        <p:nvSpPr>
          <p:cNvPr id="19" name="Eingekerbter Richtungspfeil 151">
            <a:extLst>
              <a:ext uri="{FF2B5EF4-FFF2-40B4-BE49-F238E27FC236}">
                <a16:creationId xmlns:a16="http://schemas.microsoft.com/office/drawing/2014/main" id="{6A6BBE07-1073-46D3-8EAE-8885957E3386}"/>
              </a:ext>
            </a:extLst>
          </p:cNvPr>
          <p:cNvSpPr/>
          <p:nvPr/>
        </p:nvSpPr>
        <p:spPr bwMode="gray">
          <a:xfrm>
            <a:off x="9952781" y="3629760"/>
            <a:ext cx="1198863" cy="462787"/>
          </a:xfrm>
          <a:prstGeom prst="chevron">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20" name="Rechteck 138">
            <a:extLst>
              <a:ext uri="{FF2B5EF4-FFF2-40B4-BE49-F238E27FC236}">
                <a16:creationId xmlns:a16="http://schemas.microsoft.com/office/drawing/2014/main" id="{A8A4A81E-5A49-4752-BE5B-3971271BBC06}"/>
              </a:ext>
            </a:extLst>
          </p:cNvPr>
          <p:cNvSpPr/>
          <p:nvPr/>
        </p:nvSpPr>
        <p:spPr bwMode="gray">
          <a:xfrm>
            <a:off x="9952779" y="2717428"/>
            <a:ext cx="1522413" cy="1016578"/>
          </a:xfrm>
          <a:prstGeom prst="rect">
            <a:avLst/>
          </a:prstGeom>
        </p:spPr>
        <p:txBody>
          <a:bodyPr wrap="square" lIns="72000" tIns="46800" rIns="72000">
            <a:noAutofit/>
          </a:bodyPr>
          <a:lstStyle/>
          <a:p>
            <a:pPr defTabSz="801608">
              <a:spcAft>
                <a:spcPts val="400"/>
              </a:spcAft>
            </a:pPr>
            <a:r>
              <a:rPr lang="en-US" sz="1200" dirty="0">
                <a:solidFill>
                  <a:srgbClr val="007D74"/>
                </a:solidFill>
                <a:latin typeface="+mj-lt"/>
              </a:rPr>
              <a:t>Description</a:t>
            </a:r>
          </a:p>
          <a:p>
            <a:pPr defTabSz="801608">
              <a:spcAft>
                <a:spcPts val="400"/>
              </a:spcAft>
            </a:pPr>
            <a:r>
              <a:rPr lang="en-US" sz="1200">
                <a:latin typeface="+mj-lt"/>
              </a:rPr>
              <a:t>This text can be replaced with your own text.</a:t>
            </a:r>
          </a:p>
        </p:txBody>
      </p:sp>
    </p:spTree>
    <p:extLst>
      <p:ext uri="{BB962C8B-B14F-4D97-AF65-F5344CB8AC3E}">
        <p14:creationId xmlns:p14="http://schemas.microsoft.com/office/powerpoint/2010/main" val="4108878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18290-CF17-4DA7-B69A-83CA2BCAD8D0}"/>
              </a:ext>
            </a:extLst>
          </p:cNvPr>
          <p:cNvSpPr>
            <a:spLocks noGrp="1"/>
          </p:cNvSpPr>
          <p:nvPr>
            <p:ph type="title"/>
          </p:nvPr>
        </p:nvSpPr>
        <p:spPr/>
        <p:txBody>
          <a:bodyPr/>
          <a:lstStyle/>
          <a:p>
            <a:r>
              <a:rPr lang="en-US"/>
              <a:t>CV</a:t>
            </a:r>
            <a:br>
              <a:rPr lang="en-US"/>
            </a:br>
            <a:endParaRPr lang="en-US"/>
          </a:p>
        </p:txBody>
      </p:sp>
      <p:sp>
        <p:nvSpPr>
          <p:cNvPr id="15" name="TextBox 14">
            <a:extLst>
              <a:ext uri="{FF2B5EF4-FFF2-40B4-BE49-F238E27FC236}">
                <a16:creationId xmlns:a16="http://schemas.microsoft.com/office/drawing/2014/main" id="{FB7A2169-F7F3-4B12-BD6B-2FE994FB4917}"/>
              </a:ext>
            </a:extLst>
          </p:cNvPr>
          <p:cNvSpPr txBox="1"/>
          <p:nvPr/>
        </p:nvSpPr>
        <p:spPr>
          <a:xfrm>
            <a:off x="533183" y="1125538"/>
            <a:ext cx="3063457" cy="1349202"/>
          </a:xfrm>
          <a:prstGeom prst="rect">
            <a:avLst/>
          </a:prstGeom>
          <a:noFill/>
          <a:ln>
            <a:solidFill>
              <a:schemeClr val="bg1">
                <a:lumMod val="65000"/>
              </a:schemeClr>
            </a:solidFill>
            <a:prstDash val="dash"/>
          </a:ln>
        </p:spPr>
        <p:txBody>
          <a:bodyPr wrap="square" lIns="72000" tIns="36000" rIns="0" bIns="36000" rtlCol="0" anchor="ctr" anchorCtr="0">
            <a:noAutofit/>
          </a:bodyPr>
          <a:lstStyle/>
          <a:p>
            <a:pPr>
              <a:spcAft>
                <a:spcPts val="200"/>
              </a:spcAft>
            </a:pPr>
            <a:r>
              <a:rPr lang="en-GB" sz="2400" spc="200">
                <a:solidFill>
                  <a:schemeClr val="accent1"/>
                </a:solidFill>
                <a:latin typeface="+mj-lt"/>
                <a:cs typeface="Calibri" pitchFamily="34" charset="0"/>
              </a:rPr>
              <a:t>NAME</a:t>
            </a:r>
          </a:p>
          <a:p>
            <a:pPr>
              <a:spcAft>
                <a:spcPts val="200"/>
              </a:spcAft>
            </a:pPr>
            <a:r>
              <a:rPr lang="en-US" sz="1200">
                <a:latin typeface="+mj-lt"/>
                <a:cs typeface="Calibri" pitchFamily="34" charset="0"/>
              </a:rPr>
              <a:t>Role, Team</a:t>
            </a:r>
          </a:p>
        </p:txBody>
      </p:sp>
      <p:sp>
        <p:nvSpPr>
          <p:cNvPr id="13" name="TextBox 12">
            <a:extLst>
              <a:ext uri="{FF2B5EF4-FFF2-40B4-BE49-F238E27FC236}">
                <a16:creationId xmlns:a16="http://schemas.microsoft.com/office/drawing/2014/main" id="{FB326B59-C339-4875-B1E6-B7C621BDB530}"/>
              </a:ext>
            </a:extLst>
          </p:cNvPr>
          <p:cNvSpPr txBox="1"/>
          <p:nvPr/>
        </p:nvSpPr>
        <p:spPr>
          <a:xfrm>
            <a:off x="533183" y="2933383"/>
            <a:ext cx="4454453" cy="1526768"/>
          </a:xfrm>
          <a:prstGeom prst="rect">
            <a:avLst/>
          </a:prstGeom>
          <a:no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stStyle>
          <a:p>
            <a:pPr marL="0" lvl="1">
              <a:spcBef>
                <a:spcPts val="0"/>
              </a:spcBef>
              <a:spcAft>
                <a:spcPts val="1200"/>
              </a:spcAft>
              <a:buClr>
                <a:schemeClr val="accent1"/>
              </a:buClr>
              <a:buSzPct val="100000"/>
              <a:defRPr/>
            </a:pPr>
            <a:r>
              <a:rPr lang="en-US" sz="1600">
                <a:solidFill>
                  <a:schemeClr val="accent1"/>
                </a:solidFill>
                <a:latin typeface="+mj-lt"/>
                <a:cs typeface="Calibri" pitchFamily="34" charset="0"/>
              </a:rPr>
              <a:t>Profile</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p:txBody>
      </p:sp>
      <p:sp>
        <p:nvSpPr>
          <p:cNvPr id="11" name="TextBox 10">
            <a:extLst>
              <a:ext uri="{FF2B5EF4-FFF2-40B4-BE49-F238E27FC236}">
                <a16:creationId xmlns:a16="http://schemas.microsoft.com/office/drawing/2014/main" id="{12B06EB1-9409-48A8-8578-48D2AB6EEBCF}"/>
              </a:ext>
            </a:extLst>
          </p:cNvPr>
          <p:cNvSpPr txBox="1"/>
          <p:nvPr/>
        </p:nvSpPr>
        <p:spPr>
          <a:xfrm>
            <a:off x="533183" y="4450222"/>
            <a:ext cx="4454453" cy="1526768"/>
          </a:xfrm>
          <a:prstGeom prst="rect">
            <a:avLst/>
          </a:prstGeom>
          <a:no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stStyle>
          <a:p>
            <a:pPr marL="0" lvl="1">
              <a:spcBef>
                <a:spcPts val="0"/>
              </a:spcBef>
              <a:spcAft>
                <a:spcPts val="1200"/>
              </a:spcAft>
              <a:buClr>
                <a:schemeClr val="accent1"/>
              </a:buClr>
              <a:buSzPct val="100000"/>
              <a:defRPr/>
            </a:pPr>
            <a:r>
              <a:rPr lang="en-US" sz="1600">
                <a:solidFill>
                  <a:schemeClr val="accent1"/>
                </a:solidFill>
                <a:latin typeface="+mj-lt"/>
                <a:cs typeface="Calibri" pitchFamily="34" charset="0"/>
              </a:rPr>
              <a:t>Education</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p:txBody>
      </p:sp>
      <p:sp>
        <p:nvSpPr>
          <p:cNvPr id="14" name="TextBox 13">
            <a:extLst>
              <a:ext uri="{FF2B5EF4-FFF2-40B4-BE49-F238E27FC236}">
                <a16:creationId xmlns:a16="http://schemas.microsoft.com/office/drawing/2014/main" id="{812FC114-67D0-4746-8144-D61EDE9592A2}"/>
              </a:ext>
            </a:extLst>
          </p:cNvPr>
          <p:cNvSpPr txBox="1"/>
          <p:nvPr/>
        </p:nvSpPr>
        <p:spPr>
          <a:xfrm>
            <a:off x="5051884" y="1125538"/>
            <a:ext cx="6608748" cy="5219700"/>
          </a:xfrm>
          <a:prstGeom prst="rect">
            <a:avLst/>
          </a:prstGeom>
          <a:solidFill>
            <a:schemeClr val="bg1"/>
          </a:solid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vl2pPr marL="0" lvl="1">
              <a:spcBef>
                <a:spcPts val="0"/>
              </a:spcBef>
              <a:buClr>
                <a:schemeClr val="accent2"/>
              </a:buClr>
              <a:buSzPct val="100000"/>
              <a:defRPr sz="1400">
                <a:solidFill>
                  <a:srgbClr val="2E2E2E"/>
                </a:solidFill>
                <a:latin typeface="Calibri" pitchFamily="34" charset="0"/>
                <a:cs typeface="Calibri" pitchFamily="34" charset="0"/>
              </a:defRPr>
            </a:lvl2pPr>
          </a:lstStyle>
          <a:p>
            <a:pPr lvl="1">
              <a:spcAft>
                <a:spcPts val="300"/>
              </a:spcAft>
              <a:buClr>
                <a:schemeClr val="accent1"/>
              </a:buClr>
            </a:pPr>
            <a:r>
              <a:rPr lang="en-US" sz="1600">
                <a:solidFill>
                  <a:schemeClr val="accent1"/>
                </a:solidFill>
                <a:latin typeface="+mj-lt"/>
              </a:rPr>
              <a:t>Professional Experience</a:t>
            </a:r>
          </a:p>
          <a:p>
            <a:pPr marL="179388" lvl="1" indent="-179388">
              <a:spcAft>
                <a:spcPts val="300"/>
              </a:spcAft>
              <a:buClr>
                <a:schemeClr val="accent1"/>
              </a:buClr>
              <a:buFont typeface="Wingdings" panose="05000000000000000000" pitchFamily="2" charset="2"/>
              <a:buChar char="§"/>
            </a:pPr>
            <a:r>
              <a:rPr lang="en-US" sz="1200">
                <a:solidFill>
                  <a:schemeClr val="tx1"/>
                </a:solidFill>
                <a:latin typeface="+mj-lt"/>
              </a:rPr>
              <a:t>Dummy text</a:t>
            </a:r>
          </a:p>
          <a:p>
            <a:pPr marL="179388" lvl="1" indent="-179388">
              <a:spcAft>
                <a:spcPts val="300"/>
              </a:spcAft>
              <a:buClr>
                <a:schemeClr val="accent1"/>
              </a:buClr>
              <a:buFont typeface="Wingdings" panose="05000000000000000000" pitchFamily="2" charset="2"/>
              <a:buChar char="§"/>
            </a:pPr>
            <a:r>
              <a:rPr lang="en-US" sz="1200">
                <a:solidFill>
                  <a:schemeClr val="tx1"/>
                </a:solidFill>
                <a:latin typeface="+mj-lt"/>
              </a:rPr>
              <a:t>Dummy text</a:t>
            </a:r>
          </a:p>
        </p:txBody>
      </p:sp>
      <p:sp>
        <p:nvSpPr>
          <p:cNvPr id="3" name="Rectangle 2">
            <a:extLst>
              <a:ext uri="{FF2B5EF4-FFF2-40B4-BE49-F238E27FC236}">
                <a16:creationId xmlns:a16="http://schemas.microsoft.com/office/drawing/2014/main" id="{4B1E5437-263A-43B7-820C-86482AE86C46}"/>
              </a:ext>
              <a:ext uri="{C183D7F6-B498-43B3-948B-1728B52AA6E4}">
                <adec:decorative xmlns:adec="http://schemas.microsoft.com/office/drawing/2017/decorative" val="1"/>
              </a:ext>
            </a:extLst>
          </p:cNvPr>
          <p:cNvSpPr/>
          <p:nvPr/>
        </p:nvSpPr>
        <p:spPr>
          <a:xfrm>
            <a:off x="3632534" y="1125538"/>
            <a:ext cx="1239404" cy="13492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mj-lt"/>
              </a:rPr>
              <a:t>Picture</a:t>
            </a:r>
            <a:br>
              <a:rPr lang="en-US" sz="1000">
                <a:solidFill>
                  <a:schemeClr val="tx1"/>
                </a:solidFill>
                <a:latin typeface="+mj-lt"/>
              </a:rPr>
            </a:br>
            <a:r>
              <a:rPr lang="en-US" sz="1000">
                <a:solidFill>
                  <a:schemeClr val="tx1"/>
                </a:solidFill>
                <a:latin typeface="+mj-lt"/>
              </a:rPr>
              <a:t>to be added</a:t>
            </a:r>
          </a:p>
        </p:txBody>
      </p:sp>
      <p:cxnSp>
        <p:nvCxnSpPr>
          <p:cNvPr id="5" name="Straight Connector 4">
            <a:extLst>
              <a:ext uri="{FF2B5EF4-FFF2-40B4-BE49-F238E27FC236}">
                <a16:creationId xmlns:a16="http://schemas.microsoft.com/office/drawing/2014/main" id="{BA56F2BD-9344-4363-BE63-227D7B4ADD2D}"/>
              </a:ext>
              <a:ext uri="{C183D7F6-B498-43B3-948B-1728B52AA6E4}">
                <adec:decorative xmlns:adec="http://schemas.microsoft.com/office/drawing/2017/decorative" val="1"/>
              </a:ext>
            </a:extLst>
          </p:cNvPr>
          <p:cNvCxnSpPr/>
          <p:nvPr/>
        </p:nvCxnSpPr>
        <p:spPr>
          <a:xfrm>
            <a:off x="515938" y="3288125"/>
            <a:ext cx="4356000" cy="0"/>
          </a:xfrm>
          <a:prstGeom prst="line">
            <a:avLst/>
          </a:prstGeom>
          <a:ln w="1905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10E2393-D44D-4C2F-98D9-8D3BA7B7E809}"/>
              </a:ext>
              <a:ext uri="{C183D7F6-B498-43B3-948B-1728B52AA6E4}">
                <adec:decorative xmlns:adec="http://schemas.microsoft.com/office/drawing/2017/decorative" val="1"/>
              </a:ext>
            </a:extLst>
          </p:cNvPr>
          <p:cNvCxnSpPr/>
          <p:nvPr/>
        </p:nvCxnSpPr>
        <p:spPr>
          <a:xfrm>
            <a:off x="515938" y="4806952"/>
            <a:ext cx="4356000" cy="0"/>
          </a:xfrm>
          <a:prstGeom prst="line">
            <a:avLst/>
          </a:prstGeom>
          <a:ln w="1905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1142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18290-CF17-4DA7-B69A-83CA2BCAD8D0}"/>
              </a:ext>
            </a:extLst>
          </p:cNvPr>
          <p:cNvSpPr>
            <a:spLocks noGrp="1"/>
          </p:cNvSpPr>
          <p:nvPr>
            <p:ph type="title"/>
          </p:nvPr>
        </p:nvSpPr>
        <p:spPr/>
        <p:txBody>
          <a:bodyPr/>
          <a:lstStyle/>
          <a:p>
            <a:r>
              <a:rPr lang="en-US"/>
              <a:t>CV</a:t>
            </a:r>
            <a:br>
              <a:rPr lang="en-US"/>
            </a:br>
            <a:endParaRPr lang="en-US"/>
          </a:p>
        </p:txBody>
      </p:sp>
      <p:sp>
        <p:nvSpPr>
          <p:cNvPr id="3" name="Rectangle 2">
            <a:extLst>
              <a:ext uri="{FF2B5EF4-FFF2-40B4-BE49-F238E27FC236}">
                <a16:creationId xmlns:a16="http://schemas.microsoft.com/office/drawing/2014/main" id="{4B1E5437-263A-43B7-820C-86482AE86C46}"/>
              </a:ext>
              <a:ext uri="{C183D7F6-B498-43B3-948B-1728B52AA6E4}">
                <adec:decorative xmlns:adec="http://schemas.microsoft.com/office/drawing/2017/decorative" val="1"/>
              </a:ext>
            </a:extLst>
          </p:cNvPr>
          <p:cNvSpPr/>
          <p:nvPr/>
        </p:nvSpPr>
        <p:spPr>
          <a:xfrm>
            <a:off x="550200" y="1088740"/>
            <a:ext cx="1239404" cy="138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mj-lt"/>
              </a:rPr>
              <a:t>Picture</a:t>
            </a:r>
            <a:br>
              <a:rPr lang="en-US" sz="1000">
                <a:solidFill>
                  <a:schemeClr val="tx1"/>
                </a:solidFill>
                <a:latin typeface="+mj-lt"/>
              </a:rPr>
            </a:br>
            <a:r>
              <a:rPr lang="en-US" sz="1000">
                <a:solidFill>
                  <a:schemeClr val="tx1"/>
                </a:solidFill>
                <a:latin typeface="+mj-lt"/>
              </a:rPr>
              <a:t>to be added</a:t>
            </a:r>
          </a:p>
        </p:txBody>
      </p:sp>
      <p:sp>
        <p:nvSpPr>
          <p:cNvPr id="12" name="Rectangle 11">
            <a:extLst>
              <a:ext uri="{FF2B5EF4-FFF2-40B4-BE49-F238E27FC236}">
                <a16:creationId xmlns:a16="http://schemas.microsoft.com/office/drawing/2014/main" id="{54E6AA6D-4C24-4184-A2FA-057EF935F214}"/>
              </a:ext>
              <a:ext uri="{C183D7F6-B498-43B3-948B-1728B52AA6E4}">
                <adec:decorative xmlns:adec="http://schemas.microsoft.com/office/drawing/2017/decorative" val="1"/>
              </a:ext>
            </a:extLst>
          </p:cNvPr>
          <p:cNvSpPr/>
          <p:nvPr/>
        </p:nvSpPr>
        <p:spPr bwMode="auto">
          <a:xfrm>
            <a:off x="1879152" y="1088740"/>
            <a:ext cx="2560664" cy="1386000"/>
          </a:xfrm>
          <a:prstGeom prst="rect">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a:solidFill>
                <a:srgbClr val="000000"/>
              </a:solidFill>
              <a:latin typeface="+mj-lt"/>
              <a:cs typeface="Arial" charset="0"/>
              <a:sym typeface="Calibri" panose="020F0502020204030204" pitchFamily="34" charset="0"/>
            </a:endParaRPr>
          </a:p>
        </p:txBody>
      </p:sp>
      <p:sp>
        <p:nvSpPr>
          <p:cNvPr id="15" name="TextBox 14">
            <a:extLst>
              <a:ext uri="{FF2B5EF4-FFF2-40B4-BE49-F238E27FC236}">
                <a16:creationId xmlns:a16="http://schemas.microsoft.com/office/drawing/2014/main" id="{FB7A2169-F7F3-4B12-BD6B-2FE994FB4917}"/>
              </a:ext>
            </a:extLst>
          </p:cNvPr>
          <p:cNvSpPr txBox="1"/>
          <p:nvPr/>
        </p:nvSpPr>
        <p:spPr>
          <a:xfrm>
            <a:off x="1952320" y="1088740"/>
            <a:ext cx="4035667" cy="1386000"/>
          </a:xfrm>
          <a:prstGeom prst="rect">
            <a:avLst/>
          </a:prstGeom>
          <a:solidFill>
            <a:schemeClr val="bg1"/>
          </a:solidFill>
        </p:spPr>
        <p:txBody>
          <a:bodyPr wrap="square" lIns="72000" tIns="36000" rIns="0" bIns="36000" rtlCol="0" anchor="ctr" anchorCtr="0">
            <a:noAutofit/>
          </a:bodyPr>
          <a:lstStyle/>
          <a:p>
            <a:pPr>
              <a:spcAft>
                <a:spcPts val="200"/>
              </a:spcAft>
            </a:pPr>
            <a:r>
              <a:rPr lang="en-GB" sz="2400" spc="200">
                <a:solidFill>
                  <a:schemeClr val="tx2"/>
                </a:solidFill>
                <a:latin typeface="+mj-lt"/>
                <a:cs typeface="Calibri" pitchFamily="34" charset="0"/>
              </a:rPr>
              <a:t>NAME</a:t>
            </a:r>
          </a:p>
          <a:p>
            <a:pPr>
              <a:spcAft>
                <a:spcPts val="200"/>
              </a:spcAft>
            </a:pPr>
            <a:r>
              <a:rPr lang="en-US" sz="1200">
                <a:solidFill>
                  <a:schemeClr val="tx2"/>
                </a:solidFill>
                <a:latin typeface="+mj-lt"/>
                <a:cs typeface="Calibri" pitchFamily="34" charset="0"/>
              </a:rPr>
              <a:t>Role, Team</a:t>
            </a:r>
          </a:p>
        </p:txBody>
      </p:sp>
      <p:sp>
        <p:nvSpPr>
          <p:cNvPr id="13" name="TextBox 12">
            <a:extLst>
              <a:ext uri="{FF2B5EF4-FFF2-40B4-BE49-F238E27FC236}">
                <a16:creationId xmlns:a16="http://schemas.microsoft.com/office/drawing/2014/main" id="{FB326B59-C339-4875-B1E6-B7C621BDB530}"/>
              </a:ext>
            </a:extLst>
          </p:cNvPr>
          <p:cNvSpPr txBox="1"/>
          <p:nvPr/>
        </p:nvSpPr>
        <p:spPr>
          <a:xfrm>
            <a:off x="550200" y="2560323"/>
            <a:ext cx="5437787" cy="1526768"/>
          </a:xfrm>
          <a:prstGeom prst="rect">
            <a:avLst/>
          </a:prstGeom>
          <a:solidFill>
            <a:schemeClr val="bg1"/>
          </a:solid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stStyle>
          <a:p>
            <a:pPr marL="0" lvl="1">
              <a:spcBef>
                <a:spcPts val="0"/>
              </a:spcBef>
              <a:spcAft>
                <a:spcPts val="300"/>
              </a:spcAft>
              <a:buClr>
                <a:schemeClr val="accent1"/>
              </a:buClr>
              <a:buSzPct val="100000"/>
              <a:defRPr/>
            </a:pPr>
            <a:r>
              <a:rPr lang="en-US" sz="1400" dirty="0">
                <a:solidFill>
                  <a:schemeClr val="accent1"/>
                </a:solidFill>
                <a:latin typeface="+mj-lt"/>
                <a:cs typeface="Calibri" pitchFamily="34" charset="0"/>
              </a:rPr>
              <a:t>Profile</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dirty="0">
                <a:latin typeface="+mj-lt"/>
                <a:cs typeface="Calibri" pitchFamily="34" charset="0"/>
              </a:rPr>
              <a:t>Dummy text</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dirty="0">
                <a:latin typeface="+mj-lt"/>
                <a:cs typeface="Calibri" pitchFamily="34" charset="0"/>
              </a:rPr>
              <a:t>Dummy text</a:t>
            </a:r>
          </a:p>
        </p:txBody>
      </p:sp>
      <p:sp>
        <p:nvSpPr>
          <p:cNvPr id="22" name="Title 60">
            <a:extLst>
              <a:ext uri="{FF2B5EF4-FFF2-40B4-BE49-F238E27FC236}">
                <a16:creationId xmlns:a16="http://schemas.microsoft.com/office/drawing/2014/main" id="{843B4F24-2B66-4A0D-9251-6166C511BD01}"/>
              </a:ext>
            </a:extLst>
          </p:cNvPr>
          <p:cNvSpPr txBox="1">
            <a:spLocks/>
          </p:cNvSpPr>
          <p:nvPr/>
        </p:nvSpPr>
        <p:spPr>
          <a:xfrm>
            <a:off x="551384" y="4106533"/>
            <a:ext cx="5437787" cy="330579"/>
          </a:xfrm>
          <a:prstGeom prst="rect">
            <a:avLst/>
          </a:prstGeom>
          <a:noFill/>
          <a:ln>
            <a:noFill/>
          </a:ln>
        </p:spPr>
        <p:txBody>
          <a:bodyPr vert="horz" lIns="36000" tIns="36000" rIns="36000" bIns="36000" rtlCol="0" anchor="t" anchorCtr="0">
            <a:noAutofit/>
          </a:bodyPr>
          <a:lstStyle/>
          <a:p>
            <a:pPr algn="ctr" defTabSz="457200">
              <a:defRPr/>
            </a:pPr>
            <a:r>
              <a:rPr lang="en-GB" sz="1400" dirty="0">
                <a:solidFill>
                  <a:schemeClr val="accent1"/>
                </a:solidFill>
                <a:latin typeface="+mj-lt"/>
                <a:sym typeface="Calibri"/>
              </a:rPr>
              <a:t>Education</a:t>
            </a:r>
            <a:endParaRPr lang="en-GB" sz="1400" dirty="0">
              <a:solidFill>
                <a:schemeClr val="accent1"/>
              </a:solidFill>
              <a:latin typeface="+mj-lt"/>
              <a:cs typeface="Verdana"/>
              <a:sym typeface="Calibri"/>
            </a:endParaRPr>
          </a:p>
        </p:txBody>
      </p:sp>
      <p:sp>
        <p:nvSpPr>
          <p:cNvPr id="17" name="TextBox 16">
            <a:extLst>
              <a:ext uri="{FF2B5EF4-FFF2-40B4-BE49-F238E27FC236}">
                <a16:creationId xmlns:a16="http://schemas.microsoft.com/office/drawing/2014/main" id="{7B222714-D080-4059-9E37-AF57EF3DC950}"/>
              </a:ext>
            </a:extLst>
          </p:cNvPr>
          <p:cNvSpPr txBox="1"/>
          <p:nvPr/>
        </p:nvSpPr>
        <p:spPr>
          <a:xfrm>
            <a:off x="550200" y="4509125"/>
            <a:ext cx="5437787" cy="1836114"/>
          </a:xfrm>
          <a:prstGeom prst="rect">
            <a:avLst/>
          </a:prstGeom>
          <a:solidFill>
            <a:schemeClr val="bg1"/>
          </a:solid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stStyle>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p:txBody>
      </p:sp>
      <p:sp>
        <p:nvSpPr>
          <p:cNvPr id="23" name="Title 60">
            <a:extLst>
              <a:ext uri="{FF2B5EF4-FFF2-40B4-BE49-F238E27FC236}">
                <a16:creationId xmlns:a16="http://schemas.microsoft.com/office/drawing/2014/main" id="{51969267-E4E7-4805-B8D2-64DC15343EFC}"/>
              </a:ext>
            </a:extLst>
          </p:cNvPr>
          <p:cNvSpPr txBox="1">
            <a:spLocks/>
          </p:cNvSpPr>
          <p:nvPr/>
        </p:nvSpPr>
        <p:spPr>
          <a:xfrm>
            <a:off x="6221032" y="1010189"/>
            <a:ext cx="5437787" cy="330579"/>
          </a:xfrm>
          <a:prstGeom prst="rect">
            <a:avLst/>
          </a:prstGeom>
          <a:noFill/>
          <a:ln>
            <a:noFill/>
          </a:ln>
        </p:spPr>
        <p:txBody>
          <a:bodyPr vert="horz" lIns="36000" tIns="36000" rIns="36000" bIns="36000" rtlCol="0" anchor="t" anchorCtr="0">
            <a:noAutofit/>
          </a:bodyPr>
          <a:lstStyle/>
          <a:p>
            <a:pPr algn="ctr" defTabSz="457200">
              <a:defRPr/>
            </a:pPr>
            <a:r>
              <a:rPr lang="en-GB" sz="1400" dirty="0">
                <a:solidFill>
                  <a:schemeClr val="accent1"/>
                </a:solidFill>
                <a:latin typeface="+mj-lt"/>
                <a:cs typeface="Verdana"/>
                <a:sym typeface="Calibri"/>
              </a:rPr>
              <a:t>Professional Experience</a:t>
            </a:r>
          </a:p>
        </p:txBody>
      </p:sp>
      <p:sp>
        <p:nvSpPr>
          <p:cNvPr id="14" name="TextBox 13">
            <a:extLst>
              <a:ext uri="{FF2B5EF4-FFF2-40B4-BE49-F238E27FC236}">
                <a16:creationId xmlns:a16="http://schemas.microsoft.com/office/drawing/2014/main" id="{812FC114-67D0-4746-8144-D61EDE9592A2}"/>
              </a:ext>
            </a:extLst>
          </p:cNvPr>
          <p:cNvSpPr txBox="1"/>
          <p:nvPr/>
        </p:nvSpPr>
        <p:spPr>
          <a:xfrm>
            <a:off x="6221032" y="1419319"/>
            <a:ext cx="5439600" cy="4925919"/>
          </a:xfrm>
          <a:prstGeom prst="rect">
            <a:avLst/>
          </a:prstGeom>
          <a:solidFill>
            <a:schemeClr val="bg1"/>
          </a:solid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vl2pPr marL="0" lvl="1">
              <a:spcBef>
                <a:spcPts val="0"/>
              </a:spcBef>
              <a:buClr>
                <a:schemeClr val="accent2"/>
              </a:buClr>
              <a:buSzPct val="100000"/>
              <a:defRPr sz="1400">
                <a:solidFill>
                  <a:srgbClr val="2E2E2E"/>
                </a:solidFill>
                <a:latin typeface="Calibri" pitchFamily="34" charset="0"/>
                <a:cs typeface="Calibri" pitchFamily="34" charset="0"/>
              </a:defRPr>
            </a:lvl2pPr>
          </a:lstStyle>
          <a:p>
            <a:pPr marL="179388" lvl="1" indent="-179388">
              <a:spcAft>
                <a:spcPts val="300"/>
              </a:spcAft>
              <a:buClr>
                <a:schemeClr val="accent1"/>
              </a:buClr>
              <a:buFont typeface="Wingdings" panose="05000000000000000000" pitchFamily="2" charset="2"/>
              <a:buChar char="§"/>
            </a:pPr>
            <a:r>
              <a:rPr lang="en-US" sz="1200">
                <a:solidFill>
                  <a:schemeClr val="tx1"/>
                </a:solidFill>
                <a:latin typeface="+mj-lt"/>
              </a:rPr>
              <a:t>Dummy text</a:t>
            </a:r>
          </a:p>
          <a:p>
            <a:pPr marL="179388" lvl="1" indent="-179388">
              <a:spcAft>
                <a:spcPts val="300"/>
              </a:spcAft>
              <a:buClr>
                <a:schemeClr val="accent1"/>
              </a:buClr>
              <a:buFont typeface="Wingdings" panose="05000000000000000000" pitchFamily="2" charset="2"/>
              <a:buChar char="§"/>
            </a:pPr>
            <a:r>
              <a:rPr lang="en-US" sz="1200">
                <a:solidFill>
                  <a:schemeClr val="tx1"/>
                </a:solidFill>
                <a:latin typeface="+mj-lt"/>
              </a:rPr>
              <a:t>Dummy text</a:t>
            </a:r>
          </a:p>
        </p:txBody>
      </p:sp>
      <p:cxnSp>
        <p:nvCxnSpPr>
          <p:cNvPr id="5" name="Straight Connector 4">
            <a:extLst>
              <a:ext uri="{FF2B5EF4-FFF2-40B4-BE49-F238E27FC236}">
                <a16:creationId xmlns:a16="http://schemas.microsoft.com/office/drawing/2014/main" id="{427B11A1-5569-421F-B404-CA91C5D9A2C9}"/>
              </a:ext>
              <a:ext uri="{C183D7F6-B498-43B3-948B-1728B52AA6E4}">
                <adec:decorative xmlns:adec="http://schemas.microsoft.com/office/drawing/2017/decorative" val="1"/>
              </a:ext>
            </a:extLst>
          </p:cNvPr>
          <p:cNvCxnSpPr/>
          <p:nvPr/>
        </p:nvCxnSpPr>
        <p:spPr>
          <a:xfrm>
            <a:off x="6221032" y="1340768"/>
            <a:ext cx="5437787"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589E7B9-0527-4958-8B66-EF4A1DF156F4}"/>
              </a:ext>
              <a:ext uri="{C183D7F6-B498-43B3-948B-1728B52AA6E4}">
                <adec:decorative xmlns:adec="http://schemas.microsoft.com/office/drawing/2017/decorative" val="1"/>
              </a:ext>
            </a:extLst>
          </p:cNvPr>
          <p:cNvCxnSpPr/>
          <p:nvPr/>
        </p:nvCxnSpPr>
        <p:spPr>
          <a:xfrm>
            <a:off x="550200" y="4437112"/>
            <a:ext cx="5437787" cy="0"/>
          </a:xfrm>
          <a:prstGeom prst="line">
            <a:avLst/>
          </a:prstGeom>
          <a:ln w="571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84906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8BEB2943-5A23-49DE-9004-F9BCA9F24F5D}"/>
              </a:ext>
              <a:ext uri="{C183D7F6-B498-43B3-948B-1728B52AA6E4}">
                <adec:decorative xmlns:adec="http://schemas.microsoft.com/office/drawing/2017/decorative" val="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7135" b="7135"/>
          <a:stretch>
            <a:fillRect/>
          </a:stretch>
        </p:blipFill>
        <p:spPr>
          <a:solidFill>
            <a:schemeClr val="accent4"/>
          </a:solidFill>
        </p:spPr>
      </p:pic>
      <p:sp>
        <p:nvSpPr>
          <p:cNvPr id="6" name="Rectangle 5">
            <a:extLst>
              <a:ext uri="{FF2B5EF4-FFF2-40B4-BE49-F238E27FC236}">
                <a16:creationId xmlns:a16="http://schemas.microsoft.com/office/drawing/2014/main" id="{8A52049C-5204-BC48-A8E0-76A13055123A}"/>
              </a:ext>
              <a:ext uri="{C183D7F6-B498-43B3-948B-1728B52AA6E4}">
                <adec:decorative xmlns:adec="http://schemas.microsoft.com/office/drawing/2017/decorative" val="1"/>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1" name="Title 10">
            <a:extLst>
              <a:ext uri="{FF2B5EF4-FFF2-40B4-BE49-F238E27FC236}">
                <a16:creationId xmlns:a16="http://schemas.microsoft.com/office/drawing/2014/main" id="{33940544-1F8D-47E0-8BF8-BEED038F26D9}"/>
              </a:ext>
            </a:extLst>
          </p:cNvPr>
          <p:cNvSpPr>
            <a:spLocks noGrp="1"/>
          </p:cNvSpPr>
          <p:nvPr>
            <p:ph type="ctrTitle"/>
          </p:nvPr>
        </p:nvSpPr>
        <p:spPr>
          <a:xfrm>
            <a:off x="5807967" y="2265429"/>
            <a:ext cx="6384033" cy="2243691"/>
          </a:xfrm>
        </p:spPr>
        <p:txBody>
          <a:bodyPr/>
          <a:lstStyle/>
          <a:p>
            <a:r>
              <a:rPr lang="en-GB" dirty="0"/>
              <a:t>Title </a:t>
            </a:r>
            <a:br>
              <a:rPr lang="en-GB" dirty="0"/>
            </a:br>
            <a:r>
              <a:rPr lang="en-GB" dirty="0"/>
              <a:t>       of the</a:t>
            </a:r>
            <a:br>
              <a:rPr lang="en-GB" dirty="0"/>
            </a:br>
            <a:r>
              <a:rPr lang="en-GB" dirty="0"/>
              <a:t>presentation</a:t>
            </a:r>
          </a:p>
        </p:txBody>
      </p:sp>
      <p:sp>
        <p:nvSpPr>
          <p:cNvPr id="12" name="Subtitle 11">
            <a:extLst>
              <a:ext uri="{FF2B5EF4-FFF2-40B4-BE49-F238E27FC236}">
                <a16:creationId xmlns:a16="http://schemas.microsoft.com/office/drawing/2014/main" id="{B28D4135-3F0B-4D5A-ADA3-87022F8C1959}"/>
              </a:ext>
            </a:extLst>
          </p:cNvPr>
          <p:cNvSpPr>
            <a:spLocks noGrp="1"/>
          </p:cNvSpPr>
          <p:nvPr>
            <p:ph type="subTitle" idx="1"/>
          </p:nvPr>
        </p:nvSpPr>
        <p:spPr>
          <a:xfrm>
            <a:off x="5807967" y="4561383"/>
            <a:ext cx="6384033" cy="307777"/>
          </a:xfrm>
        </p:spPr>
        <p:txBody>
          <a:bodyPr/>
          <a:lstStyle/>
          <a:p>
            <a:endParaRPr lang="en-GB" dirty="0"/>
          </a:p>
        </p:txBody>
      </p:sp>
      <p:sp>
        <p:nvSpPr>
          <p:cNvPr id="13" name="Graphic 13">
            <a:extLst>
              <a:ext uri="{FF2B5EF4-FFF2-40B4-BE49-F238E27FC236}">
                <a16:creationId xmlns:a16="http://schemas.microsoft.com/office/drawing/2014/main" id="{142D2CEA-902B-4DBF-A65C-3D5498D4335F}"/>
              </a:ext>
              <a:ext uri="{C183D7F6-B498-43B3-948B-1728B52AA6E4}">
                <adec:decorative xmlns:adec="http://schemas.microsoft.com/office/drawing/2017/decorative" val="1"/>
              </a:ext>
            </a:extLst>
          </p:cNvPr>
          <p:cNvSpPr>
            <a:spLocks/>
          </p:cNvSpPr>
          <p:nvPr/>
        </p:nvSpPr>
        <p:spPr>
          <a:xfrm rot="21365793">
            <a:off x="3937534" y="1941589"/>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pic>
        <p:nvPicPr>
          <p:cNvPr id="7" name="Image 5">
            <a:extLst>
              <a:ext uri="{FF2B5EF4-FFF2-40B4-BE49-F238E27FC236}">
                <a16:creationId xmlns:a16="http://schemas.microsoft.com/office/drawing/2014/main" id="{B4191162-6594-184F-BBDF-6E09BCE439D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41996216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EF9BCF8-14EC-4961-82E0-2783C827DA33}"/>
              </a:ext>
            </a:extLst>
          </p:cNvPr>
          <p:cNvSpPr>
            <a:spLocks noGrp="1"/>
          </p:cNvSpPr>
          <p:nvPr>
            <p:ph type="title"/>
          </p:nvPr>
        </p:nvSpPr>
        <p:spPr/>
        <p:txBody>
          <a:bodyPr/>
          <a:lstStyle/>
          <a:p>
            <a:r>
              <a:rPr lang="en-US"/>
              <a:t>CV</a:t>
            </a:r>
            <a:br>
              <a:rPr lang="en-US"/>
            </a:br>
            <a:endParaRPr lang="en-US"/>
          </a:p>
        </p:txBody>
      </p:sp>
      <p:sp>
        <p:nvSpPr>
          <p:cNvPr id="14" name="Rectangle 13">
            <a:extLst>
              <a:ext uri="{FF2B5EF4-FFF2-40B4-BE49-F238E27FC236}">
                <a16:creationId xmlns:a16="http://schemas.microsoft.com/office/drawing/2014/main" id="{780C75A3-EBE7-49EB-845B-81F9719D5C5D}"/>
              </a:ext>
              <a:ext uri="{C183D7F6-B498-43B3-948B-1728B52AA6E4}">
                <adec:decorative xmlns:adec="http://schemas.microsoft.com/office/drawing/2017/decorative" val="1"/>
              </a:ext>
            </a:extLst>
          </p:cNvPr>
          <p:cNvSpPr/>
          <p:nvPr/>
        </p:nvSpPr>
        <p:spPr>
          <a:xfrm>
            <a:off x="549538" y="1088740"/>
            <a:ext cx="1080000" cy="111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mj-lt"/>
              </a:rPr>
              <a:t>Picture</a:t>
            </a:r>
            <a:br>
              <a:rPr lang="en-US" sz="1000">
                <a:solidFill>
                  <a:schemeClr val="tx1"/>
                </a:solidFill>
                <a:latin typeface="+mj-lt"/>
              </a:rPr>
            </a:br>
            <a:r>
              <a:rPr lang="en-US" sz="1000">
                <a:solidFill>
                  <a:schemeClr val="tx1"/>
                </a:solidFill>
                <a:latin typeface="+mj-lt"/>
              </a:rPr>
              <a:t>to be added</a:t>
            </a:r>
          </a:p>
        </p:txBody>
      </p:sp>
      <p:sp>
        <p:nvSpPr>
          <p:cNvPr id="13" name="TextBox 12">
            <a:extLst>
              <a:ext uri="{FF2B5EF4-FFF2-40B4-BE49-F238E27FC236}">
                <a16:creationId xmlns:a16="http://schemas.microsoft.com/office/drawing/2014/main" id="{82FB871B-12DF-494D-89E5-27483FD1C140}"/>
              </a:ext>
            </a:extLst>
          </p:cNvPr>
          <p:cNvSpPr txBox="1"/>
          <p:nvPr/>
        </p:nvSpPr>
        <p:spPr>
          <a:xfrm>
            <a:off x="1670926" y="1088740"/>
            <a:ext cx="4317061" cy="1116000"/>
          </a:xfrm>
          <a:prstGeom prst="rect">
            <a:avLst/>
          </a:prstGeom>
          <a:solidFill>
            <a:schemeClr val="bg1"/>
          </a:solidFill>
        </p:spPr>
        <p:txBody>
          <a:bodyPr wrap="square" lIns="72000" tIns="36000" rIns="0" bIns="36000" rtlCol="0" anchor="ctr" anchorCtr="0">
            <a:noAutofit/>
          </a:bodyPr>
          <a:lstStyle/>
          <a:p>
            <a:pPr>
              <a:spcAft>
                <a:spcPts val="200"/>
              </a:spcAft>
            </a:pPr>
            <a:r>
              <a:rPr lang="en-GB" sz="2400" spc="200">
                <a:solidFill>
                  <a:schemeClr val="tx2"/>
                </a:solidFill>
                <a:latin typeface="+mj-lt"/>
                <a:cs typeface="Calibri" pitchFamily="34" charset="0"/>
              </a:rPr>
              <a:t>NAME</a:t>
            </a:r>
          </a:p>
          <a:p>
            <a:pPr>
              <a:spcAft>
                <a:spcPts val="200"/>
              </a:spcAft>
            </a:pPr>
            <a:r>
              <a:rPr lang="en-US" sz="1200">
                <a:solidFill>
                  <a:schemeClr val="tx2"/>
                </a:solidFill>
                <a:latin typeface="+mj-lt"/>
                <a:cs typeface="Calibri" pitchFamily="34" charset="0"/>
              </a:rPr>
              <a:t>Role, Team</a:t>
            </a:r>
          </a:p>
        </p:txBody>
      </p:sp>
      <p:sp>
        <p:nvSpPr>
          <p:cNvPr id="7" name="Rectangle 6">
            <a:extLst>
              <a:ext uri="{FF2B5EF4-FFF2-40B4-BE49-F238E27FC236}">
                <a16:creationId xmlns:a16="http://schemas.microsoft.com/office/drawing/2014/main" id="{3225EB18-E9C6-4EDF-9306-81792CF4AB5D}"/>
              </a:ext>
              <a:ext uri="{C183D7F6-B498-43B3-948B-1728B52AA6E4}">
                <adec:decorative xmlns:adec="http://schemas.microsoft.com/office/drawing/2017/decorative" val="1"/>
              </a:ext>
            </a:extLst>
          </p:cNvPr>
          <p:cNvSpPr/>
          <p:nvPr/>
        </p:nvSpPr>
        <p:spPr>
          <a:xfrm rot="5400000">
            <a:off x="3235561" y="-408488"/>
            <a:ext cx="67063" cy="54377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6" name="Rectangle 5">
            <a:extLst>
              <a:ext uri="{FF2B5EF4-FFF2-40B4-BE49-F238E27FC236}">
                <a16:creationId xmlns:a16="http://schemas.microsoft.com/office/drawing/2014/main" id="{A2D56D39-41D2-48D8-B247-DAAFCD7080CC}"/>
              </a:ext>
            </a:extLst>
          </p:cNvPr>
          <p:cNvSpPr/>
          <p:nvPr/>
        </p:nvSpPr>
        <p:spPr>
          <a:xfrm>
            <a:off x="549538" y="2348880"/>
            <a:ext cx="5438449" cy="3996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200"/>
              </a:spcAft>
              <a:defRPr/>
            </a:pPr>
            <a:r>
              <a:rPr lang="en-GB" sz="1400" dirty="0">
                <a:solidFill>
                  <a:schemeClr val="accent1"/>
                </a:solidFill>
                <a:latin typeface="+mj-lt"/>
                <a:cs typeface="Calibri" pitchFamily="34" charset="0"/>
              </a:rPr>
              <a:t>Overview</a:t>
            </a:r>
          </a:p>
          <a:p>
            <a:pPr marL="0" lvl="1" eaLnBrk="0" fontAlgn="base" hangingPunct="0">
              <a:spcAft>
                <a:spcPts val="200"/>
              </a:spcAft>
              <a:buClr>
                <a:srgbClr val="B10034"/>
              </a:buClr>
              <a:buSzPct val="120000"/>
              <a:tabLst>
                <a:tab pos="809625" algn="l"/>
              </a:tabLst>
              <a:defRPr/>
            </a:pPr>
            <a:r>
              <a:rPr lang="en-GB" sz="1200" dirty="0">
                <a:solidFill>
                  <a:srgbClr val="000000"/>
                </a:solidFill>
                <a:latin typeface="+mj-lt"/>
                <a:cs typeface="Calibri" pitchFamily="34" charset="0"/>
              </a:rPr>
              <a:t>xxx</a:t>
            </a:r>
          </a:p>
          <a:p>
            <a:pPr eaLnBrk="0" hangingPunct="0">
              <a:spcAft>
                <a:spcPts val="200"/>
              </a:spcAft>
              <a:defRPr/>
            </a:pPr>
            <a:r>
              <a:rPr lang="en-GB" sz="1400" dirty="0">
                <a:solidFill>
                  <a:schemeClr val="accent1"/>
                </a:solidFill>
                <a:latin typeface="+mj-lt"/>
                <a:cs typeface="Calibri" pitchFamily="34" charset="0"/>
              </a:rPr>
              <a:t>Expertise Areas</a:t>
            </a:r>
          </a:p>
          <a:p>
            <a:pPr marL="188913" lvl="1" indent="-188913">
              <a:spcAft>
                <a:spcPts val="200"/>
              </a:spcAft>
              <a:buClr>
                <a:schemeClr val="accent1"/>
              </a:buClr>
              <a:buSzPct val="100000"/>
              <a:buFont typeface="Wingdings" pitchFamily="2" charset="2"/>
              <a:buChar char="§"/>
              <a:tabLst>
                <a:tab pos="809625" algn="l"/>
              </a:tabLst>
              <a:defRPr/>
            </a:pPr>
            <a:r>
              <a:rPr lang="en-US" sz="1200" dirty="0">
                <a:solidFill>
                  <a:srgbClr val="000000"/>
                </a:solidFill>
                <a:latin typeface="+mj-lt"/>
                <a:cs typeface="Calibri" pitchFamily="34" charset="0"/>
              </a:rPr>
              <a:t>xxx</a:t>
            </a:r>
            <a:endParaRPr lang="en-GB" sz="1200" dirty="0">
              <a:solidFill>
                <a:srgbClr val="000000"/>
              </a:solidFill>
              <a:latin typeface="+mj-lt"/>
              <a:cs typeface="Calibri" pitchFamily="34" charset="0"/>
            </a:endParaRPr>
          </a:p>
          <a:p>
            <a:pPr>
              <a:spcAft>
                <a:spcPts val="200"/>
              </a:spcAft>
              <a:defRPr/>
            </a:pPr>
            <a:r>
              <a:rPr lang="en-GB" sz="1400" dirty="0">
                <a:solidFill>
                  <a:schemeClr val="accent1"/>
                </a:solidFill>
                <a:latin typeface="+mj-lt"/>
                <a:cs typeface="Calibri" pitchFamily="34" charset="0"/>
              </a:rPr>
              <a:t>Relevant Experience</a:t>
            </a:r>
          </a:p>
          <a:p>
            <a:pPr marL="188913" lvl="1" indent="-188913" fontAlgn="base">
              <a:spcAft>
                <a:spcPts val="200"/>
              </a:spcAft>
              <a:buClr>
                <a:schemeClr val="accent1"/>
              </a:buClr>
              <a:buSzPct val="100000"/>
              <a:buFont typeface="Wingdings" pitchFamily="2" charset="2"/>
              <a:buChar char="§"/>
              <a:tabLst>
                <a:tab pos="809625" algn="l"/>
              </a:tabLst>
              <a:defRPr/>
            </a:pPr>
            <a:r>
              <a:rPr lang="en-US" sz="1200" dirty="0">
                <a:solidFill>
                  <a:schemeClr val="tx1"/>
                </a:solidFill>
                <a:latin typeface="+mj-lt"/>
                <a:cs typeface="Calibri" pitchFamily="34" charset="0"/>
              </a:rPr>
              <a:t>xxx</a:t>
            </a:r>
            <a:endParaRPr lang="en-GB" sz="1200" dirty="0">
              <a:solidFill>
                <a:schemeClr val="tx1"/>
              </a:solidFill>
              <a:latin typeface="+mj-lt"/>
              <a:cs typeface="Calibri" pitchFamily="34" charset="0"/>
            </a:endParaRPr>
          </a:p>
        </p:txBody>
      </p:sp>
      <p:sp>
        <p:nvSpPr>
          <p:cNvPr id="31" name="Rectangle 30">
            <a:extLst>
              <a:ext uri="{FF2B5EF4-FFF2-40B4-BE49-F238E27FC236}">
                <a16:creationId xmlns:a16="http://schemas.microsoft.com/office/drawing/2014/main" id="{EC679557-BA81-4D1D-A116-6AC8B7795312}"/>
              </a:ext>
              <a:ext uri="{C183D7F6-B498-43B3-948B-1728B52AA6E4}">
                <adec:decorative xmlns:adec="http://schemas.microsoft.com/office/drawing/2017/decorative" val="1"/>
              </a:ext>
            </a:extLst>
          </p:cNvPr>
          <p:cNvSpPr/>
          <p:nvPr/>
        </p:nvSpPr>
        <p:spPr>
          <a:xfrm>
            <a:off x="6221032" y="1088740"/>
            <a:ext cx="1080000" cy="111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mj-lt"/>
              </a:rPr>
              <a:t>Picture</a:t>
            </a:r>
            <a:br>
              <a:rPr lang="en-US" sz="1000">
                <a:solidFill>
                  <a:schemeClr val="tx1"/>
                </a:solidFill>
                <a:latin typeface="+mj-lt"/>
              </a:rPr>
            </a:br>
            <a:r>
              <a:rPr lang="en-US" sz="1000">
                <a:solidFill>
                  <a:schemeClr val="tx1"/>
                </a:solidFill>
                <a:latin typeface="+mj-lt"/>
              </a:rPr>
              <a:t>to be added</a:t>
            </a:r>
          </a:p>
        </p:txBody>
      </p:sp>
      <p:sp>
        <p:nvSpPr>
          <p:cNvPr id="30" name="TextBox 29">
            <a:extLst>
              <a:ext uri="{FF2B5EF4-FFF2-40B4-BE49-F238E27FC236}">
                <a16:creationId xmlns:a16="http://schemas.microsoft.com/office/drawing/2014/main" id="{AFCA5C16-116E-4DAB-824B-1851FF3581F0}"/>
              </a:ext>
            </a:extLst>
          </p:cNvPr>
          <p:cNvSpPr txBox="1"/>
          <p:nvPr/>
        </p:nvSpPr>
        <p:spPr>
          <a:xfrm>
            <a:off x="7342420" y="1088740"/>
            <a:ext cx="4317061" cy="1116000"/>
          </a:xfrm>
          <a:prstGeom prst="rect">
            <a:avLst/>
          </a:prstGeom>
          <a:solidFill>
            <a:schemeClr val="bg1"/>
          </a:solidFill>
        </p:spPr>
        <p:txBody>
          <a:bodyPr wrap="square" lIns="72000" tIns="36000" rIns="0" bIns="36000" rtlCol="0" anchor="ctr" anchorCtr="0">
            <a:noAutofit/>
          </a:bodyPr>
          <a:lstStyle/>
          <a:p>
            <a:pPr>
              <a:spcAft>
                <a:spcPts val="200"/>
              </a:spcAft>
            </a:pPr>
            <a:r>
              <a:rPr lang="en-GB" sz="2400" spc="200">
                <a:solidFill>
                  <a:schemeClr val="tx2"/>
                </a:solidFill>
                <a:latin typeface="+mj-lt"/>
                <a:cs typeface="Calibri" pitchFamily="34" charset="0"/>
              </a:rPr>
              <a:t>NAME</a:t>
            </a:r>
          </a:p>
          <a:p>
            <a:pPr>
              <a:spcAft>
                <a:spcPts val="200"/>
              </a:spcAft>
            </a:pPr>
            <a:r>
              <a:rPr lang="en-US" sz="1200">
                <a:solidFill>
                  <a:schemeClr val="tx2"/>
                </a:solidFill>
                <a:latin typeface="+mj-lt"/>
                <a:cs typeface="Calibri" pitchFamily="34" charset="0"/>
              </a:rPr>
              <a:t>Role, Team</a:t>
            </a:r>
          </a:p>
        </p:txBody>
      </p:sp>
      <p:sp>
        <p:nvSpPr>
          <p:cNvPr id="28" name="Rectangle 27">
            <a:extLst>
              <a:ext uri="{FF2B5EF4-FFF2-40B4-BE49-F238E27FC236}">
                <a16:creationId xmlns:a16="http://schemas.microsoft.com/office/drawing/2014/main" id="{028BD737-D857-4D11-A5C4-B39033DC0524}"/>
              </a:ext>
              <a:ext uri="{C183D7F6-B498-43B3-948B-1728B52AA6E4}">
                <adec:decorative xmlns:adec="http://schemas.microsoft.com/office/drawing/2017/decorative" val="1"/>
              </a:ext>
            </a:extLst>
          </p:cNvPr>
          <p:cNvSpPr/>
          <p:nvPr/>
        </p:nvSpPr>
        <p:spPr>
          <a:xfrm rot="5400000">
            <a:off x="8907055" y="-408488"/>
            <a:ext cx="67063" cy="54377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27" name="Rectangle 26">
            <a:extLst>
              <a:ext uri="{FF2B5EF4-FFF2-40B4-BE49-F238E27FC236}">
                <a16:creationId xmlns:a16="http://schemas.microsoft.com/office/drawing/2014/main" id="{11D02F4B-A152-49E3-A52F-D0537A844AB3}"/>
              </a:ext>
            </a:extLst>
          </p:cNvPr>
          <p:cNvSpPr/>
          <p:nvPr/>
        </p:nvSpPr>
        <p:spPr>
          <a:xfrm>
            <a:off x="6221032" y="2348880"/>
            <a:ext cx="5438449" cy="3996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200"/>
              </a:spcAft>
              <a:defRPr/>
            </a:pPr>
            <a:r>
              <a:rPr lang="en-GB" sz="1400">
                <a:solidFill>
                  <a:schemeClr val="accent1"/>
                </a:solidFill>
                <a:latin typeface="+mj-lt"/>
                <a:cs typeface="Calibri" pitchFamily="34" charset="0"/>
              </a:rPr>
              <a:t>Overview</a:t>
            </a:r>
          </a:p>
          <a:p>
            <a:pPr marL="0" lvl="1" eaLnBrk="0" fontAlgn="base" hangingPunct="0">
              <a:spcAft>
                <a:spcPts val="200"/>
              </a:spcAft>
              <a:buClr>
                <a:srgbClr val="B10034"/>
              </a:buClr>
              <a:buSzPct val="120000"/>
              <a:tabLst>
                <a:tab pos="809625" algn="l"/>
              </a:tabLst>
              <a:defRPr/>
            </a:pPr>
            <a:r>
              <a:rPr lang="en-GB" sz="1200">
                <a:solidFill>
                  <a:srgbClr val="000000"/>
                </a:solidFill>
                <a:latin typeface="+mj-lt"/>
                <a:cs typeface="Calibri" pitchFamily="34" charset="0"/>
              </a:rPr>
              <a:t>xxx</a:t>
            </a:r>
          </a:p>
          <a:p>
            <a:pPr eaLnBrk="0" hangingPunct="0">
              <a:spcAft>
                <a:spcPts val="200"/>
              </a:spcAft>
              <a:defRPr/>
            </a:pPr>
            <a:r>
              <a:rPr lang="en-GB" sz="1400">
                <a:solidFill>
                  <a:schemeClr val="accent1"/>
                </a:solidFill>
                <a:latin typeface="+mj-lt"/>
                <a:cs typeface="Calibri" pitchFamily="34" charset="0"/>
              </a:rPr>
              <a:t>Expertise Areas</a:t>
            </a:r>
          </a:p>
          <a:p>
            <a:pPr marL="188913" lvl="1" indent="-188913">
              <a:spcAft>
                <a:spcPts val="200"/>
              </a:spcAft>
              <a:buClr>
                <a:schemeClr val="accent1"/>
              </a:buClr>
              <a:buSzPct val="100000"/>
              <a:buFont typeface="Wingdings" pitchFamily="2" charset="2"/>
              <a:buChar char="§"/>
              <a:tabLst>
                <a:tab pos="809625" algn="l"/>
              </a:tabLst>
              <a:defRPr/>
            </a:pPr>
            <a:r>
              <a:rPr lang="en-US" sz="1200">
                <a:solidFill>
                  <a:srgbClr val="000000"/>
                </a:solidFill>
                <a:latin typeface="+mj-lt"/>
                <a:cs typeface="Calibri" pitchFamily="34" charset="0"/>
              </a:rPr>
              <a:t>xxx</a:t>
            </a:r>
            <a:endParaRPr lang="en-GB" sz="1200">
              <a:solidFill>
                <a:srgbClr val="000000"/>
              </a:solidFill>
              <a:latin typeface="+mj-lt"/>
              <a:cs typeface="Calibri" pitchFamily="34" charset="0"/>
            </a:endParaRPr>
          </a:p>
          <a:p>
            <a:pPr>
              <a:spcAft>
                <a:spcPts val="200"/>
              </a:spcAft>
              <a:defRPr/>
            </a:pPr>
            <a:r>
              <a:rPr lang="en-GB" sz="1400">
                <a:solidFill>
                  <a:schemeClr val="accent1"/>
                </a:solidFill>
                <a:latin typeface="+mj-lt"/>
                <a:cs typeface="Calibri" pitchFamily="34" charset="0"/>
              </a:rPr>
              <a:t>Relevant Experience</a:t>
            </a:r>
          </a:p>
          <a:p>
            <a:pPr marL="188913" lvl="1" indent="-188913" fontAlgn="base">
              <a:spcAft>
                <a:spcPts val="200"/>
              </a:spcAft>
              <a:buClr>
                <a:schemeClr val="accent1"/>
              </a:buClr>
              <a:buSzPct val="100000"/>
              <a:buFont typeface="Wingdings" pitchFamily="2" charset="2"/>
              <a:buChar char="§"/>
              <a:tabLst>
                <a:tab pos="809625" algn="l"/>
              </a:tabLst>
              <a:defRPr/>
            </a:pPr>
            <a:r>
              <a:rPr lang="en-US" sz="1200">
                <a:solidFill>
                  <a:schemeClr val="tx1"/>
                </a:solidFill>
                <a:latin typeface="+mj-lt"/>
                <a:cs typeface="Calibri" pitchFamily="34" charset="0"/>
              </a:rPr>
              <a:t>xxx</a:t>
            </a:r>
            <a:endParaRPr lang="en-GB" sz="1200">
              <a:solidFill>
                <a:schemeClr val="tx1"/>
              </a:solidFill>
              <a:latin typeface="+mj-lt"/>
              <a:cs typeface="Calibri" pitchFamily="34" charset="0"/>
            </a:endParaRPr>
          </a:p>
        </p:txBody>
      </p:sp>
    </p:spTree>
    <p:extLst>
      <p:ext uri="{BB962C8B-B14F-4D97-AF65-F5344CB8AC3E}">
        <p14:creationId xmlns:p14="http://schemas.microsoft.com/office/powerpoint/2010/main" val="3543035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 name="Title 3"/>
          <p:cNvSpPr>
            <a:spLocks noGrp="1"/>
          </p:cNvSpPr>
          <p:nvPr>
            <p:ph type="title"/>
          </p:nvPr>
        </p:nvSpPr>
        <p:spPr/>
        <p:txBody>
          <a:bodyPr/>
          <a:lstStyle/>
          <a:p>
            <a:r>
              <a:rPr lang="en-GB"/>
              <a:t>Contacts </a:t>
            </a:r>
          </a:p>
        </p:txBody>
      </p:sp>
      <p:sp>
        <p:nvSpPr>
          <p:cNvPr id="10" name="Text Placeholder 9">
            <a:extLst>
              <a:ext uri="{FF2B5EF4-FFF2-40B4-BE49-F238E27FC236}">
                <a16:creationId xmlns:a16="http://schemas.microsoft.com/office/drawing/2014/main" id="{12E2CC9B-882A-4CB6-9837-1BA8E8A72B9A}"/>
              </a:ext>
            </a:extLst>
          </p:cNvPr>
          <p:cNvSpPr>
            <a:spLocks noGrp="1"/>
          </p:cNvSpPr>
          <p:nvPr>
            <p:ph type="body" sz="quarter" idx="11"/>
          </p:nvPr>
        </p:nvSpPr>
        <p:spPr/>
        <p:txBody>
          <a:bodyPr/>
          <a:lstStyle/>
          <a:p>
            <a:r>
              <a:rPr lang="en-GB">
                <a:solidFill>
                  <a:schemeClr val="accent1"/>
                </a:solidFill>
              </a:rPr>
              <a:t>For more information please contact</a:t>
            </a:r>
          </a:p>
        </p:txBody>
      </p:sp>
      <p:sp>
        <p:nvSpPr>
          <p:cNvPr id="3" name="Oval 2">
            <a:extLst>
              <a:ext uri="{C183D7F6-B498-43B3-948B-1728B52AA6E4}">
                <adec:decorative xmlns:adec="http://schemas.microsoft.com/office/drawing/2017/decorative" val="1"/>
              </a:ext>
            </a:extLst>
          </p:cNvPr>
          <p:cNvSpPr/>
          <p:nvPr/>
        </p:nvSpPr>
        <p:spPr>
          <a:xfrm>
            <a:off x="516158" y="2063746"/>
            <a:ext cx="2085334" cy="208533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C183D7F6-B498-43B3-948B-1728B52AA6E4}">
                <adec:decorative xmlns:adec="http://schemas.microsoft.com/office/drawing/2017/decorative" val="1"/>
              </a:ext>
            </a:extLst>
          </p:cNvPr>
          <p:cNvSpPr/>
          <p:nvPr/>
        </p:nvSpPr>
        <p:spPr>
          <a:xfrm>
            <a:off x="719536" y="2254477"/>
            <a:ext cx="1678579" cy="167857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p:cNvSpPr/>
          <p:nvPr/>
        </p:nvSpPr>
        <p:spPr>
          <a:xfrm>
            <a:off x="1194786" y="4388248"/>
            <a:ext cx="517449"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Name</a:t>
            </a:r>
          </a:p>
        </p:txBody>
      </p:sp>
      <p:cxnSp>
        <p:nvCxnSpPr>
          <p:cNvPr id="65" name="Straight Connector 64">
            <a:extLst>
              <a:ext uri="{C183D7F6-B498-43B3-948B-1728B52AA6E4}">
                <adec:decorative xmlns:adec="http://schemas.microsoft.com/office/drawing/2017/decorative" val="1"/>
              </a:ext>
            </a:extLst>
          </p:cNvPr>
          <p:cNvCxnSpPr/>
          <p:nvPr/>
        </p:nvCxnSpPr>
        <p:spPr>
          <a:xfrm>
            <a:off x="651660" y="4657618"/>
            <a:ext cx="1814330" cy="0"/>
          </a:xfrm>
          <a:prstGeom prst="line">
            <a:avLst/>
          </a:prstGeom>
          <a:ln>
            <a:solidFill>
              <a:srgbClr val="2B143D"/>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229891" y="4724995"/>
            <a:ext cx="447237" cy="400110"/>
          </a:xfrm>
          <a:prstGeom prst="rect">
            <a:avLst/>
          </a:prstGeom>
        </p:spPr>
        <p:txBody>
          <a:bodyPr wrap="none" lIns="0" tIns="0" rIns="0" bIns="0">
            <a:spAutoFit/>
          </a:bodyPr>
          <a:lstStyle/>
          <a:p>
            <a:pPr algn="ctr"/>
            <a:r>
              <a:rPr lang="en-GB" sz="1400">
                <a:latin typeface="Ubuntu" panose="020B0504030602030204" pitchFamily="34" charset="0"/>
              </a:rPr>
              <a:t>ROLE</a:t>
            </a:r>
          </a:p>
          <a:p>
            <a:pPr algn="ctr"/>
            <a:r>
              <a:rPr lang="en-GB" sz="1200">
                <a:latin typeface="Ubuntu" panose="020B0504030602030204" pitchFamily="34" charset="0"/>
              </a:rPr>
              <a:t>email</a:t>
            </a:r>
          </a:p>
        </p:txBody>
      </p:sp>
      <p:sp>
        <p:nvSpPr>
          <p:cNvPr id="25" name="Oval 24">
            <a:extLst>
              <a:ext uri="{C183D7F6-B498-43B3-948B-1728B52AA6E4}">
                <adec:decorative xmlns:adec="http://schemas.microsoft.com/office/drawing/2017/decorative" val="1"/>
              </a:ext>
            </a:extLst>
          </p:cNvPr>
          <p:cNvSpPr/>
          <p:nvPr/>
        </p:nvSpPr>
        <p:spPr>
          <a:xfrm>
            <a:off x="3427936" y="2063746"/>
            <a:ext cx="2085334" cy="208533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C183D7F6-B498-43B3-948B-1728B52AA6E4}">
                <adec:decorative xmlns:adec="http://schemas.microsoft.com/office/drawing/2017/decorative" val="1"/>
              </a:ext>
            </a:extLst>
          </p:cNvPr>
          <p:cNvSpPr/>
          <p:nvPr/>
        </p:nvSpPr>
        <p:spPr>
          <a:xfrm>
            <a:off x="3631314" y="2254477"/>
            <a:ext cx="1678579" cy="167857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61" name="Straight Connector 260">
            <a:extLst>
              <a:ext uri="{C183D7F6-B498-43B3-948B-1728B52AA6E4}">
                <adec:decorative xmlns:adec="http://schemas.microsoft.com/office/drawing/2017/decorative" val="1"/>
              </a:ext>
            </a:extLst>
          </p:cNvPr>
          <p:cNvCxnSpPr/>
          <p:nvPr/>
        </p:nvCxnSpPr>
        <p:spPr>
          <a:xfrm>
            <a:off x="3563438" y="4657618"/>
            <a:ext cx="1814330" cy="0"/>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6" name="Oval 24">
            <a:extLst>
              <a:ext uri="{FF2B5EF4-FFF2-40B4-BE49-F238E27FC236}">
                <a16:creationId xmlns:a16="http://schemas.microsoft.com/office/drawing/2014/main" id="{3D7C07C7-1DFC-4831-BF08-B627081A2BC8}"/>
              </a:ext>
              <a:ext uri="{C183D7F6-B498-43B3-948B-1728B52AA6E4}">
                <adec:decorative xmlns:adec="http://schemas.microsoft.com/office/drawing/2017/decorative" val="1"/>
              </a:ext>
            </a:extLst>
          </p:cNvPr>
          <p:cNvSpPr/>
          <p:nvPr/>
        </p:nvSpPr>
        <p:spPr>
          <a:xfrm>
            <a:off x="6339714" y="2063746"/>
            <a:ext cx="2085334" cy="208533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25">
            <a:extLst>
              <a:ext uri="{FF2B5EF4-FFF2-40B4-BE49-F238E27FC236}">
                <a16:creationId xmlns:a16="http://schemas.microsoft.com/office/drawing/2014/main" id="{DF917A99-6D49-485B-99EF-20FD7ACD9EB1}"/>
              </a:ext>
              <a:ext uri="{C183D7F6-B498-43B3-948B-1728B52AA6E4}">
                <adec:decorative xmlns:adec="http://schemas.microsoft.com/office/drawing/2017/decorative" val="1"/>
              </a:ext>
            </a:extLst>
          </p:cNvPr>
          <p:cNvSpPr/>
          <p:nvPr/>
        </p:nvSpPr>
        <p:spPr>
          <a:xfrm>
            <a:off x="6543092" y="2254477"/>
            <a:ext cx="1678579" cy="167857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2" name="Straight Connector 61">
            <a:extLst>
              <a:ext uri="{C183D7F6-B498-43B3-948B-1728B52AA6E4}">
                <adec:decorative xmlns:adec="http://schemas.microsoft.com/office/drawing/2017/decorative" val="1"/>
              </a:ext>
            </a:extLst>
          </p:cNvPr>
          <p:cNvCxnSpPr/>
          <p:nvPr/>
        </p:nvCxnSpPr>
        <p:spPr>
          <a:xfrm>
            <a:off x="6475216" y="4657618"/>
            <a:ext cx="1814330" cy="0"/>
          </a:xfrm>
          <a:prstGeom prst="line">
            <a:avLst/>
          </a:prstGeom>
          <a:ln>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9" name="Oval 24">
            <a:extLst>
              <a:ext uri="{FF2B5EF4-FFF2-40B4-BE49-F238E27FC236}">
                <a16:creationId xmlns:a16="http://schemas.microsoft.com/office/drawing/2014/main" id="{3D25CAA8-765B-4656-BFF9-294718E62F31}"/>
              </a:ext>
              <a:ext uri="{C183D7F6-B498-43B3-948B-1728B52AA6E4}">
                <adec:decorative xmlns:adec="http://schemas.microsoft.com/office/drawing/2017/decorative" val="1"/>
              </a:ext>
            </a:extLst>
          </p:cNvPr>
          <p:cNvSpPr/>
          <p:nvPr/>
        </p:nvSpPr>
        <p:spPr>
          <a:xfrm>
            <a:off x="9251492" y="2063746"/>
            <a:ext cx="2085334" cy="208533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Oval 25">
            <a:extLst>
              <a:ext uri="{FF2B5EF4-FFF2-40B4-BE49-F238E27FC236}">
                <a16:creationId xmlns:a16="http://schemas.microsoft.com/office/drawing/2014/main" id="{57060FB5-F157-419B-A82F-964B500BBA7A}"/>
              </a:ext>
              <a:ext uri="{C183D7F6-B498-43B3-948B-1728B52AA6E4}">
                <adec:decorative xmlns:adec="http://schemas.microsoft.com/office/drawing/2017/decorative" val="1"/>
              </a:ext>
            </a:extLst>
          </p:cNvPr>
          <p:cNvSpPr/>
          <p:nvPr/>
        </p:nvSpPr>
        <p:spPr>
          <a:xfrm>
            <a:off x="9454870" y="2254477"/>
            <a:ext cx="1678579" cy="167857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4" name="Straight Connector 63">
            <a:extLst>
              <a:ext uri="{C183D7F6-B498-43B3-948B-1728B52AA6E4}">
                <adec:decorative xmlns:adec="http://schemas.microsoft.com/office/drawing/2017/decorative" val="1"/>
              </a:ext>
            </a:extLst>
          </p:cNvPr>
          <p:cNvCxnSpPr/>
          <p:nvPr/>
        </p:nvCxnSpPr>
        <p:spPr>
          <a:xfrm>
            <a:off x="9522496" y="4657618"/>
            <a:ext cx="1814330" cy="0"/>
          </a:xfrm>
          <a:prstGeom prst="line">
            <a:avLst/>
          </a:prstGeom>
          <a:ln>
            <a:solidFill>
              <a:srgbClr val="214554"/>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DAD38CC-4706-4286-975A-1CDF370983D5}"/>
              </a:ext>
            </a:extLst>
          </p:cNvPr>
          <p:cNvSpPr/>
          <p:nvPr/>
        </p:nvSpPr>
        <p:spPr>
          <a:xfrm>
            <a:off x="4151784" y="4388248"/>
            <a:ext cx="517449"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Name</a:t>
            </a:r>
          </a:p>
        </p:txBody>
      </p:sp>
      <p:sp>
        <p:nvSpPr>
          <p:cNvPr id="19" name="Rectangle 18">
            <a:extLst>
              <a:ext uri="{FF2B5EF4-FFF2-40B4-BE49-F238E27FC236}">
                <a16:creationId xmlns:a16="http://schemas.microsoft.com/office/drawing/2014/main" id="{119BEA92-4E3D-466E-8C9B-2E5A576F32A3}"/>
              </a:ext>
            </a:extLst>
          </p:cNvPr>
          <p:cNvSpPr/>
          <p:nvPr/>
        </p:nvSpPr>
        <p:spPr>
          <a:xfrm>
            <a:off x="4186889" y="4724995"/>
            <a:ext cx="447237" cy="400110"/>
          </a:xfrm>
          <a:prstGeom prst="rect">
            <a:avLst/>
          </a:prstGeom>
        </p:spPr>
        <p:txBody>
          <a:bodyPr wrap="none" lIns="0" tIns="0" rIns="0" bIns="0">
            <a:spAutoFit/>
          </a:bodyPr>
          <a:lstStyle/>
          <a:p>
            <a:pPr algn="ctr"/>
            <a:r>
              <a:rPr lang="en-GB" sz="1400">
                <a:latin typeface="Ubuntu" panose="020B0504030602030204" pitchFamily="34" charset="0"/>
              </a:rPr>
              <a:t>ROLE</a:t>
            </a:r>
          </a:p>
          <a:p>
            <a:pPr algn="ctr"/>
            <a:r>
              <a:rPr lang="en-GB" sz="1200">
                <a:latin typeface="Ubuntu" panose="020B0504030602030204" pitchFamily="34" charset="0"/>
              </a:rPr>
              <a:t>email</a:t>
            </a:r>
          </a:p>
        </p:txBody>
      </p:sp>
      <p:sp>
        <p:nvSpPr>
          <p:cNvPr id="20" name="Rectangle 19">
            <a:extLst>
              <a:ext uri="{FF2B5EF4-FFF2-40B4-BE49-F238E27FC236}">
                <a16:creationId xmlns:a16="http://schemas.microsoft.com/office/drawing/2014/main" id="{51A5834F-0CD5-4926-9085-9E97512E342A}"/>
              </a:ext>
            </a:extLst>
          </p:cNvPr>
          <p:cNvSpPr/>
          <p:nvPr/>
        </p:nvSpPr>
        <p:spPr>
          <a:xfrm>
            <a:off x="7108782" y="4388248"/>
            <a:ext cx="517449"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Name</a:t>
            </a:r>
          </a:p>
        </p:txBody>
      </p:sp>
      <p:sp>
        <p:nvSpPr>
          <p:cNvPr id="21" name="Rectangle 20">
            <a:extLst>
              <a:ext uri="{FF2B5EF4-FFF2-40B4-BE49-F238E27FC236}">
                <a16:creationId xmlns:a16="http://schemas.microsoft.com/office/drawing/2014/main" id="{E7DBD529-2C53-44AD-84DB-3AD90899A293}"/>
              </a:ext>
            </a:extLst>
          </p:cNvPr>
          <p:cNvSpPr/>
          <p:nvPr/>
        </p:nvSpPr>
        <p:spPr>
          <a:xfrm>
            <a:off x="7143887" y="4724995"/>
            <a:ext cx="447237" cy="400110"/>
          </a:xfrm>
          <a:prstGeom prst="rect">
            <a:avLst/>
          </a:prstGeom>
        </p:spPr>
        <p:txBody>
          <a:bodyPr wrap="none" lIns="0" tIns="0" rIns="0" bIns="0">
            <a:spAutoFit/>
          </a:bodyPr>
          <a:lstStyle/>
          <a:p>
            <a:pPr algn="ctr"/>
            <a:r>
              <a:rPr lang="en-GB" sz="1400">
                <a:latin typeface="Ubuntu" panose="020B0504030602030204" pitchFamily="34" charset="0"/>
              </a:rPr>
              <a:t>ROLE</a:t>
            </a:r>
          </a:p>
          <a:p>
            <a:pPr algn="ctr"/>
            <a:r>
              <a:rPr lang="en-GB" sz="1200">
                <a:latin typeface="Ubuntu" panose="020B0504030602030204" pitchFamily="34" charset="0"/>
              </a:rPr>
              <a:t>email</a:t>
            </a:r>
          </a:p>
        </p:txBody>
      </p:sp>
      <p:sp>
        <p:nvSpPr>
          <p:cNvPr id="22" name="Rectangle 21">
            <a:extLst>
              <a:ext uri="{FF2B5EF4-FFF2-40B4-BE49-F238E27FC236}">
                <a16:creationId xmlns:a16="http://schemas.microsoft.com/office/drawing/2014/main" id="{E85327C3-5EA1-4819-8FAA-DF795BE5CC31}"/>
              </a:ext>
            </a:extLst>
          </p:cNvPr>
          <p:cNvSpPr/>
          <p:nvPr/>
        </p:nvSpPr>
        <p:spPr>
          <a:xfrm>
            <a:off x="10065780" y="4388248"/>
            <a:ext cx="517449"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Name</a:t>
            </a:r>
          </a:p>
        </p:txBody>
      </p:sp>
      <p:sp>
        <p:nvSpPr>
          <p:cNvPr id="23" name="Rectangle 22">
            <a:extLst>
              <a:ext uri="{FF2B5EF4-FFF2-40B4-BE49-F238E27FC236}">
                <a16:creationId xmlns:a16="http://schemas.microsoft.com/office/drawing/2014/main" id="{2EC8ADE4-5F23-481E-87FF-E6EF5E3DD524}"/>
              </a:ext>
            </a:extLst>
          </p:cNvPr>
          <p:cNvSpPr/>
          <p:nvPr/>
        </p:nvSpPr>
        <p:spPr>
          <a:xfrm>
            <a:off x="10100885" y="4724995"/>
            <a:ext cx="447237" cy="400110"/>
          </a:xfrm>
          <a:prstGeom prst="rect">
            <a:avLst/>
          </a:prstGeom>
        </p:spPr>
        <p:txBody>
          <a:bodyPr wrap="none" lIns="0" tIns="0" rIns="0" bIns="0">
            <a:spAutoFit/>
          </a:bodyPr>
          <a:lstStyle/>
          <a:p>
            <a:pPr algn="ctr"/>
            <a:r>
              <a:rPr lang="en-GB" sz="1400">
                <a:latin typeface="Ubuntu" panose="020B0504030602030204" pitchFamily="34" charset="0"/>
              </a:rPr>
              <a:t>ROLE</a:t>
            </a:r>
          </a:p>
          <a:p>
            <a:pPr algn="ctr"/>
            <a:r>
              <a:rPr lang="en-GB" sz="1200">
                <a:latin typeface="Ubuntu" panose="020B0504030602030204" pitchFamily="34" charset="0"/>
              </a:rPr>
              <a:t>email</a:t>
            </a:r>
          </a:p>
        </p:txBody>
      </p:sp>
    </p:spTree>
    <p:extLst>
      <p:ext uri="{BB962C8B-B14F-4D97-AF65-F5344CB8AC3E}">
        <p14:creationId xmlns:p14="http://schemas.microsoft.com/office/powerpoint/2010/main" val="209089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19B2D289-1236-364B-9E53-7DF05CDFC930}"/>
              </a:ext>
            </a:extLst>
          </p:cNvPr>
          <p:cNvSpPr>
            <a:spLocks noGrp="1"/>
          </p:cNvSpPr>
          <p:nvPr>
            <p:ph type="title" idx="4294967295"/>
          </p:nvPr>
        </p:nvSpPr>
        <p:spPr>
          <a:xfrm>
            <a:off x="6536184" y="293913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About Capgemini</a:t>
            </a:r>
          </a:p>
        </p:txBody>
      </p:sp>
      <p:sp>
        <p:nvSpPr>
          <p:cNvPr id="18" name="Rectangle 17">
            <a:extLst>
              <a:ext uri="{FF2B5EF4-FFF2-40B4-BE49-F238E27FC236}">
                <a16:creationId xmlns:a16="http://schemas.microsoft.com/office/drawing/2014/main" id="{208CE49A-DF70-704F-B1B3-609712CC9C64}"/>
              </a:ext>
            </a:extLst>
          </p:cNvPr>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9" name="Rectangle 18">
            <a:extLst>
              <a:ext uri="{FF2B5EF4-FFF2-40B4-BE49-F238E27FC236}">
                <a16:creationId xmlns:a16="http://schemas.microsoft.com/office/drawing/2014/main" id="{4EB6E078-947A-8242-837C-CEA45876B3E9}"/>
              </a:ext>
            </a:extLst>
          </p:cNvPr>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9030154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CAE1576-EB13-EA44-8392-8B7989DACC57}"/>
              </a:ext>
            </a:extLst>
          </p:cNvPr>
          <p:cNvSpPr>
            <a:spLocks noGrp="1"/>
          </p:cNvSpPr>
          <p:nvPr>
            <p:ph type="title" idx="4294967295"/>
          </p:nvPr>
        </p:nvSpPr>
        <p:spPr>
          <a:xfrm>
            <a:off x="426523" y="107400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About Capgemini</a:t>
            </a:r>
          </a:p>
        </p:txBody>
      </p:sp>
      <p:sp>
        <p:nvSpPr>
          <p:cNvPr id="6" name="Rectangle 5">
            <a:extLst>
              <a:ext uri="{FF2B5EF4-FFF2-40B4-BE49-F238E27FC236}">
                <a16:creationId xmlns:a16="http://schemas.microsoft.com/office/drawing/2014/main" id="{333184EA-99F5-C04C-A4F7-7EECB367F07E}"/>
              </a:ext>
            </a:extLst>
          </p:cNvPr>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7" name="Rectangle 6">
            <a:extLst>
              <a:ext uri="{FF2B5EF4-FFF2-40B4-BE49-F238E27FC236}">
                <a16:creationId xmlns:a16="http://schemas.microsoft.com/office/drawing/2014/main" id="{C7B51B47-AB49-9645-AD5A-AF3FAC1ECE3D}"/>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cxnSp>
        <p:nvCxnSpPr>
          <p:cNvPr id="8" name="Straight Connector 7">
            <a:extLst>
              <a:ext uri="{FF2B5EF4-FFF2-40B4-BE49-F238E27FC236}">
                <a16:creationId xmlns:a16="http://schemas.microsoft.com/office/drawing/2014/main" id="{9FAE0C07-DBD8-6F4F-AC3D-8A22E6CBC7D2}"/>
              </a:ext>
              <a:ext uri="{C183D7F6-B498-43B3-948B-1728B52AA6E4}">
                <adec:decorative xmlns:adec="http://schemas.microsoft.com/office/drawing/2017/decorative" val="1"/>
              </a:ext>
            </a:extLst>
          </p:cNvPr>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E621261-1DD6-C047-8953-34A9B9760CEB}"/>
              </a:ext>
            </a:extLst>
          </p:cNvPr>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10" name="Rectangle 9">
            <a:extLst>
              <a:ext uri="{FF2B5EF4-FFF2-40B4-BE49-F238E27FC236}">
                <a16:creationId xmlns:a16="http://schemas.microsoft.com/office/drawing/2014/main" id="{AAB93651-77F9-A54F-9F05-85B45F60221C}"/>
              </a:ext>
            </a:extLst>
          </p:cNvPr>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11" name="Rectangle 10">
            <a:extLst>
              <a:ext uri="{FF2B5EF4-FFF2-40B4-BE49-F238E27FC236}">
                <a16:creationId xmlns:a16="http://schemas.microsoft.com/office/drawing/2014/main" id="{60EACA4A-1609-E549-8653-EDDBDBD6923F}"/>
              </a:ext>
            </a:extLst>
          </p:cNvPr>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12" name="Rectangle 11">
            <a:extLst>
              <a:ext uri="{FF2B5EF4-FFF2-40B4-BE49-F238E27FC236}">
                <a16:creationId xmlns:a16="http://schemas.microsoft.com/office/drawing/2014/main" id="{3C34F78E-310F-8840-8A2C-FC7479CB7601}"/>
              </a:ext>
            </a:extLst>
          </p:cNvPr>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Tree>
    <p:extLst>
      <p:ext uri="{BB962C8B-B14F-4D97-AF65-F5344CB8AC3E}">
        <p14:creationId xmlns:p14="http://schemas.microsoft.com/office/powerpoint/2010/main" val="36182995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3644900" y="1644650"/>
            <a:ext cx="8547100" cy="35671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mn-lt"/>
                <a:ea typeface="+mn-ea"/>
                <a:cs typeface="+mn-cs"/>
              </a:rPr>
              <a:t>GET TH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FUTUR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YOU WANT</a:t>
            </a:r>
          </a:p>
        </p:txBody>
      </p:sp>
      <p:sp>
        <p:nvSpPr>
          <p:cNvPr id="4" name="Subtitle 3">
            <a:extLst>
              <a:ext uri="{FF2B5EF4-FFF2-40B4-BE49-F238E27FC236}">
                <a16:creationId xmlns:a16="http://schemas.microsoft.com/office/drawing/2014/main" id="{9EFB4F0C-582D-4C12-B5AC-EA88D439954E}"/>
              </a:ext>
            </a:extLst>
          </p:cNvPr>
          <p:cNvSpPr>
            <a:spLocks noGrp="1"/>
          </p:cNvSpPr>
          <p:nvPr>
            <p:ph type="subTitle" idx="1"/>
          </p:nvPr>
        </p:nvSpPr>
        <p:spPr>
          <a:xfrm>
            <a:off x="457200" y="6018063"/>
            <a:ext cx="11277600" cy="822325"/>
          </a:xfrm>
        </p:spPr>
        <p:txBody>
          <a:bodyPr/>
          <a:lstStyle/>
          <a:p>
            <a:pPr algn="r"/>
            <a:r>
              <a:rPr lang="en-US" dirty="0"/>
              <a:t>capgemini.com</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0820805-BF15-405B-A7C4-A4477BF1FF1D}"/>
              </a:ext>
            </a:extLst>
          </p:cNvPr>
          <p:cNvSpPr>
            <a:spLocks noGrp="1"/>
          </p:cNvSpPr>
          <p:nvPr>
            <p:ph type="title"/>
          </p:nvPr>
        </p:nvSpPr>
        <p:spPr>
          <a:xfrm>
            <a:off x="5375920" y="692696"/>
            <a:ext cx="6816080" cy="2421466"/>
          </a:xfrm>
        </p:spPr>
        <p:txBody>
          <a:bodyPr/>
          <a:lstStyle/>
          <a:p>
            <a:r>
              <a:rPr lang="en-GB" sz="5400"/>
              <a:t>SUPPORTING 	GRAPHIC ELEMENT STYLE</a:t>
            </a:r>
          </a:p>
        </p:txBody>
      </p:sp>
      <p:sp>
        <p:nvSpPr>
          <p:cNvPr id="4" name="Espace réservé du texte 3">
            <a:extLst>
              <a:ext uri="{FF2B5EF4-FFF2-40B4-BE49-F238E27FC236}">
                <a16:creationId xmlns:a16="http://schemas.microsoft.com/office/drawing/2014/main" id="{40B552E3-DAAA-42BA-B3AB-1FC698D137C3}"/>
              </a:ext>
            </a:extLst>
          </p:cNvPr>
          <p:cNvSpPr>
            <a:spLocks noGrp="1"/>
          </p:cNvSpPr>
          <p:nvPr>
            <p:ph type="body" sz="quarter" idx="12"/>
          </p:nvPr>
        </p:nvSpPr>
        <p:spPr>
          <a:xfrm>
            <a:off x="5375920" y="3573040"/>
            <a:ext cx="6192688" cy="2808288"/>
          </a:xfrm>
        </p:spPr>
        <p:txBody>
          <a:bodyPr/>
          <a:lstStyle/>
          <a:p>
            <a:pPr marL="342900" indent="-342900">
              <a:buFont typeface="Wingdings" panose="05000000000000000000" pitchFamily="2" charset="2"/>
              <a:buChar char="§"/>
            </a:pPr>
            <a:r>
              <a:rPr lang="en-US" dirty="0"/>
              <a:t>Color palette: Primary, Secondary (Cool and warm)</a:t>
            </a:r>
          </a:p>
          <a:p>
            <a:pPr marL="342900" indent="-342900">
              <a:buFont typeface="Wingdings" panose="05000000000000000000" pitchFamily="2" charset="2"/>
              <a:buChar char="§"/>
            </a:pPr>
            <a:r>
              <a:rPr lang="en-US" dirty="0"/>
              <a:t>Shapes: Vibrant blue and Capgemini Blue</a:t>
            </a:r>
          </a:p>
          <a:p>
            <a:pPr marL="342900" indent="-342900">
              <a:buFont typeface="Wingdings" panose="05000000000000000000" pitchFamily="2" charset="2"/>
              <a:buChar char="§"/>
            </a:pPr>
            <a:r>
              <a:rPr lang="en-US" dirty="0"/>
              <a:t>Illustration style</a:t>
            </a:r>
          </a:p>
          <a:p>
            <a:pPr marL="342900" indent="-342900">
              <a:buFont typeface="Wingdings" panose="05000000000000000000" pitchFamily="2" charset="2"/>
              <a:buChar char="§"/>
            </a:pPr>
            <a:r>
              <a:rPr lang="en-US" dirty="0"/>
              <a:t>Icons style</a:t>
            </a:r>
          </a:p>
          <a:p>
            <a:pPr marL="342900" indent="-342900">
              <a:buFont typeface="Wingdings" panose="05000000000000000000" pitchFamily="2" charset="2"/>
              <a:buChar char="§"/>
            </a:pPr>
            <a:r>
              <a:rPr lang="en-US" dirty="0"/>
              <a:t>Grid</a:t>
            </a:r>
          </a:p>
          <a:p>
            <a:pPr marL="342900" indent="-342900">
              <a:buFont typeface="Wingdings" panose="05000000000000000000" pitchFamily="2" charset="2"/>
              <a:buChar char="§"/>
            </a:pPr>
            <a:endParaRPr lang="en-US" dirty="0"/>
          </a:p>
        </p:txBody>
      </p:sp>
    </p:spTree>
    <p:extLst>
      <p:ext uri="{BB962C8B-B14F-4D97-AF65-F5344CB8AC3E}">
        <p14:creationId xmlns:p14="http://schemas.microsoft.com/office/powerpoint/2010/main" val="28349022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err="1"/>
              <a:t>Color</a:t>
            </a:r>
            <a:r>
              <a:rPr lang="en-GB"/>
              <a:t> palette</a:t>
            </a:r>
            <a:br>
              <a:rPr lang="en-GB"/>
            </a:br>
            <a:endParaRPr lang="en-GB"/>
          </a:p>
        </p:txBody>
      </p:sp>
      <p:sp>
        <p:nvSpPr>
          <p:cNvPr id="80" name="Rectangle 79">
            <a:extLst>
              <a:ext uri="{FF2B5EF4-FFF2-40B4-BE49-F238E27FC236}">
                <a16:creationId xmlns:a16="http://schemas.microsoft.com/office/drawing/2014/main" id="{01AD7715-1F62-4DD9-86A4-7AB64B3F1387}"/>
              </a:ext>
            </a:extLst>
          </p:cNvPr>
          <p:cNvSpPr/>
          <p:nvPr/>
        </p:nvSpPr>
        <p:spPr>
          <a:xfrm>
            <a:off x="412750" y="1039813"/>
            <a:ext cx="2536255" cy="1885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Aft>
                <a:spcPts val="300"/>
              </a:spcAft>
            </a:pPr>
            <a:r>
              <a:rPr lang="en-GB" sz="1000" b="1">
                <a:solidFill>
                  <a:schemeClr val="tx1"/>
                </a:solidFill>
                <a:latin typeface="Ubuntu" panose="020B0504030602030204" pitchFamily="34" charset="0"/>
              </a:rPr>
              <a:t>PRIMARY PALETTE (THEME COLORS)</a:t>
            </a:r>
          </a:p>
          <a:p>
            <a:r>
              <a:rPr lang="en-GB" sz="1000">
                <a:solidFill>
                  <a:schemeClr val="tx1"/>
                </a:solidFill>
                <a:latin typeface="Ubuntu" panose="020B0504030602030204" pitchFamily="34" charset="0"/>
              </a:rPr>
              <a:t>Six </a:t>
            </a:r>
            <a:r>
              <a:rPr lang="en-GB" sz="1000" err="1">
                <a:solidFill>
                  <a:schemeClr val="tx1"/>
                </a:solidFill>
                <a:latin typeface="Ubuntu" panose="020B0504030602030204" pitchFamily="34" charset="0"/>
              </a:rPr>
              <a:t>colors</a:t>
            </a:r>
            <a:r>
              <a:rPr lang="en-GB" sz="1000">
                <a:solidFill>
                  <a:schemeClr val="tx1"/>
                </a:solidFill>
                <a:latin typeface="Ubuntu" panose="020B0504030602030204" pitchFamily="34" charset="0"/>
              </a:rPr>
              <a:t>: Capgemini Blue, Vibrant Blue (our core blues),  Deep Purple, Dark Grey, Grey and White. </a:t>
            </a:r>
          </a:p>
          <a:p>
            <a:r>
              <a:rPr lang="en-GB" sz="1000">
                <a:solidFill>
                  <a:schemeClr val="tx1"/>
                </a:solidFill>
                <a:latin typeface="Ubuntu" panose="020B0504030602030204" pitchFamily="34" charset="0"/>
              </a:rPr>
              <a:t>The primary palette is used to aid brand recognition and should be used across all asset as the hero </a:t>
            </a:r>
            <a:r>
              <a:rPr lang="en-GB" sz="1000" err="1">
                <a:solidFill>
                  <a:schemeClr val="tx1"/>
                </a:solidFill>
                <a:latin typeface="Ubuntu" panose="020B0504030602030204" pitchFamily="34" charset="0"/>
              </a:rPr>
              <a:t>colors</a:t>
            </a:r>
            <a:r>
              <a:rPr lang="en-GB" sz="1000">
                <a:solidFill>
                  <a:schemeClr val="tx1"/>
                </a:solidFill>
                <a:latin typeface="Ubuntu" panose="020B0504030602030204" pitchFamily="34" charset="0"/>
              </a:rPr>
              <a:t>.</a:t>
            </a:r>
          </a:p>
          <a:p>
            <a:endParaRPr lang="en-GB" sz="1000">
              <a:solidFill>
                <a:schemeClr val="tx1"/>
              </a:solidFill>
              <a:latin typeface="Ubuntu" panose="020B0504030602030204" pitchFamily="34" charset="0"/>
            </a:endParaRPr>
          </a:p>
          <a:p>
            <a:r>
              <a:rPr lang="en-GB" sz="1000">
                <a:solidFill>
                  <a:schemeClr val="tx1"/>
                </a:solidFill>
                <a:latin typeface="Ubuntu" panose="020B0504030602030204" pitchFamily="34" charset="0"/>
              </a:rPr>
              <a:t>It MUST be used on all front and back covers (Secondary palette not allowed on covers).</a:t>
            </a:r>
          </a:p>
          <a:p>
            <a:endParaRPr lang="en-GB" sz="1000">
              <a:solidFill>
                <a:schemeClr val="tx1"/>
              </a:solidFill>
              <a:latin typeface="Ubuntu" panose="020B0504030602030204" pitchFamily="34" charset="0"/>
            </a:endParaRPr>
          </a:p>
        </p:txBody>
      </p:sp>
      <p:grpSp>
        <p:nvGrpSpPr>
          <p:cNvPr id="4" name="Group 3" descr="Primary palette (Color reference)">
            <a:extLst>
              <a:ext uri="{FF2B5EF4-FFF2-40B4-BE49-F238E27FC236}">
                <a16:creationId xmlns:a16="http://schemas.microsoft.com/office/drawing/2014/main" id="{BBB94DD8-23CF-C040-9E80-A19C0B1E5BAA}"/>
              </a:ext>
            </a:extLst>
          </p:cNvPr>
          <p:cNvGrpSpPr/>
          <p:nvPr/>
        </p:nvGrpSpPr>
        <p:grpSpPr>
          <a:xfrm>
            <a:off x="404813" y="2880000"/>
            <a:ext cx="2374387" cy="2160000"/>
            <a:chOff x="404813" y="2880000"/>
            <a:chExt cx="2374387" cy="2160000"/>
          </a:xfrm>
        </p:grpSpPr>
        <p:sp>
          <p:nvSpPr>
            <p:cNvPr id="77" name="Forme libre : forme 76">
              <a:extLst>
                <a:ext uri="{FF2B5EF4-FFF2-40B4-BE49-F238E27FC236}">
                  <a16:creationId xmlns:a16="http://schemas.microsoft.com/office/drawing/2014/main" id="{C94A2595-5A79-436B-9D07-5CF901A592C2}"/>
                </a:ext>
              </a:extLst>
            </p:cNvPr>
            <p:cNvSpPr/>
            <p:nvPr/>
          </p:nvSpPr>
          <p:spPr>
            <a:xfrm>
              <a:off x="404813" y="2880000"/>
              <a:ext cx="1188000" cy="1080000"/>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2B0A3D"/>
            </a:solidFill>
            <a:ln w="6695" cap="flat">
              <a:noFill/>
              <a:prstDash val="solid"/>
              <a:miter/>
            </a:ln>
          </p:spPr>
          <p:txBody>
            <a:bodyPr rtlCol="0" anchor="t" anchorCtr="0"/>
            <a:lstStyle/>
            <a:p>
              <a:pPr>
                <a:spcAft>
                  <a:spcPts val="300"/>
                </a:spcAft>
              </a:pPr>
              <a:r>
                <a:rPr lang="en-GB" sz="900" dirty="0">
                  <a:solidFill>
                    <a:schemeClr val="bg1"/>
                  </a:solidFill>
                  <a:latin typeface="Ubuntu" panose="020B0504030602030204" pitchFamily="34" charset="0"/>
                </a:rPr>
                <a:t>DEEP PURPLE</a:t>
              </a:r>
            </a:p>
            <a:p>
              <a:pPr>
                <a:spcAft>
                  <a:spcPts val="300"/>
                </a:spcAft>
              </a:pPr>
              <a:r>
                <a:rPr lang="en-GB" sz="900" dirty="0">
                  <a:solidFill>
                    <a:schemeClr val="bg1"/>
                  </a:solidFill>
                  <a:latin typeface="Ubuntu" panose="020B0504030602030204" pitchFamily="34" charset="0"/>
                </a:rPr>
                <a:t>43/10/61</a:t>
              </a:r>
            </a:p>
            <a:p>
              <a:pPr>
                <a:spcAft>
                  <a:spcPts val="300"/>
                </a:spcAft>
              </a:pPr>
              <a:r>
                <a:rPr lang="en-GB" sz="900" dirty="0">
                  <a:solidFill>
                    <a:schemeClr val="bg1"/>
                  </a:solidFill>
                  <a:latin typeface="Ubuntu" panose="020B0504030602030204" pitchFamily="34" charset="0"/>
                </a:rPr>
                <a:t>#2B0A3D</a:t>
              </a:r>
            </a:p>
          </p:txBody>
        </p:sp>
        <p:sp>
          <p:nvSpPr>
            <p:cNvPr id="76" name="Forme libre : forme 75">
              <a:extLst>
                <a:ext uri="{FF2B5EF4-FFF2-40B4-BE49-F238E27FC236}">
                  <a16:creationId xmlns:a16="http://schemas.microsoft.com/office/drawing/2014/main" id="{44189F99-D0C3-4B26-AA3B-E140711EAA72}"/>
                </a:ext>
              </a:extLst>
            </p:cNvPr>
            <p:cNvSpPr/>
            <p:nvPr/>
          </p:nvSpPr>
          <p:spPr>
            <a:xfrm>
              <a:off x="1591200" y="2880000"/>
              <a:ext cx="1188000" cy="1080000"/>
            </a:xfrm>
            <a:custGeom>
              <a:avLst/>
              <a:gdLst>
                <a:gd name="connsiteX0" fmla="*/ 0 w 1649635"/>
                <a:gd name="connsiteY0" fmla="*/ 0 h 1535817"/>
                <a:gd name="connsiteX1" fmla="*/ 1649636 w 1649635"/>
                <a:gd name="connsiteY1" fmla="*/ 0 h 1535817"/>
                <a:gd name="connsiteX2" fmla="*/ 1649636 w 1649635"/>
                <a:gd name="connsiteY2" fmla="*/ 1535817 h 1535817"/>
                <a:gd name="connsiteX3" fmla="*/ 0 w 1649635"/>
                <a:gd name="connsiteY3" fmla="*/ 1535817 h 1535817"/>
              </a:gdLst>
              <a:ahLst/>
              <a:cxnLst>
                <a:cxn ang="0">
                  <a:pos x="connsiteX0" y="connsiteY0"/>
                </a:cxn>
                <a:cxn ang="0">
                  <a:pos x="connsiteX1" y="connsiteY1"/>
                </a:cxn>
                <a:cxn ang="0">
                  <a:pos x="connsiteX2" y="connsiteY2"/>
                </a:cxn>
                <a:cxn ang="0">
                  <a:pos x="connsiteX3" y="connsiteY3"/>
                </a:cxn>
              </a:cxnLst>
              <a:rect l="l" t="t" r="r" b="b"/>
              <a:pathLst>
                <a:path w="1649635" h="1535817">
                  <a:moveTo>
                    <a:pt x="0" y="0"/>
                  </a:moveTo>
                  <a:lnTo>
                    <a:pt x="1649636" y="0"/>
                  </a:lnTo>
                  <a:lnTo>
                    <a:pt x="1649636" y="1535817"/>
                  </a:lnTo>
                  <a:lnTo>
                    <a:pt x="0" y="1535817"/>
                  </a:lnTo>
                  <a:close/>
                </a:path>
              </a:pathLst>
            </a:custGeom>
            <a:solidFill>
              <a:srgbClr val="272936"/>
            </a:solidFill>
            <a:ln w="4111" cap="flat">
              <a:noFill/>
              <a:prstDash val="solid"/>
              <a:miter/>
            </a:ln>
          </p:spPr>
          <p:txBody>
            <a:bodyPr rtlCol="0" anchor="t" anchorCtr="0"/>
            <a:lstStyle/>
            <a:p>
              <a:pPr>
                <a:spcAft>
                  <a:spcPts val="300"/>
                </a:spcAft>
              </a:pPr>
              <a:r>
                <a:rPr lang="en-GB" sz="900" dirty="0">
                  <a:solidFill>
                    <a:schemeClr val="bg1"/>
                  </a:solidFill>
                  <a:latin typeface="Ubuntu" panose="020B0504030602030204" pitchFamily="34" charset="0"/>
                </a:rPr>
                <a:t>DARK GREY</a:t>
              </a:r>
            </a:p>
            <a:p>
              <a:pPr>
                <a:spcAft>
                  <a:spcPts val="300"/>
                </a:spcAft>
              </a:pPr>
              <a:r>
                <a:rPr lang="en-GB" sz="900" dirty="0">
                  <a:solidFill>
                    <a:schemeClr val="bg1"/>
                  </a:solidFill>
                  <a:latin typeface="Ubuntu" panose="020B0504030602030204" pitchFamily="34" charset="0"/>
                </a:rPr>
                <a:t>39/41/54</a:t>
              </a:r>
            </a:p>
            <a:p>
              <a:pPr>
                <a:spcAft>
                  <a:spcPts val="300"/>
                </a:spcAft>
              </a:pPr>
              <a:r>
                <a:rPr lang="en-GB" sz="900" dirty="0">
                  <a:solidFill>
                    <a:schemeClr val="bg1"/>
                  </a:solidFill>
                  <a:latin typeface="Ubuntu" panose="020B0504030602030204" pitchFamily="34" charset="0"/>
                </a:rPr>
                <a:t>#272936</a:t>
              </a:r>
            </a:p>
          </p:txBody>
        </p:sp>
        <p:sp>
          <p:nvSpPr>
            <p:cNvPr id="75" name="Forme libre : forme 74">
              <a:extLst>
                <a:ext uri="{FF2B5EF4-FFF2-40B4-BE49-F238E27FC236}">
                  <a16:creationId xmlns:a16="http://schemas.microsoft.com/office/drawing/2014/main" id="{CF7158C0-89DF-43FC-A1C7-BB60E04CEE8D}"/>
                </a:ext>
              </a:extLst>
            </p:cNvPr>
            <p:cNvSpPr/>
            <p:nvPr/>
          </p:nvSpPr>
          <p:spPr>
            <a:xfrm>
              <a:off x="404813" y="3960000"/>
              <a:ext cx="1188000" cy="1080000"/>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ECECEC"/>
            </a:solidFill>
            <a:ln w="6695" cap="flat">
              <a:noFill/>
              <a:prstDash val="solid"/>
              <a:miter/>
            </a:ln>
          </p:spPr>
          <p:txBody>
            <a:bodyPr rtlCol="0" anchor="b"/>
            <a:lstStyle/>
            <a:p>
              <a:pPr>
                <a:spcAft>
                  <a:spcPts val="300"/>
                </a:spcAft>
              </a:pPr>
              <a:r>
                <a:rPr lang="en-GB" sz="900" dirty="0">
                  <a:latin typeface="Ubuntu" panose="020B0504030602030204" pitchFamily="34" charset="0"/>
                </a:rPr>
                <a:t>GREY</a:t>
              </a:r>
            </a:p>
            <a:p>
              <a:pPr>
                <a:spcAft>
                  <a:spcPts val="300"/>
                </a:spcAft>
              </a:pPr>
              <a:r>
                <a:rPr lang="en-GB" sz="900" dirty="0">
                  <a:latin typeface="Ubuntu" panose="020B0504030602030204" pitchFamily="34" charset="0"/>
                </a:rPr>
                <a:t>236/236/236</a:t>
              </a:r>
            </a:p>
            <a:p>
              <a:pPr>
                <a:spcAft>
                  <a:spcPts val="300"/>
                </a:spcAft>
              </a:pPr>
              <a:r>
                <a:rPr lang="en-GB" sz="900" dirty="0">
                  <a:latin typeface="Ubuntu" panose="020B0504030602030204" pitchFamily="34" charset="0"/>
                </a:rPr>
                <a:t>#ECECEC</a:t>
              </a:r>
            </a:p>
          </p:txBody>
        </p:sp>
        <p:sp>
          <p:nvSpPr>
            <p:cNvPr id="74" name="Forme libre : forme 73">
              <a:extLst>
                <a:ext uri="{FF2B5EF4-FFF2-40B4-BE49-F238E27FC236}">
                  <a16:creationId xmlns:a16="http://schemas.microsoft.com/office/drawing/2014/main" id="{C9EF3700-B9D9-4CDE-B49D-E50657D38D0E}"/>
                </a:ext>
              </a:extLst>
            </p:cNvPr>
            <p:cNvSpPr/>
            <p:nvPr/>
          </p:nvSpPr>
          <p:spPr>
            <a:xfrm>
              <a:off x="1591200" y="3960000"/>
              <a:ext cx="1188000" cy="1080000"/>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FFFFFF"/>
            </a:solidFill>
            <a:ln w="6695" cap="flat">
              <a:noFill/>
              <a:prstDash val="solid"/>
              <a:miter/>
            </a:ln>
          </p:spPr>
          <p:txBody>
            <a:bodyPr rtlCol="0" anchor="b"/>
            <a:lstStyle/>
            <a:p>
              <a:pPr>
                <a:spcAft>
                  <a:spcPts val="300"/>
                </a:spcAft>
              </a:pPr>
              <a:r>
                <a:rPr lang="en-GB" sz="900" dirty="0">
                  <a:latin typeface="Ubuntu" panose="020B0504030602030204" pitchFamily="34" charset="0"/>
                </a:rPr>
                <a:t>WHITE</a:t>
              </a:r>
            </a:p>
            <a:p>
              <a:pPr>
                <a:spcAft>
                  <a:spcPts val="300"/>
                </a:spcAft>
              </a:pPr>
              <a:r>
                <a:rPr lang="en-GB" sz="900" dirty="0">
                  <a:latin typeface="Ubuntu" panose="020B0504030602030204" pitchFamily="34" charset="0"/>
                </a:rPr>
                <a:t>255/255/255</a:t>
              </a:r>
            </a:p>
            <a:p>
              <a:pPr>
                <a:spcAft>
                  <a:spcPts val="300"/>
                </a:spcAft>
              </a:pPr>
              <a:r>
                <a:rPr lang="en-GB" sz="900" dirty="0">
                  <a:latin typeface="Ubuntu" panose="020B0504030602030204" pitchFamily="34" charset="0"/>
                </a:rPr>
                <a:t>#FFFFFF</a:t>
              </a:r>
            </a:p>
          </p:txBody>
        </p:sp>
        <p:sp>
          <p:nvSpPr>
            <p:cNvPr id="79" name="Forme libre : forme 78">
              <a:extLst>
                <a:ext uri="{FF2B5EF4-FFF2-40B4-BE49-F238E27FC236}">
                  <a16:creationId xmlns:a16="http://schemas.microsoft.com/office/drawing/2014/main" id="{B473F473-9721-4A86-B47B-9D462B975375}"/>
                </a:ext>
              </a:extLst>
            </p:cNvPr>
            <p:cNvSpPr/>
            <p:nvPr/>
          </p:nvSpPr>
          <p:spPr>
            <a:xfrm>
              <a:off x="798150" y="3564000"/>
              <a:ext cx="790949" cy="792000"/>
            </a:xfrm>
            <a:custGeom>
              <a:avLst/>
              <a:gdLst>
                <a:gd name="connsiteX0" fmla="*/ 0 w 1171663"/>
                <a:gd name="connsiteY0" fmla="*/ 0 h 1110469"/>
                <a:gd name="connsiteX1" fmla="*/ 1171664 w 1171663"/>
                <a:gd name="connsiteY1" fmla="*/ 0 h 1110469"/>
                <a:gd name="connsiteX2" fmla="*/ 1171664 w 1171663"/>
                <a:gd name="connsiteY2" fmla="*/ 1110470 h 1110469"/>
                <a:gd name="connsiteX3" fmla="*/ 0 w 1171663"/>
                <a:gd name="connsiteY3" fmla="*/ 1110470 h 1110469"/>
              </a:gdLst>
              <a:ahLst/>
              <a:cxnLst>
                <a:cxn ang="0">
                  <a:pos x="connsiteX0" y="connsiteY0"/>
                </a:cxn>
                <a:cxn ang="0">
                  <a:pos x="connsiteX1" y="connsiteY1"/>
                </a:cxn>
                <a:cxn ang="0">
                  <a:pos x="connsiteX2" y="connsiteY2"/>
                </a:cxn>
                <a:cxn ang="0">
                  <a:pos x="connsiteX3" y="connsiteY3"/>
                </a:cxn>
              </a:cxnLst>
              <a:rect l="l" t="t" r="r" b="b"/>
              <a:pathLst>
                <a:path w="1171663" h="1110469">
                  <a:moveTo>
                    <a:pt x="0" y="0"/>
                  </a:moveTo>
                  <a:lnTo>
                    <a:pt x="1171664" y="0"/>
                  </a:lnTo>
                  <a:lnTo>
                    <a:pt x="1171664" y="1110470"/>
                  </a:lnTo>
                  <a:lnTo>
                    <a:pt x="0" y="1110470"/>
                  </a:lnTo>
                  <a:close/>
                </a:path>
              </a:pathLst>
            </a:custGeom>
            <a:solidFill>
              <a:srgbClr val="0070AD"/>
            </a:solidFill>
            <a:ln w="6695" cap="flat">
              <a:noFill/>
              <a:prstDash val="solid"/>
              <a:miter/>
            </a:ln>
          </p:spPr>
          <p:txBody>
            <a:bodyPr lIns="72000" rIns="36000" rtlCol="0" anchor="ctr"/>
            <a:lstStyle/>
            <a:p>
              <a:pPr>
                <a:spcAft>
                  <a:spcPts val="300"/>
                </a:spcAft>
              </a:pPr>
              <a:r>
                <a:rPr lang="en-GB" sz="900" dirty="0">
                  <a:solidFill>
                    <a:schemeClr val="bg1"/>
                  </a:solidFill>
                  <a:latin typeface="Ubuntu" panose="020B0504030602030204" pitchFamily="34" charset="0"/>
                </a:rPr>
                <a:t>CAPGEMINI BLUE</a:t>
              </a:r>
            </a:p>
            <a:p>
              <a:pPr>
                <a:spcAft>
                  <a:spcPts val="300"/>
                </a:spcAft>
              </a:pPr>
              <a:r>
                <a:rPr lang="en-GB" sz="900" dirty="0">
                  <a:solidFill>
                    <a:schemeClr val="bg1"/>
                  </a:solidFill>
                  <a:latin typeface="Ubuntu" panose="020B0504030602030204" pitchFamily="34" charset="0"/>
                </a:rPr>
                <a:t>0/112/173</a:t>
              </a:r>
            </a:p>
            <a:p>
              <a:pPr>
                <a:spcAft>
                  <a:spcPts val="300"/>
                </a:spcAft>
              </a:pPr>
              <a:r>
                <a:rPr lang="en-GB" sz="900" dirty="0">
                  <a:solidFill>
                    <a:schemeClr val="bg1"/>
                  </a:solidFill>
                  <a:latin typeface="Ubuntu" panose="020B0504030602030204" pitchFamily="34" charset="0"/>
                </a:rPr>
                <a:t>#0070AD</a:t>
              </a:r>
            </a:p>
          </p:txBody>
        </p:sp>
        <p:sp>
          <p:nvSpPr>
            <p:cNvPr id="78" name="Forme libre : forme 77">
              <a:extLst>
                <a:ext uri="{FF2B5EF4-FFF2-40B4-BE49-F238E27FC236}">
                  <a16:creationId xmlns:a16="http://schemas.microsoft.com/office/drawing/2014/main" id="{40A55131-B325-4723-933D-EABF8389576E}"/>
                </a:ext>
              </a:extLst>
            </p:cNvPr>
            <p:cNvSpPr/>
            <p:nvPr/>
          </p:nvSpPr>
          <p:spPr>
            <a:xfrm>
              <a:off x="1589099" y="3564000"/>
              <a:ext cx="794101" cy="792000"/>
            </a:xfrm>
            <a:custGeom>
              <a:avLst/>
              <a:gdLst>
                <a:gd name="connsiteX0" fmla="*/ 0 w 1171663"/>
                <a:gd name="connsiteY0" fmla="*/ 0 h 1110469"/>
                <a:gd name="connsiteX1" fmla="*/ 1171664 w 1171663"/>
                <a:gd name="connsiteY1" fmla="*/ 0 h 1110469"/>
                <a:gd name="connsiteX2" fmla="*/ 1171664 w 1171663"/>
                <a:gd name="connsiteY2" fmla="*/ 1110470 h 1110469"/>
                <a:gd name="connsiteX3" fmla="*/ 0 w 1171663"/>
                <a:gd name="connsiteY3" fmla="*/ 1110470 h 1110469"/>
              </a:gdLst>
              <a:ahLst/>
              <a:cxnLst>
                <a:cxn ang="0">
                  <a:pos x="connsiteX0" y="connsiteY0"/>
                </a:cxn>
                <a:cxn ang="0">
                  <a:pos x="connsiteX1" y="connsiteY1"/>
                </a:cxn>
                <a:cxn ang="0">
                  <a:pos x="connsiteX2" y="connsiteY2"/>
                </a:cxn>
                <a:cxn ang="0">
                  <a:pos x="connsiteX3" y="connsiteY3"/>
                </a:cxn>
              </a:cxnLst>
              <a:rect l="l" t="t" r="r" b="b"/>
              <a:pathLst>
                <a:path w="1171663" h="1110469">
                  <a:moveTo>
                    <a:pt x="0" y="0"/>
                  </a:moveTo>
                  <a:lnTo>
                    <a:pt x="1171664" y="0"/>
                  </a:lnTo>
                  <a:lnTo>
                    <a:pt x="1171664" y="1110470"/>
                  </a:lnTo>
                  <a:lnTo>
                    <a:pt x="0" y="1110470"/>
                  </a:lnTo>
                  <a:close/>
                </a:path>
              </a:pathLst>
            </a:custGeom>
            <a:solidFill>
              <a:srgbClr val="12ABDB"/>
            </a:solidFill>
            <a:ln w="6695" cap="flat">
              <a:noFill/>
              <a:prstDash val="solid"/>
              <a:miter/>
            </a:ln>
          </p:spPr>
          <p:txBody>
            <a:bodyPr lIns="72000" rIns="36000" rtlCol="0" anchor="ctr"/>
            <a:lstStyle/>
            <a:p>
              <a:pPr>
                <a:spcAft>
                  <a:spcPts val="300"/>
                </a:spcAft>
              </a:pPr>
              <a:r>
                <a:rPr lang="en-GB" sz="900" dirty="0">
                  <a:latin typeface="Ubuntu" panose="020B0504030602030204" pitchFamily="34" charset="0"/>
                </a:rPr>
                <a:t>VIBRANT BLUE</a:t>
              </a:r>
            </a:p>
            <a:p>
              <a:pPr>
                <a:spcAft>
                  <a:spcPts val="300"/>
                </a:spcAft>
              </a:pPr>
              <a:r>
                <a:rPr lang="en-GB" sz="900" dirty="0">
                  <a:latin typeface="Ubuntu" panose="020B0504030602030204" pitchFamily="34" charset="0"/>
                </a:rPr>
                <a:t>18/171/219</a:t>
              </a:r>
            </a:p>
            <a:p>
              <a:pPr>
                <a:spcAft>
                  <a:spcPts val="300"/>
                </a:spcAft>
              </a:pPr>
              <a:r>
                <a:rPr lang="en-GB" sz="900" dirty="0">
                  <a:latin typeface="Ubuntu" panose="020B0504030602030204" pitchFamily="34" charset="0"/>
                </a:rPr>
                <a:t>#12ABDB</a:t>
              </a:r>
            </a:p>
          </p:txBody>
        </p:sp>
      </p:grpSp>
      <p:sp>
        <p:nvSpPr>
          <p:cNvPr id="81" name="Rectangle 80">
            <a:extLst>
              <a:ext uri="{FF2B5EF4-FFF2-40B4-BE49-F238E27FC236}">
                <a16:creationId xmlns:a16="http://schemas.microsoft.com/office/drawing/2014/main" id="{FA1CCA89-AE47-4E6D-BE21-FDC6B91E2027}"/>
              </a:ext>
            </a:extLst>
          </p:cNvPr>
          <p:cNvSpPr/>
          <p:nvPr/>
        </p:nvSpPr>
        <p:spPr>
          <a:xfrm>
            <a:off x="3844176" y="1039813"/>
            <a:ext cx="5646762" cy="961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spcAft>
                <a:spcPts val="300"/>
              </a:spcAft>
            </a:pPr>
            <a:r>
              <a:rPr lang="en-GB" sz="1000" b="1">
                <a:solidFill>
                  <a:schemeClr val="tx2"/>
                </a:solidFill>
                <a:latin typeface="Ubuntu" panose="020B0504030602030204" pitchFamily="34" charset="0"/>
              </a:rPr>
              <a:t>SECONDARY PALETTE (CUSTOM COLORS)</a:t>
            </a:r>
          </a:p>
          <a:p>
            <a:pPr algn="ctr"/>
            <a:r>
              <a:rPr lang="en-GB" sz="1000">
                <a:solidFill>
                  <a:schemeClr val="tx1"/>
                </a:solidFill>
                <a:latin typeface="Ubuntu" panose="020B0504030602030204" pitchFamily="34" charset="0"/>
              </a:rPr>
              <a:t>Two palettes: ‘cool’ and ‘warm’. </a:t>
            </a:r>
          </a:p>
          <a:p>
            <a:pPr algn="ctr"/>
            <a:r>
              <a:rPr lang="en-GB" sz="1000">
                <a:solidFill>
                  <a:schemeClr val="tx1"/>
                </a:solidFill>
                <a:latin typeface="Ubuntu" panose="020B0504030602030204" pitchFamily="34" charset="0"/>
              </a:rPr>
              <a:t>The secondary palette is primarily used for graphs, charts, diagrams and illustrations. It can also be used as background </a:t>
            </a:r>
            <a:r>
              <a:rPr lang="en-GB" sz="1000" err="1">
                <a:solidFill>
                  <a:schemeClr val="tx1"/>
                </a:solidFill>
                <a:latin typeface="Ubuntu" panose="020B0504030602030204" pitchFamily="34" charset="0"/>
              </a:rPr>
              <a:t>color</a:t>
            </a:r>
            <a:r>
              <a:rPr lang="en-GB" sz="1000">
                <a:solidFill>
                  <a:schemeClr val="tx1"/>
                </a:solidFill>
                <a:latin typeface="Ubuntu" panose="020B0504030602030204" pitchFamily="34" charset="0"/>
              </a:rPr>
              <a:t> for section break and/or to call out a word or short sentence.</a:t>
            </a:r>
          </a:p>
          <a:p>
            <a:pPr algn="ctr"/>
            <a:endParaRPr lang="en-GB" sz="1000">
              <a:solidFill>
                <a:schemeClr val="tx1"/>
              </a:solidFill>
              <a:latin typeface="Ubuntu" panose="020B0504030602030204" pitchFamily="34" charset="0"/>
            </a:endParaRPr>
          </a:p>
          <a:p>
            <a:pPr algn="ctr"/>
            <a:r>
              <a:rPr lang="en-GB" sz="1000">
                <a:solidFill>
                  <a:schemeClr val="tx1"/>
                </a:solidFill>
                <a:latin typeface="Ubuntu" panose="020B0504030602030204" pitchFamily="34" charset="0"/>
              </a:rPr>
              <a:t>This palette </a:t>
            </a:r>
            <a:r>
              <a:rPr lang="en-GB" sz="1000">
                <a:solidFill>
                  <a:srgbClr val="E30021"/>
                </a:solidFill>
                <a:latin typeface="Ubuntu" panose="020B0504030602030204" pitchFamily="34" charset="0"/>
              </a:rPr>
              <a:t>CANNOT</a:t>
            </a:r>
            <a:r>
              <a:rPr lang="en-GB" sz="1000">
                <a:solidFill>
                  <a:schemeClr val="tx1"/>
                </a:solidFill>
                <a:latin typeface="Ubuntu" panose="020B0504030602030204" pitchFamily="34" charset="0"/>
              </a:rPr>
              <a:t> be used for hero designs, e.g. front or back covers.</a:t>
            </a:r>
          </a:p>
        </p:txBody>
      </p:sp>
      <p:sp>
        <p:nvSpPr>
          <p:cNvPr id="44" name="Rectangle 43">
            <a:extLst>
              <a:ext uri="{FF2B5EF4-FFF2-40B4-BE49-F238E27FC236}">
                <a16:creationId xmlns:a16="http://schemas.microsoft.com/office/drawing/2014/main" id="{0620AC00-7D91-46C5-98EB-D10F98866ACA}"/>
              </a:ext>
            </a:extLst>
          </p:cNvPr>
          <p:cNvSpPr/>
          <p:nvPr/>
        </p:nvSpPr>
        <p:spPr>
          <a:xfrm>
            <a:off x="4399371" y="2110676"/>
            <a:ext cx="758221"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900" b="1">
                <a:solidFill>
                  <a:schemeClr val="tx2"/>
                </a:solidFill>
                <a:latin typeface="Ubuntu" panose="020B0504030602030204" pitchFamily="34" charset="0"/>
              </a:rPr>
              <a:t>COOL palette</a:t>
            </a:r>
          </a:p>
        </p:txBody>
      </p:sp>
      <p:grpSp>
        <p:nvGrpSpPr>
          <p:cNvPr id="8" name="Groupe 7" descr="Cool palette (Color reference)">
            <a:extLst>
              <a:ext uri="{FF2B5EF4-FFF2-40B4-BE49-F238E27FC236}">
                <a16:creationId xmlns:a16="http://schemas.microsoft.com/office/drawing/2014/main" id="{5288A385-15A2-4DFE-9443-10D1B3C05854}"/>
              </a:ext>
            </a:extLst>
          </p:cNvPr>
          <p:cNvGrpSpPr/>
          <p:nvPr/>
        </p:nvGrpSpPr>
        <p:grpSpPr>
          <a:xfrm>
            <a:off x="2927648" y="2333114"/>
            <a:ext cx="3661356" cy="3472150"/>
            <a:chOff x="1065627" y="2294859"/>
            <a:chExt cx="3661356" cy="3472150"/>
          </a:xfrm>
        </p:grpSpPr>
        <p:sp>
          <p:nvSpPr>
            <p:cNvPr id="9" name="Forme libre : forme 8">
              <a:extLst>
                <a:ext uri="{FF2B5EF4-FFF2-40B4-BE49-F238E27FC236}">
                  <a16:creationId xmlns:a16="http://schemas.microsoft.com/office/drawing/2014/main" id="{7F95E12D-7FE0-4D47-ACCE-9ED7BB532CD2}"/>
                </a:ext>
              </a:extLst>
            </p:cNvPr>
            <p:cNvSpPr/>
            <p:nvPr/>
          </p:nvSpPr>
          <p:spPr>
            <a:xfrm>
              <a:off x="2892603"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5/67/74</a:t>
              </a:r>
            </a:p>
            <a:p>
              <a:pPr>
                <a:spcAft>
                  <a:spcPts val="300"/>
                </a:spcAft>
              </a:pPr>
              <a:r>
                <a:rPr lang="en-GB" sz="900">
                  <a:solidFill>
                    <a:schemeClr val="bg1"/>
                  </a:solidFill>
                  <a:latin typeface="Ubuntu" panose="020B0504030602030204" pitchFamily="34" charset="0"/>
                </a:rPr>
                <a:t>#0F434A</a:t>
              </a:r>
            </a:p>
          </p:txBody>
        </p:sp>
        <p:sp>
          <p:nvSpPr>
            <p:cNvPr id="10" name="Forme libre : forme 9">
              <a:extLst>
                <a:ext uri="{FF2B5EF4-FFF2-40B4-BE49-F238E27FC236}">
                  <a16:creationId xmlns:a16="http://schemas.microsoft.com/office/drawing/2014/main" id="{75869A1D-A581-49FA-A6B3-A6A97E81069B}"/>
                </a:ext>
              </a:extLst>
            </p:cNvPr>
            <p:cNvSpPr/>
            <p:nvPr/>
          </p:nvSpPr>
          <p:spPr>
            <a:xfrm>
              <a:off x="2892603" y="4487156"/>
              <a:ext cx="917300" cy="646032"/>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15/106/115</a:t>
              </a:r>
            </a:p>
            <a:p>
              <a:pPr>
                <a:spcAft>
                  <a:spcPts val="300"/>
                </a:spcAft>
              </a:pPr>
              <a:r>
                <a:rPr lang="en-GB" sz="900">
                  <a:solidFill>
                    <a:schemeClr val="bg1"/>
                  </a:solidFill>
                  <a:latin typeface="Ubuntu" panose="020B0504030602030204" pitchFamily="34" charset="0"/>
                </a:rPr>
                <a:t>#0F6A73</a:t>
              </a:r>
            </a:p>
          </p:txBody>
        </p:sp>
        <p:sp>
          <p:nvSpPr>
            <p:cNvPr id="11" name="Forme libre : forme 10">
              <a:extLst>
                <a:ext uri="{FF2B5EF4-FFF2-40B4-BE49-F238E27FC236}">
                  <a16:creationId xmlns:a16="http://schemas.microsoft.com/office/drawing/2014/main" id="{6CABED7A-6BD4-4EBD-8500-B48F064C7FF7}"/>
                </a:ext>
              </a:extLst>
            </p:cNvPr>
            <p:cNvSpPr/>
            <p:nvPr/>
          </p:nvSpPr>
          <p:spPr>
            <a:xfrm>
              <a:off x="2892603"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spcAft>
                  <a:spcPts val="300"/>
                </a:spcAft>
              </a:pPr>
              <a:r>
                <a:rPr lang="en-GB" sz="900" dirty="0">
                  <a:latin typeface="Ubuntu" panose="020B0504030602030204" pitchFamily="34" charset="0"/>
                </a:rPr>
                <a:t>PEACOCK</a:t>
              </a:r>
            </a:p>
            <a:p>
              <a:pPr>
                <a:spcAft>
                  <a:spcPts val="300"/>
                </a:spcAft>
              </a:pPr>
              <a:r>
                <a:rPr lang="en-GB" sz="900" dirty="0">
                  <a:latin typeface="Ubuntu" panose="020B0504030602030204" pitchFamily="34" charset="0"/>
                </a:rPr>
                <a:t>03</a:t>
              </a:r>
            </a:p>
            <a:p>
              <a:pPr>
                <a:spcAft>
                  <a:spcPts val="300"/>
                </a:spcAft>
              </a:pPr>
              <a:r>
                <a:rPr lang="en-GB" sz="900" dirty="0">
                  <a:latin typeface="Ubuntu" panose="020B0504030602030204" pitchFamily="34" charset="0"/>
                </a:rPr>
                <a:t>15/135/138</a:t>
              </a:r>
            </a:p>
            <a:p>
              <a:pPr>
                <a:spcAft>
                  <a:spcPts val="300"/>
                </a:spcAft>
              </a:pPr>
              <a:r>
                <a:rPr lang="en-GB" sz="900" dirty="0">
                  <a:latin typeface="Ubuntu" panose="020B0504030602030204" pitchFamily="34" charset="0"/>
                </a:rPr>
                <a:t>#0F878A</a:t>
              </a:r>
            </a:p>
          </p:txBody>
        </p:sp>
        <p:sp>
          <p:nvSpPr>
            <p:cNvPr id="12" name="Forme libre : forme 11">
              <a:extLst>
                <a:ext uri="{FF2B5EF4-FFF2-40B4-BE49-F238E27FC236}">
                  <a16:creationId xmlns:a16="http://schemas.microsoft.com/office/drawing/2014/main" id="{79F69335-6186-4470-A1E5-C3A5BB4653AA}"/>
                </a:ext>
              </a:extLst>
            </p:cNvPr>
            <p:cNvSpPr/>
            <p:nvPr/>
          </p:nvSpPr>
          <p:spPr>
            <a:xfrm>
              <a:off x="2892603"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0/178/162</a:t>
              </a:r>
            </a:p>
            <a:p>
              <a:pPr>
                <a:spcAft>
                  <a:spcPts val="300"/>
                </a:spcAft>
              </a:pPr>
              <a:r>
                <a:rPr lang="en-GB" sz="900">
                  <a:latin typeface="Ubuntu" panose="020B0504030602030204" pitchFamily="34" charset="0"/>
                </a:rPr>
                <a:t>#00B2A2</a:t>
              </a:r>
            </a:p>
            <a:p>
              <a:pPr>
                <a:spcAft>
                  <a:spcPts val="300"/>
                </a:spcAft>
              </a:pPr>
              <a:endParaRPr lang="en-GB" sz="900">
                <a:latin typeface="Ubuntu" panose="020B0504030602030204" pitchFamily="34" charset="0"/>
              </a:endParaRPr>
            </a:p>
          </p:txBody>
        </p:sp>
        <p:sp>
          <p:nvSpPr>
            <p:cNvPr id="13" name="Forme libre : forme 12">
              <a:extLst>
                <a:ext uri="{FF2B5EF4-FFF2-40B4-BE49-F238E27FC236}">
                  <a16:creationId xmlns:a16="http://schemas.microsoft.com/office/drawing/2014/main" id="{BDEECA0C-3B10-4254-B528-503D9B9FF338}"/>
                </a:ext>
              </a:extLst>
            </p:cNvPr>
            <p:cNvSpPr/>
            <p:nvPr/>
          </p:nvSpPr>
          <p:spPr>
            <a:xfrm>
              <a:off x="2892603"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0/244/203</a:t>
              </a:r>
            </a:p>
            <a:p>
              <a:pPr>
                <a:spcAft>
                  <a:spcPts val="300"/>
                </a:spcAft>
              </a:pPr>
              <a:r>
                <a:rPr lang="en-GB" sz="900">
                  <a:latin typeface="Ubuntu" panose="020B0504030602030204" pitchFamily="34" charset="0"/>
                </a:rPr>
                <a:t>#00E0CB</a:t>
              </a:r>
            </a:p>
          </p:txBody>
        </p:sp>
        <p:sp>
          <p:nvSpPr>
            <p:cNvPr id="14" name="Forme libre : forme 13">
              <a:extLst>
                <a:ext uri="{FF2B5EF4-FFF2-40B4-BE49-F238E27FC236}">
                  <a16:creationId xmlns:a16="http://schemas.microsoft.com/office/drawing/2014/main" id="{490B5721-CD2D-4C9C-99D5-FEC9F2B7B08F}"/>
                </a:ext>
              </a:extLst>
            </p:cNvPr>
            <p:cNvSpPr/>
            <p:nvPr/>
          </p:nvSpPr>
          <p:spPr>
            <a:xfrm>
              <a:off x="1065627"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6036"/>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23/128/54</a:t>
              </a:r>
            </a:p>
            <a:p>
              <a:pPr>
                <a:spcAft>
                  <a:spcPts val="300"/>
                </a:spcAft>
              </a:pPr>
              <a:r>
                <a:rPr lang="en-GB" sz="900">
                  <a:solidFill>
                    <a:schemeClr val="bg1"/>
                  </a:solidFill>
                  <a:latin typeface="Ubuntu" panose="020B0504030602030204" pitchFamily="34" charset="0"/>
                </a:rPr>
                <a:t>#176036</a:t>
              </a:r>
            </a:p>
          </p:txBody>
        </p:sp>
        <p:sp>
          <p:nvSpPr>
            <p:cNvPr id="15" name="Forme libre : forme 14">
              <a:extLst>
                <a:ext uri="{FF2B5EF4-FFF2-40B4-BE49-F238E27FC236}">
                  <a16:creationId xmlns:a16="http://schemas.microsoft.com/office/drawing/2014/main" id="{4C22C788-7217-48C0-B25B-37566127F21C}"/>
                </a:ext>
              </a:extLst>
            </p:cNvPr>
            <p:cNvSpPr/>
            <p:nvPr/>
          </p:nvSpPr>
          <p:spPr>
            <a:xfrm>
              <a:off x="1065627" y="4487156"/>
              <a:ext cx="917300" cy="646032"/>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spcAft>
                  <a:spcPts val="300"/>
                </a:spcAft>
              </a:pPr>
              <a:r>
                <a:rPr lang="en-GB" sz="900" dirty="0">
                  <a:latin typeface="Ubuntu" panose="020B0504030602030204" pitchFamily="34" charset="0"/>
                </a:rPr>
                <a:t>04</a:t>
              </a:r>
            </a:p>
            <a:p>
              <a:pPr>
                <a:spcAft>
                  <a:spcPts val="300"/>
                </a:spcAft>
              </a:pPr>
              <a:r>
                <a:rPr lang="en-GB" sz="900" dirty="0">
                  <a:latin typeface="Ubuntu" panose="020B0504030602030204" pitchFamily="34" charset="0"/>
                </a:rPr>
                <a:t>23/140/61</a:t>
              </a:r>
            </a:p>
            <a:p>
              <a:pPr>
                <a:spcAft>
                  <a:spcPts val="300"/>
                </a:spcAft>
              </a:pPr>
              <a:r>
                <a:rPr lang="en-GB" sz="900" dirty="0">
                  <a:latin typeface="Ubuntu" panose="020B0504030602030204" pitchFamily="34" charset="0"/>
                </a:rPr>
                <a:t>#178C3D</a:t>
              </a:r>
            </a:p>
          </p:txBody>
        </p:sp>
        <p:sp>
          <p:nvSpPr>
            <p:cNvPr id="16" name="Forme libre : forme 15">
              <a:extLst>
                <a:ext uri="{FF2B5EF4-FFF2-40B4-BE49-F238E27FC236}">
                  <a16:creationId xmlns:a16="http://schemas.microsoft.com/office/drawing/2014/main" id="{9A3BB44E-199E-48F4-B88C-30785083CD35}"/>
                </a:ext>
              </a:extLst>
            </p:cNvPr>
            <p:cNvSpPr/>
            <p:nvPr/>
          </p:nvSpPr>
          <p:spPr>
            <a:xfrm>
              <a:off x="1065627"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spcAft>
                  <a:spcPts val="300"/>
                </a:spcAft>
              </a:pPr>
              <a:r>
                <a:rPr lang="en-GB" sz="900">
                  <a:latin typeface="Ubuntu" panose="020B0504030602030204" pitchFamily="34" charset="0"/>
                </a:rPr>
                <a:t>GREEN</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46/166/87</a:t>
              </a:r>
            </a:p>
            <a:p>
              <a:pPr>
                <a:spcAft>
                  <a:spcPts val="300"/>
                </a:spcAft>
              </a:pPr>
              <a:r>
                <a:rPr lang="en-GB" sz="900">
                  <a:latin typeface="Ubuntu" panose="020B0504030602030204" pitchFamily="34" charset="0"/>
                </a:rPr>
                <a:t>#2EA657</a:t>
              </a:r>
            </a:p>
          </p:txBody>
        </p:sp>
        <p:sp>
          <p:nvSpPr>
            <p:cNvPr id="17" name="Forme libre : forme 16">
              <a:extLst>
                <a:ext uri="{FF2B5EF4-FFF2-40B4-BE49-F238E27FC236}">
                  <a16:creationId xmlns:a16="http://schemas.microsoft.com/office/drawing/2014/main" id="{4B54D017-4F4F-4733-9BD1-4A938A2E9942}"/>
                </a:ext>
              </a:extLst>
            </p:cNvPr>
            <p:cNvSpPr/>
            <p:nvPr/>
          </p:nvSpPr>
          <p:spPr>
            <a:xfrm>
              <a:off x="1065627"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51/181/105</a:t>
              </a:r>
            </a:p>
            <a:p>
              <a:pPr>
                <a:spcAft>
                  <a:spcPts val="300"/>
                </a:spcAft>
              </a:pPr>
              <a:r>
                <a:rPr lang="en-GB" sz="900">
                  <a:latin typeface="Ubuntu" panose="020B0504030602030204" pitchFamily="34" charset="0"/>
                </a:rPr>
                <a:t>#33B569</a:t>
              </a:r>
            </a:p>
          </p:txBody>
        </p:sp>
        <p:sp>
          <p:nvSpPr>
            <p:cNvPr id="18" name="Forme libre : forme 17">
              <a:extLst>
                <a:ext uri="{FF2B5EF4-FFF2-40B4-BE49-F238E27FC236}">
                  <a16:creationId xmlns:a16="http://schemas.microsoft.com/office/drawing/2014/main" id="{5E7F1FC6-7367-4657-B8C0-A93C04A10358}"/>
                </a:ext>
              </a:extLst>
            </p:cNvPr>
            <p:cNvSpPr/>
            <p:nvPr/>
          </p:nvSpPr>
          <p:spPr>
            <a:xfrm>
              <a:off x="1065627"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spcAft>
                  <a:spcPts val="300"/>
                </a:spcAft>
              </a:pPr>
              <a:r>
                <a:rPr lang="en-GB" sz="900" dirty="0">
                  <a:latin typeface="Ubuntu" panose="020B0504030602030204" pitchFamily="34" charset="0"/>
                </a:rPr>
                <a:t>01</a:t>
              </a:r>
            </a:p>
            <a:p>
              <a:pPr>
                <a:spcAft>
                  <a:spcPts val="300"/>
                </a:spcAft>
              </a:pPr>
              <a:r>
                <a:rPr lang="en-GB" sz="900" dirty="0">
                  <a:latin typeface="Ubuntu" panose="020B0504030602030204" pitchFamily="34" charset="0"/>
                </a:rPr>
                <a:t>87/207/128</a:t>
              </a:r>
            </a:p>
            <a:p>
              <a:pPr>
                <a:spcAft>
                  <a:spcPts val="300"/>
                </a:spcAft>
              </a:pPr>
              <a:r>
                <a:rPr lang="en-GB" sz="900" dirty="0">
                  <a:latin typeface="Ubuntu" panose="020B0504030602030204" pitchFamily="34" charset="0"/>
                </a:rPr>
                <a:t>#57CF80</a:t>
              </a:r>
            </a:p>
          </p:txBody>
        </p:sp>
        <p:sp>
          <p:nvSpPr>
            <p:cNvPr id="19" name="Forme libre : forme 18">
              <a:extLst>
                <a:ext uri="{FF2B5EF4-FFF2-40B4-BE49-F238E27FC236}">
                  <a16:creationId xmlns:a16="http://schemas.microsoft.com/office/drawing/2014/main" id="{968C0EB7-474A-4E3E-ACC6-63A82E83D32D}"/>
                </a:ext>
              </a:extLst>
            </p:cNvPr>
            <p:cNvSpPr/>
            <p:nvPr/>
          </p:nvSpPr>
          <p:spPr>
            <a:xfrm>
              <a:off x="3808032" y="5126003"/>
              <a:ext cx="9180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23/51/64</a:t>
              </a:r>
            </a:p>
            <a:p>
              <a:pPr>
                <a:spcAft>
                  <a:spcPts val="300"/>
                </a:spcAft>
              </a:pPr>
              <a:r>
                <a:rPr lang="en-GB" sz="900">
                  <a:solidFill>
                    <a:schemeClr val="bg1"/>
                  </a:solidFill>
                  <a:latin typeface="Ubuntu" panose="020B0504030602030204" pitchFamily="34" charset="0"/>
                </a:rPr>
                <a:t>#173340</a:t>
              </a:r>
            </a:p>
          </p:txBody>
        </p:sp>
        <p:sp>
          <p:nvSpPr>
            <p:cNvPr id="20" name="Forme libre : forme 19">
              <a:extLst>
                <a:ext uri="{FF2B5EF4-FFF2-40B4-BE49-F238E27FC236}">
                  <a16:creationId xmlns:a16="http://schemas.microsoft.com/office/drawing/2014/main" id="{011DF41B-26FC-44D8-BC8B-198BF6DF4ACC}"/>
                </a:ext>
              </a:extLst>
            </p:cNvPr>
            <p:cNvSpPr/>
            <p:nvPr/>
          </p:nvSpPr>
          <p:spPr>
            <a:xfrm>
              <a:off x="3809683" y="4487156"/>
              <a:ext cx="917300" cy="646032"/>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33/69/84</a:t>
              </a:r>
            </a:p>
            <a:p>
              <a:pPr>
                <a:spcAft>
                  <a:spcPts val="300"/>
                </a:spcAft>
              </a:pPr>
              <a:r>
                <a:rPr lang="en-GB" sz="900">
                  <a:solidFill>
                    <a:schemeClr val="bg1"/>
                  </a:solidFill>
                  <a:latin typeface="Ubuntu" panose="020B0504030602030204" pitchFamily="34" charset="0"/>
                </a:rPr>
                <a:t>#214554</a:t>
              </a:r>
            </a:p>
          </p:txBody>
        </p:sp>
        <p:sp>
          <p:nvSpPr>
            <p:cNvPr id="21" name="Forme libre : forme 20">
              <a:extLst>
                <a:ext uri="{FF2B5EF4-FFF2-40B4-BE49-F238E27FC236}">
                  <a16:creationId xmlns:a16="http://schemas.microsoft.com/office/drawing/2014/main" id="{C7F22CC0-8830-4BC2-8F05-0EA2BEEC5A98}"/>
                </a:ext>
              </a:extLst>
            </p:cNvPr>
            <p:cNvSpPr/>
            <p:nvPr/>
          </p:nvSpPr>
          <p:spPr>
            <a:xfrm>
              <a:off x="3809683"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spcAft>
                  <a:spcPts val="300"/>
                </a:spcAft>
              </a:pPr>
              <a:r>
                <a:rPr lang="en-GB" sz="900" dirty="0">
                  <a:solidFill>
                    <a:schemeClr val="bg1"/>
                  </a:solidFill>
                  <a:latin typeface="Ubuntu" panose="020B0504030602030204" pitchFamily="34" charset="0"/>
                </a:rPr>
                <a:t>SAPPHIRE</a:t>
              </a:r>
            </a:p>
            <a:p>
              <a:pPr>
                <a:spcAft>
                  <a:spcPts val="300"/>
                </a:spcAft>
              </a:pPr>
              <a:r>
                <a:rPr lang="en-GB" sz="900" dirty="0">
                  <a:solidFill>
                    <a:schemeClr val="bg1"/>
                  </a:solidFill>
                  <a:latin typeface="Ubuntu" panose="020B0504030602030204" pitchFamily="34" charset="0"/>
                </a:rPr>
                <a:t>03</a:t>
              </a:r>
            </a:p>
            <a:p>
              <a:pPr>
                <a:spcAft>
                  <a:spcPts val="300"/>
                </a:spcAft>
              </a:pPr>
              <a:r>
                <a:rPr lang="en-GB" sz="900" dirty="0">
                  <a:solidFill>
                    <a:schemeClr val="bg1"/>
                  </a:solidFill>
                  <a:latin typeface="Ubuntu" panose="020B0504030602030204" pitchFamily="34" charset="0"/>
                </a:rPr>
                <a:t>20/89/107</a:t>
              </a:r>
            </a:p>
            <a:p>
              <a:pPr>
                <a:spcAft>
                  <a:spcPts val="300"/>
                </a:spcAft>
              </a:pPr>
              <a:r>
                <a:rPr lang="en-GB" sz="900" dirty="0">
                  <a:solidFill>
                    <a:schemeClr val="bg1"/>
                  </a:solidFill>
                  <a:latin typeface="Ubuntu" panose="020B0504030602030204" pitchFamily="34" charset="0"/>
                </a:rPr>
                <a:t>#14596B</a:t>
              </a:r>
            </a:p>
          </p:txBody>
        </p:sp>
        <p:sp>
          <p:nvSpPr>
            <p:cNvPr id="22" name="Forme libre : forme 21">
              <a:extLst>
                <a:ext uri="{FF2B5EF4-FFF2-40B4-BE49-F238E27FC236}">
                  <a16:creationId xmlns:a16="http://schemas.microsoft.com/office/drawing/2014/main" id="{2F67F3BF-824B-495A-8E07-035343295E54}"/>
                </a:ext>
              </a:extLst>
            </p:cNvPr>
            <p:cNvSpPr/>
            <p:nvPr/>
          </p:nvSpPr>
          <p:spPr>
            <a:xfrm>
              <a:off x="3809683"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2</a:t>
              </a:r>
            </a:p>
            <a:p>
              <a:pPr>
                <a:spcAft>
                  <a:spcPts val="300"/>
                </a:spcAft>
              </a:pPr>
              <a:r>
                <a:rPr lang="en-GB" sz="900">
                  <a:solidFill>
                    <a:schemeClr val="bg1"/>
                  </a:solidFill>
                  <a:latin typeface="Ubuntu" panose="020B0504030602030204" pitchFamily="34" charset="0"/>
                </a:rPr>
                <a:t>51/107/25</a:t>
              </a:r>
            </a:p>
            <a:p>
              <a:pPr>
                <a:spcAft>
                  <a:spcPts val="300"/>
                </a:spcAft>
              </a:pPr>
              <a:r>
                <a:rPr lang="en-GB" sz="900">
                  <a:solidFill>
                    <a:schemeClr val="bg1"/>
                  </a:solidFill>
                  <a:latin typeface="Ubuntu" panose="020B0504030602030204" pitchFamily="34" charset="0"/>
                </a:rPr>
                <a:t>#336B7D</a:t>
              </a:r>
            </a:p>
          </p:txBody>
        </p:sp>
        <p:sp>
          <p:nvSpPr>
            <p:cNvPr id="23" name="Forme libre : forme 22">
              <a:extLst>
                <a:ext uri="{FF2B5EF4-FFF2-40B4-BE49-F238E27FC236}">
                  <a16:creationId xmlns:a16="http://schemas.microsoft.com/office/drawing/2014/main" id="{61C23BF1-276B-402A-8222-9995ADE25D3A}"/>
                </a:ext>
              </a:extLst>
            </p:cNvPr>
            <p:cNvSpPr/>
            <p:nvPr/>
          </p:nvSpPr>
          <p:spPr>
            <a:xfrm>
              <a:off x="3809683"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1</a:t>
              </a:r>
            </a:p>
            <a:p>
              <a:pPr>
                <a:spcAft>
                  <a:spcPts val="300"/>
                </a:spcAft>
              </a:pPr>
              <a:r>
                <a:rPr lang="en-GB" sz="900">
                  <a:solidFill>
                    <a:schemeClr val="bg1"/>
                  </a:solidFill>
                  <a:latin typeface="Ubuntu" panose="020B0504030602030204" pitchFamily="34" charset="0"/>
                </a:rPr>
                <a:t>51/128/145</a:t>
              </a:r>
            </a:p>
            <a:p>
              <a:pPr>
                <a:spcAft>
                  <a:spcPts val="300"/>
                </a:spcAft>
              </a:pPr>
              <a:r>
                <a:rPr lang="en-GB" sz="900">
                  <a:solidFill>
                    <a:schemeClr val="bg1"/>
                  </a:solidFill>
                  <a:latin typeface="Ubuntu" panose="020B0504030602030204" pitchFamily="34" charset="0"/>
                </a:rPr>
                <a:t>#338091</a:t>
              </a:r>
            </a:p>
          </p:txBody>
        </p:sp>
        <p:sp>
          <p:nvSpPr>
            <p:cNvPr id="47" name="Forme libre : forme 46">
              <a:extLst>
                <a:ext uri="{FF2B5EF4-FFF2-40B4-BE49-F238E27FC236}">
                  <a16:creationId xmlns:a16="http://schemas.microsoft.com/office/drawing/2014/main" id="{12AB8857-6741-4E15-92C8-B4839FDEA130}"/>
                </a:ext>
              </a:extLst>
            </p:cNvPr>
            <p:cNvSpPr/>
            <p:nvPr/>
          </p:nvSpPr>
          <p:spPr>
            <a:xfrm>
              <a:off x="1982154"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0/125/116</a:t>
              </a:r>
            </a:p>
            <a:p>
              <a:pPr>
                <a:spcAft>
                  <a:spcPts val="300"/>
                </a:spcAft>
              </a:pPr>
              <a:r>
                <a:rPr lang="en-GB" sz="900">
                  <a:solidFill>
                    <a:schemeClr val="bg1"/>
                  </a:solidFill>
                  <a:latin typeface="Ubuntu" panose="020B0504030602030204" pitchFamily="34" charset="0"/>
                </a:rPr>
                <a:t>#007D74</a:t>
              </a:r>
            </a:p>
          </p:txBody>
        </p:sp>
        <p:sp>
          <p:nvSpPr>
            <p:cNvPr id="48" name="Forme libre : forme 47">
              <a:extLst>
                <a:ext uri="{FF2B5EF4-FFF2-40B4-BE49-F238E27FC236}">
                  <a16:creationId xmlns:a16="http://schemas.microsoft.com/office/drawing/2014/main" id="{5DEF2A33-40D5-4535-BB6F-B9277251C077}"/>
                </a:ext>
              </a:extLst>
            </p:cNvPr>
            <p:cNvSpPr/>
            <p:nvPr/>
          </p:nvSpPr>
          <p:spPr>
            <a:xfrm>
              <a:off x="1982154" y="4487156"/>
              <a:ext cx="917300" cy="646032"/>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spcAft>
                  <a:spcPts val="300"/>
                </a:spcAft>
              </a:pPr>
              <a:r>
                <a:rPr lang="en-GB" sz="900">
                  <a:latin typeface="Ubuntu" panose="020B0504030602030204" pitchFamily="34" charset="0"/>
                </a:rPr>
                <a:t>04</a:t>
              </a:r>
            </a:p>
            <a:p>
              <a:pPr>
                <a:spcAft>
                  <a:spcPts val="300"/>
                </a:spcAft>
              </a:pPr>
              <a:r>
                <a:rPr lang="en-GB" sz="900">
                  <a:latin typeface="Ubuntu" panose="020B0504030602030204" pitchFamily="34" charset="0"/>
                </a:rPr>
                <a:t>0/146/155</a:t>
              </a:r>
            </a:p>
            <a:p>
              <a:pPr>
                <a:spcAft>
                  <a:spcPts val="300"/>
                </a:spcAft>
              </a:pPr>
              <a:r>
                <a:rPr lang="en-GB" sz="900">
                  <a:latin typeface="Ubuntu" panose="020B0504030602030204" pitchFamily="34" charset="0"/>
                </a:rPr>
                <a:t>#00929B</a:t>
              </a:r>
            </a:p>
          </p:txBody>
        </p:sp>
        <p:sp>
          <p:nvSpPr>
            <p:cNvPr id="49" name="Forme libre : forme 48">
              <a:extLst>
                <a:ext uri="{FF2B5EF4-FFF2-40B4-BE49-F238E27FC236}">
                  <a16:creationId xmlns:a16="http://schemas.microsoft.com/office/drawing/2014/main" id="{66CFCA74-2FAF-4257-8444-79611EDB89BF}"/>
                </a:ext>
              </a:extLst>
            </p:cNvPr>
            <p:cNvSpPr/>
            <p:nvPr/>
          </p:nvSpPr>
          <p:spPr>
            <a:xfrm>
              <a:off x="1982154"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spcAft>
                  <a:spcPts val="300"/>
                </a:spcAft>
              </a:pPr>
              <a:r>
                <a:rPr lang="en-GB" sz="900">
                  <a:latin typeface="Ubuntu" panose="020B0504030602030204" pitchFamily="34" charset="0"/>
                </a:rPr>
                <a:t>TEAL</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0/191/191</a:t>
              </a:r>
            </a:p>
            <a:p>
              <a:pPr>
                <a:spcAft>
                  <a:spcPts val="300"/>
                </a:spcAft>
              </a:pPr>
              <a:r>
                <a:rPr lang="en-GB" sz="900">
                  <a:latin typeface="Ubuntu" panose="020B0504030602030204" pitchFamily="34" charset="0"/>
                </a:rPr>
                <a:t>#00BFBF</a:t>
              </a:r>
            </a:p>
          </p:txBody>
        </p:sp>
        <p:sp>
          <p:nvSpPr>
            <p:cNvPr id="50" name="Forme libre : forme 49">
              <a:extLst>
                <a:ext uri="{FF2B5EF4-FFF2-40B4-BE49-F238E27FC236}">
                  <a16:creationId xmlns:a16="http://schemas.microsoft.com/office/drawing/2014/main" id="{4B47146B-38CD-4795-BD6F-89011FA765B7}"/>
                </a:ext>
              </a:extLst>
            </p:cNvPr>
            <p:cNvSpPr/>
            <p:nvPr/>
          </p:nvSpPr>
          <p:spPr>
            <a:xfrm>
              <a:off x="1982154"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spcAft>
                  <a:spcPts val="300"/>
                </a:spcAft>
              </a:pPr>
              <a:r>
                <a:rPr lang="en-GB" sz="900" dirty="0">
                  <a:latin typeface="Ubuntu" panose="020B0504030602030204" pitchFamily="34" charset="0"/>
                </a:rPr>
                <a:t>02</a:t>
              </a:r>
            </a:p>
            <a:p>
              <a:pPr>
                <a:spcAft>
                  <a:spcPts val="300"/>
                </a:spcAft>
              </a:pPr>
              <a:r>
                <a:rPr lang="en-GB" sz="900" dirty="0">
                  <a:latin typeface="Ubuntu" panose="020B0504030602030204" pitchFamily="34" charset="0"/>
                </a:rPr>
                <a:t>0/213/208</a:t>
              </a:r>
            </a:p>
            <a:p>
              <a:pPr>
                <a:spcAft>
                  <a:spcPts val="300"/>
                </a:spcAft>
              </a:pPr>
              <a:r>
                <a:rPr lang="en-GB" sz="900" dirty="0">
                  <a:latin typeface="Ubuntu" panose="020B0504030602030204" pitchFamily="34" charset="0"/>
                </a:rPr>
                <a:t>#00D5D0</a:t>
              </a:r>
            </a:p>
          </p:txBody>
        </p:sp>
        <p:sp>
          <p:nvSpPr>
            <p:cNvPr id="51" name="Forme libre : forme 50">
              <a:extLst>
                <a:ext uri="{FF2B5EF4-FFF2-40B4-BE49-F238E27FC236}">
                  <a16:creationId xmlns:a16="http://schemas.microsoft.com/office/drawing/2014/main" id="{193B385E-C739-48D7-9383-E73F6825661F}"/>
                </a:ext>
              </a:extLst>
            </p:cNvPr>
            <p:cNvSpPr/>
            <p:nvPr/>
          </p:nvSpPr>
          <p:spPr>
            <a:xfrm>
              <a:off x="1982154"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spcAft>
                  <a:spcPts val="300"/>
                </a:spcAft>
              </a:pPr>
              <a:r>
                <a:rPr lang="en-GB" sz="900" dirty="0">
                  <a:latin typeface="Ubuntu" panose="020B0504030602030204" pitchFamily="34" charset="0"/>
                </a:rPr>
                <a:t>01</a:t>
              </a:r>
            </a:p>
            <a:p>
              <a:pPr>
                <a:spcAft>
                  <a:spcPts val="300"/>
                </a:spcAft>
              </a:pPr>
              <a:r>
                <a:rPr lang="en-GB" sz="900" dirty="0">
                  <a:latin typeface="Ubuntu" panose="020B0504030602030204" pitchFamily="34" charset="0"/>
                </a:rPr>
                <a:t>0/230/227</a:t>
              </a:r>
            </a:p>
            <a:p>
              <a:pPr>
                <a:spcAft>
                  <a:spcPts val="300"/>
                </a:spcAft>
              </a:pPr>
              <a:r>
                <a:rPr lang="en-GB" sz="900" dirty="0">
                  <a:latin typeface="Ubuntu" panose="020B0504030602030204" pitchFamily="34" charset="0"/>
                </a:rPr>
                <a:t>#00E6E3</a:t>
              </a:r>
            </a:p>
          </p:txBody>
        </p:sp>
      </p:grpSp>
      <p:sp>
        <p:nvSpPr>
          <p:cNvPr id="43" name="Rectangle 42"/>
          <p:cNvSpPr/>
          <p:nvPr/>
        </p:nvSpPr>
        <p:spPr>
          <a:xfrm>
            <a:off x="8175655" y="2110676"/>
            <a:ext cx="807913"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900" b="1">
                <a:solidFill>
                  <a:schemeClr val="tx2"/>
                </a:solidFill>
                <a:latin typeface="Ubuntu" panose="020B0504030602030204" pitchFamily="34" charset="0"/>
              </a:rPr>
              <a:t>WARM palette</a:t>
            </a:r>
          </a:p>
        </p:txBody>
      </p:sp>
      <p:grpSp>
        <p:nvGrpSpPr>
          <p:cNvPr id="52" name="Graphique 5" descr="Warm palette (Color reference)">
            <a:extLst>
              <a:ext uri="{FF2B5EF4-FFF2-40B4-BE49-F238E27FC236}">
                <a16:creationId xmlns:a16="http://schemas.microsoft.com/office/drawing/2014/main" id="{D5C4F380-DE38-4159-83EE-0B7C39BC0E32}"/>
              </a:ext>
            </a:extLst>
          </p:cNvPr>
          <p:cNvGrpSpPr/>
          <p:nvPr/>
        </p:nvGrpSpPr>
        <p:grpSpPr>
          <a:xfrm>
            <a:off x="6738260" y="2333115"/>
            <a:ext cx="3670363" cy="3472151"/>
            <a:chOff x="7742622" y="1326700"/>
            <a:chExt cx="4447033" cy="4206875"/>
          </a:xfrm>
        </p:grpSpPr>
        <p:sp>
          <p:nvSpPr>
            <p:cNvPr id="53" name="Forme libre : forme 52">
              <a:extLst>
                <a:ext uri="{FF2B5EF4-FFF2-40B4-BE49-F238E27FC236}">
                  <a16:creationId xmlns:a16="http://schemas.microsoft.com/office/drawing/2014/main" id="{FE4926A8-8A05-4E1D-9733-B93B66604B1B}"/>
                </a:ext>
              </a:extLst>
            </p:cNvPr>
            <p:cNvSpPr/>
            <p:nvPr/>
          </p:nvSpPr>
          <p:spPr>
            <a:xfrm>
              <a:off x="8852423"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spcAft>
                  <a:spcPts val="300"/>
                </a:spcAft>
              </a:pPr>
              <a:r>
                <a:rPr lang="en-GB" sz="900">
                  <a:latin typeface="Ubuntu" panose="020B0504030602030204" pitchFamily="34" charset="0"/>
                </a:rPr>
                <a:t>05</a:t>
              </a:r>
            </a:p>
            <a:p>
              <a:pPr>
                <a:spcAft>
                  <a:spcPts val="300"/>
                </a:spcAft>
              </a:pPr>
              <a:r>
                <a:rPr lang="en-GB" sz="900">
                  <a:latin typeface="Ubuntu" panose="020B0504030602030204" pitchFamily="34" charset="0"/>
                </a:rPr>
                <a:t>255/142/18</a:t>
              </a:r>
            </a:p>
            <a:p>
              <a:pPr>
                <a:spcAft>
                  <a:spcPts val="300"/>
                </a:spcAft>
              </a:pPr>
              <a:r>
                <a:rPr lang="en-GB" sz="900">
                  <a:latin typeface="Ubuntu" panose="020B0504030602030204" pitchFamily="34" charset="0"/>
                </a:rPr>
                <a:t>#FF8E12</a:t>
              </a:r>
            </a:p>
          </p:txBody>
        </p:sp>
        <p:sp>
          <p:nvSpPr>
            <p:cNvPr id="54" name="Forme libre : forme 53">
              <a:extLst>
                <a:ext uri="{FF2B5EF4-FFF2-40B4-BE49-F238E27FC236}">
                  <a16:creationId xmlns:a16="http://schemas.microsoft.com/office/drawing/2014/main" id="{9FB5E6F2-CB0C-44B9-B875-5524375D446E}"/>
                </a:ext>
              </a:extLst>
            </p:cNvPr>
            <p:cNvSpPr/>
            <p:nvPr/>
          </p:nvSpPr>
          <p:spPr>
            <a:xfrm>
              <a:off x="8852423"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spcAft>
                  <a:spcPts val="300"/>
                </a:spcAft>
              </a:pPr>
              <a:r>
                <a:rPr lang="en-GB" sz="900">
                  <a:latin typeface="Ubuntu" panose="020B0504030602030204" pitchFamily="34" charset="0"/>
                </a:rPr>
                <a:t>04</a:t>
              </a:r>
            </a:p>
            <a:p>
              <a:pPr>
                <a:spcAft>
                  <a:spcPts val="300"/>
                </a:spcAft>
              </a:pPr>
              <a:r>
                <a:rPr lang="en-GB" sz="900">
                  <a:latin typeface="Ubuntu" panose="020B0504030602030204" pitchFamily="34" charset="0"/>
                </a:rPr>
                <a:t>255/156/41</a:t>
              </a:r>
            </a:p>
            <a:p>
              <a:pPr>
                <a:spcAft>
                  <a:spcPts val="300"/>
                </a:spcAft>
              </a:pPr>
              <a:r>
                <a:rPr lang="en-GB" sz="900">
                  <a:latin typeface="Ubuntu" panose="020B0504030602030204" pitchFamily="34" charset="0"/>
                </a:rPr>
                <a:t>#FF9C29</a:t>
              </a:r>
            </a:p>
          </p:txBody>
        </p:sp>
        <p:sp>
          <p:nvSpPr>
            <p:cNvPr id="55" name="Forme libre : forme 54">
              <a:extLst>
                <a:ext uri="{FF2B5EF4-FFF2-40B4-BE49-F238E27FC236}">
                  <a16:creationId xmlns:a16="http://schemas.microsoft.com/office/drawing/2014/main" id="{05F19932-345D-4B9E-8F83-7AD10EBE15D2}"/>
                </a:ext>
              </a:extLst>
            </p:cNvPr>
            <p:cNvSpPr/>
            <p:nvPr/>
          </p:nvSpPr>
          <p:spPr>
            <a:xfrm>
              <a:off x="8852423"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spcAft>
                  <a:spcPts val="300"/>
                </a:spcAft>
              </a:pPr>
              <a:r>
                <a:rPr lang="en-GB" sz="900">
                  <a:latin typeface="Ubuntu" panose="020B0504030602030204" pitchFamily="34" charset="0"/>
                </a:rPr>
                <a:t>YELLOW</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255/178/74</a:t>
              </a:r>
            </a:p>
            <a:p>
              <a:pPr>
                <a:spcAft>
                  <a:spcPts val="300"/>
                </a:spcAft>
              </a:pPr>
              <a:r>
                <a:rPr lang="en-GB" sz="900">
                  <a:latin typeface="Ubuntu" panose="020B0504030602030204" pitchFamily="34" charset="0"/>
                </a:rPr>
                <a:t>#FFB24A</a:t>
              </a:r>
            </a:p>
          </p:txBody>
        </p:sp>
        <p:sp>
          <p:nvSpPr>
            <p:cNvPr id="56" name="Forme libre : forme 55">
              <a:extLst>
                <a:ext uri="{FF2B5EF4-FFF2-40B4-BE49-F238E27FC236}">
                  <a16:creationId xmlns:a16="http://schemas.microsoft.com/office/drawing/2014/main" id="{28D2FAC3-6610-4D6C-92AB-0E56637B241D}"/>
                </a:ext>
              </a:extLst>
            </p:cNvPr>
            <p:cNvSpPr/>
            <p:nvPr/>
          </p:nvSpPr>
          <p:spPr>
            <a:xfrm>
              <a:off x="8852423"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55/208/104</a:t>
              </a:r>
            </a:p>
            <a:p>
              <a:pPr>
                <a:spcAft>
                  <a:spcPts val="300"/>
                </a:spcAft>
              </a:pPr>
              <a:r>
                <a:rPr lang="en-GB" sz="900">
                  <a:latin typeface="Ubuntu" panose="020B0504030602030204" pitchFamily="34" charset="0"/>
                </a:rPr>
                <a:t>#FFD068</a:t>
              </a:r>
            </a:p>
          </p:txBody>
        </p:sp>
        <p:sp>
          <p:nvSpPr>
            <p:cNvPr id="57" name="Forme libre : forme 56">
              <a:extLst>
                <a:ext uri="{FF2B5EF4-FFF2-40B4-BE49-F238E27FC236}">
                  <a16:creationId xmlns:a16="http://schemas.microsoft.com/office/drawing/2014/main" id="{228B2D24-599A-47ED-A9DB-C51ED8248433}"/>
                </a:ext>
              </a:extLst>
            </p:cNvPr>
            <p:cNvSpPr/>
            <p:nvPr/>
          </p:nvSpPr>
          <p:spPr>
            <a:xfrm>
              <a:off x="8852423"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55/218/128</a:t>
              </a:r>
            </a:p>
            <a:p>
              <a:pPr>
                <a:spcAft>
                  <a:spcPts val="300"/>
                </a:spcAft>
              </a:pPr>
              <a:r>
                <a:rPr lang="en-GB" sz="900">
                  <a:latin typeface="Ubuntu" panose="020B0504030602030204" pitchFamily="34" charset="0"/>
                </a:rPr>
                <a:t>#FFDA80</a:t>
              </a:r>
            </a:p>
          </p:txBody>
        </p:sp>
        <p:sp>
          <p:nvSpPr>
            <p:cNvPr id="58" name="Forme libre : forme 57">
              <a:extLst>
                <a:ext uri="{FF2B5EF4-FFF2-40B4-BE49-F238E27FC236}">
                  <a16:creationId xmlns:a16="http://schemas.microsoft.com/office/drawing/2014/main" id="{CB8FEA88-A5F3-42FD-BB6D-F4909EC7DF83}"/>
                </a:ext>
              </a:extLst>
            </p:cNvPr>
            <p:cNvSpPr/>
            <p:nvPr/>
          </p:nvSpPr>
          <p:spPr>
            <a:xfrm>
              <a:off x="9963829" y="4756930"/>
              <a:ext cx="1113952"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66/20/46</a:t>
              </a:r>
            </a:p>
            <a:p>
              <a:pPr>
                <a:spcAft>
                  <a:spcPts val="300"/>
                </a:spcAft>
              </a:pPr>
              <a:r>
                <a:rPr lang="en-GB" sz="900">
                  <a:solidFill>
                    <a:schemeClr val="bg1"/>
                  </a:solidFill>
                  <a:latin typeface="Ubuntu" panose="020B0504030602030204" pitchFamily="34" charset="0"/>
                </a:rPr>
                <a:t>#42142E</a:t>
              </a:r>
            </a:p>
          </p:txBody>
        </p:sp>
        <p:sp>
          <p:nvSpPr>
            <p:cNvPr id="59" name="Forme libre : forme 58">
              <a:extLst>
                <a:ext uri="{FF2B5EF4-FFF2-40B4-BE49-F238E27FC236}">
                  <a16:creationId xmlns:a16="http://schemas.microsoft.com/office/drawing/2014/main" id="{39C5C16D-BAAA-4A8E-BD84-FF6276DEE0D6}"/>
                </a:ext>
              </a:extLst>
            </p:cNvPr>
            <p:cNvSpPr/>
            <p:nvPr/>
          </p:nvSpPr>
          <p:spPr>
            <a:xfrm>
              <a:off x="9963829" y="3982895"/>
              <a:ext cx="1113952"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89/10/66</a:t>
              </a:r>
            </a:p>
            <a:p>
              <a:pPr>
                <a:spcAft>
                  <a:spcPts val="300"/>
                </a:spcAft>
              </a:pPr>
              <a:r>
                <a:rPr lang="en-GB" sz="900">
                  <a:solidFill>
                    <a:schemeClr val="bg1"/>
                  </a:solidFill>
                  <a:latin typeface="Ubuntu" panose="020B0504030602030204" pitchFamily="34" charset="0"/>
                </a:rPr>
                <a:t>#590A42</a:t>
              </a:r>
            </a:p>
          </p:txBody>
        </p:sp>
        <p:sp>
          <p:nvSpPr>
            <p:cNvPr id="60" name="Forme libre : forme 59">
              <a:extLst>
                <a:ext uri="{FF2B5EF4-FFF2-40B4-BE49-F238E27FC236}">
                  <a16:creationId xmlns:a16="http://schemas.microsoft.com/office/drawing/2014/main" id="{209F41B6-BD7F-411A-A347-49C239FCBD49}"/>
                </a:ext>
              </a:extLst>
            </p:cNvPr>
            <p:cNvSpPr/>
            <p:nvPr/>
          </p:nvSpPr>
          <p:spPr>
            <a:xfrm>
              <a:off x="9963829" y="2875438"/>
              <a:ext cx="1113952" cy="1111408"/>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VELVET</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117/13/92</a:t>
              </a:r>
            </a:p>
            <a:p>
              <a:pPr>
                <a:spcAft>
                  <a:spcPts val="300"/>
                </a:spcAft>
              </a:pPr>
              <a:r>
                <a:rPr lang="en-GB" sz="900">
                  <a:solidFill>
                    <a:schemeClr val="bg1"/>
                  </a:solidFill>
                  <a:latin typeface="Ubuntu" panose="020B0504030602030204" pitchFamily="34" charset="0"/>
                </a:rPr>
                <a:t>#750D5C</a:t>
              </a:r>
            </a:p>
          </p:txBody>
        </p:sp>
        <p:sp>
          <p:nvSpPr>
            <p:cNvPr id="61" name="Forme libre : forme 60">
              <a:extLst>
                <a:ext uri="{FF2B5EF4-FFF2-40B4-BE49-F238E27FC236}">
                  <a16:creationId xmlns:a16="http://schemas.microsoft.com/office/drawing/2014/main" id="{724E852F-B03F-4D96-9E93-97422B4514E2}"/>
                </a:ext>
              </a:extLst>
            </p:cNvPr>
            <p:cNvSpPr/>
            <p:nvPr/>
          </p:nvSpPr>
          <p:spPr>
            <a:xfrm>
              <a:off x="9963829" y="2100600"/>
              <a:ext cx="1113952"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2</a:t>
              </a:r>
            </a:p>
            <a:p>
              <a:pPr>
                <a:spcAft>
                  <a:spcPts val="300"/>
                </a:spcAft>
              </a:pPr>
              <a:r>
                <a:rPr lang="en-GB" sz="900">
                  <a:solidFill>
                    <a:schemeClr val="bg1"/>
                  </a:solidFill>
                  <a:latin typeface="Ubuntu" panose="020B0504030602030204" pitchFamily="34" charset="0"/>
                </a:rPr>
                <a:t>128/43/115</a:t>
              </a:r>
            </a:p>
            <a:p>
              <a:pPr>
                <a:spcAft>
                  <a:spcPts val="300"/>
                </a:spcAft>
              </a:pPr>
              <a:r>
                <a:rPr lang="en-GB" sz="900">
                  <a:solidFill>
                    <a:schemeClr val="bg1"/>
                  </a:solidFill>
                  <a:latin typeface="Ubuntu" panose="020B0504030602030204" pitchFamily="34" charset="0"/>
                </a:rPr>
                <a:t>#802B73</a:t>
              </a:r>
            </a:p>
          </p:txBody>
        </p:sp>
        <p:sp>
          <p:nvSpPr>
            <p:cNvPr id="62" name="Forme libre : forme 61">
              <a:extLst>
                <a:ext uri="{FF2B5EF4-FFF2-40B4-BE49-F238E27FC236}">
                  <a16:creationId xmlns:a16="http://schemas.microsoft.com/office/drawing/2014/main" id="{7769C553-8ACF-4FE4-96C9-1268C6E941F0}"/>
                </a:ext>
              </a:extLst>
            </p:cNvPr>
            <p:cNvSpPr/>
            <p:nvPr/>
          </p:nvSpPr>
          <p:spPr>
            <a:xfrm>
              <a:off x="9963829" y="1326700"/>
              <a:ext cx="1113952"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1</a:t>
              </a:r>
            </a:p>
            <a:p>
              <a:pPr>
                <a:spcAft>
                  <a:spcPts val="300"/>
                </a:spcAft>
              </a:pPr>
              <a:r>
                <a:rPr lang="en-GB" sz="900">
                  <a:solidFill>
                    <a:schemeClr val="bg1"/>
                  </a:solidFill>
                  <a:latin typeface="Ubuntu" panose="020B0504030602030204" pitchFamily="34" charset="0"/>
                </a:rPr>
                <a:t>158/71/128</a:t>
              </a:r>
            </a:p>
            <a:p>
              <a:pPr>
                <a:spcAft>
                  <a:spcPts val="300"/>
                </a:spcAft>
              </a:pPr>
              <a:r>
                <a:rPr lang="en-GB" sz="900">
                  <a:solidFill>
                    <a:schemeClr val="bg1"/>
                  </a:solidFill>
                  <a:latin typeface="Ubuntu" panose="020B0504030602030204" pitchFamily="34" charset="0"/>
                </a:rPr>
                <a:t>#9E4780</a:t>
              </a:r>
            </a:p>
          </p:txBody>
        </p:sp>
        <p:sp>
          <p:nvSpPr>
            <p:cNvPr id="63" name="Forme libre : forme 62">
              <a:extLst>
                <a:ext uri="{FF2B5EF4-FFF2-40B4-BE49-F238E27FC236}">
                  <a16:creationId xmlns:a16="http://schemas.microsoft.com/office/drawing/2014/main" id="{670B8C30-9CF8-4820-9739-B06011C6BC02}"/>
                </a:ext>
              </a:extLst>
            </p:cNvPr>
            <p:cNvSpPr/>
            <p:nvPr/>
          </p:nvSpPr>
          <p:spPr>
            <a:xfrm>
              <a:off x="11078249"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66/0/26</a:t>
              </a:r>
            </a:p>
            <a:p>
              <a:pPr>
                <a:spcAft>
                  <a:spcPts val="300"/>
                </a:spcAft>
              </a:pPr>
              <a:r>
                <a:rPr lang="en-GB" sz="900">
                  <a:solidFill>
                    <a:schemeClr val="bg1"/>
                  </a:solidFill>
                  <a:latin typeface="Ubuntu" panose="020B0504030602030204" pitchFamily="34" charset="0"/>
                </a:rPr>
                <a:t>#A6001A</a:t>
              </a:r>
            </a:p>
          </p:txBody>
        </p:sp>
        <p:sp>
          <p:nvSpPr>
            <p:cNvPr id="64" name="Forme libre : forme 63">
              <a:extLst>
                <a:ext uri="{FF2B5EF4-FFF2-40B4-BE49-F238E27FC236}">
                  <a16:creationId xmlns:a16="http://schemas.microsoft.com/office/drawing/2014/main" id="{74EE973F-2797-436C-8481-631330B667E9}"/>
                </a:ext>
              </a:extLst>
            </p:cNvPr>
            <p:cNvSpPr/>
            <p:nvPr/>
          </p:nvSpPr>
          <p:spPr>
            <a:xfrm>
              <a:off x="11078249"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227/03/33</a:t>
              </a:r>
            </a:p>
            <a:p>
              <a:pPr>
                <a:spcAft>
                  <a:spcPts val="300"/>
                </a:spcAft>
              </a:pPr>
              <a:r>
                <a:rPr lang="en-GB" sz="900">
                  <a:solidFill>
                    <a:schemeClr val="bg1"/>
                  </a:solidFill>
                  <a:latin typeface="Ubuntu" panose="020B0504030602030204" pitchFamily="34" charset="0"/>
                </a:rPr>
                <a:t>#E30021</a:t>
              </a:r>
            </a:p>
          </p:txBody>
        </p:sp>
        <p:sp>
          <p:nvSpPr>
            <p:cNvPr id="65" name="Forme libre : forme 64">
              <a:extLst>
                <a:ext uri="{FF2B5EF4-FFF2-40B4-BE49-F238E27FC236}">
                  <a16:creationId xmlns:a16="http://schemas.microsoft.com/office/drawing/2014/main" id="{26D7C439-143E-4569-BB8E-7D6ADA3A8202}"/>
                </a:ext>
              </a:extLst>
            </p:cNvPr>
            <p:cNvSpPr/>
            <p:nvPr/>
          </p:nvSpPr>
          <p:spPr>
            <a:xfrm>
              <a:off x="11078249"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spcAft>
                  <a:spcPts val="300"/>
                </a:spcAft>
              </a:pPr>
              <a:r>
                <a:rPr lang="en-GB" sz="900">
                  <a:latin typeface="Ubuntu" panose="020B0504030602030204" pitchFamily="34" charset="0"/>
                </a:rPr>
                <a:t>RED</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255/48/77</a:t>
              </a:r>
            </a:p>
            <a:p>
              <a:pPr>
                <a:spcAft>
                  <a:spcPts val="300"/>
                </a:spcAft>
              </a:pPr>
              <a:r>
                <a:rPr lang="en-GB" sz="900">
                  <a:latin typeface="Ubuntu" panose="020B0504030602030204" pitchFamily="34" charset="0"/>
                </a:rPr>
                <a:t>#FF304D</a:t>
              </a:r>
            </a:p>
          </p:txBody>
        </p:sp>
        <p:sp>
          <p:nvSpPr>
            <p:cNvPr id="66" name="Forme libre : forme 65">
              <a:extLst>
                <a:ext uri="{FF2B5EF4-FFF2-40B4-BE49-F238E27FC236}">
                  <a16:creationId xmlns:a16="http://schemas.microsoft.com/office/drawing/2014/main" id="{A9A2345D-297D-4B7E-A991-1717423FFC96}"/>
                </a:ext>
              </a:extLst>
            </p:cNvPr>
            <p:cNvSpPr/>
            <p:nvPr/>
          </p:nvSpPr>
          <p:spPr>
            <a:xfrm>
              <a:off x="11078249"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55/69/94</a:t>
              </a:r>
            </a:p>
            <a:p>
              <a:pPr>
                <a:spcAft>
                  <a:spcPts val="300"/>
                </a:spcAft>
              </a:pPr>
              <a:r>
                <a:rPr lang="en-GB" sz="900">
                  <a:latin typeface="Ubuntu" panose="020B0504030602030204" pitchFamily="34" charset="0"/>
                </a:rPr>
                <a:t>#FF455E</a:t>
              </a:r>
            </a:p>
          </p:txBody>
        </p:sp>
        <p:sp>
          <p:nvSpPr>
            <p:cNvPr id="67" name="Forme libre : forme 66">
              <a:extLst>
                <a:ext uri="{FF2B5EF4-FFF2-40B4-BE49-F238E27FC236}">
                  <a16:creationId xmlns:a16="http://schemas.microsoft.com/office/drawing/2014/main" id="{257034F6-FC94-4356-B00F-D8E9A0841E37}"/>
                </a:ext>
              </a:extLst>
            </p:cNvPr>
            <p:cNvSpPr/>
            <p:nvPr/>
          </p:nvSpPr>
          <p:spPr>
            <a:xfrm>
              <a:off x="11078249"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55/87/112</a:t>
              </a:r>
            </a:p>
            <a:p>
              <a:pPr>
                <a:spcAft>
                  <a:spcPts val="300"/>
                </a:spcAft>
              </a:pPr>
              <a:r>
                <a:rPr lang="en-GB" sz="900">
                  <a:latin typeface="Ubuntu" panose="020B0504030602030204" pitchFamily="34" charset="0"/>
                </a:rPr>
                <a:t>#FF5770</a:t>
              </a:r>
            </a:p>
          </p:txBody>
        </p:sp>
        <p:sp>
          <p:nvSpPr>
            <p:cNvPr id="68" name="Forme libre : forme 67">
              <a:extLst>
                <a:ext uri="{FF2B5EF4-FFF2-40B4-BE49-F238E27FC236}">
                  <a16:creationId xmlns:a16="http://schemas.microsoft.com/office/drawing/2014/main" id="{45A18F63-4AC3-4D56-919B-9266D52FC514}"/>
                </a:ext>
              </a:extLst>
            </p:cNvPr>
            <p:cNvSpPr/>
            <p:nvPr/>
          </p:nvSpPr>
          <p:spPr>
            <a:xfrm>
              <a:off x="7742622"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29/27/111</a:t>
              </a:r>
            </a:p>
            <a:p>
              <a:pPr>
                <a:spcAft>
                  <a:spcPts val="300"/>
                </a:spcAft>
              </a:pPr>
              <a:r>
                <a:rPr lang="en-GB" sz="900">
                  <a:solidFill>
                    <a:schemeClr val="bg1"/>
                  </a:solidFill>
                  <a:latin typeface="Ubuntu" panose="020B0504030602030204" pitchFamily="34" charset="0"/>
                </a:rPr>
                <a:t>#811B6F</a:t>
              </a:r>
            </a:p>
          </p:txBody>
        </p:sp>
        <p:sp>
          <p:nvSpPr>
            <p:cNvPr id="69" name="Forme libre : forme 68">
              <a:extLst>
                <a:ext uri="{FF2B5EF4-FFF2-40B4-BE49-F238E27FC236}">
                  <a16:creationId xmlns:a16="http://schemas.microsoft.com/office/drawing/2014/main" id="{3563068E-0EA9-423C-BE35-DC0B237D0993}"/>
                </a:ext>
              </a:extLst>
            </p:cNvPr>
            <p:cNvSpPr/>
            <p:nvPr/>
          </p:nvSpPr>
          <p:spPr>
            <a:xfrm>
              <a:off x="7742622"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161/41/128</a:t>
              </a:r>
            </a:p>
            <a:p>
              <a:pPr>
                <a:spcAft>
                  <a:spcPts val="300"/>
                </a:spcAft>
              </a:pPr>
              <a:r>
                <a:rPr lang="en-GB" sz="900">
                  <a:solidFill>
                    <a:schemeClr val="bg1"/>
                  </a:solidFill>
                  <a:latin typeface="Ubuntu" panose="020B0504030602030204" pitchFamily="34" charset="0"/>
                </a:rPr>
                <a:t>#A12980</a:t>
              </a:r>
            </a:p>
          </p:txBody>
        </p:sp>
        <p:sp>
          <p:nvSpPr>
            <p:cNvPr id="70" name="Forme libre : forme 69">
              <a:extLst>
                <a:ext uri="{FF2B5EF4-FFF2-40B4-BE49-F238E27FC236}">
                  <a16:creationId xmlns:a16="http://schemas.microsoft.com/office/drawing/2014/main" id="{9A0DFB0C-CD87-4418-B87E-AC024B27CC2E}"/>
                </a:ext>
              </a:extLst>
            </p:cNvPr>
            <p:cNvSpPr/>
            <p:nvPr/>
          </p:nvSpPr>
          <p:spPr>
            <a:xfrm>
              <a:off x="7742622"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VIOLET</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186/41/128</a:t>
              </a:r>
            </a:p>
            <a:p>
              <a:pPr>
                <a:spcAft>
                  <a:spcPts val="300"/>
                </a:spcAft>
              </a:pPr>
              <a:r>
                <a:rPr lang="en-GB" sz="900">
                  <a:solidFill>
                    <a:schemeClr val="bg1"/>
                  </a:solidFill>
                  <a:latin typeface="Ubuntu" panose="020B0504030602030204" pitchFamily="34" charset="0"/>
                </a:rPr>
                <a:t>#BA2980</a:t>
              </a:r>
            </a:p>
          </p:txBody>
        </p:sp>
        <p:sp>
          <p:nvSpPr>
            <p:cNvPr id="71" name="Forme libre : forme 70">
              <a:extLst>
                <a:ext uri="{FF2B5EF4-FFF2-40B4-BE49-F238E27FC236}">
                  <a16:creationId xmlns:a16="http://schemas.microsoft.com/office/drawing/2014/main" id="{63DAC4A5-EDF5-4B12-A3BC-38F8E070C52A}"/>
                </a:ext>
              </a:extLst>
            </p:cNvPr>
            <p:cNvSpPr/>
            <p:nvPr/>
          </p:nvSpPr>
          <p:spPr>
            <a:xfrm>
              <a:off x="7742622"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09/58/140</a:t>
              </a:r>
            </a:p>
            <a:p>
              <a:pPr>
                <a:spcAft>
                  <a:spcPts val="300"/>
                </a:spcAft>
              </a:pPr>
              <a:r>
                <a:rPr lang="en-GB" sz="900">
                  <a:latin typeface="Ubuntu" panose="020B0504030602030204" pitchFamily="34" charset="0"/>
                </a:rPr>
                <a:t>#D13A8C</a:t>
              </a:r>
            </a:p>
          </p:txBody>
        </p:sp>
        <p:sp>
          <p:nvSpPr>
            <p:cNvPr id="72" name="Forme libre : forme 71">
              <a:extLst>
                <a:ext uri="{FF2B5EF4-FFF2-40B4-BE49-F238E27FC236}">
                  <a16:creationId xmlns:a16="http://schemas.microsoft.com/office/drawing/2014/main" id="{4BB220BA-F775-4B7D-99F7-5D0B4FFF1577}"/>
                </a:ext>
              </a:extLst>
            </p:cNvPr>
            <p:cNvSpPr/>
            <p:nvPr/>
          </p:nvSpPr>
          <p:spPr>
            <a:xfrm>
              <a:off x="7742622"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29/87/173</a:t>
              </a:r>
            </a:p>
            <a:p>
              <a:pPr>
                <a:spcAft>
                  <a:spcPts val="300"/>
                </a:spcAft>
              </a:pPr>
              <a:r>
                <a:rPr lang="en-GB" sz="900">
                  <a:latin typeface="Ubuntu" panose="020B0504030602030204" pitchFamily="34" charset="0"/>
                </a:rPr>
                <a:t>#E557AD</a:t>
              </a:r>
            </a:p>
          </p:txBody>
        </p:sp>
      </p:grpSp>
      <p:pic>
        <p:nvPicPr>
          <p:cNvPr id="5" name="Picture 4">
            <a:extLst>
              <a:ext uri="{FF2B5EF4-FFF2-40B4-BE49-F238E27FC236}">
                <a16:creationId xmlns:a16="http://schemas.microsoft.com/office/drawing/2014/main" id="{0208F949-E818-4075-A24F-413E253BB57D}"/>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80886" y="1810909"/>
            <a:ext cx="1663786" cy="3994355"/>
          </a:xfrm>
          <a:prstGeom prst="rect">
            <a:avLst/>
          </a:prstGeom>
        </p:spPr>
      </p:pic>
      <p:sp>
        <p:nvSpPr>
          <p:cNvPr id="3" name="ZoneTexte 2">
            <a:extLst>
              <a:ext uri="{FF2B5EF4-FFF2-40B4-BE49-F238E27FC236}">
                <a16:creationId xmlns:a16="http://schemas.microsoft.com/office/drawing/2014/main" id="{C699697E-A85D-4733-B970-7766CF178E56}"/>
              </a:ext>
            </a:extLst>
          </p:cNvPr>
          <p:cNvSpPr txBox="1"/>
          <p:nvPr/>
        </p:nvSpPr>
        <p:spPr>
          <a:xfrm>
            <a:off x="404813" y="5776491"/>
            <a:ext cx="10145406" cy="538609"/>
          </a:xfrm>
          <a:prstGeom prst="rect">
            <a:avLst/>
          </a:prstGeom>
          <a:noFill/>
        </p:spPr>
        <p:txBody>
          <a:bodyPr wrap="none" lIns="0" tIns="0" rIns="0" bIns="0" rtlCol="0">
            <a:spAutoFit/>
          </a:bodyPr>
          <a:lstStyle/>
          <a:p>
            <a:r>
              <a:rPr lang="en-GB" sz="1400" dirty="0">
                <a:latin typeface="Ubuntu" panose="020B0504030602030204" pitchFamily="34" charset="0"/>
              </a:rPr>
              <a:t>NOTE:</a:t>
            </a:r>
          </a:p>
          <a:p>
            <a:pPr marL="171450" indent="-171450">
              <a:buFont typeface="Arial" panose="020B0604020202020204" pitchFamily="34" charset="0"/>
              <a:buChar char="•"/>
            </a:pPr>
            <a:r>
              <a:rPr lang="en-GB" sz="1050" dirty="0">
                <a:latin typeface="Ubuntu" panose="020B0504030602030204" pitchFamily="34" charset="0"/>
              </a:rPr>
              <a:t>The primary, cool and warm palettes </a:t>
            </a:r>
            <a:r>
              <a:rPr lang="en-GB" sz="1050" dirty="0">
                <a:solidFill>
                  <a:srgbClr val="E30021"/>
                </a:solidFill>
                <a:latin typeface="Ubuntu" panose="020B0504030602030204" pitchFamily="34" charset="0"/>
              </a:rPr>
              <a:t>cannot be mixed </a:t>
            </a:r>
            <a:r>
              <a:rPr lang="en-GB" sz="1050" dirty="0">
                <a:latin typeface="Ubuntu" panose="020B0504030602030204" pitchFamily="34" charset="0"/>
              </a:rPr>
              <a:t>on a same type of element (e.g. a graph, chart). Use either the primary palette, warm palette, OR cool palette. </a:t>
            </a:r>
          </a:p>
          <a:p>
            <a:pPr marL="171450" indent="-171450">
              <a:buFont typeface="Arial" panose="020B0604020202020204" pitchFamily="34" charset="0"/>
              <a:buChar char="•"/>
            </a:pPr>
            <a:r>
              <a:rPr lang="en-GB" sz="1050" dirty="0">
                <a:latin typeface="Ubuntu" panose="020B0504030602030204" pitchFamily="34" charset="0"/>
              </a:rPr>
              <a:t>The </a:t>
            </a:r>
            <a:r>
              <a:rPr lang="en-GB" sz="1050" dirty="0" err="1">
                <a:latin typeface="Ubuntu" panose="020B0504030602030204" pitchFamily="34" charset="0"/>
              </a:rPr>
              <a:t>colors</a:t>
            </a:r>
            <a:r>
              <a:rPr lang="en-GB" sz="1050" dirty="0">
                <a:latin typeface="Ubuntu" panose="020B0504030602030204" pitchFamily="34" charset="0"/>
              </a:rPr>
              <a:t> are embedded in the masters, also the </a:t>
            </a:r>
            <a:r>
              <a:rPr lang="en-GB" sz="1050" b="1" dirty="0">
                <a:latin typeface="Ubuntu" panose="020B0504030602030204" pitchFamily="34" charset="0"/>
              </a:rPr>
              <a:t>Custom </a:t>
            </a:r>
            <a:r>
              <a:rPr lang="en-GB" sz="1050" b="1" dirty="0" err="1">
                <a:latin typeface="Ubuntu" panose="020B0504030602030204" pitchFamily="34" charset="0"/>
              </a:rPr>
              <a:t>Colors</a:t>
            </a:r>
            <a:r>
              <a:rPr lang="en-GB" sz="1050" b="1" dirty="0">
                <a:latin typeface="Ubuntu" panose="020B0504030602030204" pitchFamily="34" charset="0"/>
              </a:rPr>
              <a:t> </a:t>
            </a:r>
            <a:r>
              <a:rPr lang="en-GB" sz="1050" dirty="0">
                <a:latin typeface="Ubuntu" panose="020B0504030602030204" pitchFamily="34" charset="0"/>
              </a:rPr>
              <a:t>(Screenshot on the right side).</a:t>
            </a:r>
          </a:p>
        </p:txBody>
      </p:sp>
    </p:spTree>
    <p:extLst>
      <p:ext uri="{BB962C8B-B14F-4D97-AF65-F5344CB8AC3E}">
        <p14:creationId xmlns:p14="http://schemas.microsoft.com/office/powerpoint/2010/main" val="32743404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Image 24">
            <a:extLst>
              <a:ext uri="{FF2B5EF4-FFF2-40B4-BE49-F238E27FC236}">
                <a16:creationId xmlns:a16="http://schemas.microsoft.com/office/drawing/2014/main" id="{C61664C2-BA37-499D-951E-05B8F83D27A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2114" y="818990"/>
            <a:ext cx="3691464" cy="2610010"/>
          </a:xfrm>
          <a:prstGeom prst="rect">
            <a:avLst/>
          </a:prstGeom>
        </p:spPr>
      </p:pic>
      <p:pic>
        <p:nvPicPr>
          <p:cNvPr id="38" name="Image 20">
            <a:extLst>
              <a:ext uri="{FF2B5EF4-FFF2-40B4-BE49-F238E27FC236}">
                <a16:creationId xmlns:a16="http://schemas.microsoft.com/office/drawing/2014/main" id="{C27E7FB4-B23D-4BA5-80B8-AC9E5BF9991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39360" y="766089"/>
            <a:ext cx="3689976" cy="2610008"/>
          </a:xfrm>
          <a:prstGeom prst="rect">
            <a:avLst/>
          </a:prstGeom>
        </p:spPr>
      </p:pic>
      <p:pic>
        <p:nvPicPr>
          <p:cNvPr id="39" name="Image 22">
            <a:extLst>
              <a:ext uri="{FF2B5EF4-FFF2-40B4-BE49-F238E27FC236}">
                <a16:creationId xmlns:a16="http://schemas.microsoft.com/office/drawing/2014/main" id="{315B38FC-49CF-4EB5-9D2F-FA9EE85DA946}"/>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2666" y="3327819"/>
            <a:ext cx="3689976" cy="2610008"/>
          </a:xfrm>
          <a:prstGeom prst="rect">
            <a:avLst/>
          </a:prstGeom>
        </p:spPr>
      </p:pic>
      <p:pic>
        <p:nvPicPr>
          <p:cNvPr id="37" name="Image 17">
            <a:extLst>
              <a:ext uri="{FF2B5EF4-FFF2-40B4-BE49-F238E27FC236}">
                <a16:creationId xmlns:a16="http://schemas.microsoft.com/office/drawing/2014/main" id="{70CDBCB1-19AA-466E-811B-93F3C86270F1}"/>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000" y="3327819"/>
            <a:ext cx="3691464" cy="2610010"/>
          </a:xfrm>
          <a:prstGeom prst="rect">
            <a:avLst/>
          </a:prstGeom>
        </p:spPr>
      </p:pic>
      <p:sp>
        <p:nvSpPr>
          <p:cNvPr id="3" name="Title 2">
            <a:extLst>
              <a:ext uri="{FF2B5EF4-FFF2-40B4-BE49-F238E27FC236}">
                <a16:creationId xmlns:a16="http://schemas.microsoft.com/office/drawing/2014/main" id="{3F252493-5937-9A40-832B-C010516536AF}"/>
              </a:ext>
            </a:extLst>
          </p:cNvPr>
          <p:cNvSpPr>
            <a:spLocks noGrp="1"/>
          </p:cNvSpPr>
          <p:nvPr>
            <p:ph type="title" idx="4294967295"/>
          </p:nvPr>
        </p:nvSpPr>
        <p:spPr/>
        <p:txBody>
          <a:bodyPr/>
          <a:lstStyle/>
          <a:p>
            <a:r>
              <a:rPr lang="en-GB" sz="1800" b="0" i="0" kern="1200" spc="0" baseline="0" dirty="0">
                <a:ln>
                  <a:noFill/>
                </a:ln>
                <a:solidFill>
                  <a:srgbClr val="000000"/>
                </a:solidFill>
                <a:effectLst/>
                <a:latin typeface="Ubuntu" panose="020B0504030602030204" pitchFamily="34" charset="0"/>
                <a:ea typeface="+mj-ea"/>
                <a:cs typeface="+mj-cs"/>
              </a:rPr>
              <a:t>Vibrant Blue PNG</a:t>
            </a:r>
            <a:r>
              <a:rPr lang="en-GB" dirty="0"/>
              <a:t> </a:t>
            </a:r>
            <a:endParaRPr lang="en-US" dirty="0"/>
          </a:p>
        </p:txBody>
      </p:sp>
    </p:spTree>
    <p:extLst>
      <p:ext uri="{BB962C8B-B14F-4D97-AF65-F5344CB8AC3E}">
        <p14:creationId xmlns:p14="http://schemas.microsoft.com/office/powerpoint/2010/main" val="29736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 9">
            <a:extLst>
              <a:ext uri="{FF2B5EF4-FFF2-40B4-BE49-F238E27FC236}">
                <a16:creationId xmlns:a16="http://schemas.microsoft.com/office/drawing/2014/main" id="{5CB3DB29-F43E-4C06-804D-2B06B26C1374}"/>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4300" y="1187269"/>
            <a:ext cx="3690000" cy="2608974"/>
          </a:xfrm>
          <a:prstGeom prst="rect">
            <a:avLst/>
          </a:prstGeom>
        </p:spPr>
      </p:pic>
      <p:pic>
        <p:nvPicPr>
          <p:cNvPr id="13" name="Image 3">
            <a:extLst>
              <a:ext uri="{FF2B5EF4-FFF2-40B4-BE49-F238E27FC236}">
                <a16:creationId xmlns:a16="http://schemas.microsoft.com/office/drawing/2014/main" id="{C864B7A0-C2F7-478E-AA2B-8314842A6BF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57700" y="1187269"/>
            <a:ext cx="3690000" cy="2608974"/>
          </a:xfrm>
          <a:prstGeom prst="rect">
            <a:avLst/>
          </a:prstGeom>
        </p:spPr>
      </p:pic>
      <p:pic>
        <p:nvPicPr>
          <p:cNvPr id="14" name="Image 5">
            <a:extLst>
              <a:ext uri="{FF2B5EF4-FFF2-40B4-BE49-F238E27FC236}">
                <a16:creationId xmlns:a16="http://schemas.microsoft.com/office/drawing/2014/main" id="{F4814DB5-895F-4D77-8F4F-168CFD4A52D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44300" y="3520572"/>
            <a:ext cx="3690000" cy="2610025"/>
          </a:xfrm>
          <a:prstGeom prst="rect">
            <a:avLst/>
          </a:prstGeom>
        </p:spPr>
      </p:pic>
      <p:pic>
        <p:nvPicPr>
          <p:cNvPr id="15" name="Image 7">
            <a:extLst>
              <a:ext uri="{FF2B5EF4-FFF2-40B4-BE49-F238E27FC236}">
                <a16:creationId xmlns:a16="http://schemas.microsoft.com/office/drawing/2014/main" id="{9E1B2347-C1B5-4EDC-B1C5-FF0C63D0023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000" y="3520572"/>
            <a:ext cx="3690000" cy="2610025"/>
          </a:xfrm>
          <a:prstGeom prst="rect">
            <a:avLst/>
          </a:prstGeom>
        </p:spPr>
      </p:pic>
      <p:sp>
        <p:nvSpPr>
          <p:cNvPr id="3" name="Title 2">
            <a:extLst>
              <a:ext uri="{FF2B5EF4-FFF2-40B4-BE49-F238E27FC236}">
                <a16:creationId xmlns:a16="http://schemas.microsoft.com/office/drawing/2014/main" id="{72C1106D-C7D5-DB4B-92FF-FCDCE1E65668}"/>
              </a:ext>
            </a:extLst>
          </p:cNvPr>
          <p:cNvSpPr>
            <a:spLocks noGrp="1"/>
          </p:cNvSpPr>
          <p:nvPr>
            <p:ph type="title" idx="4294967295"/>
          </p:nvPr>
        </p:nvSpPr>
        <p:spPr/>
        <p:txBody>
          <a:bodyPr/>
          <a:lstStyle/>
          <a:p>
            <a:r>
              <a:rPr lang="en-GB" sz="1800" b="0" i="0" kern="1200" spc="0" baseline="0">
                <a:ln>
                  <a:noFill/>
                </a:ln>
                <a:solidFill>
                  <a:srgbClr val="000000"/>
                </a:solidFill>
                <a:effectLst/>
                <a:latin typeface="Ubuntu" panose="020B0504030602030204" pitchFamily="34" charset="0"/>
                <a:ea typeface="+mj-ea"/>
                <a:cs typeface="+mj-cs"/>
              </a:rPr>
              <a:t>Capgemini Blue PNG</a:t>
            </a:r>
            <a:r>
              <a:rPr lang="en-GB"/>
              <a:t> </a:t>
            </a:r>
            <a:endParaRPr lang="en-US"/>
          </a:p>
        </p:txBody>
      </p:sp>
    </p:spTree>
    <p:extLst>
      <p:ext uri="{BB962C8B-B14F-4D97-AF65-F5344CB8AC3E}">
        <p14:creationId xmlns:p14="http://schemas.microsoft.com/office/powerpoint/2010/main" val="58384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7BC26C70-054B-456E-A418-ECA1F24854AB}"/>
              </a:ext>
            </a:extLst>
          </p:cNvPr>
          <p:cNvSpPr>
            <a:spLocks noGrp="1"/>
          </p:cNvSpPr>
          <p:nvPr>
            <p:ph type="title"/>
          </p:nvPr>
        </p:nvSpPr>
        <p:spPr/>
        <p:txBody>
          <a:bodyPr/>
          <a:lstStyle/>
          <a:p>
            <a:r>
              <a:rPr lang="en-GB"/>
              <a:t>ILLUSTRATION STYLE</a:t>
            </a:r>
            <a:br>
              <a:rPr lang="en-GB"/>
            </a:br>
            <a:r>
              <a:rPr lang="en-GB"/>
              <a:t>2-colors only from primary or secondary palette</a:t>
            </a:r>
          </a:p>
        </p:txBody>
      </p:sp>
      <p:grpSp>
        <p:nvGrpSpPr>
          <p:cNvPr id="4" name="Groupe 3">
            <a:extLst>
              <a:ext uri="{FF2B5EF4-FFF2-40B4-BE49-F238E27FC236}">
                <a16:creationId xmlns:a16="http://schemas.microsoft.com/office/drawing/2014/main" id="{6AB7B5BC-7F4B-4875-A15C-8CFFAE7B9700}"/>
              </a:ext>
              <a:ext uri="{C183D7F6-B498-43B3-948B-1728B52AA6E4}">
                <adec:decorative xmlns:adec="http://schemas.microsoft.com/office/drawing/2017/decorative" val="1"/>
              </a:ext>
            </a:extLst>
          </p:cNvPr>
          <p:cNvGrpSpPr/>
          <p:nvPr/>
        </p:nvGrpSpPr>
        <p:grpSpPr>
          <a:xfrm>
            <a:off x="1524013" y="1416514"/>
            <a:ext cx="1271013" cy="2634552"/>
            <a:chOff x="983432" y="1226496"/>
            <a:chExt cx="2496291" cy="5174304"/>
          </a:xfrm>
        </p:grpSpPr>
        <p:pic>
          <p:nvPicPr>
            <p:cNvPr id="6" name="Graphic 5">
              <a:extLst>
                <a:ext uri="{FF2B5EF4-FFF2-40B4-BE49-F238E27FC236}">
                  <a16:creationId xmlns:a16="http://schemas.microsoft.com/office/drawing/2014/main" id="{7574710F-64A1-43A7-990D-0094B2A402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57610" y="1350832"/>
              <a:ext cx="2180668" cy="5049968"/>
            </a:xfrm>
            <a:prstGeom prst="rect">
              <a:avLst/>
            </a:prstGeom>
          </p:spPr>
        </p:pic>
        <p:pic>
          <p:nvPicPr>
            <p:cNvPr id="8" name="Graphic 7">
              <a:extLst>
                <a:ext uri="{FF2B5EF4-FFF2-40B4-BE49-F238E27FC236}">
                  <a16:creationId xmlns:a16="http://schemas.microsoft.com/office/drawing/2014/main" id="{6F8E4306-1124-4AF1-B8D0-C67D0CEFCF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432" y="1226496"/>
              <a:ext cx="2496291" cy="5174304"/>
            </a:xfrm>
            <a:prstGeom prst="rect">
              <a:avLst/>
            </a:prstGeom>
          </p:spPr>
        </p:pic>
      </p:grpSp>
      <p:grpSp>
        <p:nvGrpSpPr>
          <p:cNvPr id="14" name="Group 23">
            <a:extLst>
              <a:ext uri="{FF2B5EF4-FFF2-40B4-BE49-F238E27FC236}">
                <a16:creationId xmlns:a16="http://schemas.microsoft.com/office/drawing/2014/main" id="{F63C8991-784B-48B6-98F4-5D61D45871D7}"/>
              </a:ext>
              <a:ext uri="{C183D7F6-B498-43B3-948B-1728B52AA6E4}">
                <adec:decorative xmlns:adec="http://schemas.microsoft.com/office/drawing/2017/decorative" val="1"/>
              </a:ext>
            </a:extLst>
          </p:cNvPr>
          <p:cNvGrpSpPr/>
          <p:nvPr/>
        </p:nvGrpSpPr>
        <p:grpSpPr>
          <a:xfrm>
            <a:off x="3468229" y="1416514"/>
            <a:ext cx="1271013" cy="2634552"/>
            <a:chOff x="8171709" y="1226496"/>
            <a:chExt cx="2496291" cy="5174304"/>
          </a:xfrm>
        </p:grpSpPr>
        <p:pic>
          <p:nvPicPr>
            <p:cNvPr id="17" name="Graphic 14">
              <a:extLst>
                <a:ext uri="{FF2B5EF4-FFF2-40B4-BE49-F238E27FC236}">
                  <a16:creationId xmlns:a16="http://schemas.microsoft.com/office/drawing/2014/main" id="{CF46F836-BB56-4666-80BB-E4F73B731A2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45887" y="1350832"/>
              <a:ext cx="2180668" cy="5049968"/>
            </a:xfrm>
            <a:prstGeom prst="rect">
              <a:avLst/>
            </a:prstGeom>
          </p:spPr>
        </p:pic>
        <p:pic>
          <p:nvPicPr>
            <p:cNvPr id="18" name="Graphic 15">
              <a:extLst>
                <a:ext uri="{FF2B5EF4-FFF2-40B4-BE49-F238E27FC236}">
                  <a16:creationId xmlns:a16="http://schemas.microsoft.com/office/drawing/2014/main" id="{D6025C0C-45B3-45B9-B566-AD751E85646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71709" y="1226496"/>
              <a:ext cx="2496291" cy="5174304"/>
            </a:xfrm>
            <a:prstGeom prst="rect">
              <a:avLst/>
            </a:prstGeom>
          </p:spPr>
        </p:pic>
      </p:grpSp>
      <p:grpSp>
        <p:nvGrpSpPr>
          <p:cNvPr id="5" name="Group 4">
            <a:extLst>
              <a:ext uri="{FF2B5EF4-FFF2-40B4-BE49-F238E27FC236}">
                <a16:creationId xmlns:a16="http://schemas.microsoft.com/office/drawing/2014/main" id="{3D82BB86-C239-4958-9CEE-3669DB24B318}"/>
              </a:ext>
              <a:ext uri="{C183D7F6-B498-43B3-948B-1728B52AA6E4}">
                <adec:decorative xmlns:adec="http://schemas.microsoft.com/office/drawing/2017/decorative" val="1"/>
              </a:ext>
            </a:extLst>
          </p:cNvPr>
          <p:cNvGrpSpPr/>
          <p:nvPr/>
        </p:nvGrpSpPr>
        <p:grpSpPr>
          <a:xfrm>
            <a:off x="5124413" y="1320046"/>
            <a:ext cx="1943173" cy="2831007"/>
            <a:chOff x="5124413" y="1462089"/>
            <a:chExt cx="1943173" cy="2831007"/>
          </a:xfrm>
        </p:grpSpPr>
        <p:sp>
          <p:nvSpPr>
            <p:cNvPr id="2" name="Rectangle 1">
              <a:extLst>
                <a:ext uri="{FF2B5EF4-FFF2-40B4-BE49-F238E27FC236}">
                  <a16:creationId xmlns:a16="http://schemas.microsoft.com/office/drawing/2014/main" id="{1B588ACD-1E6B-450D-B0C0-AF7BE65BF9ED}"/>
                </a:ext>
              </a:extLst>
            </p:cNvPr>
            <p:cNvSpPr/>
            <p:nvPr/>
          </p:nvSpPr>
          <p:spPr>
            <a:xfrm>
              <a:off x="5124413" y="1462089"/>
              <a:ext cx="1943173" cy="2831007"/>
            </a:xfrm>
            <a:prstGeom prst="rect">
              <a:avLst/>
            </a:prstGeom>
            <a:solidFill>
              <a:srgbClr val="0F87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3" name="Group 22">
              <a:extLst>
                <a:ext uri="{FF2B5EF4-FFF2-40B4-BE49-F238E27FC236}">
                  <a16:creationId xmlns:a16="http://schemas.microsoft.com/office/drawing/2014/main" id="{2B0EEC21-E6EC-4EF3-8C61-08E43A234E1B}"/>
                </a:ext>
              </a:extLst>
            </p:cNvPr>
            <p:cNvGrpSpPr/>
            <p:nvPr/>
          </p:nvGrpSpPr>
          <p:grpSpPr>
            <a:xfrm>
              <a:off x="5373134" y="1558557"/>
              <a:ext cx="1271013" cy="2634552"/>
              <a:chOff x="4654877" y="1226496"/>
              <a:chExt cx="2496291" cy="5174304"/>
            </a:xfrm>
          </p:grpSpPr>
          <p:pic>
            <p:nvPicPr>
              <p:cNvPr id="10" name="Graphic 9">
                <a:extLst>
                  <a:ext uri="{FF2B5EF4-FFF2-40B4-BE49-F238E27FC236}">
                    <a16:creationId xmlns:a16="http://schemas.microsoft.com/office/drawing/2014/main" id="{5FB768EF-848F-4CE2-8C8C-2AEC8EC6A0A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29055" y="1350832"/>
                <a:ext cx="2180668" cy="5049968"/>
              </a:xfrm>
              <a:prstGeom prst="rect">
                <a:avLst/>
              </a:prstGeom>
            </p:spPr>
          </p:pic>
          <p:pic>
            <p:nvPicPr>
              <p:cNvPr id="11" name="Graphic 10">
                <a:extLst>
                  <a:ext uri="{FF2B5EF4-FFF2-40B4-BE49-F238E27FC236}">
                    <a16:creationId xmlns:a16="http://schemas.microsoft.com/office/drawing/2014/main" id="{6E0B0714-345C-49FA-88CA-D27DCB59215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54877" y="1226496"/>
                <a:ext cx="2496291" cy="5174304"/>
              </a:xfrm>
              <a:prstGeom prst="rect">
                <a:avLst/>
              </a:prstGeom>
            </p:spPr>
          </p:pic>
        </p:grpSp>
      </p:grpSp>
      <p:grpSp>
        <p:nvGrpSpPr>
          <p:cNvPr id="26" name="Group 11">
            <a:extLst>
              <a:ext uri="{FF2B5EF4-FFF2-40B4-BE49-F238E27FC236}">
                <a16:creationId xmlns:a16="http://schemas.microsoft.com/office/drawing/2014/main" id="{0E6D4E1A-3723-4DBF-84D3-C4D99B84CBBF}"/>
              </a:ext>
              <a:ext uri="{C183D7F6-B498-43B3-948B-1728B52AA6E4}">
                <adec:decorative xmlns:adec="http://schemas.microsoft.com/office/drawing/2017/decorative" val="1"/>
              </a:ext>
            </a:extLst>
          </p:cNvPr>
          <p:cNvGrpSpPr/>
          <p:nvPr/>
        </p:nvGrpSpPr>
        <p:grpSpPr>
          <a:xfrm>
            <a:off x="7500677" y="1510653"/>
            <a:ext cx="2423168" cy="2423168"/>
            <a:chOff x="4714876" y="2290759"/>
            <a:chExt cx="2647950" cy="2647950"/>
          </a:xfrm>
        </p:grpSpPr>
        <p:pic>
          <p:nvPicPr>
            <p:cNvPr id="27" name="Graphic 5">
              <a:extLst>
                <a:ext uri="{FF2B5EF4-FFF2-40B4-BE49-F238E27FC236}">
                  <a16:creationId xmlns:a16="http://schemas.microsoft.com/office/drawing/2014/main" id="{FB93EBE5-F484-4A21-B296-85E920BD6DD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14912" y="2671762"/>
              <a:ext cx="2162175" cy="1514475"/>
            </a:xfrm>
            <a:prstGeom prst="rect">
              <a:avLst/>
            </a:prstGeom>
          </p:spPr>
        </p:pic>
        <p:pic>
          <p:nvPicPr>
            <p:cNvPr id="28" name="Graphic 6">
              <a:extLst>
                <a:ext uri="{FF2B5EF4-FFF2-40B4-BE49-F238E27FC236}">
                  <a16:creationId xmlns:a16="http://schemas.microsoft.com/office/drawing/2014/main" id="{2318E737-C532-4AD3-8052-B178FDCAC77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14876" y="2290759"/>
              <a:ext cx="2647950" cy="2647950"/>
            </a:xfrm>
            <a:prstGeom prst="rect">
              <a:avLst/>
            </a:prstGeom>
          </p:spPr>
        </p:pic>
      </p:grpSp>
      <p:grpSp>
        <p:nvGrpSpPr>
          <p:cNvPr id="19" name="Group 3">
            <a:extLst>
              <a:ext uri="{FF2B5EF4-FFF2-40B4-BE49-F238E27FC236}">
                <a16:creationId xmlns:a16="http://schemas.microsoft.com/office/drawing/2014/main" id="{C2BEC730-9A5F-4345-AEE9-8AC2C569BBEA}"/>
              </a:ext>
              <a:ext uri="{C183D7F6-B498-43B3-948B-1728B52AA6E4}">
                <adec:decorative xmlns:adec="http://schemas.microsoft.com/office/drawing/2017/decorative" val="1"/>
              </a:ext>
            </a:extLst>
          </p:cNvPr>
          <p:cNvGrpSpPr/>
          <p:nvPr/>
        </p:nvGrpSpPr>
        <p:grpSpPr>
          <a:xfrm>
            <a:off x="3506548" y="4501341"/>
            <a:ext cx="2334772" cy="1958968"/>
            <a:chOff x="4705350" y="2233612"/>
            <a:chExt cx="2781300" cy="2333625"/>
          </a:xfrm>
        </p:grpSpPr>
        <p:pic>
          <p:nvPicPr>
            <p:cNvPr id="20" name="Graphic 1">
              <a:extLst>
                <a:ext uri="{FF2B5EF4-FFF2-40B4-BE49-F238E27FC236}">
                  <a16:creationId xmlns:a16="http://schemas.microsoft.com/office/drawing/2014/main" id="{35F7D69A-94A4-4F04-B1DC-2EBE687BCBB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72025" y="2290762"/>
              <a:ext cx="2647950" cy="2276475"/>
            </a:xfrm>
            <a:prstGeom prst="rect">
              <a:avLst/>
            </a:prstGeom>
          </p:spPr>
        </p:pic>
        <p:pic>
          <p:nvPicPr>
            <p:cNvPr id="25" name="Graphic 2">
              <a:extLst>
                <a:ext uri="{FF2B5EF4-FFF2-40B4-BE49-F238E27FC236}">
                  <a16:creationId xmlns:a16="http://schemas.microsoft.com/office/drawing/2014/main" id="{89C4948D-41DA-4C0E-B867-A1F1C300C70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705350" y="2233612"/>
              <a:ext cx="2781300" cy="2238375"/>
            </a:xfrm>
            <a:prstGeom prst="rect">
              <a:avLst/>
            </a:prstGeom>
          </p:spPr>
        </p:pic>
      </p:grpSp>
      <p:grpSp>
        <p:nvGrpSpPr>
          <p:cNvPr id="29" name="Group 12">
            <a:extLst>
              <a:ext uri="{FF2B5EF4-FFF2-40B4-BE49-F238E27FC236}">
                <a16:creationId xmlns:a16="http://schemas.microsoft.com/office/drawing/2014/main" id="{04B73AAF-1C2C-4594-91DB-EB92AB7D06F9}"/>
              </a:ext>
              <a:ext uri="{C183D7F6-B498-43B3-948B-1728B52AA6E4}">
                <adec:decorative xmlns:adec="http://schemas.microsoft.com/office/drawing/2017/decorative" val="1"/>
              </a:ext>
            </a:extLst>
          </p:cNvPr>
          <p:cNvGrpSpPr/>
          <p:nvPr/>
        </p:nvGrpSpPr>
        <p:grpSpPr>
          <a:xfrm>
            <a:off x="6888088" y="4307759"/>
            <a:ext cx="1760234" cy="2411860"/>
            <a:chOff x="8955505" y="2224084"/>
            <a:chExt cx="1981200" cy="2714625"/>
          </a:xfrm>
        </p:grpSpPr>
        <p:pic>
          <p:nvPicPr>
            <p:cNvPr id="30" name="Graphic 10">
              <a:extLst>
                <a:ext uri="{FF2B5EF4-FFF2-40B4-BE49-F238E27FC236}">
                  <a16:creationId xmlns:a16="http://schemas.microsoft.com/office/drawing/2014/main" id="{7D54B1EE-304B-465A-B6F7-F947B21B9C7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55505" y="2224084"/>
              <a:ext cx="1981200" cy="2714625"/>
            </a:xfrm>
            <a:prstGeom prst="rect">
              <a:avLst/>
            </a:prstGeom>
          </p:spPr>
        </p:pic>
        <p:pic>
          <p:nvPicPr>
            <p:cNvPr id="31" name="Graphic 9">
              <a:extLst>
                <a:ext uri="{FF2B5EF4-FFF2-40B4-BE49-F238E27FC236}">
                  <a16:creationId xmlns:a16="http://schemas.microsoft.com/office/drawing/2014/main" id="{CD6000EE-4184-4A79-92FD-3E307E4CC8D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458134" y="2934137"/>
              <a:ext cx="1046175" cy="1607305"/>
            </a:xfrm>
            <a:prstGeom prst="rect">
              <a:avLst/>
            </a:prstGeom>
          </p:spPr>
        </p:pic>
      </p:grpSp>
      <p:sp>
        <p:nvSpPr>
          <p:cNvPr id="3" name="TextBox 2">
            <a:extLst>
              <a:ext uri="{FF2B5EF4-FFF2-40B4-BE49-F238E27FC236}">
                <a16:creationId xmlns:a16="http://schemas.microsoft.com/office/drawing/2014/main" id="{989A920E-2BFE-431B-875B-DF49DFAEEEDC}"/>
              </a:ext>
            </a:extLst>
          </p:cNvPr>
          <p:cNvSpPr txBox="1"/>
          <p:nvPr/>
        </p:nvSpPr>
        <p:spPr>
          <a:xfrm>
            <a:off x="9923845" y="4240517"/>
            <a:ext cx="2004803" cy="1200329"/>
          </a:xfrm>
          <a:prstGeom prst="rect">
            <a:avLst/>
          </a:prstGeom>
          <a:noFill/>
        </p:spPr>
        <p:txBody>
          <a:bodyPr wrap="square" rtlCol="0">
            <a:spAutoFit/>
          </a:bodyPr>
          <a:lstStyle/>
          <a:p>
            <a:r>
              <a:rPr lang="en-US" b="1"/>
              <a:t>Note:</a:t>
            </a:r>
          </a:p>
          <a:p>
            <a:r>
              <a:rPr lang="en-US"/>
              <a:t>Outline can be black, white or dark grey.</a:t>
            </a:r>
          </a:p>
        </p:txBody>
      </p:sp>
    </p:spTree>
    <p:extLst>
      <p:ext uri="{BB962C8B-B14F-4D97-AF65-F5344CB8AC3E}">
        <p14:creationId xmlns:p14="http://schemas.microsoft.com/office/powerpoint/2010/main" val="274831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SECTION TITLE ALL CAPS, LOREM IPSUM DOLOR AMET.</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7197200-79F5-4A71-982E-792743B0621F}"/>
              </a:ext>
            </a:extLst>
          </p:cNvPr>
          <p:cNvSpPr>
            <a:spLocks noGrp="1"/>
          </p:cNvSpPr>
          <p:nvPr>
            <p:ph type="title"/>
          </p:nvPr>
        </p:nvSpPr>
        <p:spPr/>
        <p:txBody>
          <a:bodyPr/>
          <a:lstStyle/>
          <a:p>
            <a:r>
              <a:rPr lang="en-GB"/>
              <a:t>ICONS STYLE</a:t>
            </a:r>
          </a:p>
        </p:txBody>
      </p:sp>
      <p:sp>
        <p:nvSpPr>
          <p:cNvPr id="21" name="TextBox 20">
            <a:extLst>
              <a:ext uri="{FF2B5EF4-FFF2-40B4-BE49-F238E27FC236}">
                <a16:creationId xmlns:a16="http://schemas.microsoft.com/office/drawing/2014/main" id="{548EDE13-0892-4497-A5EE-FBEE567E3DAF}"/>
              </a:ext>
              <a:ext uri="{C183D7F6-B498-43B3-948B-1728B52AA6E4}">
                <adec:decorative xmlns:adec="http://schemas.microsoft.com/office/drawing/2017/decorative" val="0"/>
              </a:ext>
            </a:extLst>
          </p:cNvPr>
          <p:cNvSpPr txBox="1"/>
          <p:nvPr/>
        </p:nvSpPr>
        <p:spPr>
          <a:xfrm>
            <a:off x="7223124" y="1712387"/>
            <a:ext cx="4511675" cy="1631216"/>
          </a:xfrm>
          <a:prstGeom prst="rect">
            <a:avLst/>
          </a:prstGeom>
          <a:noFill/>
        </p:spPr>
        <p:txBody>
          <a:bodyPr wrap="square" lIns="180000">
            <a:spAutoFit/>
          </a:bodyPr>
          <a:lstStyle/>
          <a:p>
            <a:pPr algn="l"/>
            <a:r>
              <a:rPr lang="en-GB" sz="2000" b="0" i="0" u="none" strike="noStrike" baseline="0">
                <a:latin typeface="Ubuntu" panose="020B0504030602030204" pitchFamily="34" charset="0"/>
              </a:rPr>
              <a:t>The icon style retains the current form whilst streamlining to a single-color application. Background colors from the primary palette inject a second color into the icons.</a:t>
            </a:r>
            <a:endParaRPr lang="en-GB" sz="2000">
              <a:latin typeface="Ubuntu" panose="020B0504030602030204" pitchFamily="34" charset="0"/>
            </a:endParaRPr>
          </a:p>
        </p:txBody>
      </p:sp>
      <p:sp>
        <p:nvSpPr>
          <p:cNvPr id="7" name="Rectangle 6">
            <a:extLst>
              <a:ext uri="{FF2B5EF4-FFF2-40B4-BE49-F238E27FC236}">
                <a16:creationId xmlns:a16="http://schemas.microsoft.com/office/drawing/2014/main" id="{BD1AF39C-1C07-4904-BCC4-415A5941813A}"/>
              </a:ext>
              <a:ext uri="{C183D7F6-B498-43B3-948B-1728B52AA6E4}">
                <adec:decorative xmlns:adec="http://schemas.microsoft.com/office/drawing/2017/decorative" val="1"/>
              </a:ext>
            </a:extLst>
          </p:cNvPr>
          <p:cNvSpPr/>
          <p:nvPr/>
        </p:nvSpPr>
        <p:spPr>
          <a:xfrm>
            <a:off x="412811" y="1339751"/>
            <a:ext cx="2254250" cy="2376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6" name="Graphic 5">
            <a:extLst>
              <a:ext uri="{FF2B5EF4-FFF2-40B4-BE49-F238E27FC236}">
                <a16:creationId xmlns:a16="http://schemas.microsoft.com/office/drawing/2014/main" id="{01698A9E-2FEF-4E26-8307-4BB49A357C4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6683" y="1720751"/>
            <a:ext cx="1706505" cy="1614488"/>
          </a:xfrm>
          <a:prstGeom prst="rect">
            <a:avLst/>
          </a:prstGeom>
        </p:spPr>
      </p:pic>
      <p:sp>
        <p:nvSpPr>
          <p:cNvPr id="8" name="Rectangle 7">
            <a:extLst>
              <a:ext uri="{FF2B5EF4-FFF2-40B4-BE49-F238E27FC236}">
                <a16:creationId xmlns:a16="http://schemas.microsoft.com/office/drawing/2014/main" id="{44EECF15-55C7-4574-8CB6-F1787C9EB8DD}"/>
              </a:ext>
              <a:ext uri="{C183D7F6-B498-43B3-948B-1728B52AA6E4}">
                <adec:decorative xmlns:adec="http://schemas.microsoft.com/office/drawing/2017/decorative" val="1"/>
              </a:ext>
            </a:extLst>
          </p:cNvPr>
          <p:cNvSpPr/>
          <p:nvPr/>
        </p:nvSpPr>
        <p:spPr>
          <a:xfrm>
            <a:off x="2665473" y="1339751"/>
            <a:ext cx="2254250" cy="23764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9" name="Graphic 8">
            <a:extLst>
              <a:ext uri="{FF2B5EF4-FFF2-40B4-BE49-F238E27FC236}">
                <a16:creationId xmlns:a16="http://schemas.microsoft.com/office/drawing/2014/main" id="{93A78ED2-4ABB-47B0-A576-05BC39F900F3}"/>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44109" y="1720751"/>
            <a:ext cx="1706505" cy="1614488"/>
          </a:xfrm>
          <a:prstGeom prst="rect">
            <a:avLst/>
          </a:prstGeom>
        </p:spPr>
      </p:pic>
      <p:sp>
        <p:nvSpPr>
          <p:cNvPr id="10" name="Rectangle 9">
            <a:extLst>
              <a:ext uri="{FF2B5EF4-FFF2-40B4-BE49-F238E27FC236}">
                <a16:creationId xmlns:a16="http://schemas.microsoft.com/office/drawing/2014/main" id="{E04B5A80-8E38-4AEB-A128-E80A39404523}"/>
              </a:ext>
              <a:ext uri="{C183D7F6-B498-43B3-948B-1728B52AA6E4}">
                <adec:decorative xmlns:adec="http://schemas.microsoft.com/office/drawing/2017/decorative" val="1"/>
              </a:ext>
            </a:extLst>
          </p:cNvPr>
          <p:cNvSpPr/>
          <p:nvPr/>
        </p:nvSpPr>
        <p:spPr>
          <a:xfrm>
            <a:off x="4922899" y="1339751"/>
            <a:ext cx="2254250" cy="2376488"/>
          </a:xfrm>
          <a:prstGeom prst="rect">
            <a:avLst/>
          </a:prstGeom>
          <a:solidFill>
            <a:srgbClr val="FFFFFF"/>
          </a:solidFill>
          <a:ln w="8358"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1" name="Graphic 10">
            <a:extLst>
              <a:ext uri="{FF2B5EF4-FFF2-40B4-BE49-F238E27FC236}">
                <a16:creationId xmlns:a16="http://schemas.microsoft.com/office/drawing/2014/main" id="{88FC8269-F09E-4613-B465-1A643A28505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86257" y="1814512"/>
            <a:ext cx="1706505" cy="1614488"/>
          </a:xfrm>
          <a:prstGeom prst="rect">
            <a:avLst/>
          </a:prstGeom>
        </p:spPr>
      </p:pic>
      <p:sp>
        <p:nvSpPr>
          <p:cNvPr id="22" name="TextBox 21">
            <a:extLst>
              <a:ext uri="{FF2B5EF4-FFF2-40B4-BE49-F238E27FC236}">
                <a16:creationId xmlns:a16="http://schemas.microsoft.com/office/drawing/2014/main" id="{2AD2A321-FCEF-4076-9AA0-0D2264296590}"/>
              </a:ext>
              <a:ext uri="{C183D7F6-B498-43B3-948B-1728B52AA6E4}">
                <adec:decorative xmlns:adec="http://schemas.microsoft.com/office/drawing/2017/decorative" val="0"/>
              </a:ext>
            </a:extLst>
          </p:cNvPr>
          <p:cNvSpPr txBox="1"/>
          <p:nvPr/>
        </p:nvSpPr>
        <p:spPr>
          <a:xfrm>
            <a:off x="7223124" y="4551632"/>
            <a:ext cx="4511675" cy="1323439"/>
          </a:xfrm>
          <a:prstGeom prst="rect">
            <a:avLst/>
          </a:prstGeom>
          <a:noFill/>
        </p:spPr>
        <p:txBody>
          <a:bodyPr wrap="square" lIns="180000">
            <a:spAutoFit/>
          </a:bodyPr>
          <a:lstStyle/>
          <a:p>
            <a:pPr algn="l"/>
            <a:r>
              <a:rPr lang="en-GB" sz="2000" b="0" i="0" u="none" strike="noStrike" baseline="0">
                <a:latin typeface="Ubuntu" panose="020B0504030602030204" pitchFamily="34" charset="0"/>
              </a:rPr>
              <a:t>Use the primary color palette </a:t>
            </a:r>
          </a:p>
          <a:p>
            <a:pPr algn="l"/>
            <a:r>
              <a:rPr lang="en-GB" sz="2000">
                <a:latin typeface="Ubuntu" panose="020B0504030602030204" pitchFamily="34" charset="0"/>
              </a:rPr>
              <a:t>T</a:t>
            </a:r>
            <a:r>
              <a:rPr lang="en-GB" sz="2000" b="0" i="0" u="none" strike="noStrike" baseline="0">
                <a:latin typeface="Ubuntu" panose="020B0504030602030204" pitchFamily="34" charset="0"/>
              </a:rPr>
              <a:t>he cool or warm palette can be used when icons are part of an graphic/infographic.</a:t>
            </a:r>
            <a:endParaRPr lang="en-GB" sz="2000">
              <a:latin typeface="Ubuntu" panose="020B0504030602030204" pitchFamily="34" charset="0"/>
            </a:endParaRPr>
          </a:p>
        </p:txBody>
      </p:sp>
      <p:sp>
        <p:nvSpPr>
          <p:cNvPr id="12" name="Rectangle 11">
            <a:extLst>
              <a:ext uri="{FF2B5EF4-FFF2-40B4-BE49-F238E27FC236}">
                <a16:creationId xmlns:a16="http://schemas.microsoft.com/office/drawing/2014/main" id="{D0C488C3-5BE3-4E60-87F6-A6C2D3D90978}"/>
              </a:ext>
              <a:ext uri="{C183D7F6-B498-43B3-948B-1728B52AA6E4}">
                <adec:decorative xmlns:adec="http://schemas.microsoft.com/office/drawing/2017/decorative" val="1"/>
              </a:ext>
            </a:extLst>
          </p:cNvPr>
          <p:cNvSpPr/>
          <p:nvPr/>
        </p:nvSpPr>
        <p:spPr>
          <a:xfrm>
            <a:off x="412811" y="4025107"/>
            <a:ext cx="2254250" cy="23764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3" name="Graphic 12">
            <a:extLst>
              <a:ext uri="{FF2B5EF4-FFF2-40B4-BE49-F238E27FC236}">
                <a16:creationId xmlns:a16="http://schemas.microsoft.com/office/drawing/2014/main" id="{DD4C426C-50CE-41B4-A259-A86AD13E24B7}"/>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6683" y="4406107"/>
            <a:ext cx="1706505" cy="1614488"/>
          </a:xfrm>
          <a:prstGeom prst="rect">
            <a:avLst/>
          </a:prstGeom>
        </p:spPr>
      </p:pic>
      <p:sp>
        <p:nvSpPr>
          <p:cNvPr id="14" name="Rectangle 13">
            <a:extLst>
              <a:ext uri="{FF2B5EF4-FFF2-40B4-BE49-F238E27FC236}">
                <a16:creationId xmlns:a16="http://schemas.microsoft.com/office/drawing/2014/main" id="{2B479E62-F116-423F-89FD-278A475A4B32}"/>
              </a:ext>
              <a:ext uri="{C183D7F6-B498-43B3-948B-1728B52AA6E4}">
                <adec:decorative xmlns:adec="http://schemas.microsoft.com/office/drawing/2017/decorative" val="1"/>
              </a:ext>
            </a:extLst>
          </p:cNvPr>
          <p:cNvSpPr/>
          <p:nvPr/>
        </p:nvSpPr>
        <p:spPr>
          <a:xfrm>
            <a:off x="2665473" y="4025107"/>
            <a:ext cx="2254250" cy="23764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5" name="Graphic 14">
            <a:extLst>
              <a:ext uri="{FF2B5EF4-FFF2-40B4-BE49-F238E27FC236}">
                <a16:creationId xmlns:a16="http://schemas.microsoft.com/office/drawing/2014/main" id="{44E3547F-77CA-48DD-A130-6564A3819383}"/>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39345" y="4406107"/>
            <a:ext cx="1706505" cy="1614488"/>
          </a:xfrm>
          <a:prstGeom prst="rect">
            <a:avLst/>
          </a:prstGeom>
        </p:spPr>
      </p:pic>
      <p:sp>
        <p:nvSpPr>
          <p:cNvPr id="16" name="Rectangle 15">
            <a:extLst>
              <a:ext uri="{FF2B5EF4-FFF2-40B4-BE49-F238E27FC236}">
                <a16:creationId xmlns:a16="http://schemas.microsoft.com/office/drawing/2014/main" id="{4B955E7C-A3C4-4194-91E3-8E8A5601E80A}"/>
              </a:ext>
              <a:ext uri="{C183D7F6-B498-43B3-948B-1728B52AA6E4}">
                <adec:decorative xmlns:adec="http://schemas.microsoft.com/office/drawing/2017/decorative" val="1"/>
              </a:ext>
            </a:extLst>
          </p:cNvPr>
          <p:cNvSpPr/>
          <p:nvPr/>
        </p:nvSpPr>
        <p:spPr>
          <a:xfrm>
            <a:off x="4918135" y="4025107"/>
            <a:ext cx="2254250" cy="23764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7" name="Graphic 16">
            <a:extLst>
              <a:ext uri="{FF2B5EF4-FFF2-40B4-BE49-F238E27FC236}">
                <a16:creationId xmlns:a16="http://schemas.microsoft.com/office/drawing/2014/main" id="{1883867A-D820-465A-94EA-0A8D350C3879}"/>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12"/>
              </a:ext>
            </a:extLst>
          </a:blip>
          <a:stretch>
            <a:fillRect/>
          </a:stretch>
        </p:blipFill>
        <p:spPr>
          <a:xfrm>
            <a:off x="5192007" y="4406107"/>
            <a:ext cx="1706505" cy="1614488"/>
          </a:xfrm>
          <a:prstGeom prst="rect">
            <a:avLst/>
          </a:prstGeom>
        </p:spPr>
      </p:pic>
    </p:spTree>
    <p:extLst>
      <p:ext uri="{BB962C8B-B14F-4D97-AF65-F5344CB8AC3E}">
        <p14:creationId xmlns:p14="http://schemas.microsoft.com/office/powerpoint/2010/main" val="335189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 name="Title 205">
            <a:extLst>
              <a:ext uri="{FF2B5EF4-FFF2-40B4-BE49-F238E27FC236}">
                <a16:creationId xmlns:a16="http://schemas.microsoft.com/office/drawing/2014/main" id="{0831FC3B-4AF7-4185-89B2-574CDDF19B16}"/>
              </a:ext>
            </a:extLst>
          </p:cNvPr>
          <p:cNvSpPr>
            <a:spLocks noGrp="1"/>
          </p:cNvSpPr>
          <p:nvPr>
            <p:ph type="title"/>
          </p:nvPr>
        </p:nvSpPr>
        <p:spPr>
          <a:xfrm>
            <a:off x="404813" y="0"/>
            <a:ext cx="10947600" cy="360000"/>
          </a:xfrm>
        </p:spPr>
        <p:txBody>
          <a:bodyPr/>
          <a:lstStyle/>
          <a:p>
            <a:r>
              <a:rPr lang="fr-FR" sz="1400">
                <a:solidFill>
                  <a:schemeClr val="accent1"/>
                </a:solidFill>
              </a:rPr>
              <a:t>Icons 1/5</a:t>
            </a:r>
            <a:endParaRPr lang="en-US" sz="1400">
              <a:solidFill>
                <a:schemeClr val="accent1"/>
              </a:solidFill>
            </a:endParaRPr>
          </a:p>
        </p:txBody>
      </p:sp>
      <p:grpSp>
        <p:nvGrpSpPr>
          <p:cNvPr id="165" name="Group 164">
            <a:extLst>
              <a:ext uri="{FF2B5EF4-FFF2-40B4-BE49-F238E27FC236}">
                <a16:creationId xmlns:a16="http://schemas.microsoft.com/office/drawing/2014/main" id="{EA6DBC31-4B08-47DC-B723-6F78DC712F9C}"/>
              </a:ext>
              <a:ext uri="{C183D7F6-B498-43B3-948B-1728B52AA6E4}">
                <adec:decorative xmlns:adec="http://schemas.microsoft.com/office/drawing/2017/decorative" val="1"/>
              </a:ext>
            </a:extLst>
          </p:cNvPr>
          <p:cNvGrpSpPr/>
          <p:nvPr/>
        </p:nvGrpSpPr>
        <p:grpSpPr>
          <a:xfrm>
            <a:off x="1255931" y="2027873"/>
            <a:ext cx="679450" cy="635000"/>
            <a:chOff x="1062038" y="1817688"/>
            <a:chExt cx="679450" cy="635000"/>
          </a:xfrm>
        </p:grpSpPr>
        <p:sp>
          <p:nvSpPr>
            <p:cNvPr id="166" name="Freeform 143">
              <a:extLst>
                <a:ext uri="{FF2B5EF4-FFF2-40B4-BE49-F238E27FC236}">
                  <a16:creationId xmlns:a16="http://schemas.microsoft.com/office/drawing/2014/main" id="{64E83996-FE62-4FEF-ACB4-AC8A6C1A1EF9}"/>
                </a:ext>
              </a:extLst>
            </p:cNvPr>
            <p:cNvSpPr>
              <a:spLocks/>
            </p:cNvSpPr>
            <p:nvPr/>
          </p:nvSpPr>
          <p:spPr bwMode="auto">
            <a:xfrm>
              <a:off x="1062038" y="1817688"/>
              <a:ext cx="679450" cy="63500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1" y="65"/>
                    <a:pt x="56" y="33"/>
                  </a:cubicBezTo>
                  <a:cubicBezTo>
                    <a:pt x="102" y="0"/>
                    <a:pt x="167" y="9"/>
                    <a:pt x="200" y="53"/>
                  </a:cubicBezTo>
                  <a:cubicBezTo>
                    <a:pt x="234" y="97"/>
                    <a:pt x="220" y="153"/>
                    <a:pt x="174" y="186"/>
                  </a:cubicBezTo>
                  <a:cubicBezTo>
                    <a:pt x="128" y="218"/>
                    <a:pt x="68" y="215"/>
                    <a:pt x="34" y="171"/>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67" name="Freeform 144">
              <a:extLst>
                <a:ext uri="{FF2B5EF4-FFF2-40B4-BE49-F238E27FC236}">
                  <a16:creationId xmlns:a16="http://schemas.microsoft.com/office/drawing/2014/main" id="{A33BC098-FFB2-4100-A140-841F5B2019E5}"/>
                </a:ext>
              </a:extLst>
            </p:cNvPr>
            <p:cNvSpPr>
              <a:spLocks noChangeAspect="1" noEditPoints="1"/>
            </p:cNvSpPr>
            <p:nvPr/>
          </p:nvSpPr>
          <p:spPr bwMode="auto">
            <a:xfrm>
              <a:off x="1238918" y="1983003"/>
              <a:ext cx="322059" cy="324000"/>
            </a:xfrm>
            <a:custGeom>
              <a:avLst/>
              <a:gdLst>
                <a:gd name="T0" fmla="*/ 36 w 91"/>
                <a:gd name="T1" fmla="*/ 9 h 91"/>
                <a:gd name="T2" fmla="*/ 27 w 91"/>
                <a:gd name="T3" fmla="*/ 13 h 91"/>
                <a:gd name="T4" fmla="*/ 24 w 91"/>
                <a:gd name="T5" fmla="*/ 10 h 91"/>
                <a:gd name="T6" fmla="*/ 16 w 91"/>
                <a:gd name="T7" fmla="*/ 11 h 91"/>
                <a:gd name="T8" fmla="*/ 11 w 91"/>
                <a:gd name="T9" fmla="*/ 15 h 91"/>
                <a:gd name="T10" fmla="*/ 11 w 91"/>
                <a:gd name="T11" fmla="*/ 23 h 91"/>
                <a:gd name="T12" fmla="*/ 13 w 91"/>
                <a:gd name="T13" fmla="*/ 27 h 91"/>
                <a:gd name="T14" fmla="*/ 10 w 91"/>
                <a:gd name="T15" fmla="*/ 35 h 91"/>
                <a:gd name="T16" fmla="*/ 5 w 91"/>
                <a:gd name="T17" fmla="*/ 36 h 91"/>
                <a:gd name="T18" fmla="*/ 0 w 91"/>
                <a:gd name="T19" fmla="*/ 42 h 91"/>
                <a:gd name="T20" fmla="*/ 0 w 91"/>
                <a:gd name="T21" fmla="*/ 48 h 91"/>
                <a:gd name="T22" fmla="*/ 5 w 91"/>
                <a:gd name="T23" fmla="*/ 54 h 91"/>
                <a:gd name="T24" fmla="*/ 10 w 91"/>
                <a:gd name="T25" fmla="*/ 55 h 91"/>
                <a:gd name="T26" fmla="*/ 13 w 91"/>
                <a:gd name="T27" fmla="*/ 63 h 91"/>
                <a:gd name="T28" fmla="*/ 10 w 91"/>
                <a:gd name="T29" fmla="*/ 67 h 91"/>
                <a:gd name="T30" fmla="*/ 10 w 91"/>
                <a:gd name="T31" fmla="*/ 75 h 91"/>
                <a:gd name="T32" fmla="*/ 15 w 91"/>
                <a:gd name="T33" fmla="*/ 79 h 91"/>
                <a:gd name="T34" fmla="*/ 23 w 91"/>
                <a:gd name="T35" fmla="*/ 80 h 91"/>
                <a:gd name="T36" fmla="*/ 27 w 91"/>
                <a:gd name="T37" fmla="*/ 77 h 91"/>
                <a:gd name="T38" fmla="*/ 35 w 91"/>
                <a:gd name="T39" fmla="*/ 81 h 91"/>
                <a:gd name="T40" fmla="*/ 36 w 91"/>
                <a:gd name="T41" fmla="*/ 86 h 91"/>
                <a:gd name="T42" fmla="*/ 42 w 91"/>
                <a:gd name="T43" fmla="*/ 91 h 91"/>
                <a:gd name="T44" fmla="*/ 48 w 91"/>
                <a:gd name="T45" fmla="*/ 91 h 91"/>
                <a:gd name="T46" fmla="*/ 54 w 91"/>
                <a:gd name="T47" fmla="*/ 86 h 91"/>
                <a:gd name="T48" fmla="*/ 55 w 91"/>
                <a:gd name="T49" fmla="*/ 81 h 91"/>
                <a:gd name="T50" fmla="*/ 64 w 91"/>
                <a:gd name="T51" fmla="*/ 78 h 91"/>
                <a:gd name="T52" fmla="*/ 67 w 91"/>
                <a:gd name="T53" fmla="*/ 81 h 91"/>
                <a:gd name="T54" fmla="*/ 75 w 91"/>
                <a:gd name="T55" fmla="*/ 80 h 91"/>
                <a:gd name="T56" fmla="*/ 80 w 91"/>
                <a:gd name="T57" fmla="*/ 76 h 91"/>
                <a:gd name="T58" fmla="*/ 80 w 91"/>
                <a:gd name="T59" fmla="*/ 68 h 91"/>
                <a:gd name="T60" fmla="*/ 78 w 91"/>
                <a:gd name="T61" fmla="*/ 64 h 91"/>
                <a:gd name="T62" fmla="*/ 82 w 91"/>
                <a:gd name="T63" fmla="*/ 55 h 91"/>
                <a:gd name="T64" fmla="*/ 86 w 91"/>
                <a:gd name="T65" fmla="*/ 55 h 91"/>
                <a:gd name="T66" fmla="*/ 91 w 91"/>
                <a:gd name="T67" fmla="*/ 49 h 91"/>
                <a:gd name="T68" fmla="*/ 91 w 91"/>
                <a:gd name="T69" fmla="*/ 43 h 91"/>
                <a:gd name="T70" fmla="*/ 86 w 91"/>
                <a:gd name="T71" fmla="*/ 36 h 91"/>
                <a:gd name="T72" fmla="*/ 82 w 91"/>
                <a:gd name="T73" fmla="*/ 36 h 91"/>
                <a:gd name="T74" fmla="*/ 78 w 91"/>
                <a:gd name="T75" fmla="*/ 27 h 91"/>
                <a:gd name="T76" fmla="*/ 81 w 91"/>
                <a:gd name="T77" fmla="*/ 24 h 91"/>
                <a:gd name="T78" fmla="*/ 81 w 91"/>
                <a:gd name="T79" fmla="*/ 16 h 91"/>
                <a:gd name="T80" fmla="*/ 76 w 91"/>
                <a:gd name="T81" fmla="*/ 11 h 91"/>
                <a:gd name="T82" fmla="*/ 68 w 91"/>
                <a:gd name="T83" fmla="*/ 11 h 91"/>
                <a:gd name="T84" fmla="*/ 65 w 91"/>
                <a:gd name="T85" fmla="*/ 13 h 91"/>
                <a:gd name="T86" fmla="*/ 56 w 91"/>
                <a:gd name="T87" fmla="*/ 9 h 91"/>
                <a:gd name="T88" fmla="*/ 56 w 91"/>
                <a:gd name="T89" fmla="*/ 5 h 91"/>
                <a:gd name="T90" fmla="*/ 49 w 91"/>
                <a:gd name="T91" fmla="*/ 0 h 91"/>
                <a:gd name="T92" fmla="*/ 43 w 91"/>
                <a:gd name="T93" fmla="*/ 0 h 91"/>
                <a:gd name="T94" fmla="*/ 37 w 91"/>
                <a:gd name="T95" fmla="*/ 0 h 91"/>
                <a:gd name="T96" fmla="*/ 46 w 91"/>
                <a:gd name="T97" fmla="*/ 29 h 91"/>
                <a:gd name="T98" fmla="*/ 62 w 91"/>
                <a:gd name="T99" fmla="*/ 48 h 91"/>
                <a:gd name="T100" fmla="*/ 49 w 91"/>
                <a:gd name="T101" fmla="*/ 61 h 91"/>
                <a:gd name="T102" fmla="*/ 29 w 91"/>
                <a:gd name="T103" fmla="*/ 45 h 91"/>
                <a:gd name="T104" fmla="*/ 46 w 91"/>
                <a:gd name="T105" fmla="*/ 2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 h="91">
                  <a:moveTo>
                    <a:pt x="36" y="9"/>
                  </a:moveTo>
                  <a:cubicBezTo>
                    <a:pt x="33" y="10"/>
                    <a:pt x="30" y="11"/>
                    <a:pt x="27" y="13"/>
                  </a:cubicBezTo>
                  <a:cubicBezTo>
                    <a:pt x="24" y="10"/>
                    <a:pt x="24" y="10"/>
                    <a:pt x="24" y="10"/>
                  </a:cubicBezTo>
                  <a:cubicBezTo>
                    <a:pt x="21" y="8"/>
                    <a:pt x="18" y="8"/>
                    <a:pt x="16" y="11"/>
                  </a:cubicBezTo>
                  <a:cubicBezTo>
                    <a:pt x="11" y="15"/>
                    <a:pt x="11" y="15"/>
                    <a:pt x="11" y="15"/>
                  </a:cubicBezTo>
                  <a:cubicBezTo>
                    <a:pt x="9" y="17"/>
                    <a:pt x="9" y="21"/>
                    <a:pt x="11" y="23"/>
                  </a:cubicBezTo>
                  <a:cubicBezTo>
                    <a:pt x="13" y="27"/>
                    <a:pt x="13" y="27"/>
                    <a:pt x="13" y="27"/>
                  </a:cubicBezTo>
                  <a:cubicBezTo>
                    <a:pt x="12" y="29"/>
                    <a:pt x="11" y="32"/>
                    <a:pt x="10" y="35"/>
                  </a:cubicBezTo>
                  <a:cubicBezTo>
                    <a:pt x="5" y="36"/>
                    <a:pt x="5" y="36"/>
                    <a:pt x="5" y="36"/>
                  </a:cubicBezTo>
                  <a:cubicBezTo>
                    <a:pt x="2" y="36"/>
                    <a:pt x="0" y="39"/>
                    <a:pt x="0" y="42"/>
                  </a:cubicBezTo>
                  <a:cubicBezTo>
                    <a:pt x="0" y="48"/>
                    <a:pt x="0" y="48"/>
                    <a:pt x="0" y="48"/>
                  </a:cubicBezTo>
                  <a:cubicBezTo>
                    <a:pt x="0" y="51"/>
                    <a:pt x="2" y="54"/>
                    <a:pt x="5" y="54"/>
                  </a:cubicBezTo>
                  <a:cubicBezTo>
                    <a:pt x="10" y="55"/>
                    <a:pt x="10" y="55"/>
                    <a:pt x="10" y="55"/>
                  </a:cubicBezTo>
                  <a:cubicBezTo>
                    <a:pt x="11" y="58"/>
                    <a:pt x="12" y="60"/>
                    <a:pt x="13" y="63"/>
                  </a:cubicBezTo>
                  <a:cubicBezTo>
                    <a:pt x="10" y="67"/>
                    <a:pt x="10" y="67"/>
                    <a:pt x="10" y="67"/>
                  </a:cubicBezTo>
                  <a:cubicBezTo>
                    <a:pt x="8" y="69"/>
                    <a:pt x="8" y="73"/>
                    <a:pt x="10" y="75"/>
                  </a:cubicBezTo>
                  <a:cubicBezTo>
                    <a:pt x="15" y="79"/>
                    <a:pt x="15" y="79"/>
                    <a:pt x="15" y="79"/>
                  </a:cubicBezTo>
                  <a:cubicBezTo>
                    <a:pt x="17" y="82"/>
                    <a:pt x="21" y="82"/>
                    <a:pt x="23" y="80"/>
                  </a:cubicBezTo>
                  <a:cubicBezTo>
                    <a:pt x="27" y="77"/>
                    <a:pt x="27" y="77"/>
                    <a:pt x="27" y="77"/>
                  </a:cubicBezTo>
                  <a:cubicBezTo>
                    <a:pt x="29" y="79"/>
                    <a:pt x="32" y="80"/>
                    <a:pt x="35" y="81"/>
                  </a:cubicBezTo>
                  <a:cubicBezTo>
                    <a:pt x="36" y="86"/>
                    <a:pt x="36" y="86"/>
                    <a:pt x="36" y="86"/>
                  </a:cubicBezTo>
                  <a:cubicBezTo>
                    <a:pt x="36" y="89"/>
                    <a:pt x="38" y="91"/>
                    <a:pt x="42" y="91"/>
                  </a:cubicBezTo>
                  <a:cubicBezTo>
                    <a:pt x="48" y="91"/>
                    <a:pt x="48" y="91"/>
                    <a:pt x="48" y="91"/>
                  </a:cubicBezTo>
                  <a:cubicBezTo>
                    <a:pt x="51" y="91"/>
                    <a:pt x="54" y="89"/>
                    <a:pt x="54" y="86"/>
                  </a:cubicBezTo>
                  <a:cubicBezTo>
                    <a:pt x="55" y="81"/>
                    <a:pt x="55" y="81"/>
                    <a:pt x="55" y="81"/>
                  </a:cubicBezTo>
                  <a:cubicBezTo>
                    <a:pt x="58" y="80"/>
                    <a:pt x="61" y="79"/>
                    <a:pt x="64" y="78"/>
                  </a:cubicBezTo>
                  <a:cubicBezTo>
                    <a:pt x="67" y="81"/>
                    <a:pt x="67" y="81"/>
                    <a:pt x="67" y="81"/>
                  </a:cubicBezTo>
                  <a:cubicBezTo>
                    <a:pt x="70" y="83"/>
                    <a:pt x="73" y="82"/>
                    <a:pt x="75" y="80"/>
                  </a:cubicBezTo>
                  <a:cubicBezTo>
                    <a:pt x="80" y="76"/>
                    <a:pt x="80" y="76"/>
                    <a:pt x="80" y="76"/>
                  </a:cubicBezTo>
                  <a:cubicBezTo>
                    <a:pt x="82" y="74"/>
                    <a:pt x="82" y="70"/>
                    <a:pt x="80" y="68"/>
                  </a:cubicBezTo>
                  <a:cubicBezTo>
                    <a:pt x="78" y="64"/>
                    <a:pt x="78" y="64"/>
                    <a:pt x="78" y="64"/>
                  </a:cubicBezTo>
                  <a:cubicBezTo>
                    <a:pt x="79" y="61"/>
                    <a:pt x="81" y="58"/>
                    <a:pt x="82" y="55"/>
                  </a:cubicBezTo>
                  <a:cubicBezTo>
                    <a:pt x="86" y="55"/>
                    <a:pt x="86" y="55"/>
                    <a:pt x="86" y="55"/>
                  </a:cubicBezTo>
                  <a:cubicBezTo>
                    <a:pt x="89" y="55"/>
                    <a:pt x="91" y="52"/>
                    <a:pt x="91" y="49"/>
                  </a:cubicBezTo>
                  <a:cubicBezTo>
                    <a:pt x="91" y="43"/>
                    <a:pt x="91" y="43"/>
                    <a:pt x="91" y="43"/>
                  </a:cubicBezTo>
                  <a:cubicBezTo>
                    <a:pt x="91" y="39"/>
                    <a:pt x="89" y="37"/>
                    <a:pt x="86" y="36"/>
                  </a:cubicBezTo>
                  <a:cubicBezTo>
                    <a:pt x="82" y="36"/>
                    <a:pt x="82" y="36"/>
                    <a:pt x="82" y="36"/>
                  </a:cubicBezTo>
                  <a:cubicBezTo>
                    <a:pt x="81" y="33"/>
                    <a:pt x="80" y="30"/>
                    <a:pt x="78" y="27"/>
                  </a:cubicBezTo>
                  <a:cubicBezTo>
                    <a:pt x="81" y="24"/>
                    <a:pt x="81" y="24"/>
                    <a:pt x="81" y="24"/>
                  </a:cubicBezTo>
                  <a:cubicBezTo>
                    <a:pt x="83" y="22"/>
                    <a:pt x="83" y="18"/>
                    <a:pt x="81" y="16"/>
                  </a:cubicBezTo>
                  <a:cubicBezTo>
                    <a:pt x="76" y="11"/>
                    <a:pt x="76" y="11"/>
                    <a:pt x="76" y="11"/>
                  </a:cubicBezTo>
                  <a:cubicBezTo>
                    <a:pt x="74" y="9"/>
                    <a:pt x="71" y="9"/>
                    <a:pt x="68" y="11"/>
                  </a:cubicBezTo>
                  <a:cubicBezTo>
                    <a:pt x="65" y="13"/>
                    <a:pt x="65" y="13"/>
                    <a:pt x="65" y="13"/>
                  </a:cubicBezTo>
                  <a:cubicBezTo>
                    <a:pt x="62" y="11"/>
                    <a:pt x="59" y="10"/>
                    <a:pt x="56" y="9"/>
                  </a:cubicBezTo>
                  <a:cubicBezTo>
                    <a:pt x="56" y="5"/>
                    <a:pt x="56" y="5"/>
                    <a:pt x="56" y="5"/>
                  </a:cubicBezTo>
                  <a:cubicBezTo>
                    <a:pt x="55" y="2"/>
                    <a:pt x="53" y="0"/>
                    <a:pt x="49" y="0"/>
                  </a:cubicBezTo>
                  <a:cubicBezTo>
                    <a:pt x="43" y="0"/>
                    <a:pt x="43" y="0"/>
                    <a:pt x="43" y="0"/>
                  </a:cubicBezTo>
                  <a:cubicBezTo>
                    <a:pt x="37" y="0"/>
                    <a:pt x="37" y="0"/>
                    <a:pt x="37" y="0"/>
                  </a:cubicBezTo>
                  <a:moveTo>
                    <a:pt x="46" y="29"/>
                  </a:moveTo>
                  <a:cubicBezTo>
                    <a:pt x="56" y="29"/>
                    <a:pt x="64" y="38"/>
                    <a:pt x="62" y="48"/>
                  </a:cubicBezTo>
                  <a:cubicBezTo>
                    <a:pt x="60" y="55"/>
                    <a:pt x="55" y="60"/>
                    <a:pt x="49" y="61"/>
                  </a:cubicBezTo>
                  <a:cubicBezTo>
                    <a:pt x="38" y="63"/>
                    <a:pt x="29" y="55"/>
                    <a:pt x="29" y="45"/>
                  </a:cubicBezTo>
                  <a:cubicBezTo>
                    <a:pt x="29" y="36"/>
                    <a:pt x="37" y="29"/>
                    <a:pt x="46" y="2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68" name="Group 167">
            <a:extLst>
              <a:ext uri="{FF2B5EF4-FFF2-40B4-BE49-F238E27FC236}">
                <a16:creationId xmlns:a16="http://schemas.microsoft.com/office/drawing/2014/main" id="{A70A32A1-7724-4445-9581-0921A211D94E}"/>
              </a:ext>
              <a:ext uri="{C183D7F6-B498-43B3-948B-1728B52AA6E4}">
                <adec:decorative xmlns:adec="http://schemas.microsoft.com/office/drawing/2017/decorative" val="1"/>
              </a:ext>
            </a:extLst>
          </p:cNvPr>
          <p:cNvGrpSpPr/>
          <p:nvPr/>
        </p:nvGrpSpPr>
        <p:grpSpPr>
          <a:xfrm>
            <a:off x="2053673" y="2027873"/>
            <a:ext cx="676275" cy="635000"/>
            <a:chOff x="1835151" y="1817688"/>
            <a:chExt cx="676275" cy="635000"/>
          </a:xfrm>
        </p:grpSpPr>
        <p:sp>
          <p:nvSpPr>
            <p:cNvPr id="169" name="Freeform 145">
              <a:extLst>
                <a:ext uri="{FF2B5EF4-FFF2-40B4-BE49-F238E27FC236}">
                  <a16:creationId xmlns:a16="http://schemas.microsoft.com/office/drawing/2014/main" id="{2DCC2FCC-A15C-4E2F-B909-2A8F9E5C73F1}"/>
                </a:ext>
              </a:extLst>
            </p:cNvPr>
            <p:cNvSpPr>
              <a:spLocks/>
            </p:cNvSpPr>
            <p:nvPr/>
          </p:nvSpPr>
          <p:spPr bwMode="auto">
            <a:xfrm>
              <a:off x="1835151" y="1817688"/>
              <a:ext cx="676275" cy="635000"/>
            </a:xfrm>
            <a:custGeom>
              <a:avLst/>
              <a:gdLst>
                <a:gd name="T0" fmla="*/ 34 w 233"/>
                <a:gd name="T1" fmla="*/ 171 h 218"/>
                <a:gd name="T2" fmla="*/ 56 w 233"/>
                <a:gd name="T3" fmla="*/ 33 h 218"/>
                <a:gd name="T4" fmla="*/ 200 w 233"/>
                <a:gd name="T5" fmla="*/ 53 h 218"/>
                <a:gd name="T6" fmla="*/ 174 w 233"/>
                <a:gd name="T7" fmla="*/ 186 h 218"/>
                <a:gd name="T8" fmla="*/ 34 w 233"/>
                <a:gd name="T9" fmla="*/ 171 h 218"/>
              </a:gdLst>
              <a:ahLst/>
              <a:cxnLst>
                <a:cxn ang="0">
                  <a:pos x="T0" y="T1"/>
                </a:cxn>
                <a:cxn ang="0">
                  <a:pos x="T2" y="T3"/>
                </a:cxn>
                <a:cxn ang="0">
                  <a:pos x="T4" y="T5"/>
                </a:cxn>
                <a:cxn ang="0">
                  <a:pos x="T6" y="T7"/>
                </a:cxn>
                <a:cxn ang="0">
                  <a:pos x="T8" y="T9"/>
                </a:cxn>
              </a:cxnLst>
              <a:rect l="0" t="0" r="r" b="b"/>
              <a:pathLst>
                <a:path w="233" h="218">
                  <a:moveTo>
                    <a:pt x="34" y="171"/>
                  </a:moveTo>
                  <a:cubicBezTo>
                    <a:pt x="0" y="127"/>
                    <a:pt x="10" y="65"/>
                    <a:pt x="56" y="33"/>
                  </a:cubicBezTo>
                  <a:cubicBezTo>
                    <a:pt x="102" y="0"/>
                    <a:pt x="166" y="9"/>
                    <a:pt x="200" y="53"/>
                  </a:cubicBezTo>
                  <a:cubicBezTo>
                    <a:pt x="233" y="97"/>
                    <a:pt x="220" y="153"/>
                    <a:pt x="174" y="186"/>
                  </a:cubicBezTo>
                  <a:cubicBezTo>
                    <a:pt x="128" y="218"/>
                    <a:pt x="67" y="215"/>
                    <a:pt x="34" y="171"/>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70" name="Freeform 146">
              <a:extLst>
                <a:ext uri="{FF2B5EF4-FFF2-40B4-BE49-F238E27FC236}">
                  <a16:creationId xmlns:a16="http://schemas.microsoft.com/office/drawing/2014/main" id="{F4E8589A-FC7A-4E82-9A4C-ADF15E3BE415}"/>
                </a:ext>
              </a:extLst>
            </p:cNvPr>
            <p:cNvSpPr>
              <a:spLocks noEditPoints="1"/>
            </p:cNvSpPr>
            <p:nvPr/>
          </p:nvSpPr>
          <p:spPr bwMode="auto">
            <a:xfrm>
              <a:off x="2165351" y="1952625"/>
              <a:ext cx="180975" cy="179388"/>
            </a:xfrm>
            <a:custGeom>
              <a:avLst/>
              <a:gdLst>
                <a:gd name="T0" fmla="*/ 25 w 62"/>
                <a:gd name="T1" fmla="*/ 6 h 62"/>
                <a:gd name="T2" fmla="*/ 19 w 62"/>
                <a:gd name="T3" fmla="*/ 9 h 62"/>
                <a:gd name="T4" fmla="*/ 17 w 62"/>
                <a:gd name="T5" fmla="*/ 7 h 62"/>
                <a:gd name="T6" fmla="*/ 11 w 62"/>
                <a:gd name="T7" fmla="*/ 7 h 62"/>
                <a:gd name="T8" fmla="*/ 8 w 62"/>
                <a:gd name="T9" fmla="*/ 10 h 62"/>
                <a:gd name="T10" fmla="*/ 7 w 62"/>
                <a:gd name="T11" fmla="*/ 16 h 62"/>
                <a:gd name="T12" fmla="*/ 9 w 62"/>
                <a:gd name="T13" fmla="*/ 18 h 62"/>
                <a:gd name="T14" fmla="*/ 7 w 62"/>
                <a:gd name="T15" fmla="*/ 24 h 62"/>
                <a:gd name="T16" fmla="*/ 4 w 62"/>
                <a:gd name="T17" fmla="*/ 24 h 62"/>
                <a:gd name="T18" fmla="*/ 0 w 62"/>
                <a:gd name="T19" fmla="*/ 29 h 62"/>
                <a:gd name="T20" fmla="*/ 0 w 62"/>
                <a:gd name="T21" fmla="*/ 33 h 62"/>
                <a:gd name="T22" fmla="*/ 4 w 62"/>
                <a:gd name="T23" fmla="*/ 37 h 62"/>
                <a:gd name="T24" fmla="*/ 7 w 62"/>
                <a:gd name="T25" fmla="*/ 38 h 62"/>
                <a:gd name="T26" fmla="*/ 9 w 62"/>
                <a:gd name="T27" fmla="*/ 43 h 62"/>
                <a:gd name="T28" fmla="*/ 7 w 62"/>
                <a:gd name="T29" fmla="*/ 45 h 62"/>
                <a:gd name="T30" fmla="*/ 7 w 62"/>
                <a:gd name="T31" fmla="*/ 51 h 62"/>
                <a:gd name="T32" fmla="*/ 10 w 62"/>
                <a:gd name="T33" fmla="*/ 54 h 62"/>
                <a:gd name="T34" fmla="*/ 16 w 62"/>
                <a:gd name="T35" fmla="*/ 55 h 62"/>
                <a:gd name="T36" fmla="*/ 18 w 62"/>
                <a:gd name="T37" fmla="*/ 53 h 62"/>
                <a:gd name="T38" fmla="*/ 24 w 62"/>
                <a:gd name="T39" fmla="*/ 55 h 62"/>
                <a:gd name="T40" fmla="*/ 24 w 62"/>
                <a:gd name="T41" fmla="*/ 58 h 62"/>
                <a:gd name="T42" fmla="*/ 29 w 62"/>
                <a:gd name="T43" fmla="*/ 62 h 62"/>
                <a:gd name="T44" fmla="*/ 33 w 62"/>
                <a:gd name="T45" fmla="*/ 62 h 62"/>
                <a:gd name="T46" fmla="*/ 37 w 62"/>
                <a:gd name="T47" fmla="*/ 58 h 62"/>
                <a:gd name="T48" fmla="*/ 37 w 62"/>
                <a:gd name="T49" fmla="*/ 55 h 62"/>
                <a:gd name="T50" fmla="*/ 44 w 62"/>
                <a:gd name="T51" fmla="*/ 53 h 62"/>
                <a:gd name="T52" fmla="*/ 46 w 62"/>
                <a:gd name="T53" fmla="*/ 55 h 62"/>
                <a:gd name="T54" fmla="*/ 52 w 62"/>
                <a:gd name="T55" fmla="*/ 55 h 62"/>
                <a:gd name="T56" fmla="*/ 55 w 62"/>
                <a:gd name="T57" fmla="*/ 52 h 62"/>
                <a:gd name="T58" fmla="*/ 55 w 62"/>
                <a:gd name="T59" fmla="*/ 46 h 62"/>
                <a:gd name="T60" fmla="*/ 53 w 62"/>
                <a:gd name="T61" fmla="*/ 44 h 62"/>
                <a:gd name="T62" fmla="*/ 56 w 62"/>
                <a:gd name="T63" fmla="*/ 38 h 62"/>
                <a:gd name="T64" fmla="*/ 59 w 62"/>
                <a:gd name="T65" fmla="*/ 37 h 62"/>
                <a:gd name="T66" fmla="*/ 62 w 62"/>
                <a:gd name="T67" fmla="*/ 33 h 62"/>
                <a:gd name="T68" fmla="*/ 62 w 62"/>
                <a:gd name="T69" fmla="*/ 29 h 62"/>
                <a:gd name="T70" fmla="*/ 59 w 62"/>
                <a:gd name="T71" fmla="*/ 25 h 62"/>
                <a:gd name="T72" fmla="*/ 56 w 62"/>
                <a:gd name="T73" fmla="*/ 24 h 62"/>
                <a:gd name="T74" fmla="*/ 54 w 62"/>
                <a:gd name="T75" fmla="*/ 19 h 62"/>
                <a:gd name="T76" fmla="*/ 55 w 62"/>
                <a:gd name="T77" fmla="*/ 16 h 62"/>
                <a:gd name="T78" fmla="*/ 55 w 62"/>
                <a:gd name="T79" fmla="*/ 11 h 62"/>
                <a:gd name="T80" fmla="*/ 52 w 62"/>
                <a:gd name="T81" fmla="*/ 8 h 62"/>
                <a:gd name="T82" fmla="*/ 47 w 62"/>
                <a:gd name="T83" fmla="*/ 7 h 62"/>
                <a:gd name="T84" fmla="*/ 44 w 62"/>
                <a:gd name="T85" fmla="*/ 9 h 62"/>
                <a:gd name="T86" fmla="*/ 38 w 62"/>
                <a:gd name="T87" fmla="*/ 6 h 62"/>
                <a:gd name="T88" fmla="*/ 38 w 62"/>
                <a:gd name="T89" fmla="*/ 4 h 62"/>
                <a:gd name="T90" fmla="*/ 34 w 62"/>
                <a:gd name="T91" fmla="*/ 0 h 62"/>
                <a:gd name="T92" fmla="*/ 30 w 62"/>
                <a:gd name="T93" fmla="*/ 0 h 62"/>
                <a:gd name="T94" fmla="*/ 25 w 62"/>
                <a:gd name="T95" fmla="*/ 0 h 62"/>
                <a:gd name="T96" fmla="*/ 25 w 62"/>
                <a:gd name="T97" fmla="*/ 6 h 62"/>
                <a:gd name="T98" fmla="*/ 32 w 62"/>
                <a:gd name="T99" fmla="*/ 20 h 62"/>
                <a:gd name="T100" fmla="*/ 42 w 62"/>
                <a:gd name="T101" fmla="*/ 33 h 62"/>
                <a:gd name="T102" fmla="*/ 34 w 62"/>
                <a:gd name="T103" fmla="*/ 42 h 62"/>
                <a:gd name="T104" fmla="*/ 20 w 62"/>
                <a:gd name="T105" fmla="*/ 31 h 62"/>
                <a:gd name="T106" fmla="*/ 32 w 62"/>
                <a:gd name="T107"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62">
                  <a:moveTo>
                    <a:pt x="25" y="6"/>
                  </a:moveTo>
                  <a:cubicBezTo>
                    <a:pt x="23" y="7"/>
                    <a:pt x="21" y="8"/>
                    <a:pt x="19" y="9"/>
                  </a:cubicBezTo>
                  <a:cubicBezTo>
                    <a:pt x="17" y="7"/>
                    <a:pt x="17" y="7"/>
                    <a:pt x="17" y="7"/>
                  </a:cubicBezTo>
                  <a:cubicBezTo>
                    <a:pt x="15" y="6"/>
                    <a:pt x="12" y="6"/>
                    <a:pt x="11" y="7"/>
                  </a:cubicBezTo>
                  <a:cubicBezTo>
                    <a:pt x="8" y="10"/>
                    <a:pt x="8" y="10"/>
                    <a:pt x="8" y="10"/>
                  </a:cubicBezTo>
                  <a:cubicBezTo>
                    <a:pt x="6" y="12"/>
                    <a:pt x="6" y="14"/>
                    <a:pt x="7" y="16"/>
                  </a:cubicBezTo>
                  <a:cubicBezTo>
                    <a:pt x="9" y="18"/>
                    <a:pt x="9" y="18"/>
                    <a:pt x="9" y="18"/>
                  </a:cubicBezTo>
                  <a:cubicBezTo>
                    <a:pt x="8" y="20"/>
                    <a:pt x="7" y="22"/>
                    <a:pt x="7" y="24"/>
                  </a:cubicBezTo>
                  <a:cubicBezTo>
                    <a:pt x="4" y="24"/>
                    <a:pt x="4" y="24"/>
                    <a:pt x="4" y="24"/>
                  </a:cubicBezTo>
                  <a:cubicBezTo>
                    <a:pt x="2" y="25"/>
                    <a:pt x="0" y="26"/>
                    <a:pt x="0" y="29"/>
                  </a:cubicBezTo>
                  <a:cubicBezTo>
                    <a:pt x="0" y="33"/>
                    <a:pt x="0" y="33"/>
                    <a:pt x="0" y="33"/>
                  </a:cubicBezTo>
                  <a:cubicBezTo>
                    <a:pt x="0" y="35"/>
                    <a:pt x="2" y="37"/>
                    <a:pt x="4" y="37"/>
                  </a:cubicBezTo>
                  <a:cubicBezTo>
                    <a:pt x="7" y="38"/>
                    <a:pt x="7" y="38"/>
                    <a:pt x="7" y="38"/>
                  </a:cubicBezTo>
                  <a:cubicBezTo>
                    <a:pt x="7" y="39"/>
                    <a:pt x="8" y="41"/>
                    <a:pt x="9" y="43"/>
                  </a:cubicBezTo>
                  <a:cubicBezTo>
                    <a:pt x="7" y="45"/>
                    <a:pt x="7" y="45"/>
                    <a:pt x="7" y="45"/>
                  </a:cubicBezTo>
                  <a:cubicBezTo>
                    <a:pt x="6" y="47"/>
                    <a:pt x="6" y="50"/>
                    <a:pt x="7" y="51"/>
                  </a:cubicBezTo>
                  <a:cubicBezTo>
                    <a:pt x="10" y="54"/>
                    <a:pt x="10" y="54"/>
                    <a:pt x="10" y="54"/>
                  </a:cubicBezTo>
                  <a:cubicBezTo>
                    <a:pt x="12" y="56"/>
                    <a:pt x="14" y="56"/>
                    <a:pt x="16" y="55"/>
                  </a:cubicBezTo>
                  <a:cubicBezTo>
                    <a:pt x="18" y="53"/>
                    <a:pt x="18" y="53"/>
                    <a:pt x="18" y="53"/>
                  </a:cubicBezTo>
                  <a:cubicBezTo>
                    <a:pt x="20" y="54"/>
                    <a:pt x="22" y="54"/>
                    <a:pt x="24" y="55"/>
                  </a:cubicBezTo>
                  <a:cubicBezTo>
                    <a:pt x="24" y="58"/>
                    <a:pt x="24" y="58"/>
                    <a:pt x="24" y="58"/>
                  </a:cubicBezTo>
                  <a:cubicBezTo>
                    <a:pt x="25" y="60"/>
                    <a:pt x="26" y="62"/>
                    <a:pt x="29" y="62"/>
                  </a:cubicBezTo>
                  <a:cubicBezTo>
                    <a:pt x="33" y="62"/>
                    <a:pt x="33" y="62"/>
                    <a:pt x="33" y="62"/>
                  </a:cubicBezTo>
                  <a:cubicBezTo>
                    <a:pt x="35" y="62"/>
                    <a:pt x="37" y="61"/>
                    <a:pt x="37" y="58"/>
                  </a:cubicBezTo>
                  <a:cubicBezTo>
                    <a:pt x="37" y="55"/>
                    <a:pt x="37" y="55"/>
                    <a:pt x="37" y="55"/>
                  </a:cubicBezTo>
                  <a:cubicBezTo>
                    <a:pt x="40" y="55"/>
                    <a:pt x="42" y="54"/>
                    <a:pt x="44" y="53"/>
                  </a:cubicBezTo>
                  <a:cubicBezTo>
                    <a:pt x="46" y="55"/>
                    <a:pt x="46" y="55"/>
                    <a:pt x="46" y="55"/>
                  </a:cubicBezTo>
                  <a:cubicBezTo>
                    <a:pt x="48" y="56"/>
                    <a:pt x="50" y="56"/>
                    <a:pt x="52" y="55"/>
                  </a:cubicBezTo>
                  <a:cubicBezTo>
                    <a:pt x="55" y="52"/>
                    <a:pt x="55" y="52"/>
                    <a:pt x="55" y="52"/>
                  </a:cubicBezTo>
                  <a:cubicBezTo>
                    <a:pt x="56" y="50"/>
                    <a:pt x="56" y="48"/>
                    <a:pt x="55" y="46"/>
                  </a:cubicBezTo>
                  <a:cubicBezTo>
                    <a:pt x="53" y="44"/>
                    <a:pt x="53" y="44"/>
                    <a:pt x="53" y="44"/>
                  </a:cubicBezTo>
                  <a:cubicBezTo>
                    <a:pt x="54" y="42"/>
                    <a:pt x="55" y="40"/>
                    <a:pt x="56" y="38"/>
                  </a:cubicBezTo>
                  <a:cubicBezTo>
                    <a:pt x="59" y="37"/>
                    <a:pt x="59" y="37"/>
                    <a:pt x="59" y="37"/>
                  </a:cubicBezTo>
                  <a:cubicBezTo>
                    <a:pt x="61" y="37"/>
                    <a:pt x="62" y="35"/>
                    <a:pt x="62" y="33"/>
                  </a:cubicBezTo>
                  <a:cubicBezTo>
                    <a:pt x="62" y="29"/>
                    <a:pt x="62" y="29"/>
                    <a:pt x="62" y="29"/>
                  </a:cubicBezTo>
                  <a:cubicBezTo>
                    <a:pt x="62" y="27"/>
                    <a:pt x="61" y="25"/>
                    <a:pt x="59" y="25"/>
                  </a:cubicBezTo>
                  <a:cubicBezTo>
                    <a:pt x="56" y="24"/>
                    <a:pt x="56" y="24"/>
                    <a:pt x="56" y="24"/>
                  </a:cubicBezTo>
                  <a:cubicBezTo>
                    <a:pt x="55" y="22"/>
                    <a:pt x="55" y="20"/>
                    <a:pt x="54" y="19"/>
                  </a:cubicBezTo>
                  <a:cubicBezTo>
                    <a:pt x="55" y="16"/>
                    <a:pt x="55" y="16"/>
                    <a:pt x="55" y="16"/>
                  </a:cubicBezTo>
                  <a:cubicBezTo>
                    <a:pt x="57" y="15"/>
                    <a:pt x="57" y="12"/>
                    <a:pt x="55" y="11"/>
                  </a:cubicBezTo>
                  <a:cubicBezTo>
                    <a:pt x="52" y="8"/>
                    <a:pt x="52" y="8"/>
                    <a:pt x="52" y="8"/>
                  </a:cubicBezTo>
                  <a:cubicBezTo>
                    <a:pt x="51" y="6"/>
                    <a:pt x="48" y="6"/>
                    <a:pt x="47" y="7"/>
                  </a:cubicBezTo>
                  <a:cubicBezTo>
                    <a:pt x="44" y="9"/>
                    <a:pt x="44" y="9"/>
                    <a:pt x="44" y="9"/>
                  </a:cubicBezTo>
                  <a:cubicBezTo>
                    <a:pt x="43" y="8"/>
                    <a:pt x="40" y="7"/>
                    <a:pt x="38" y="6"/>
                  </a:cubicBezTo>
                  <a:cubicBezTo>
                    <a:pt x="38" y="4"/>
                    <a:pt x="38" y="4"/>
                    <a:pt x="38" y="4"/>
                  </a:cubicBezTo>
                  <a:cubicBezTo>
                    <a:pt x="38" y="1"/>
                    <a:pt x="36" y="0"/>
                    <a:pt x="34" y="0"/>
                  </a:cubicBezTo>
                  <a:cubicBezTo>
                    <a:pt x="30" y="0"/>
                    <a:pt x="30" y="0"/>
                    <a:pt x="30" y="0"/>
                  </a:cubicBezTo>
                  <a:cubicBezTo>
                    <a:pt x="30" y="0"/>
                    <a:pt x="28" y="0"/>
                    <a:pt x="25" y="0"/>
                  </a:cubicBezTo>
                  <a:cubicBezTo>
                    <a:pt x="26" y="3"/>
                    <a:pt x="25" y="6"/>
                    <a:pt x="25" y="6"/>
                  </a:cubicBezTo>
                  <a:close/>
                  <a:moveTo>
                    <a:pt x="32" y="20"/>
                  </a:moveTo>
                  <a:cubicBezTo>
                    <a:pt x="38" y="20"/>
                    <a:pt x="44" y="26"/>
                    <a:pt x="42" y="33"/>
                  </a:cubicBezTo>
                  <a:cubicBezTo>
                    <a:pt x="41" y="37"/>
                    <a:pt x="38" y="41"/>
                    <a:pt x="34" y="42"/>
                  </a:cubicBezTo>
                  <a:cubicBezTo>
                    <a:pt x="26" y="43"/>
                    <a:pt x="20" y="37"/>
                    <a:pt x="20" y="31"/>
                  </a:cubicBezTo>
                  <a:cubicBezTo>
                    <a:pt x="20" y="24"/>
                    <a:pt x="25" y="20"/>
                    <a:pt x="32" y="2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71" name="Freeform 147">
              <a:extLst>
                <a:ext uri="{FF2B5EF4-FFF2-40B4-BE49-F238E27FC236}">
                  <a16:creationId xmlns:a16="http://schemas.microsoft.com/office/drawing/2014/main" id="{6F2482EB-7F19-4176-930C-DC1AB68A8EB8}"/>
                </a:ext>
              </a:extLst>
            </p:cNvPr>
            <p:cNvSpPr>
              <a:spLocks noEditPoints="1"/>
            </p:cNvSpPr>
            <p:nvPr/>
          </p:nvSpPr>
          <p:spPr bwMode="auto">
            <a:xfrm>
              <a:off x="1997076" y="2058988"/>
              <a:ext cx="265113" cy="265113"/>
            </a:xfrm>
            <a:custGeom>
              <a:avLst/>
              <a:gdLst>
                <a:gd name="T0" fmla="*/ 36 w 91"/>
                <a:gd name="T1" fmla="*/ 9 h 91"/>
                <a:gd name="T2" fmla="*/ 27 w 91"/>
                <a:gd name="T3" fmla="*/ 13 h 91"/>
                <a:gd name="T4" fmla="*/ 24 w 91"/>
                <a:gd name="T5" fmla="*/ 10 h 91"/>
                <a:gd name="T6" fmla="*/ 16 w 91"/>
                <a:gd name="T7" fmla="*/ 11 h 91"/>
                <a:gd name="T8" fmla="*/ 11 w 91"/>
                <a:gd name="T9" fmla="*/ 15 h 91"/>
                <a:gd name="T10" fmla="*/ 11 w 91"/>
                <a:gd name="T11" fmla="*/ 23 h 91"/>
                <a:gd name="T12" fmla="*/ 13 w 91"/>
                <a:gd name="T13" fmla="*/ 27 h 91"/>
                <a:gd name="T14" fmla="*/ 10 w 91"/>
                <a:gd name="T15" fmla="*/ 35 h 91"/>
                <a:gd name="T16" fmla="*/ 5 w 91"/>
                <a:gd name="T17" fmla="*/ 36 h 91"/>
                <a:gd name="T18" fmla="*/ 0 w 91"/>
                <a:gd name="T19" fmla="*/ 42 h 91"/>
                <a:gd name="T20" fmla="*/ 0 w 91"/>
                <a:gd name="T21" fmla="*/ 48 h 91"/>
                <a:gd name="T22" fmla="*/ 5 w 91"/>
                <a:gd name="T23" fmla="*/ 54 h 91"/>
                <a:gd name="T24" fmla="*/ 10 w 91"/>
                <a:gd name="T25" fmla="*/ 55 h 91"/>
                <a:gd name="T26" fmla="*/ 13 w 91"/>
                <a:gd name="T27" fmla="*/ 63 h 91"/>
                <a:gd name="T28" fmla="*/ 10 w 91"/>
                <a:gd name="T29" fmla="*/ 67 h 91"/>
                <a:gd name="T30" fmla="*/ 10 w 91"/>
                <a:gd name="T31" fmla="*/ 75 h 91"/>
                <a:gd name="T32" fmla="*/ 15 w 91"/>
                <a:gd name="T33" fmla="*/ 79 h 91"/>
                <a:gd name="T34" fmla="*/ 23 w 91"/>
                <a:gd name="T35" fmla="*/ 80 h 91"/>
                <a:gd name="T36" fmla="*/ 27 w 91"/>
                <a:gd name="T37" fmla="*/ 77 h 91"/>
                <a:gd name="T38" fmla="*/ 35 w 91"/>
                <a:gd name="T39" fmla="*/ 81 h 91"/>
                <a:gd name="T40" fmla="*/ 35 w 91"/>
                <a:gd name="T41" fmla="*/ 86 h 91"/>
                <a:gd name="T42" fmla="*/ 42 w 91"/>
                <a:gd name="T43" fmla="*/ 91 h 91"/>
                <a:gd name="T44" fmla="*/ 48 w 91"/>
                <a:gd name="T45" fmla="*/ 91 h 91"/>
                <a:gd name="T46" fmla="*/ 54 w 91"/>
                <a:gd name="T47" fmla="*/ 86 h 91"/>
                <a:gd name="T48" fmla="*/ 55 w 91"/>
                <a:gd name="T49" fmla="*/ 81 h 91"/>
                <a:gd name="T50" fmla="*/ 64 w 91"/>
                <a:gd name="T51" fmla="*/ 78 h 91"/>
                <a:gd name="T52" fmla="*/ 67 w 91"/>
                <a:gd name="T53" fmla="*/ 81 h 91"/>
                <a:gd name="T54" fmla="*/ 75 w 91"/>
                <a:gd name="T55" fmla="*/ 80 h 91"/>
                <a:gd name="T56" fmla="*/ 80 w 91"/>
                <a:gd name="T57" fmla="*/ 76 h 91"/>
                <a:gd name="T58" fmla="*/ 80 w 91"/>
                <a:gd name="T59" fmla="*/ 68 h 91"/>
                <a:gd name="T60" fmla="*/ 78 w 91"/>
                <a:gd name="T61" fmla="*/ 64 h 91"/>
                <a:gd name="T62" fmla="*/ 81 w 91"/>
                <a:gd name="T63" fmla="*/ 55 h 91"/>
                <a:gd name="T64" fmla="*/ 86 w 91"/>
                <a:gd name="T65" fmla="*/ 55 h 91"/>
                <a:gd name="T66" fmla="*/ 91 w 91"/>
                <a:gd name="T67" fmla="*/ 49 h 91"/>
                <a:gd name="T68" fmla="*/ 91 w 91"/>
                <a:gd name="T69" fmla="*/ 43 h 91"/>
                <a:gd name="T70" fmla="*/ 86 w 91"/>
                <a:gd name="T71" fmla="*/ 36 h 91"/>
                <a:gd name="T72" fmla="*/ 82 w 91"/>
                <a:gd name="T73" fmla="*/ 36 h 91"/>
                <a:gd name="T74" fmla="*/ 78 w 91"/>
                <a:gd name="T75" fmla="*/ 27 h 91"/>
                <a:gd name="T76" fmla="*/ 81 w 91"/>
                <a:gd name="T77" fmla="*/ 24 h 91"/>
                <a:gd name="T78" fmla="*/ 81 w 91"/>
                <a:gd name="T79" fmla="*/ 16 h 91"/>
                <a:gd name="T80" fmla="*/ 76 w 91"/>
                <a:gd name="T81" fmla="*/ 11 h 91"/>
                <a:gd name="T82" fmla="*/ 68 w 91"/>
                <a:gd name="T83" fmla="*/ 11 h 91"/>
                <a:gd name="T84" fmla="*/ 65 w 91"/>
                <a:gd name="T85" fmla="*/ 13 h 91"/>
                <a:gd name="T86" fmla="*/ 56 w 91"/>
                <a:gd name="T87" fmla="*/ 9 h 91"/>
                <a:gd name="T88" fmla="*/ 55 w 91"/>
                <a:gd name="T89" fmla="*/ 5 h 91"/>
                <a:gd name="T90" fmla="*/ 49 w 91"/>
                <a:gd name="T91" fmla="*/ 0 h 91"/>
                <a:gd name="T92" fmla="*/ 43 w 91"/>
                <a:gd name="T93" fmla="*/ 0 h 91"/>
                <a:gd name="T94" fmla="*/ 37 w 91"/>
                <a:gd name="T95" fmla="*/ 0 h 91"/>
                <a:gd name="T96" fmla="*/ 36 w 91"/>
                <a:gd name="T97" fmla="*/ 9 h 91"/>
                <a:gd name="T98" fmla="*/ 46 w 91"/>
                <a:gd name="T99" fmla="*/ 29 h 91"/>
                <a:gd name="T100" fmla="*/ 62 w 91"/>
                <a:gd name="T101" fmla="*/ 48 h 91"/>
                <a:gd name="T102" fmla="*/ 49 w 91"/>
                <a:gd name="T103" fmla="*/ 61 h 91"/>
                <a:gd name="T104" fmla="*/ 29 w 91"/>
                <a:gd name="T105" fmla="*/ 45 h 91"/>
                <a:gd name="T106" fmla="*/ 46 w 91"/>
                <a:gd name="T107" fmla="*/ 2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 h="91">
                  <a:moveTo>
                    <a:pt x="36" y="9"/>
                  </a:moveTo>
                  <a:cubicBezTo>
                    <a:pt x="33" y="10"/>
                    <a:pt x="30" y="11"/>
                    <a:pt x="27" y="13"/>
                  </a:cubicBezTo>
                  <a:cubicBezTo>
                    <a:pt x="24" y="10"/>
                    <a:pt x="24" y="10"/>
                    <a:pt x="24" y="10"/>
                  </a:cubicBezTo>
                  <a:cubicBezTo>
                    <a:pt x="21" y="8"/>
                    <a:pt x="18" y="8"/>
                    <a:pt x="16" y="11"/>
                  </a:cubicBezTo>
                  <a:cubicBezTo>
                    <a:pt x="11" y="15"/>
                    <a:pt x="11" y="15"/>
                    <a:pt x="11" y="15"/>
                  </a:cubicBezTo>
                  <a:cubicBezTo>
                    <a:pt x="9" y="17"/>
                    <a:pt x="9" y="21"/>
                    <a:pt x="11" y="23"/>
                  </a:cubicBezTo>
                  <a:cubicBezTo>
                    <a:pt x="13" y="27"/>
                    <a:pt x="13" y="27"/>
                    <a:pt x="13" y="27"/>
                  </a:cubicBezTo>
                  <a:cubicBezTo>
                    <a:pt x="12" y="29"/>
                    <a:pt x="10" y="32"/>
                    <a:pt x="10" y="35"/>
                  </a:cubicBezTo>
                  <a:cubicBezTo>
                    <a:pt x="5" y="36"/>
                    <a:pt x="5" y="36"/>
                    <a:pt x="5" y="36"/>
                  </a:cubicBezTo>
                  <a:cubicBezTo>
                    <a:pt x="2" y="36"/>
                    <a:pt x="0" y="39"/>
                    <a:pt x="0" y="42"/>
                  </a:cubicBezTo>
                  <a:cubicBezTo>
                    <a:pt x="0" y="48"/>
                    <a:pt x="0" y="48"/>
                    <a:pt x="0" y="48"/>
                  </a:cubicBezTo>
                  <a:cubicBezTo>
                    <a:pt x="0" y="51"/>
                    <a:pt x="2" y="54"/>
                    <a:pt x="5" y="54"/>
                  </a:cubicBezTo>
                  <a:cubicBezTo>
                    <a:pt x="10" y="55"/>
                    <a:pt x="10" y="55"/>
                    <a:pt x="10" y="55"/>
                  </a:cubicBezTo>
                  <a:cubicBezTo>
                    <a:pt x="10" y="58"/>
                    <a:pt x="12" y="61"/>
                    <a:pt x="13" y="63"/>
                  </a:cubicBezTo>
                  <a:cubicBezTo>
                    <a:pt x="10" y="67"/>
                    <a:pt x="10" y="67"/>
                    <a:pt x="10" y="67"/>
                  </a:cubicBezTo>
                  <a:cubicBezTo>
                    <a:pt x="8" y="69"/>
                    <a:pt x="8" y="73"/>
                    <a:pt x="10" y="75"/>
                  </a:cubicBezTo>
                  <a:cubicBezTo>
                    <a:pt x="15" y="79"/>
                    <a:pt x="15" y="79"/>
                    <a:pt x="15" y="79"/>
                  </a:cubicBezTo>
                  <a:cubicBezTo>
                    <a:pt x="17" y="82"/>
                    <a:pt x="20" y="82"/>
                    <a:pt x="23" y="80"/>
                  </a:cubicBezTo>
                  <a:cubicBezTo>
                    <a:pt x="27" y="77"/>
                    <a:pt x="27" y="77"/>
                    <a:pt x="27" y="77"/>
                  </a:cubicBezTo>
                  <a:cubicBezTo>
                    <a:pt x="29" y="79"/>
                    <a:pt x="32" y="80"/>
                    <a:pt x="35" y="81"/>
                  </a:cubicBezTo>
                  <a:cubicBezTo>
                    <a:pt x="35" y="86"/>
                    <a:pt x="35" y="86"/>
                    <a:pt x="35" y="86"/>
                  </a:cubicBezTo>
                  <a:cubicBezTo>
                    <a:pt x="36" y="89"/>
                    <a:pt x="38" y="91"/>
                    <a:pt x="42" y="91"/>
                  </a:cubicBezTo>
                  <a:cubicBezTo>
                    <a:pt x="48" y="91"/>
                    <a:pt x="48" y="91"/>
                    <a:pt x="48" y="91"/>
                  </a:cubicBezTo>
                  <a:cubicBezTo>
                    <a:pt x="51" y="91"/>
                    <a:pt x="54" y="89"/>
                    <a:pt x="54" y="86"/>
                  </a:cubicBezTo>
                  <a:cubicBezTo>
                    <a:pt x="55" y="81"/>
                    <a:pt x="55" y="81"/>
                    <a:pt x="55" y="81"/>
                  </a:cubicBezTo>
                  <a:cubicBezTo>
                    <a:pt x="58" y="80"/>
                    <a:pt x="61" y="79"/>
                    <a:pt x="64" y="78"/>
                  </a:cubicBezTo>
                  <a:cubicBezTo>
                    <a:pt x="67" y="81"/>
                    <a:pt x="67" y="81"/>
                    <a:pt x="67" y="81"/>
                  </a:cubicBezTo>
                  <a:cubicBezTo>
                    <a:pt x="70" y="83"/>
                    <a:pt x="73" y="82"/>
                    <a:pt x="75" y="80"/>
                  </a:cubicBezTo>
                  <a:cubicBezTo>
                    <a:pt x="80" y="76"/>
                    <a:pt x="80" y="76"/>
                    <a:pt x="80" y="76"/>
                  </a:cubicBezTo>
                  <a:cubicBezTo>
                    <a:pt x="82" y="74"/>
                    <a:pt x="82" y="70"/>
                    <a:pt x="80" y="68"/>
                  </a:cubicBezTo>
                  <a:cubicBezTo>
                    <a:pt x="78" y="64"/>
                    <a:pt x="78" y="64"/>
                    <a:pt x="78" y="64"/>
                  </a:cubicBezTo>
                  <a:cubicBezTo>
                    <a:pt x="79" y="61"/>
                    <a:pt x="81" y="58"/>
                    <a:pt x="81" y="55"/>
                  </a:cubicBezTo>
                  <a:cubicBezTo>
                    <a:pt x="86" y="55"/>
                    <a:pt x="86" y="55"/>
                    <a:pt x="86" y="55"/>
                  </a:cubicBezTo>
                  <a:cubicBezTo>
                    <a:pt x="89" y="55"/>
                    <a:pt x="91" y="52"/>
                    <a:pt x="91" y="49"/>
                  </a:cubicBezTo>
                  <a:cubicBezTo>
                    <a:pt x="91" y="43"/>
                    <a:pt x="91" y="43"/>
                    <a:pt x="91" y="43"/>
                  </a:cubicBezTo>
                  <a:cubicBezTo>
                    <a:pt x="91" y="39"/>
                    <a:pt x="89" y="37"/>
                    <a:pt x="86" y="36"/>
                  </a:cubicBezTo>
                  <a:cubicBezTo>
                    <a:pt x="82" y="36"/>
                    <a:pt x="82" y="36"/>
                    <a:pt x="82" y="36"/>
                  </a:cubicBezTo>
                  <a:cubicBezTo>
                    <a:pt x="81" y="33"/>
                    <a:pt x="80" y="30"/>
                    <a:pt x="78" y="27"/>
                  </a:cubicBezTo>
                  <a:cubicBezTo>
                    <a:pt x="81" y="24"/>
                    <a:pt x="81" y="24"/>
                    <a:pt x="81" y="24"/>
                  </a:cubicBezTo>
                  <a:cubicBezTo>
                    <a:pt x="83" y="22"/>
                    <a:pt x="83" y="18"/>
                    <a:pt x="81" y="16"/>
                  </a:cubicBezTo>
                  <a:cubicBezTo>
                    <a:pt x="76" y="11"/>
                    <a:pt x="76" y="11"/>
                    <a:pt x="76" y="11"/>
                  </a:cubicBezTo>
                  <a:cubicBezTo>
                    <a:pt x="74" y="9"/>
                    <a:pt x="70" y="9"/>
                    <a:pt x="68" y="11"/>
                  </a:cubicBezTo>
                  <a:cubicBezTo>
                    <a:pt x="65" y="13"/>
                    <a:pt x="65" y="13"/>
                    <a:pt x="65" y="13"/>
                  </a:cubicBezTo>
                  <a:cubicBezTo>
                    <a:pt x="62" y="11"/>
                    <a:pt x="59" y="10"/>
                    <a:pt x="56" y="9"/>
                  </a:cubicBezTo>
                  <a:cubicBezTo>
                    <a:pt x="55" y="5"/>
                    <a:pt x="55" y="5"/>
                    <a:pt x="55" y="5"/>
                  </a:cubicBezTo>
                  <a:cubicBezTo>
                    <a:pt x="55" y="2"/>
                    <a:pt x="52" y="0"/>
                    <a:pt x="49" y="0"/>
                  </a:cubicBezTo>
                  <a:cubicBezTo>
                    <a:pt x="43" y="0"/>
                    <a:pt x="43" y="0"/>
                    <a:pt x="43" y="0"/>
                  </a:cubicBezTo>
                  <a:cubicBezTo>
                    <a:pt x="43" y="0"/>
                    <a:pt x="41" y="0"/>
                    <a:pt x="37" y="0"/>
                  </a:cubicBezTo>
                  <a:cubicBezTo>
                    <a:pt x="38" y="5"/>
                    <a:pt x="36" y="9"/>
                    <a:pt x="36" y="9"/>
                  </a:cubicBezTo>
                  <a:close/>
                  <a:moveTo>
                    <a:pt x="46" y="29"/>
                  </a:moveTo>
                  <a:cubicBezTo>
                    <a:pt x="56" y="29"/>
                    <a:pt x="64" y="38"/>
                    <a:pt x="62" y="48"/>
                  </a:cubicBezTo>
                  <a:cubicBezTo>
                    <a:pt x="60" y="55"/>
                    <a:pt x="55" y="60"/>
                    <a:pt x="49" y="61"/>
                  </a:cubicBezTo>
                  <a:cubicBezTo>
                    <a:pt x="38" y="63"/>
                    <a:pt x="29" y="55"/>
                    <a:pt x="29" y="45"/>
                  </a:cubicBezTo>
                  <a:cubicBezTo>
                    <a:pt x="29" y="36"/>
                    <a:pt x="37" y="29"/>
                    <a:pt x="46" y="2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21" name="Group 20">
            <a:extLst>
              <a:ext uri="{FF2B5EF4-FFF2-40B4-BE49-F238E27FC236}">
                <a16:creationId xmlns:a16="http://schemas.microsoft.com/office/drawing/2014/main" id="{9D7E651E-8F2F-4BD2-A81B-A2BD6659A93E}"/>
              </a:ext>
              <a:ext uri="{C183D7F6-B498-43B3-948B-1728B52AA6E4}">
                <adec:decorative xmlns:adec="http://schemas.microsoft.com/office/drawing/2017/decorative" val="1"/>
              </a:ext>
            </a:extLst>
          </p:cNvPr>
          <p:cNvGrpSpPr/>
          <p:nvPr/>
        </p:nvGrpSpPr>
        <p:grpSpPr>
          <a:xfrm>
            <a:off x="2870868" y="3946128"/>
            <a:ext cx="676275" cy="635000"/>
            <a:chOff x="1835151" y="3951560"/>
            <a:chExt cx="676275" cy="635000"/>
          </a:xfrm>
        </p:grpSpPr>
        <p:sp>
          <p:nvSpPr>
            <p:cNvPr id="173" name="Freeform 148">
              <a:extLst>
                <a:ext uri="{FF2B5EF4-FFF2-40B4-BE49-F238E27FC236}">
                  <a16:creationId xmlns:a16="http://schemas.microsoft.com/office/drawing/2014/main" id="{92A8C4EF-D9C4-42FA-A281-33538FD24900}"/>
                </a:ext>
              </a:extLst>
            </p:cNvPr>
            <p:cNvSpPr>
              <a:spLocks/>
            </p:cNvSpPr>
            <p:nvPr/>
          </p:nvSpPr>
          <p:spPr bwMode="auto">
            <a:xfrm>
              <a:off x="1835151" y="3951560"/>
              <a:ext cx="676275" cy="635000"/>
            </a:xfrm>
            <a:custGeom>
              <a:avLst/>
              <a:gdLst>
                <a:gd name="T0" fmla="*/ 34 w 233"/>
                <a:gd name="T1" fmla="*/ 170 h 218"/>
                <a:gd name="T2" fmla="*/ 56 w 233"/>
                <a:gd name="T3" fmla="*/ 32 h 218"/>
                <a:gd name="T4" fmla="*/ 200 w 233"/>
                <a:gd name="T5" fmla="*/ 53 h 218"/>
                <a:gd name="T6" fmla="*/ 174 w 233"/>
                <a:gd name="T7" fmla="*/ 185 h 218"/>
                <a:gd name="T8" fmla="*/ 34 w 233"/>
                <a:gd name="T9" fmla="*/ 170 h 218"/>
              </a:gdLst>
              <a:ahLst/>
              <a:cxnLst>
                <a:cxn ang="0">
                  <a:pos x="T0" y="T1"/>
                </a:cxn>
                <a:cxn ang="0">
                  <a:pos x="T2" y="T3"/>
                </a:cxn>
                <a:cxn ang="0">
                  <a:pos x="T4" y="T5"/>
                </a:cxn>
                <a:cxn ang="0">
                  <a:pos x="T6" y="T7"/>
                </a:cxn>
                <a:cxn ang="0">
                  <a:pos x="T8" y="T9"/>
                </a:cxn>
              </a:cxnLst>
              <a:rect l="0" t="0" r="r" b="b"/>
              <a:pathLst>
                <a:path w="233" h="218">
                  <a:moveTo>
                    <a:pt x="34" y="170"/>
                  </a:moveTo>
                  <a:cubicBezTo>
                    <a:pt x="0" y="127"/>
                    <a:pt x="10" y="65"/>
                    <a:pt x="56" y="32"/>
                  </a:cubicBezTo>
                  <a:cubicBezTo>
                    <a:pt x="102" y="0"/>
                    <a:pt x="166" y="9"/>
                    <a:pt x="200" y="53"/>
                  </a:cubicBezTo>
                  <a:cubicBezTo>
                    <a:pt x="233" y="96"/>
                    <a:pt x="220" y="153"/>
                    <a:pt x="174" y="185"/>
                  </a:cubicBezTo>
                  <a:cubicBezTo>
                    <a:pt x="128" y="218"/>
                    <a:pt x="67" y="214"/>
                    <a:pt x="34"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74" name="Freeform 149">
              <a:extLst>
                <a:ext uri="{FF2B5EF4-FFF2-40B4-BE49-F238E27FC236}">
                  <a16:creationId xmlns:a16="http://schemas.microsoft.com/office/drawing/2014/main" id="{DE0C3940-91B0-40AC-B8A2-D1B12F963FE4}"/>
                </a:ext>
              </a:extLst>
            </p:cNvPr>
            <p:cNvSpPr>
              <a:spLocks/>
            </p:cNvSpPr>
            <p:nvPr/>
          </p:nvSpPr>
          <p:spPr bwMode="auto">
            <a:xfrm>
              <a:off x="2025651" y="4070623"/>
              <a:ext cx="279400" cy="381000"/>
            </a:xfrm>
            <a:custGeom>
              <a:avLst/>
              <a:gdLst>
                <a:gd name="T0" fmla="*/ 5 w 96"/>
                <a:gd name="T1" fmla="*/ 125 h 131"/>
                <a:gd name="T2" fmla="*/ 4 w 96"/>
                <a:gd name="T3" fmla="*/ 40 h 131"/>
                <a:gd name="T4" fmla="*/ 37 w 96"/>
                <a:gd name="T5" fmla="*/ 6 h 131"/>
                <a:gd name="T6" fmla="*/ 91 w 96"/>
                <a:gd name="T7" fmla="*/ 8 h 131"/>
                <a:gd name="T8" fmla="*/ 91 w 96"/>
                <a:gd name="T9" fmla="*/ 125 h 131"/>
                <a:gd name="T10" fmla="*/ 5 w 96"/>
                <a:gd name="T11" fmla="*/ 125 h 131"/>
              </a:gdLst>
              <a:ahLst/>
              <a:cxnLst>
                <a:cxn ang="0">
                  <a:pos x="T0" y="T1"/>
                </a:cxn>
                <a:cxn ang="0">
                  <a:pos x="T2" y="T3"/>
                </a:cxn>
                <a:cxn ang="0">
                  <a:pos x="T4" y="T5"/>
                </a:cxn>
                <a:cxn ang="0">
                  <a:pos x="T6" y="T7"/>
                </a:cxn>
                <a:cxn ang="0">
                  <a:pos x="T8" y="T9"/>
                </a:cxn>
                <a:cxn ang="0">
                  <a:pos x="T10" y="T11"/>
                </a:cxn>
              </a:cxnLst>
              <a:rect l="0" t="0" r="r" b="b"/>
              <a:pathLst>
                <a:path w="96" h="131">
                  <a:moveTo>
                    <a:pt x="5" y="125"/>
                  </a:moveTo>
                  <a:cubicBezTo>
                    <a:pt x="0" y="120"/>
                    <a:pt x="1" y="50"/>
                    <a:pt x="4" y="40"/>
                  </a:cubicBezTo>
                  <a:cubicBezTo>
                    <a:pt x="12" y="32"/>
                    <a:pt x="34" y="10"/>
                    <a:pt x="37" y="6"/>
                  </a:cubicBezTo>
                  <a:cubicBezTo>
                    <a:pt x="40" y="5"/>
                    <a:pt x="63" y="0"/>
                    <a:pt x="91" y="8"/>
                  </a:cubicBezTo>
                  <a:cubicBezTo>
                    <a:pt x="85" y="44"/>
                    <a:pt x="96" y="120"/>
                    <a:pt x="91" y="125"/>
                  </a:cubicBezTo>
                  <a:cubicBezTo>
                    <a:pt x="87" y="131"/>
                    <a:pt x="10" y="131"/>
                    <a:pt x="5" y="1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75" name="Freeform 150">
              <a:extLst>
                <a:ext uri="{FF2B5EF4-FFF2-40B4-BE49-F238E27FC236}">
                  <a16:creationId xmlns:a16="http://schemas.microsoft.com/office/drawing/2014/main" id="{6C2D1170-B4A5-47BC-91B0-48D1BC24514F}"/>
                </a:ext>
              </a:extLst>
            </p:cNvPr>
            <p:cNvSpPr>
              <a:spLocks/>
            </p:cNvSpPr>
            <p:nvPr/>
          </p:nvSpPr>
          <p:spPr bwMode="auto">
            <a:xfrm>
              <a:off x="2038351" y="4088085"/>
              <a:ext cx="106363" cy="111125"/>
            </a:xfrm>
            <a:custGeom>
              <a:avLst/>
              <a:gdLst>
                <a:gd name="T0" fmla="*/ 33 w 37"/>
                <a:gd name="T1" fmla="*/ 34 h 38"/>
                <a:gd name="T2" fmla="*/ 0 w 37"/>
                <a:gd name="T3" fmla="*/ 34 h 38"/>
                <a:gd name="T4" fmla="*/ 33 w 37"/>
                <a:gd name="T5" fmla="*/ 0 h 38"/>
                <a:gd name="T6" fmla="*/ 33 w 37"/>
                <a:gd name="T7" fmla="*/ 34 h 38"/>
              </a:gdLst>
              <a:ahLst/>
              <a:cxnLst>
                <a:cxn ang="0">
                  <a:pos x="T0" y="T1"/>
                </a:cxn>
                <a:cxn ang="0">
                  <a:pos x="T2" y="T3"/>
                </a:cxn>
                <a:cxn ang="0">
                  <a:pos x="T4" y="T5"/>
                </a:cxn>
                <a:cxn ang="0">
                  <a:pos x="T6" y="T7"/>
                </a:cxn>
              </a:cxnLst>
              <a:rect l="0" t="0" r="r" b="b"/>
              <a:pathLst>
                <a:path w="37" h="38">
                  <a:moveTo>
                    <a:pt x="33" y="34"/>
                  </a:moveTo>
                  <a:cubicBezTo>
                    <a:pt x="30" y="38"/>
                    <a:pt x="12" y="32"/>
                    <a:pt x="0" y="34"/>
                  </a:cubicBezTo>
                  <a:cubicBezTo>
                    <a:pt x="11" y="23"/>
                    <a:pt x="19" y="14"/>
                    <a:pt x="33" y="0"/>
                  </a:cubicBezTo>
                  <a:cubicBezTo>
                    <a:pt x="29" y="16"/>
                    <a:pt x="37" y="29"/>
                    <a:pt x="33" y="3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20" name="Group 19">
              <a:extLst>
                <a:ext uri="{FF2B5EF4-FFF2-40B4-BE49-F238E27FC236}">
                  <a16:creationId xmlns:a16="http://schemas.microsoft.com/office/drawing/2014/main" id="{FF8F0AEC-E65C-4D55-A377-A0A9E1A9DDDB}"/>
                </a:ext>
              </a:extLst>
            </p:cNvPr>
            <p:cNvGrpSpPr/>
            <p:nvPr/>
          </p:nvGrpSpPr>
          <p:grpSpPr>
            <a:xfrm>
              <a:off x="2070101" y="4227785"/>
              <a:ext cx="188913" cy="152400"/>
              <a:chOff x="2070101" y="4227785"/>
              <a:chExt cx="188913" cy="152400"/>
            </a:xfrm>
          </p:grpSpPr>
          <p:sp>
            <p:nvSpPr>
              <p:cNvPr id="176" name="Line 151">
                <a:extLst>
                  <a:ext uri="{FF2B5EF4-FFF2-40B4-BE49-F238E27FC236}">
                    <a16:creationId xmlns:a16="http://schemas.microsoft.com/office/drawing/2014/main" id="{89663EA8-449A-4DDD-ADED-AC8BF29E7720}"/>
                  </a:ext>
                </a:extLst>
              </p:cNvPr>
              <p:cNvSpPr>
                <a:spLocks noChangeShapeType="1"/>
              </p:cNvSpPr>
              <p:nvPr/>
            </p:nvSpPr>
            <p:spPr bwMode="auto">
              <a:xfrm>
                <a:off x="2070101" y="4227785"/>
                <a:ext cx="188913" cy="0"/>
              </a:xfrm>
              <a:prstGeom prst="line">
                <a:avLst/>
              </a:prstGeom>
              <a:solidFill>
                <a:schemeClr val="accent2"/>
              </a:solidFill>
              <a:ln w="11113"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177" name="Line 152">
                <a:extLst>
                  <a:ext uri="{FF2B5EF4-FFF2-40B4-BE49-F238E27FC236}">
                    <a16:creationId xmlns:a16="http://schemas.microsoft.com/office/drawing/2014/main" id="{731644D0-138D-4C74-A352-EAFF40CA5713}"/>
                  </a:ext>
                </a:extLst>
              </p:cNvPr>
              <p:cNvSpPr>
                <a:spLocks noChangeShapeType="1"/>
              </p:cNvSpPr>
              <p:nvPr/>
            </p:nvSpPr>
            <p:spPr bwMode="auto">
              <a:xfrm>
                <a:off x="2070101" y="4280173"/>
                <a:ext cx="188913" cy="0"/>
              </a:xfrm>
              <a:prstGeom prst="line">
                <a:avLst/>
              </a:prstGeom>
              <a:solidFill>
                <a:schemeClr val="accent2"/>
              </a:solidFill>
              <a:ln w="11113"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178" name="Line 153">
                <a:extLst>
                  <a:ext uri="{FF2B5EF4-FFF2-40B4-BE49-F238E27FC236}">
                    <a16:creationId xmlns:a16="http://schemas.microsoft.com/office/drawing/2014/main" id="{EC95DF15-EE0B-418F-8370-410DBEDEFB86}"/>
                  </a:ext>
                </a:extLst>
              </p:cNvPr>
              <p:cNvSpPr>
                <a:spLocks noChangeShapeType="1"/>
              </p:cNvSpPr>
              <p:nvPr/>
            </p:nvSpPr>
            <p:spPr bwMode="auto">
              <a:xfrm>
                <a:off x="2070101" y="4329385"/>
                <a:ext cx="188913" cy="0"/>
              </a:xfrm>
              <a:prstGeom prst="line">
                <a:avLst/>
              </a:prstGeom>
              <a:solidFill>
                <a:schemeClr val="accent2"/>
              </a:solidFill>
              <a:ln w="11113"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179" name="Line 154">
                <a:extLst>
                  <a:ext uri="{FF2B5EF4-FFF2-40B4-BE49-F238E27FC236}">
                    <a16:creationId xmlns:a16="http://schemas.microsoft.com/office/drawing/2014/main" id="{1095D7F3-6B59-448D-B03E-4CF441B97DBB}"/>
                  </a:ext>
                </a:extLst>
              </p:cNvPr>
              <p:cNvSpPr>
                <a:spLocks noChangeShapeType="1"/>
              </p:cNvSpPr>
              <p:nvPr/>
            </p:nvSpPr>
            <p:spPr bwMode="auto">
              <a:xfrm>
                <a:off x="2070101" y="4380185"/>
                <a:ext cx="188913" cy="0"/>
              </a:xfrm>
              <a:prstGeom prst="line">
                <a:avLst/>
              </a:prstGeom>
              <a:solidFill>
                <a:schemeClr val="accent2"/>
              </a:solidFill>
              <a:ln w="11113"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grpSp>
      </p:grpSp>
      <p:grpSp>
        <p:nvGrpSpPr>
          <p:cNvPr id="190" name="Group 189">
            <a:extLst>
              <a:ext uri="{FF2B5EF4-FFF2-40B4-BE49-F238E27FC236}">
                <a16:creationId xmlns:a16="http://schemas.microsoft.com/office/drawing/2014/main" id="{C69022B1-8E35-4DFA-B8A5-37D03C2B6D1A}"/>
              </a:ext>
              <a:ext uri="{C183D7F6-B498-43B3-948B-1728B52AA6E4}">
                <adec:decorative xmlns:adec="http://schemas.microsoft.com/office/drawing/2017/decorative" val="1"/>
              </a:ext>
            </a:extLst>
          </p:cNvPr>
          <p:cNvGrpSpPr/>
          <p:nvPr/>
        </p:nvGrpSpPr>
        <p:grpSpPr>
          <a:xfrm>
            <a:off x="3665857" y="5862175"/>
            <a:ext cx="676275" cy="635000"/>
            <a:chOff x="6462713" y="3695700"/>
            <a:chExt cx="676275" cy="635000"/>
          </a:xfrm>
        </p:grpSpPr>
        <p:sp>
          <p:nvSpPr>
            <p:cNvPr id="191" name="Freeform 164">
              <a:extLst>
                <a:ext uri="{FF2B5EF4-FFF2-40B4-BE49-F238E27FC236}">
                  <a16:creationId xmlns:a16="http://schemas.microsoft.com/office/drawing/2014/main" id="{7C08CC46-4824-44A8-AAA0-7299BFBEC4A7}"/>
                </a:ext>
              </a:extLst>
            </p:cNvPr>
            <p:cNvSpPr>
              <a:spLocks/>
            </p:cNvSpPr>
            <p:nvPr/>
          </p:nvSpPr>
          <p:spPr bwMode="auto">
            <a:xfrm>
              <a:off x="6462713" y="3695700"/>
              <a:ext cx="676275" cy="635000"/>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92" name="Freeform 165">
              <a:extLst>
                <a:ext uri="{FF2B5EF4-FFF2-40B4-BE49-F238E27FC236}">
                  <a16:creationId xmlns:a16="http://schemas.microsoft.com/office/drawing/2014/main" id="{E2F253F2-865C-4123-BF80-3FB6B989348F}"/>
                </a:ext>
              </a:extLst>
            </p:cNvPr>
            <p:cNvSpPr>
              <a:spLocks/>
            </p:cNvSpPr>
            <p:nvPr/>
          </p:nvSpPr>
          <p:spPr bwMode="auto">
            <a:xfrm>
              <a:off x="6662738" y="3884613"/>
              <a:ext cx="171450" cy="257175"/>
            </a:xfrm>
            <a:custGeom>
              <a:avLst/>
              <a:gdLst>
                <a:gd name="T0" fmla="*/ 59 w 59"/>
                <a:gd name="T1" fmla="*/ 6 h 88"/>
                <a:gd name="T2" fmla="*/ 56 w 59"/>
                <a:gd name="T3" fmla="*/ 1 h 88"/>
                <a:gd name="T4" fmla="*/ 50 w 59"/>
                <a:gd name="T5" fmla="*/ 2 h 88"/>
                <a:gd name="T6" fmla="*/ 47 w 59"/>
                <a:gd name="T7" fmla="*/ 7 h 88"/>
                <a:gd name="T8" fmla="*/ 45 w 59"/>
                <a:gd name="T9" fmla="*/ 13 h 88"/>
                <a:gd name="T10" fmla="*/ 31 w 59"/>
                <a:gd name="T11" fmla="*/ 50 h 88"/>
                <a:gd name="T12" fmla="*/ 31 w 59"/>
                <a:gd name="T13" fmla="*/ 50 h 88"/>
                <a:gd name="T14" fmla="*/ 30 w 59"/>
                <a:gd name="T15" fmla="*/ 49 h 88"/>
                <a:gd name="T16" fmla="*/ 20 w 59"/>
                <a:gd name="T17" fmla="*/ 24 h 88"/>
                <a:gd name="T18" fmla="*/ 15 w 59"/>
                <a:gd name="T19" fmla="*/ 10 h 88"/>
                <a:gd name="T20" fmla="*/ 12 w 59"/>
                <a:gd name="T21" fmla="*/ 4 h 88"/>
                <a:gd name="T22" fmla="*/ 8 w 59"/>
                <a:gd name="T23" fmla="*/ 0 h 88"/>
                <a:gd name="T24" fmla="*/ 7 w 59"/>
                <a:gd name="T25" fmla="*/ 0 h 88"/>
                <a:gd name="T26" fmla="*/ 6 w 59"/>
                <a:gd name="T27" fmla="*/ 0 h 88"/>
                <a:gd name="T28" fmla="*/ 6 w 59"/>
                <a:gd name="T29" fmla="*/ 0 h 88"/>
                <a:gd name="T30" fmla="*/ 1 w 59"/>
                <a:gd name="T31" fmla="*/ 8 h 88"/>
                <a:gd name="T32" fmla="*/ 3 w 59"/>
                <a:gd name="T33" fmla="*/ 12 h 88"/>
                <a:gd name="T34" fmla="*/ 19 w 59"/>
                <a:gd name="T35" fmla="*/ 49 h 88"/>
                <a:gd name="T36" fmla="*/ 25 w 59"/>
                <a:gd name="T37" fmla="*/ 64 h 88"/>
                <a:gd name="T38" fmla="*/ 25 w 59"/>
                <a:gd name="T39" fmla="*/ 64 h 88"/>
                <a:gd name="T40" fmla="*/ 22 w 59"/>
                <a:gd name="T41" fmla="*/ 71 h 88"/>
                <a:gd name="T42" fmla="*/ 19 w 59"/>
                <a:gd name="T43" fmla="*/ 75 h 88"/>
                <a:gd name="T44" fmla="*/ 12 w 59"/>
                <a:gd name="T45" fmla="*/ 77 h 88"/>
                <a:gd name="T46" fmla="*/ 7 w 59"/>
                <a:gd name="T47" fmla="*/ 77 h 88"/>
                <a:gd name="T48" fmla="*/ 4 w 59"/>
                <a:gd name="T49" fmla="*/ 80 h 88"/>
                <a:gd name="T50" fmla="*/ 3 w 59"/>
                <a:gd name="T51" fmla="*/ 83 h 88"/>
                <a:gd name="T52" fmla="*/ 5 w 59"/>
                <a:gd name="T53" fmla="*/ 86 h 88"/>
                <a:gd name="T54" fmla="*/ 8 w 59"/>
                <a:gd name="T55" fmla="*/ 87 h 88"/>
                <a:gd name="T56" fmla="*/ 17 w 59"/>
                <a:gd name="T57" fmla="*/ 87 h 88"/>
                <a:gd name="T58" fmla="*/ 27 w 59"/>
                <a:gd name="T59" fmla="*/ 81 h 88"/>
                <a:gd name="T60" fmla="*/ 32 w 59"/>
                <a:gd name="T61" fmla="*/ 73 h 88"/>
                <a:gd name="T62" fmla="*/ 40 w 59"/>
                <a:gd name="T63" fmla="*/ 54 h 88"/>
                <a:gd name="T64" fmla="*/ 58 w 59"/>
                <a:gd name="T65" fmla="*/ 11 h 88"/>
                <a:gd name="T66" fmla="*/ 59 w 59"/>
                <a:gd name="T6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88">
                  <a:moveTo>
                    <a:pt x="59" y="6"/>
                  </a:moveTo>
                  <a:cubicBezTo>
                    <a:pt x="59" y="4"/>
                    <a:pt x="58" y="2"/>
                    <a:pt x="56" y="1"/>
                  </a:cubicBezTo>
                  <a:cubicBezTo>
                    <a:pt x="54" y="0"/>
                    <a:pt x="52" y="1"/>
                    <a:pt x="50" y="2"/>
                  </a:cubicBezTo>
                  <a:cubicBezTo>
                    <a:pt x="49" y="4"/>
                    <a:pt x="48" y="5"/>
                    <a:pt x="47" y="7"/>
                  </a:cubicBezTo>
                  <a:cubicBezTo>
                    <a:pt x="47" y="9"/>
                    <a:pt x="46" y="11"/>
                    <a:pt x="45" y="13"/>
                  </a:cubicBezTo>
                  <a:cubicBezTo>
                    <a:pt x="41" y="26"/>
                    <a:pt x="36" y="38"/>
                    <a:pt x="31" y="50"/>
                  </a:cubicBezTo>
                  <a:cubicBezTo>
                    <a:pt x="31" y="50"/>
                    <a:pt x="31" y="50"/>
                    <a:pt x="31" y="50"/>
                  </a:cubicBezTo>
                  <a:cubicBezTo>
                    <a:pt x="31" y="50"/>
                    <a:pt x="30" y="50"/>
                    <a:pt x="30" y="49"/>
                  </a:cubicBezTo>
                  <a:cubicBezTo>
                    <a:pt x="27" y="41"/>
                    <a:pt x="24" y="33"/>
                    <a:pt x="20" y="24"/>
                  </a:cubicBezTo>
                  <a:cubicBezTo>
                    <a:pt x="18" y="19"/>
                    <a:pt x="16" y="15"/>
                    <a:pt x="15" y="10"/>
                  </a:cubicBezTo>
                  <a:cubicBezTo>
                    <a:pt x="14" y="8"/>
                    <a:pt x="13" y="6"/>
                    <a:pt x="12" y="4"/>
                  </a:cubicBezTo>
                  <a:cubicBezTo>
                    <a:pt x="11" y="2"/>
                    <a:pt x="10" y="1"/>
                    <a:pt x="8" y="0"/>
                  </a:cubicBezTo>
                  <a:cubicBezTo>
                    <a:pt x="8" y="0"/>
                    <a:pt x="8" y="0"/>
                    <a:pt x="7" y="0"/>
                  </a:cubicBezTo>
                  <a:cubicBezTo>
                    <a:pt x="6" y="0"/>
                    <a:pt x="6" y="0"/>
                    <a:pt x="6" y="0"/>
                  </a:cubicBezTo>
                  <a:cubicBezTo>
                    <a:pt x="6" y="0"/>
                    <a:pt x="6" y="0"/>
                    <a:pt x="6" y="0"/>
                  </a:cubicBezTo>
                  <a:cubicBezTo>
                    <a:pt x="2" y="1"/>
                    <a:pt x="0" y="4"/>
                    <a:pt x="1" y="8"/>
                  </a:cubicBezTo>
                  <a:cubicBezTo>
                    <a:pt x="2" y="9"/>
                    <a:pt x="2" y="11"/>
                    <a:pt x="3" y="12"/>
                  </a:cubicBezTo>
                  <a:cubicBezTo>
                    <a:pt x="8" y="25"/>
                    <a:pt x="13" y="37"/>
                    <a:pt x="19" y="49"/>
                  </a:cubicBezTo>
                  <a:cubicBezTo>
                    <a:pt x="21" y="54"/>
                    <a:pt x="23" y="59"/>
                    <a:pt x="25" y="64"/>
                  </a:cubicBezTo>
                  <a:cubicBezTo>
                    <a:pt x="25" y="64"/>
                    <a:pt x="25" y="64"/>
                    <a:pt x="25" y="64"/>
                  </a:cubicBezTo>
                  <a:cubicBezTo>
                    <a:pt x="24" y="66"/>
                    <a:pt x="23" y="69"/>
                    <a:pt x="22" y="71"/>
                  </a:cubicBezTo>
                  <a:cubicBezTo>
                    <a:pt x="21" y="72"/>
                    <a:pt x="20" y="74"/>
                    <a:pt x="19" y="75"/>
                  </a:cubicBezTo>
                  <a:cubicBezTo>
                    <a:pt x="17" y="77"/>
                    <a:pt x="14" y="77"/>
                    <a:pt x="12" y="77"/>
                  </a:cubicBezTo>
                  <a:cubicBezTo>
                    <a:pt x="10" y="77"/>
                    <a:pt x="9" y="77"/>
                    <a:pt x="7" y="77"/>
                  </a:cubicBezTo>
                  <a:cubicBezTo>
                    <a:pt x="6" y="78"/>
                    <a:pt x="4" y="78"/>
                    <a:pt x="4" y="80"/>
                  </a:cubicBezTo>
                  <a:cubicBezTo>
                    <a:pt x="3" y="81"/>
                    <a:pt x="3" y="82"/>
                    <a:pt x="3" y="83"/>
                  </a:cubicBezTo>
                  <a:cubicBezTo>
                    <a:pt x="3" y="84"/>
                    <a:pt x="4" y="85"/>
                    <a:pt x="5" y="86"/>
                  </a:cubicBezTo>
                  <a:cubicBezTo>
                    <a:pt x="6" y="87"/>
                    <a:pt x="7" y="87"/>
                    <a:pt x="8" y="87"/>
                  </a:cubicBezTo>
                  <a:cubicBezTo>
                    <a:pt x="11" y="88"/>
                    <a:pt x="14" y="88"/>
                    <a:pt x="17" y="87"/>
                  </a:cubicBezTo>
                  <a:cubicBezTo>
                    <a:pt x="21" y="86"/>
                    <a:pt x="25" y="84"/>
                    <a:pt x="27" y="81"/>
                  </a:cubicBezTo>
                  <a:cubicBezTo>
                    <a:pt x="29" y="79"/>
                    <a:pt x="31" y="76"/>
                    <a:pt x="32" y="73"/>
                  </a:cubicBezTo>
                  <a:cubicBezTo>
                    <a:pt x="35" y="67"/>
                    <a:pt x="37" y="60"/>
                    <a:pt x="40" y="54"/>
                  </a:cubicBezTo>
                  <a:cubicBezTo>
                    <a:pt x="46" y="40"/>
                    <a:pt x="52" y="25"/>
                    <a:pt x="58" y="11"/>
                  </a:cubicBezTo>
                  <a:cubicBezTo>
                    <a:pt x="58" y="9"/>
                    <a:pt x="59" y="8"/>
                    <a:pt x="59" y="6"/>
                  </a:cubicBezTo>
                  <a:close/>
                </a:path>
              </a:pathLst>
            </a:custGeom>
            <a:solidFill>
              <a:srgbClr val="FCFCF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93" name="Freeform 166">
              <a:extLst>
                <a:ext uri="{FF2B5EF4-FFF2-40B4-BE49-F238E27FC236}">
                  <a16:creationId xmlns:a16="http://schemas.microsoft.com/office/drawing/2014/main" id="{0542E2FC-BE6F-4B7C-8A8D-B00B5756B756}"/>
                </a:ext>
              </a:extLst>
            </p:cNvPr>
            <p:cNvSpPr>
              <a:spLocks/>
            </p:cNvSpPr>
            <p:nvPr/>
          </p:nvSpPr>
          <p:spPr bwMode="auto">
            <a:xfrm>
              <a:off x="6829426" y="3908425"/>
              <a:ext cx="115888" cy="76200"/>
            </a:xfrm>
            <a:custGeom>
              <a:avLst/>
              <a:gdLst>
                <a:gd name="T0" fmla="*/ 6 w 40"/>
                <a:gd name="T1" fmla="*/ 26 h 26"/>
                <a:gd name="T2" fmla="*/ 10 w 40"/>
                <a:gd name="T3" fmla="*/ 25 h 26"/>
                <a:gd name="T4" fmla="*/ 20 w 40"/>
                <a:gd name="T5" fmla="*/ 22 h 26"/>
                <a:gd name="T6" fmla="*/ 25 w 40"/>
                <a:gd name="T7" fmla="*/ 19 h 26"/>
                <a:gd name="T8" fmla="*/ 32 w 40"/>
                <a:gd name="T9" fmla="*/ 16 h 26"/>
                <a:gd name="T10" fmla="*/ 35 w 40"/>
                <a:gd name="T11" fmla="*/ 15 h 26"/>
                <a:gd name="T12" fmla="*/ 37 w 40"/>
                <a:gd name="T13" fmla="*/ 13 h 26"/>
                <a:gd name="T14" fmla="*/ 37 w 40"/>
                <a:gd name="T15" fmla="*/ 3 h 26"/>
                <a:gd name="T16" fmla="*/ 28 w 40"/>
                <a:gd name="T17" fmla="*/ 2 h 26"/>
                <a:gd name="T18" fmla="*/ 27 w 40"/>
                <a:gd name="T19" fmla="*/ 3 h 26"/>
                <a:gd name="T20" fmla="*/ 25 w 40"/>
                <a:gd name="T21" fmla="*/ 4 h 26"/>
                <a:gd name="T22" fmla="*/ 11 w 40"/>
                <a:gd name="T23" fmla="*/ 13 h 26"/>
                <a:gd name="T24" fmla="*/ 4 w 40"/>
                <a:gd name="T25" fmla="*/ 19 h 26"/>
                <a:gd name="T26" fmla="*/ 3 w 40"/>
                <a:gd name="T27" fmla="*/ 21 h 26"/>
                <a:gd name="T28" fmla="*/ 0 w 40"/>
                <a:gd name="T29" fmla="*/ 25 h 26"/>
                <a:gd name="T30" fmla="*/ 4 w 40"/>
                <a:gd name="T31" fmla="*/ 26 h 26"/>
                <a:gd name="T32" fmla="*/ 6 w 40"/>
                <a:gd name="T3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26">
                  <a:moveTo>
                    <a:pt x="6" y="26"/>
                  </a:moveTo>
                  <a:cubicBezTo>
                    <a:pt x="8" y="26"/>
                    <a:pt x="9" y="26"/>
                    <a:pt x="10" y="25"/>
                  </a:cubicBezTo>
                  <a:cubicBezTo>
                    <a:pt x="14" y="25"/>
                    <a:pt x="17" y="23"/>
                    <a:pt x="20" y="22"/>
                  </a:cubicBezTo>
                  <a:cubicBezTo>
                    <a:pt x="22" y="21"/>
                    <a:pt x="24" y="20"/>
                    <a:pt x="25" y="19"/>
                  </a:cubicBezTo>
                  <a:cubicBezTo>
                    <a:pt x="32" y="16"/>
                    <a:pt x="32" y="16"/>
                    <a:pt x="32" y="16"/>
                  </a:cubicBezTo>
                  <a:cubicBezTo>
                    <a:pt x="33" y="16"/>
                    <a:pt x="34" y="15"/>
                    <a:pt x="35" y="15"/>
                  </a:cubicBezTo>
                  <a:cubicBezTo>
                    <a:pt x="36" y="14"/>
                    <a:pt x="37" y="14"/>
                    <a:pt x="37" y="13"/>
                  </a:cubicBezTo>
                  <a:cubicBezTo>
                    <a:pt x="40" y="10"/>
                    <a:pt x="39" y="6"/>
                    <a:pt x="37" y="3"/>
                  </a:cubicBezTo>
                  <a:cubicBezTo>
                    <a:pt x="35" y="0"/>
                    <a:pt x="31" y="0"/>
                    <a:pt x="28" y="2"/>
                  </a:cubicBezTo>
                  <a:cubicBezTo>
                    <a:pt x="28" y="2"/>
                    <a:pt x="27" y="2"/>
                    <a:pt x="27" y="3"/>
                  </a:cubicBezTo>
                  <a:cubicBezTo>
                    <a:pt x="26" y="3"/>
                    <a:pt x="25" y="3"/>
                    <a:pt x="25" y="4"/>
                  </a:cubicBezTo>
                  <a:cubicBezTo>
                    <a:pt x="20" y="7"/>
                    <a:pt x="16" y="10"/>
                    <a:pt x="11" y="13"/>
                  </a:cubicBezTo>
                  <a:cubicBezTo>
                    <a:pt x="9" y="15"/>
                    <a:pt x="6" y="17"/>
                    <a:pt x="4" y="19"/>
                  </a:cubicBezTo>
                  <a:cubicBezTo>
                    <a:pt x="4" y="20"/>
                    <a:pt x="3" y="21"/>
                    <a:pt x="3" y="21"/>
                  </a:cubicBezTo>
                  <a:cubicBezTo>
                    <a:pt x="0" y="25"/>
                    <a:pt x="0" y="25"/>
                    <a:pt x="0" y="25"/>
                  </a:cubicBezTo>
                  <a:cubicBezTo>
                    <a:pt x="4" y="26"/>
                    <a:pt x="4" y="26"/>
                    <a:pt x="4" y="26"/>
                  </a:cubicBezTo>
                  <a:cubicBezTo>
                    <a:pt x="5" y="26"/>
                    <a:pt x="5" y="26"/>
                    <a:pt x="6" y="26"/>
                  </a:cubicBezTo>
                  <a:close/>
                </a:path>
              </a:pathLst>
            </a:custGeom>
            <a:solidFill>
              <a:srgbClr val="FCFCF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94" name="Freeform 167">
              <a:extLst>
                <a:ext uri="{FF2B5EF4-FFF2-40B4-BE49-F238E27FC236}">
                  <a16:creationId xmlns:a16="http://schemas.microsoft.com/office/drawing/2014/main" id="{6E372757-1E62-4BBF-8F34-12660C152E7A}"/>
                </a:ext>
              </a:extLst>
            </p:cNvPr>
            <p:cNvSpPr>
              <a:spLocks/>
            </p:cNvSpPr>
            <p:nvPr/>
          </p:nvSpPr>
          <p:spPr bwMode="auto">
            <a:xfrm>
              <a:off x="6854826" y="3992563"/>
              <a:ext cx="122238" cy="44450"/>
            </a:xfrm>
            <a:custGeom>
              <a:avLst/>
              <a:gdLst>
                <a:gd name="T0" fmla="*/ 40 w 42"/>
                <a:gd name="T1" fmla="*/ 3 h 15"/>
                <a:gd name="T2" fmla="*/ 33 w 42"/>
                <a:gd name="T3" fmla="*/ 0 h 15"/>
                <a:gd name="T4" fmla="*/ 29 w 42"/>
                <a:gd name="T5" fmla="*/ 1 h 15"/>
                <a:gd name="T6" fmla="*/ 27 w 42"/>
                <a:gd name="T7" fmla="*/ 1 h 15"/>
                <a:gd name="T8" fmla="*/ 19 w 42"/>
                <a:gd name="T9" fmla="*/ 2 h 15"/>
                <a:gd name="T10" fmla="*/ 8 w 42"/>
                <a:gd name="T11" fmla="*/ 4 h 15"/>
                <a:gd name="T12" fmla="*/ 7 w 42"/>
                <a:gd name="T13" fmla="*/ 4 h 15"/>
                <a:gd name="T14" fmla="*/ 1 w 42"/>
                <a:gd name="T15" fmla="*/ 7 h 15"/>
                <a:gd name="T16" fmla="*/ 0 w 42"/>
                <a:gd name="T17" fmla="*/ 9 h 15"/>
                <a:gd name="T18" fmla="*/ 3 w 42"/>
                <a:gd name="T19" fmla="*/ 11 h 15"/>
                <a:gd name="T20" fmla="*/ 5 w 42"/>
                <a:gd name="T21" fmla="*/ 12 h 15"/>
                <a:gd name="T22" fmla="*/ 12 w 42"/>
                <a:gd name="T23" fmla="*/ 14 h 15"/>
                <a:gd name="T24" fmla="*/ 25 w 42"/>
                <a:gd name="T25" fmla="*/ 15 h 15"/>
                <a:gd name="T26" fmla="*/ 27 w 42"/>
                <a:gd name="T27" fmla="*/ 15 h 15"/>
                <a:gd name="T28" fmla="*/ 30 w 42"/>
                <a:gd name="T29" fmla="*/ 15 h 15"/>
                <a:gd name="T30" fmla="*/ 31 w 42"/>
                <a:gd name="T31" fmla="*/ 15 h 15"/>
                <a:gd name="T32" fmla="*/ 34 w 42"/>
                <a:gd name="T33" fmla="*/ 15 h 15"/>
                <a:gd name="T34" fmla="*/ 35 w 42"/>
                <a:gd name="T35" fmla="*/ 15 h 15"/>
                <a:gd name="T36" fmla="*/ 41 w 42"/>
                <a:gd name="T37" fmla="*/ 11 h 15"/>
                <a:gd name="T38" fmla="*/ 40 w 42"/>
                <a:gd name="T39"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15">
                  <a:moveTo>
                    <a:pt x="40" y="3"/>
                  </a:moveTo>
                  <a:cubicBezTo>
                    <a:pt x="39" y="1"/>
                    <a:pt x="36" y="0"/>
                    <a:pt x="33" y="0"/>
                  </a:cubicBezTo>
                  <a:cubicBezTo>
                    <a:pt x="32" y="1"/>
                    <a:pt x="31" y="1"/>
                    <a:pt x="29" y="1"/>
                  </a:cubicBezTo>
                  <a:cubicBezTo>
                    <a:pt x="29" y="1"/>
                    <a:pt x="28" y="1"/>
                    <a:pt x="27" y="1"/>
                  </a:cubicBezTo>
                  <a:cubicBezTo>
                    <a:pt x="24" y="1"/>
                    <a:pt x="21" y="2"/>
                    <a:pt x="19" y="2"/>
                  </a:cubicBezTo>
                  <a:cubicBezTo>
                    <a:pt x="15" y="3"/>
                    <a:pt x="12" y="3"/>
                    <a:pt x="8" y="4"/>
                  </a:cubicBezTo>
                  <a:cubicBezTo>
                    <a:pt x="7" y="4"/>
                    <a:pt x="7" y="4"/>
                    <a:pt x="7" y="4"/>
                  </a:cubicBezTo>
                  <a:cubicBezTo>
                    <a:pt x="5" y="4"/>
                    <a:pt x="3" y="5"/>
                    <a:pt x="1" y="7"/>
                  </a:cubicBezTo>
                  <a:cubicBezTo>
                    <a:pt x="0" y="9"/>
                    <a:pt x="0" y="9"/>
                    <a:pt x="0" y="9"/>
                  </a:cubicBezTo>
                  <a:cubicBezTo>
                    <a:pt x="3" y="11"/>
                    <a:pt x="3" y="11"/>
                    <a:pt x="3" y="11"/>
                  </a:cubicBezTo>
                  <a:cubicBezTo>
                    <a:pt x="3" y="11"/>
                    <a:pt x="4" y="11"/>
                    <a:pt x="5" y="12"/>
                  </a:cubicBezTo>
                  <a:cubicBezTo>
                    <a:pt x="7" y="13"/>
                    <a:pt x="10" y="13"/>
                    <a:pt x="12" y="14"/>
                  </a:cubicBezTo>
                  <a:cubicBezTo>
                    <a:pt x="17" y="14"/>
                    <a:pt x="21" y="15"/>
                    <a:pt x="25" y="15"/>
                  </a:cubicBezTo>
                  <a:cubicBezTo>
                    <a:pt x="26" y="15"/>
                    <a:pt x="26" y="15"/>
                    <a:pt x="27" y="15"/>
                  </a:cubicBezTo>
                  <a:cubicBezTo>
                    <a:pt x="28" y="15"/>
                    <a:pt x="29" y="15"/>
                    <a:pt x="30" y="15"/>
                  </a:cubicBezTo>
                  <a:cubicBezTo>
                    <a:pt x="31" y="15"/>
                    <a:pt x="31" y="15"/>
                    <a:pt x="31" y="15"/>
                  </a:cubicBezTo>
                  <a:cubicBezTo>
                    <a:pt x="32" y="15"/>
                    <a:pt x="33" y="15"/>
                    <a:pt x="34" y="15"/>
                  </a:cubicBezTo>
                  <a:cubicBezTo>
                    <a:pt x="34" y="15"/>
                    <a:pt x="35" y="15"/>
                    <a:pt x="35" y="15"/>
                  </a:cubicBezTo>
                  <a:cubicBezTo>
                    <a:pt x="38" y="15"/>
                    <a:pt x="40" y="14"/>
                    <a:pt x="41" y="11"/>
                  </a:cubicBezTo>
                  <a:cubicBezTo>
                    <a:pt x="42" y="8"/>
                    <a:pt x="42" y="6"/>
                    <a:pt x="40" y="3"/>
                  </a:cubicBezTo>
                  <a:close/>
                </a:path>
              </a:pathLst>
            </a:custGeom>
            <a:solidFill>
              <a:srgbClr val="FCFCF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95" name="Freeform 168">
              <a:extLst>
                <a:ext uri="{FF2B5EF4-FFF2-40B4-BE49-F238E27FC236}">
                  <a16:creationId xmlns:a16="http://schemas.microsoft.com/office/drawing/2014/main" id="{FFC425EA-24D7-4079-90B7-8D3E5FD1940E}"/>
                </a:ext>
              </a:extLst>
            </p:cNvPr>
            <p:cNvSpPr>
              <a:spLocks/>
            </p:cNvSpPr>
            <p:nvPr/>
          </p:nvSpPr>
          <p:spPr bwMode="auto">
            <a:xfrm>
              <a:off x="6834188" y="4048125"/>
              <a:ext cx="111125" cy="73025"/>
            </a:xfrm>
            <a:custGeom>
              <a:avLst/>
              <a:gdLst>
                <a:gd name="T0" fmla="*/ 34 w 38"/>
                <a:gd name="T1" fmla="*/ 12 h 25"/>
                <a:gd name="T2" fmla="*/ 32 w 38"/>
                <a:gd name="T3" fmla="*/ 10 h 25"/>
                <a:gd name="T4" fmla="*/ 19 w 38"/>
                <a:gd name="T5" fmla="*/ 4 h 25"/>
                <a:gd name="T6" fmla="*/ 11 w 38"/>
                <a:gd name="T7" fmla="*/ 1 h 25"/>
                <a:gd name="T8" fmla="*/ 2 w 38"/>
                <a:gd name="T9" fmla="*/ 0 h 25"/>
                <a:gd name="T10" fmla="*/ 0 w 38"/>
                <a:gd name="T11" fmla="*/ 0 h 25"/>
                <a:gd name="T12" fmla="*/ 1 w 38"/>
                <a:gd name="T13" fmla="*/ 3 h 25"/>
                <a:gd name="T14" fmla="*/ 4 w 38"/>
                <a:gd name="T15" fmla="*/ 8 h 25"/>
                <a:gd name="T16" fmla="*/ 12 w 38"/>
                <a:gd name="T17" fmla="*/ 14 h 25"/>
                <a:gd name="T18" fmla="*/ 20 w 38"/>
                <a:gd name="T19" fmla="*/ 20 h 25"/>
                <a:gd name="T20" fmla="*/ 23 w 38"/>
                <a:gd name="T21" fmla="*/ 22 h 25"/>
                <a:gd name="T22" fmla="*/ 26 w 38"/>
                <a:gd name="T23" fmla="*/ 24 h 25"/>
                <a:gd name="T24" fmla="*/ 29 w 38"/>
                <a:gd name="T25" fmla="*/ 25 h 25"/>
                <a:gd name="T26" fmla="*/ 32 w 38"/>
                <a:gd name="T27" fmla="*/ 25 h 25"/>
                <a:gd name="T28" fmla="*/ 36 w 38"/>
                <a:gd name="T29" fmla="*/ 20 h 25"/>
                <a:gd name="T30" fmla="*/ 34 w 38"/>
                <a:gd name="T31"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5">
                  <a:moveTo>
                    <a:pt x="34" y="12"/>
                  </a:moveTo>
                  <a:cubicBezTo>
                    <a:pt x="33" y="11"/>
                    <a:pt x="32" y="11"/>
                    <a:pt x="32" y="10"/>
                  </a:cubicBezTo>
                  <a:cubicBezTo>
                    <a:pt x="28" y="8"/>
                    <a:pt x="23" y="7"/>
                    <a:pt x="19" y="4"/>
                  </a:cubicBezTo>
                  <a:cubicBezTo>
                    <a:pt x="16" y="3"/>
                    <a:pt x="14" y="2"/>
                    <a:pt x="11" y="1"/>
                  </a:cubicBezTo>
                  <a:cubicBezTo>
                    <a:pt x="8" y="0"/>
                    <a:pt x="5" y="0"/>
                    <a:pt x="2" y="0"/>
                  </a:cubicBezTo>
                  <a:cubicBezTo>
                    <a:pt x="0" y="0"/>
                    <a:pt x="0" y="0"/>
                    <a:pt x="0" y="0"/>
                  </a:cubicBezTo>
                  <a:cubicBezTo>
                    <a:pt x="1" y="3"/>
                    <a:pt x="1" y="3"/>
                    <a:pt x="1" y="3"/>
                  </a:cubicBezTo>
                  <a:cubicBezTo>
                    <a:pt x="1" y="5"/>
                    <a:pt x="2" y="7"/>
                    <a:pt x="4" y="8"/>
                  </a:cubicBezTo>
                  <a:cubicBezTo>
                    <a:pt x="6" y="10"/>
                    <a:pt x="9" y="12"/>
                    <a:pt x="12" y="14"/>
                  </a:cubicBezTo>
                  <a:cubicBezTo>
                    <a:pt x="15" y="16"/>
                    <a:pt x="17" y="18"/>
                    <a:pt x="20" y="20"/>
                  </a:cubicBezTo>
                  <a:cubicBezTo>
                    <a:pt x="23" y="22"/>
                    <a:pt x="23" y="22"/>
                    <a:pt x="23" y="22"/>
                  </a:cubicBezTo>
                  <a:cubicBezTo>
                    <a:pt x="24" y="23"/>
                    <a:pt x="25" y="24"/>
                    <a:pt x="26" y="24"/>
                  </a:cubicBezTo>
                  <a:cubicBezTo>
                    <a:pt x="27" y="25"/>
                    <a:pt x="28" y="25"/>
                    <a:pt x="29" y="25"/>
                  </a:cubicBezTo>
                  <a:cubicBezTo>
                    <a:pt x="30" y="25"/>
                    <a:pt x="31" y="25"/>
                    <a:pt x="32" y="25"/>
                  </a:cubicBezTo>
                  <a:cubicBezTo>
                    <a:pt x="34" y="24"/>
                    <a:pt x="36" y="22"/>
                    <a:pt x="36" y="20"/>
                  </a:cubicBezTo>
                  <a:cubicBezTo>
                    <a:pt x="38" y="18"/>
                    <a:pt x="37" y="14"/>
                    <a:pt x="34" y="12"/>
                  </a:cubicBezTo>
                  <a:close/>
                </a:path>
              </a:pathLst>
            </a:custGeom>
            <a:solidFill>
              <a:srgbClr val="FCFCF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60" name="Group 159">
            <a:extLst>
              <a:ext uri="{FF2B5EF4-FFF2-40B4-BE49-F238E27FC236}">
                <a16:creationId xmlns:a16="http://schemas.microsoft.com/office/drawing/2014/main" id="{066D430A-1251-40DE-9B6F-04C427BB2966}"/>
              </a:ext>
              <a:ext uri="{C183D7F6-B498-43B3-948B-1728B52AA6E4}">
                <adec:decorative xmlns:adec="http://schemas.microsoft.com/office/drawing/2017/decorative" val="1"/>
              </a:ext>
            </a:extLst>
          </p:cNvPr>
          <p:cNvGrpSpPr/>
          <p:nvPr/>
        </p:nvGrpSpPr>
        <p:grpSpPr>
          <a:xfrm>
            <a:off x="5272263" y="3946128"/>
            <a:ext cx="681038" cy="635000"/>
            <a:chOff x="4794303" y="3951560"/>
            <a:chExt cx="681038" cy="635000"/>
          </a:xfrm>
        </p:grpSpPr>
        <p:sp>
          <p:nvSpPr>
            <p:cNvPr id="218" name="Freeform 187">
              <a:extLst>
                <a:ext uri="{FF2B5EF4-FFF2-40B4-BE49-F238E27FC236}">
                  <a16:creationId xmlns:a16="http://schemas.microsoft.com/office/drawing/2014/main" id="{61C4F6DE-6B47-49C0-BAAC-08023503805F}"/>
                </a:ext>
              </a:extLst>
            </p:cNvPr>
            <p:cNvSpPr>
              <a:spLocks/>
            </p:cNvSpPr>
            <p:nvPr/>
          </p:nvSpPr>
          <p:spPr bwMode="auto">
            <a:xfrm>
              <a:off x="4794303" y="3951560"/>
              <a:ext cx="681038" cy="635000"/>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19" name="Freeform 188">
              <a:extLst>
                <a:ext uri="{FF2B5EF4-FFF2-40B4-BE49-F238E27FC236}">
                  <a16:creationId xmlns:a16="http://schemas.microsoft.com/office/drawing/2014/main" id="{12BE0D11-86BD-4DE2-8AA9-C55DB386AD1B}"/>
                </a:ext>
              </a:extLst>
            </p:cNvPr>
            <p:cNvSpPr>
              <a:spLocks/>
            </p:cNvSpPr>
            <p:nvPr/>
          </p:nvSpPr>
          <p:spPr bwMode="auto">
            <a:xfrm>
              <a:off x="4972103" y="4164285"/>
              <a:ext cx="333375" cy="215900"/>
            </a:xfrm>
            <a:custGeom>
              <a:avLst/>
              <a:gdLst>
                <a:gd name="T0" fmla="*/ 83 w 115"/>
                <a:gd name="T1" fmla="*/ 74 h 74"/>
                <a:gd name="T2" fmla="*/ 23 w 115"/>
                <a:gd name="T3" fmla="*/ 74 h 74"/>
                <a:gd name="T4" fmla="*/ 0 w 115"/>
                <a:gd name="T5" fmla="*/ 51 h 74"/>
                <a:gd name="T6" fmla="*/ 0 w 115"/>
                <a:gd name="T7" fmla="*/ 23 h 74"/>
                <a:gd name="T8" fmla="*/ 23 w 115"/>
                <a:gd name="T9" fmla="*/ 0 h 74"/>
                <a:gd name="T10" fmla="*/ 106 w 115"/>
                <a:gd name="T11" fmla="*/ 0 h 74"/>
                <a:gd name="T12" fmla="*/ 83 w 115"/>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15" h="74">
                  <a:moveTo>
                    <a:pt x="83" y="74"/>
                  </a:moveTo>
                  <a:cubicBezTo>
                    <a:pt x="23" y="74"/>
                    <a:pt x="23" y="74"/>
                    <a:pt x="23" y="74"/>
                  </a:cubicBezTo>
                  <a:cubicBezTo>
                    <a:pt x="10" y="74"/>
                    <a:pt x="0" y="64"/>
                    <a:pt x="0" y="51"/>
                  </a:cubicBezTo>
                  <a:cubicBezTo>
                    <a:pt x="0" y="23"/>
                    <a:pt x="0" y="23"/>
                    <a:pt x="0" y="23"/>
                  </a:cubicBezTo>
                  <a:cubicBezTo>
                    <a:pt x="0" y="10"/>
                    <a:pt x="10" y="0"/>
                    <a:pt x="23" y="0"/>
                  </a:cubicBezTo>
                  <a:cubicBezTo>
                    <a:pt x="23" y="0"/>
                    <a:pt x="68" y="3"/>
                    <a:pt x="106" y="0"/>
                  </a:cubicBezTo>
                  <a:cubicBezTo>
                    <a:pt x="115" y="30"/>
                    <a:pt x="114" y="72"/>
                    <a:pt x="83" y="7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20" name="Freeform 189">
              <a:extLst>
                <a:ext uri="{FF2B5EF4-FFF2-40B4-BE49-F238E27FC236}">
                  <a16:creationId xmlns:a16="http://schemas.microsoft.com/office/drawing/2014/main" id="{D2AD8DEE-65EC-47F7-8EE1-740F2A112215}"/>
                </a:ext>
              </a:extLst>
            </p:cNvPr>
            <p:cNvSpPr>
              <a:spLocks noEditPoints="1"/>
            </p:cNvSpPr>
            <p:nvPr/>
          </p:nvSpPr>
          <p:spPr bwMode="auto">
            <a:xfrm>
              <a:off x="4972103" y="4164285"/>
              <a:ext cx="333375" cy="215900"/>
            </a:xfrm>
            <a:custGeom>
              <a:avLst/>
              <a:gdLst>
                <a:gd name="T0" fmla="*/ 22 w 115"/>
                <a:gd name="T1" fmla="*/ 7 h 74"/>
                <a:gd name="T2" fmla="*/ 67 w 115"/>
                <a:gd name="T3" fmla="*/ 9 h 74"/>
                <a:gd name="T4" fmla="*/ 100 w 115"/>
                <a:gd name="T5" fmla="*/ 8 h 74"/>
                <a:gd name="T6" fmla="*/ 97 w 115"/>
                <a:gd name="T7" fmla="*/ 59 h 74"/>
                <a:gd name="T8" fmla="*/ 83 w 115"/>
                <a:gd name="T9" fmla="*/ 67 h 74"/>
                <a:gd name="T10" fmla="*/ 23 w 115"/>
                <a:gd name="T11" fmla="*/ 67 h 74"/>
                <a:gd name="T12" fmla="*/ 7 w 115"/>
                <a:gd name="T13" fmla="*/ 51 h 74"/>
                <a:gd name="T14" fmla="*/ 7 w 115"/>
                <a:gd name="T15" fmla="*/ 23 h 74"/>
                <a:gd name="T16" fmla="*/ 22 w 115"/>
                <a:gd name="T17" fmla="*/ 7 h 74"/>
                <a:gd name="T18" fmla="*/ 106 w 115"/>
                <a:gd name="T19" fmla="*/ 0 h 74"/>
                <a:gd name="T20" fmla="*/ 67 w 115"/>
                <a:gd name="T21" fmla="*/ 1 h 74"/>
                <a:gd name="T22" fmla="*/ 23 w 115"/>
                <a:gd name="T23" fmla="*/ 0 h 74"/>
                <a:gd name="T24" fmla="*/ 0 w 115"/>
                <a:gd name="T25" fmla="*/ 23 h 74"/>
                <a:gd name="T26" fmla="*/ 0 w 115"/>
                <a:gd name="T27" fmla="*/ 51 h 74"/>
                <a:gd name="T28" fmla="*/ 23 w 115"/>
                <a:gd name="T29" fmla="*/ 74 h 74"/>
                <a:gd name="T30" fmla="*/ 83 w 115"/>
                <a:gd name="T31" fmla="*/ 74 h 74"/>
                <a:gd name="T32" fmla="*/ 106 w 115"/>
                <a:gd name="T3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 h="74">
                  <a:moveTo>
                    <a:pt x="22" y="7"/>
                  </a:moveTo>
                  <a:cubicBezTo>
                    <a:pt x="25" y="7"/>
                    <a:pt x="44" y="9"/>
                    <a:pt x="67" y="9"/>
                  </a:cubicBezTo>
                  <a:cubicBezTo>
                    <a:pt x="79" y="9"/>
                    <a:pt x="90" y="8"/>
                    <a:pt x="100" y="8"/>
                  </a:cubicBezTo>
                  <a:cubicBezTo>
                    <a:pt x="105" y="26"/>
                    <a:pt x="105" y="48"/>
                    <a:pt x="97" y="59"/>
                  </a:cubicBezTo>
                  <a:cubicBezTo>
                    <a:pt x="94" y="64"/>
                    <a:pt x="89" y="66"/>
                    <a:pt x="83" y="67"/>
                  </a:cubicBezTo>
                  <a:cubicBezTo>
                    <a:pt x="23" y="67"/>
                    <a:pt x="23" y="67"/>
                    <a:pt x="23" y="67"/>
                  </a:cubicBezTo>
                  <a:cubicBezTo>
                    <a:pt x="14" y="67"/>
                    <a:pt x="7" y="60"/>
                    <a:pt x="7" y="51"/>
                  </a:cubicBezTo>
                  <a:cubicBezTo>
                    <a:pt x="7" y="23"/>
                    <a:pt x="7" y="23"/>
                    <a:pt x="7" y="23"/>
                  </a:cubicBezTo>
                  <a:cubicBezTo>
                    <a:pt x="7" y="14"/>
                    <a:pt x="14" y="7"/>
                    <a:pt x="22" y="7"/>
                  </a:cubicBezTo>
                  <a:moveTo>
                    <a:pt x="106" y="0"/>
                  </a:moveTo>
                  <a:cubicBezTo>
                    <a:pt x="93" y="1"/>
                    <a:pt x="80" y="1"/>
                    <a:pt x="67" y="1"/>
                  </a:cubicBezTo>
                  <a:cubicBezTo>
                    <a:pt x="43" y="1"/>
                    <a:pt x="23" y="0"/>
                    <a:pt x="23" y="0"/>
                  </a:cubicBezTo>
                  <a:cubicBezTo>
                    <a:pt x="10" y="0"/>
                    <a:pt x="0" y="10"/>
                    <a:pt x="0" y="23"/>
                  </a:cubicBezTo>
                  <a:cubicBezTo>
                    <a:pt x="0" y="51"/>
                    <a:pt x="0" y="51"/>
                    <a:pt x="0" y="51"/>
                  </a:cubicBezTo>
                  <a:cubicBezTo>
                    <a:pt x="0" y="64"/>
                    <a:pt x="10" y="74"/>
                    <a:pt x="23" y="74"/>
                  </a:cubicBezTo>
                  <a:cubicBezTo>
                    <a:pt x="83" y="74"/>
                    <a:pt x="83" y="74"/>
                    <a:pt x="83" y="74"/>
                  </a:cubicBezTo>
                  <a:cubicBezTo>
                    <a:pt x="114" y="72"/>
                    <a:pt x="115" y="30"/>
                    <a:pt x="106"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127" name="Group 126">
              <a:extLst>
                <a:ext uri="{FF2B5EF4-FFF2-40B4-BE49-F238E27FC236}">
                  <a16:creationId xmlns:a16="http://schemas.microsoft.com/office/drawing/2014/main" id="{9CC22CA2-49E5-4563-A96C-D64FE4067109}"/>
                </a:ext>
              </a:extLst>
            </p:cNvPr>
            <p:cNvGrpSpPr/>
            <p:nvPr/>
          </p:nvGrpSpPr>
          <p:grpSpPr>
            <a:xfrm>
              <a:off x="4989565" y="4184923"/>
              <a:ext cx="287338" cy="161925"/>
              <a:chOff x="4989565" y="4184923"/>
              <a:chExt cx="287338" cy="161925"/>
            </a:xfrm>
          </p:grpSpPr>
          <p:sp>
            <p:nvSpPr>
              <p:cNvPr id="221" name="Freeform 190">
                <a:extLst>
                  <a:ext uri="{FF2B5EF4-FFF2-40B4-BE49-F238E27FC236}">
                    <a16:creationId xmlns:a16="http://schemas.microsoft.com/office/drawing/2014/main" id="{4C589538-EA6E-4910-AE7D-0436112ADD94}"/>
                  </a:ext>
                </a:extLst>
              </p:cNvPr>
              <p:cNvSpPr>
                <a:spLocks/>
              </p:cNvSpPr>
              <p:nvPr/>
            </p:nvSpPr>
            <p:spPr bwMode="auto">
              <a:xfrm>
                <a:off x="4992740" y="4257948"/>
                <a:ext cx="115888" cy="88900"/>
              </a:xfrm>
              <a:custGeom>
                <a:avLst/>
                <a:gdLst>
                  <a:gd name="T0" fmla="*/ 33 w 40"/>
                  <a:gd name="T1" fmla="*/ 0 h 31"/>
                  <a:gd name="T2" fmla="*/ 2 w 40"/>
                  <a:gd name="T3" fmla="*/ 29 h 31"/>
                  <a:gd name="T4" fmla="*/ 40 w 40"/>
                  <a:gd name="T5" fmla="*/ 5 h 31"/>
                  <a:gd name="T6" fmla="*/ 33 w 40"/>
                  <a:gd name="T7" fmla="*/ 0 h 31"/>
                </a:gdLst>
                <a:ahLst/>
                <a:cxnLst>
                  <a:cxn ang="0">
                    <a:pos x="T0" y="T1"/>
                  </a:cxn>
                  <a:cxn ang="0">
                    <a:pos x="T2" y="T3"/>
                  </a:cxn>
                  <a:cxn ang="0">
                    <a:pos x="T4" y="T5"/>
                  </a:cxn>
                  <a:cxn ang="0">
                    <a:pos x="T6" y="T7"/>
                  </a:cxn>
                </a:cxnLst>
                <a:rect l="0" t="0" r="r" b="b"/>
                <a:pathLst>
                  <a:path w="40" h="31">
                    <a:moveTo>
                      <a:pt x="33" y="0"/>
                    </a:moveTo>
                    <a:cubicBezTo>
                      <a:pt x="19" y="11"/>
                      <a:pt x="0" y="27"/>
                      <a:pt x="2" y="29"/>
                    </a:cubicBezTo>
                    <a:cubicBezTo>
                      <a:pt x="3" y="31"/>
                      <a:pt x="26" y="15"/>
                      <a:pt x="40" y="5"/>
                    </a:cubicBezTo>
                    <a:cubicBezTo>
                      <a:pt x="38" y="4"/>
                      <a:pt x="36" y="2"/>
                      <a:pt x="33"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22" name="Freeform 191">
                <a:extLst>
                  <a:ext uri="{FF2B5EF4-FFF2-40B4-BE49-F238E27FC236}">
                    <a16:creationId xmlns:a16="http://schemas.microsoft.com/office/drawing/2014/main" id="{16BE6E77-2ECC-4513-9FD6-9390549C9752}"/>
                  </a:ext>
                </a:extLst>
              </p:cNvPr>
              <p:cNvSpPr>
                <a:spLocks/>
              </p:cNvSpPr>
              <p:nvPr/>
            </p:nvSpPr>
            <p:spPr bwMode="auto">
              <a:xfrm>
                <a:off x="5161015" y="4259535"/>
                <a:ext cx="112713" cy="85725"/>
              </a:xfrm>
              <a:custGeom>
                <a:avLst/>
                <a:gdLst>
                  <a:gd name="T0" fmla="*/ 7 w 39"/>
                  <a:gd name="T1" fmla="*/ 0 h 29"/>
                  <a:gd name="T2" fmla="*/ 0 w 39"/>
                  <a:gd name="T3" fmla="*/ 5 h 29"/>
                  <a:gd name="T4" fmla="*/ 37 w 39"/>
                  <a:gd name="T5" fmla="*/ 28 h 29"/>
                  <a:gd name="T6" fmla="*/ 7 w 39"/>
                  <a:gd name="T7" fmla="*/ 0 h 29"/>
                </a:gdLst>
                <a:ahLst/>
                <a:cxnLst>
                  <a:cxn ang="0">
                    <a:pos x="T0" y="T1"/>
                  </a:cxn>
                  <a:cxn ang="0">
                    <a:pos x="T2" y="T3"/>
                  </a:cxn>
                  <a:cxn ang="0">
                    <a:pos x="T4" y="T5"/>
                  </a:cxn>
                  <a:cxn ang="0">
                    <a:pos x="T6" y="T7"/>
                  </a:cxn>
                </a:cxnLst>
                <a:rect l="0" t="0" r="r" b="b"/>
                <a:pathLst>
                  <a:path w="39" h="29">
                    <a:moveTo>
                      <a:pt x="7" y="0"/>
                    </a:moveTo>
                    <a:cubicBezTo>
                      <a:pt x="0" y="5"/>
                      <a:pt x="0" y="5"/>
                      <a:pt x="0" y="5"/>
                    </a:cubicBezTo>
                    <a:cubicBezTo>
                      <a:pt x="13" y="14"/>
                      <a:pt x="36" y="29"/>
                      <a:pt x="37" y="28"/>
                    </a:cubicBezTo>
                    <a:cubicBezTo>
                      <a:pt x="39" y="27"/>
                      <a:pt x="21" y="11"/>
                      <a:pt x="7"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23" name="Freeform 192">
                <a:extLst>
                  <a:ext uri="{FF2B5EF4-FFF2-40B4-BE49-F238E27FC236}">
                    <a16:creationId xmlns:a16="http://schemas.microsoft.com/office/drawing/2014/main" id="{3F72EF7B-4C22-431E-B8C8-6E36FF9B72F1}"/>
                  </a:ext>
                </a:extLst>
              </p:cNvPr>
              <p:cNvSpPr>
                <a:spLocks/>
              </p:cNvSpPr>
              <p:nvPr/>
            </p:nvSpPr>
            <p:spPr bwMode="auto">
              <a:xfrm>
                <a:off x="4989565" y="4184923"/>
                <a:ext cx="287338" cy="125413"/>
              </a:xfrm>
              <a:custGeom>
                <a:avLst/>
                <a:gdLst>
                  <a:gd name="T0" fmla="*/ 49 w 99"/>
                  <a:gd name="T1" fmla="*/ 32 h 43"/>
                  <a:gd name="T2" fmla="*/ 3 w 99"/>
                  <a:gd name="T3" fmla="*/ 2 h 43"/>
                  <a:gd name="T4" fmla="*/ 49 w 99"/>
                  <a:gd name="T5" fmla="*/ 43 h 43"/>
                  <a:gd name="T6" fmla="*/ 96 w 99"/>
                  <a:gd name="T7" fmla="*/ 2 h 43"/>
                  <a:gd name="T8" fmla="*/ 49 w 99"/>
                  <a:gd name="T9" fmla="*/ 32 h 43"/>
                </a:gdLst>
                <a:ahLst/>
                <a:cxnLst>
                  <a:cxn ang="0">
                    <a:pos x="T0" y="T1"/>
                  </a:cxn>
                  <a:cxn ang="0">
                    <a:pos x="T2" y="T3"/>
                  </a:cxn>
                  <a:cxn ang="0">
                    <a:pos x="T4" y="T5"/>
                  </a:cxn>
                  <a:cxn ang="0">
                    <a:pos x="T6" y="T7"/>
                  </a:cxn>
                  <a:cxn ang="0">
                    <a:pos x="T8" y="T9"/>
                  </a:cxn>
                </a:cxnLst>
                <a:rect l="0" t="0" r="r" b="b"/>
                <a:pathLst>
                  <a:path w="99" h="43">
                    <a:moveTo>
                      <a:pt x="49" y="32"/>
                    </a:moveTo>
                    <a:cubicBezTo>
                      <a:pt x="49" y="32"/>
                      <a:pt x="5" y="0"/>
                      <a:pt x="3" y="2"/>
                    </a:cubicBezTo>
                    <a:cubicBezTo>
                      <a:pt x="0" y="4"/>
                      <a:pt x="49" y="43"/>
                      <a:pt x="49" y="43"/>
                    </a:cubicBezTo>
                    <a:cubicBezTo>
                      <a:pt x="49" y="43"/>
                      <a:pt x="99" y="5"/>
                      <a:pt x="96" y="2"/>
                    </a:cubicBezTo>
                    <a:cubicBezTo>
                      <a:pt x="94" y="0"/>
                      <a:pt x="49" y="32"/>
                      <a:pt x="49" y="32"/>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grpSp>
        <p:nvGrpSpPr>
          <p:cNvPr id="224" name="Group 223">
            <a:extLst>
              <a:ext uri="{FF2B5EF4-FFF2-40B4-BE49-F238E27FC236}">
                <a16:creationId xmlns:a16="http://schemas.microsoft.com/office/drawing/2014/main" id="{4F3A5614-6240-4E58-B997-C1D3170CF86A}"/>
              </a:ext>
              <a:ext uri="{C183D7F6-B498-43B3-948B-1728B52AA6E4}">
                <adec:decorative xmlns:adec="http://schemas.microsoft.com/office/drawing/2017/decorative" val="1"/>
              </a:ext>
            </a:extLst>
          </p:cNvPr>
          <p:cNvGrpSpPr/>
          <p:nvPr/>
        </p:nvGrpSpPr>
        <p:grpSpPr>
          <a:xfrm>
            <a:off x="2874034" y="5862175"/>
            <a:ext cx="679450" cy="635000"/>
            <a:chOff x="1062038" y="3695700"/>
            <a:chExt cx="679450" cy="635000"/>
          </a:xfrm>
        </p:grpSpPr>
        <p:sp>
          <p:nvSpPr>
            <p:cNvPr id="225" name="Freeform 193">
              <a:extLst>
                <a:ext uri="{FF2B5EF4-FFF2-40B4-BE49-F238E27FC236}">
                  <a16:creationId xmlns:a16="http://schemas.microsoft.com/office/drawing/2014/main" id="{0DE2CCC3-B2AD-411B-B020-3761C306F151}"/>
                </a:ext>
              </a:extLst>
            </p:cNvPr>
            <p:cNvSpPr>
              <a:spLocks/>
            </p:cNvSpPr>
            <p:nvPr/>
          </p:nvSpPr>
          <p:spPr bwMode="auto">
            <a:xfrm>
              <a:off x="1062038" y="3695700"/>
              <a:ext cx="679450" cy="635000"/>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1" y="65"/>
                    <a:pt x="56" y="32"/>
                  </a:cubicBezTo>
                  <a:cubicBezTo>
                    <a:pt x="102" y="0"/>
                    <a:pt x="167" y="9"/>
                    <a:pt x="200" y="53"/>
                  </a:cubicBezTo>
                  <a:cubicBezTo>
                    <a:pt x="234" y="96"/>
                    <a:pt x="220" y="153"/>
                    <a:pt x="174" y="185"/>
                  </a:cubicBezTo>
                  <a:cubicBezTo>
                    <a:pt x="128" y="218"/>
                    <a:pt x="68" y="214"/>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26" name="Freeform 194">
              <a:extLst>
                <a:ext uri="{FF2B5EF4-FFF2-40B4-BE49-F238E27FC236}">
                  <a16:creationId xmlns:a16="http://schemas.microsoft.com/office/drawing/2014/main" id="{C66762C3-86CA-40AE-A0A5-1427B5C1A80B}"/>
                </a:ext>
              </a:extLst>
            </p:cNvPr>
            <p:cNvSpPr>
              <a:spLocks/>
            </p:cNvSpPr>
            <p:nvPr/>
          </p:nvSpPr>
          <p:spPr bwMode="auto">
            <a:xfrm>
              <a:off x="1314451" y="3987800"/>
              <a:ext cx="125413" cy="127000"/>
            </a:xfrm>
            <a:custGeom>
              <a:avLst/>
              <a:gdLst>
                <a:gd name="T0" fmla="*/ 0 w 43"/>
                <a:gd name="T1" fmla="*/ 0 h 44"/>
                <a:gd name="T2" fmla="*/ 43 w 43"/>
                <a:gd name="T3" fmla="*/ 44 h 44"/>
              </a:gdLst>
              <a:ahLst/>
              <a:cxnLst>
                <a:cxn ang="0">
                  <a:pos x="T0" y="T1"/>
                </a:cxn>
                <a:cxn ang="0">
                  <a:pos x="T2" y="T3"/>
                </a:cxn>
              </a:cxnLst>
              <a:rect l="0" t="0" r="r" b="b"/>
              <a:pathLst>
                <a:path w="43" h="44">
                  <a:moveTo>
                    <a:pt x="0" y="0"/>
                  </a:moveTo>
                  <a:cubicBezTo>
                    <a:pt x="24" y="0"/>
                    <a:pt x="43" y="19"/>
                    <a:pt x="43" y="44"/>
                  </a:cubicBezTo>
                </a:path>
              </a:pathLst>
            </a:custGeom>
            <a:noFill/>
            <a:ln w="34925" cap="rnd">
              <a:solidFill>
                <a:srgbClr val="FFFFF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227" name="Oval 195">
              <a:extLst>
                <a:ext uri="{FF2B5EF4-FFF2-40B4-BE49-F238E27FC236}">
                  <a16:creationId xmlns:a16="http://schemas.microsoft.com/office/drawing/2014/main" id="{F8E06F1B-FB6F-4C0C-99DE-442DA7DB3F33}"/>
                </a:ext>
              </a:extLst>
            </p:cNvPr>
            <p:cNvSpPr>
              <a:spLocks noChangeArrowheads="1"/>
            </p:cNvSpPr>
            <p:nvPr/>
          </p:nvSpPr>
          <p:spPr bwMode="auto">
            <a:xfrm>
              <a:off x="1290638" y="4065588"/>
              <a:ext cx="69850" cy="73025"/>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28" name="Freeform 196">
              <a:extLst>
                <a:ext uri="{FF2B5EF4-FFF2-40B4-BE49-F238E27FC236}">
                  <a16:creationId xmlns:a16="http://schemas.microsoft.com/office/drawing/2014/main" id="{F22CF1AE-288B-4228-B949-1FF8A62BF306}"/>
                </a:ext>
              </a:extLst>
            </p:cNvPr>
            <p:cNvSpPr>
              <a:spLocks/>
            </p:cNvSpPr>
            <p:nvPr/>
          </p:nvSpPr>
          <p:spPr bwMode="auto">
            <a:xfrm>
              <a:off x="1287463" y="3862388"/>
              <a:ext cx="261938" cy="269875"/>
            </a:xfrm>
            <a:custGeom>
              <a:avLst/>
              <a:gdLst>
                <a:gd name="T0" fmla="*/ 84 w 90"/>
                <a:gd name="T1" fmla="*/ 93 h 93"/>
                <a:gd name="T2" fmla="*/ 78 w 90"/>
                <a:gd name="T3" fmla="*/ 87 h 93"/>
                <a:gd name="T4" fmla="*/ 50 w 90"/>
                <a:gd name="T5" fmla="*/ 31 h 93"/>
                <a:gd name="T6" fmla="*/ 23 w 90"/>
                <a:gd name="T7" fmla="*/ 18 h 93"/>
                <a:gd name="T8" fmla="*/ 0 w 90"/>
                <a:gd name="T9" fmla="*/ 6 h 93"/>
                <a:gd name="T10" fmla="*/ 47 w 90"/>
                <a:gd name="T11" fmla="*/ 14 h 93"/>
                <a:gd name="T12" fmla="*/ 90 w 90"/>
                <a:gd name="T13" fmla="*/ 87 h 93"/>
                <a:gd name="T14" fmla="*/ 84 w 90"/>
                <a:gd name="T15" fmla="*/ 9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93">
                  <a:moveTo>
                    <a:pt x="84" y="93"/>
                  </a:moveTo>
                  <a:cubicBezTo>
                    <a:pt x="81" y="93"/>
                    <a:pt x="78" y="90"/>
                    <a:pt x="78" y="87"/>
                  </a:cubicBezTo>
                  <a:cubicBezTo>
                    <a:pt x="78" y="64"/>
                    <a:pt x="66" y="44"/>
                    <a:pt x="50" y="31"/>
                  </a:cubicBezTo>
                  <a:cubicBezTo>
                    <a:pt x="45" y="27"/>
                    <a:pt x="35" y="19"/>
                    <a:pt x="23" y="18"/>
                  </a:cubicBezTo>
                  <a:cubicBezTo>
                    <a:pt x="9" y="17"/>
                    <a:pt x="2" y="17"/>
                    <a:pt x="0" y="6"/>
                  </a:cubicBezTo>
                  <a:cubicBezTo>
                    <a:pt x="17" y="0"/>
                    <a:pt x="35" y="8"/>
                    <a:pt x="47" y="14"/>
                  </a:cubicBezTo>
                  <a:cubicBezTo>
                    <a:pt x="73" y="28"/>
                    <a:pt x="90" y="55"/>
                    <a:pt x="90" y="87"/>
                  </a:cubicBezTo>
                  <a:cubicBezTo>
                    <a:pt x="90" y="90"/>
                    <a:pt x="87" y="93"/>
                    <a:pt x="84" y="9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229" name="Group 228">
            <a:extLst>
              <a:ext uri="{FF2B5EF4-FFF2-40B4-BE49-F238E27FC236}">
                <a16:creationId xmlns:a16="http://schemas.microsoft.com/office/drawing/2014/main" id="{E9AE0629-67EF-4FCF-A1A3-9F0339555CF8}"/>
              </a:ext>
              <a:ext uri="{C183D7F6-B498-43B3-948B-1728B52AA6E4}">
                <adec:decorative xmlns:adec="http://schemas.microsoft.com/office/drawing/2017/decorative" val="1"/>
              </a:ext>
            </a:extLst>
          </p:cNvPr>
          <p:cNvGrpSpPr/>
          <p:nvPr/>
        </p:nvGrpSpPr>
        <p:grpSpPr>
          <a:xfrm>
            <a:off x="2051665" y="1101944"/>
            <a:ext cx="679450" cy="633413"/>
            <a:chOff x="1062038" y="942975"/>
            <a:chExt cx="679450" cy="633413"/>
          </a:xfrm>
        </p:grpSpPr>
        <p:sp>
          <p:nvSpPr>
            <p:cNvPr id="230" name="Freeform 197">
              <a:extLst>
                <a:ext uri="{FF2B5EF4-FFF2-40B4-BE49-F238E27FC236}">
                  <a16:creationId xmlns:a16="http://schemas.microsoft.com/office/drawing/2014/main" id="{1A3681AC-F6BA-4130-8AC8-BE8790317E3B}"/>
                </a:ext>
              </a:extLst>
            </p:cNvPr>
            <p:cNvSpPr>
              <a:spLocks/>
            </p:cNvSpPr>
            <p:nvPr/>
          </p:nvSpPr>
          <p:spPr bwMode="auto">
            <a:xfrm>
              <a:off x="1062038"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1" y="65"/>
                    <a:pt x="56" y="32"/>
                  </a:cubicBezTo>
                  <a:cubicBezTo>
                    <a:pt x="102" y="0"/>
                    <a:pt x="167" y="9"/>
                    <a:pt x="200" y="53"/>
                  </a:cubicBezTo>
                  <a:cubicBezTo>
                    <a:pt x="234" y="96"/>
                    <a:pt x="220" y="153"/>
                    <a:pt x="174" y="185"/>
                  </a:cubicBezTo>
                  <a:cubicBezTo>
                    <a:pt x="128" y="218"/>
                    <a:pt x="68"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231" name="Freeform 198">
              <a:extLst>
                <a:ext uri="{FF2B5EF4-FFF2-40B4-BE49-F238E27FC236}">
                  <a16:creationId xmlns:a16="http://schemas.microsoft.com/office/drawing/2014/main" id="{66FE2C2B-862D-4E85-8CBA-6A5669989613}"/>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2" name="Freeform 199">
              <a:extLst>
                <a:ext uri="{FF2B5EF4-FFF2-40B4-BE49-F238E27FC236}">
                  <a16:creationId xmlns:a16="http://schemas.microsoft.com/office/drawing/2014/main" id="{026E1687-A6FE-4AB2-B0F0-C4D736226443}"/>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3" name="Freeform 200">
              <a:extLst>
                <a:ext uri="{FF2B5EF4-FFF2-40B4-BE49-F238E27FC236}">
                  <a16:creationId xmlns:a16="http://schemas.microsoft.com/office/drawing/2014/main" id="{A5C8282F-BE9F-48A0-A30E-D5AD026CC8CA}"/>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0F3F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4" name="Freeform 201">
              <a:extLst>
                <a:ext uri="{FF2B5EF4-FFF2-40B4-BE49-F238E27FC236}">
                  <a16:creationId xmlns:a16="http://schemas.microsoft.com/office/drawing/2014/main" id="{3722F51D-1588-4FFF-BD57-3A5EED8EBA2C}"/>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5" name="Freeform 202">
              <a:extLst>
                <a:ext uri="{FF2B5EF4-FFF2-40B4-BE49-F238E27FC236}">
                  <a16:creationId xmlns:a16="http://schemas.microsoft.com/office/drawing/2014/main" id="{D45E79B5-A18B-4D0B-8F66-8417133B076F}"/>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6" name="Freeform 203">
              <a:extLst>
                <a:ext uri="{FF2B5EF4-FFF2-40B4-BE49-F238E27FC236}">
                  <a16:creationId xmlns:a16="http://schemas.microsoft.com/office/drawing/2014/main" id="{B94E90EA-F603-4DFA-ACF3-9CC250FE76AB}"/>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7" name="Freeform 204">
              <a:extLst>
                <a:ext uri="{FF2B5EF4-FFF2-40B4-BE49-F238E27FC236}">
                  <a16:creationId xmlns:a16="http://schemas.microsoft.com/office/drawing/2014/main" id="{D0DF1E8A-3E77-4CD5-B68E-E1A6797F9066}"/>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261" name="Group 260">
            <a:extLst>
              <a:ext uri="{FF2B5EF4-FFF2-40B4-BE49-F238E27FC236}">
                <a16:creationId xmlns:a16="http://schemas.microsoft.com/office/drawing/2014/main" id="{7B24FA8D-5D76-4860-A560-96FC1B8A8EE9}"/>
              </a:ext>
              <a:ext uri="{C183D7F6-B498-43B3-948B-1728B52AA6E4}">
                <adec:decorative xmlns:adec="http://schemas.microsoft.com/office/drawing/2017/decorative" val="1"/>
              </a:ext>
            </a:extLst>
          </p:cNvPr>
          <p:cNvGrpSpPr/>
          <p:nvPr/>
        </p:nvGrpSpPr>
        <p:grpSpPr>
          <a:xfrm>
            <a:off x="6079663" y="3946128"/>
            <a:ext cx="677863" cy="635000"/>
            <a:chOff x="4919663" y="3695700"/>
            <a:chExt cx="677863" cy="635000"/>
          </a:xfrm>
        </p:grpSpPr>
        <p:sp>
          <p:nvSpPr>
            <p:cNvPr id="262" name="Freeform 228">
              <a:extLst>
                <a:ext uri="{FF2B5EF4-FFF2-40B4-BE49-F238E27FC236}">
                  <a16:creationId xmlns:a16="http://schemas.microsoft.com/office/drawing/2014/main" id="{87CBBD24-07A2-4C36-A918-34108FAECB3E}"/>
                </a:ext>
              </a:extLst>
            </p:cNvPr>
            <p:cNvSpPr>
              <a:spLocks/>
            </p:cNvSpPr>
            <p:nvPr/>
          </p:nvSpPr>
          <p:spPr bwMode="auto">
            <a:xfrm>
              <a:off x="4919663" y="3695700"/>
              <a:ext cx="677863" cy="635000"/>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63" name="Oval 229">
              <a:extLst>
                <a:ext uri="{FF2B5EF4-FFF2-40B4-BE49-F238E27FC236}">
                  <a16:creationId xmlns:a16="http://schemas.microsoft.com/office/drawing/2014/main" id="{514526AA-01E7-44D8-9A57-1805DEAE7002}"/>
                </a:ext>
              </a:extLst>
            </p:cNvPr>
            <p:cNvSpPr>
              <a:spLocks noChangeArrowheads="1"/>
            </p:cNvSpPr>
            <p:nvPr/>
          </p:nvSpPr>
          <p:spPr bwMode="auto">
            <a:xfrm>
              <a:off x="5118101" y="3879850"/>
              <a:ext cx="217488" cy="217488"/>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64" name="Freeform 230">
              <a:extLst>
                <a:ext uri="{FF2B5EF4-FFF2-40B4-BE49-F238E27FC236}">
                  <a16:creationId xmlns:a16="http://schemas.microsoft.com/office/drawing/2014/main" id="{B7C637F0-CF2C-42F6-B409-734D0A029ECB}"/>
                </a:ext>
              </a:extLst>
            </p:cNvPr>
            <p:cNvSpPr>
              <a:spLocks/>
            </p:cNvSpPr>
            <p:nvPr/>
          </p:nvSpPr>
          <p:spPr bwMode="auto">
            <a:xfrm>
              <a:off x="5272088" y="4048125"/>
              <a:ext cx="155575" cy="160338"/>
            </a:xfrm>
            <a:custGeom>
              <a:avLst/>
              <a:gdLst>
                <a:gd name="T0" fmla="*/ 24 w 54"/>
                <a:gd name="T1" fmla="*/ 38 h 55"/>
                <a:gd name="T2" fmla="*/ 4 w 54"/>
                <a:gd name="T3" fmla="*/ 18 h 55"/>
                <a:gd name="T4" fmla="*/ 4 w 54"/>
                <a:gd name="T5" fmla="*/ 4 h 55"/>
                <a:gd name="T6" fmla="*/ 18 w 54"/>
                <a:gd name="T7" fmla="*/ 4 h 55"/>
                <a:gd name="T8" fmla="*/ 54 w 54"/>
                <a:gd name="T9" fmla="*/ 40 h 55"/>
                <a:gd name="T10" fmla="*/ 24 w 54"/>
                <a:gd name="T11" fmla="*/ 38 h 55"/>
              </a:gdLst>
              <a:ahLst/>
              <a:cxnLst>
                <a:cxn ang="0">
                  <a:pos x="T0" y="T1"/>
                </a:cxn>
                <a:cxn ang="0">
                  <a:pos x="T2" y="T3"/>
                </a:cxn>
                <a:cxn ang="0">
                  <a:pos x="T4" y="T5"/>
                </a:cxn>
                <a:cxn ang="0">
                  <a:pos x="T6" y="T7"/>
                </a:cxn>
                <a:cxn ang="0">
                  <a:pos x="T8" y="T9"/>
                </a:cxn>
                <a:cxn ang="0">
                  <a:pos x="T10" y="T11"/>
                </a:cxn>
              </a:cxnLst>
              <a:rect l="0" t="0" r="r" b="b"/>
              <a:pathLst>
                <a:path w="54" h="55">
                  <a:moveTo>
                    <a:pt x="24" y="38"/>
                  </a:moveTo>
                  <a:cubicBezTo>
                    <a:pt x="4" y="18"/>
                    <a:pt x="4" y="18"/>
                    <a:pt x="4" y="18"/>
                  </a:cubicBezTo>
                  <a:cubicBezTo>
                    <a:pt x="0" y="14"/>
                    <a:pt x="0" y="7"/>
                    <a:pt x="4" y="4"/>
                  </a:cubicBezTo>
                  <a:cubicBezTo>
                    <a:pt x="8" y="0"/>
                    <a:pt x="14" y="0"/>
                    <a:pt x="18" y="4"/>
                  </a:cubicBezTo>
                  <a:cubicBezTo>
                    <a:pt x="18" y="4"/>
                    <a:pt x="54" y="32"/>
                    <a:pt x="54" y="40"/>
                  </a:cubicBezTo>
                  <a:cubicBezTo>
                    <a:pt x="42" y="43"/>
                    <a:pt x="41" y="55"/>
                    <a:pt x="24" y="3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65" name="Freeform 231">
              <a:extLst>
                <a:ext uri="{FF2B5EF4-FFF2-40B4-BE49-F238E27FC236}">
                  <a16:creationId xmlns:a16="http://schemas.microsoft.com/office/drawing/2014/main" id="{FF808E0A-6767-4A95-9F54-904C225055C3}"/>
                </a:ext>
              </a:extLst>
            </p:cNvPr>
            <p:cNvSpPr>
              <a:spLocks noEditPoints="1"/>
            </p:cNvSpPr>
            <p:nvPr/>
          </p:nvSpPr>
          <p:spPr bwMode="auto">
            <a:xfrm>
              <a:off x="5083176" y="3849688"/>
              <a:ext cx="273050" cy="274638"/>
            </a:xfrm>
            <a:custGeom>
              <a:avLst/>
              <a:gdLst>
                <a:gd name="T0" fmla="*/ 47 w 94"/>
                <a:gd name="T1" fmla="*/ 0 h 94"/>
                <a:gd name="T2" fmla="*/ 0 w 94"/>
                <a:gd name="T3" fmla="*/ 47 h 94"/>
                <a:gd name="T4" fmla="*/ 47 w 94"/>
                <a:gd name="T5" fmla="*/ 94 h 94"/>
                <a:gd name="T6" fmla="*/ 94 w 94"/>
                <a:gd name="T7" fmla="*/ 47 h 94"/>
                <a:gd name="T8" fmla="*/ 47 w 94"/>
                <a:gd name="T9" fmla="*/ 0 h 94"/>
                <a:gd name="T10" fmla="*/ 47 w 94"/>
                <a:gd name="T11" fmla="*/ 79 h 94"/>
                <a:gd name="T12" fmla="*/ 16 w 94"/>
                <a:gd name="T13" fmla="*/ 47 h 94"/>
                <a:gd name="T14" fmla="*/ 47 w 94"/>
                <a:gd name="T15" fmla="*/ 16 h 94"/>
                <a:gd name="T16" fmla="*/ 79 w 94"/>
                <a:gd name="T17" fmla="*/ 47 h 94"/>
                <a:gd name="T18" fmla="*/ 47 w 94"/>
                <a:gd name="T19"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47" y="0"/>
                  </a:moveTo>
                  <a:cubicBezTo>
                    <a:pt x="21" y="0"/>
                    <a:pt x="0" y="21"/>
                    <a:pt x="0" y="47"/>
                  </a:cubicBezTo>
                  <a:cubicBezTo>
                    <a:pt x="0" y="73"/>
                    <a:pt x="21" y="94"/>
                    <a:pt x="47" y="94"/>
                  </a:cubicBezTo>
                  <a:cubicBezTo>
                    <a:pt x="73" y="94"/>
                    <a:pt x="94" y="73"/>
                    <a:pt x="94" y="47"/>
                  </a:cubicBezTo>
                  <a:cubicBezTo>
                    <a:pt x="94" y="21"/>
                    <a:pt x="73" y="0"/>
                    <a:pt x="47" y="0"/>
                  </a:cubicBezTo>
                  <a:close/>
                  <a:moveTo>
                    <a:pt x="47" y="79"/>
                  </a:moveTo>
                  <a:cubicBezTo>
                    <a:pt x="30" y="79"/>
                    <a:pt x="16" y="65"/>
                    <a:pt x="16" y="47"/>
                  </a:cubicBezTo>
                  <a:cubicBezTo>
                    <a:pt x="16" y="30"/>
                    <a:pt x="30" y="16"/>
                    <a:pt x="47" y="16"/>
                  </a:cubicBezTo>
                  <a:cubicBezTo>
                    <a:pt x="65" y="16"/>
                    <a:pt x="79" y="30"/>
                    <a:pt x="79" y="47"/>
                  </a:cubicBezTo>
                  <a:cubicBezTo>
                    <a:pt x="79" y="65"/>
                    <a:pt x="65" y="79"/>
                    <a:pt x="47" y="7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66" name="Oval 232">
              <a:extLst>
                <a:ext uri="{FF2B5EF4-FFF2-40B4-BE49-F238E27FC236}">
                  <a16:creationId xmlns:a16="http://schemas.microsoft.com/office/drawing/2014/main" id="{754AAACC-BFD1-4D7B-AE10-AB0C48E09487}"/>
                </a:ext>
              </a:extLst>
            </p:cNvPr>
            <p:cNvSpPr>
              <a:spLocks noChangeArrowheads="1"/>
            </p:cNvSpPr>
            <p:nvPr/>
          </p:nvSpPr>
          <p:spPr bwMode="auto">
            <a:xfrm>
              <a:off x="5140326" y="3935413"/>
              <a:ext cx="52388" cy="49213"/>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280" name="Group 279">
            <a:extLst>
              <a:ext uri="{FF2B5EF4-FFF2-40B4-BE49-F238E27FC236}">
                <a16:creationId xmlns:a16="http://schemas.microsoft.com/office/drawing/2014/main" id="{0D7F63CB-A972-4EFA-A671-0013423DD1C8}"/>
              </a:ext>
              <a:ext uri="{C183D7F6-B498-43B3-948B-1728B52AA6E4}">
                <adec:decorative xmlns:adec="http://schemas.microsoft.com/office/drawing/2017/decorative" val="1"/>
              </a:ext>
            </a:extLst>
          </p:cNvPr>
          <p:cNvGrpSpPr/>
          <p:nvPr/>
        </p:nvGrpSpPr>
        <p:grpSpPr>
          <a:xfrm>
            <a:off x="461364" y="3946128"/>
            <a:ext cx="679450" cy="633413"/>
            <a:chOff x="1062038" y="4583113"/>
            <a:chExt cx="679450" cy="633413"/>
          </a:xfrm>
        </p:grpSpPr>
        <p:sp>
          <p:nvSpPr>
            <p:cNvPr id="281" name="Freeform 243">
              <a:extLst>
                <a:ext uri="{FF2B5EF4-FFF2-40B4-BE49-F238E27FC236}">
                  <a16:creationId xmlns:a16="http://schemas.microsoft.com/office/drawing/2014/main" id="{FB7327D3-D47F-4A86-BFE8-1CF7D6B2FEB2}"/>
                </a:ext>
              </a:extLst>
            </p:cNvPr>
            <p:cNvSpPr>
              <a:spLocks/>
            </p:cNvSpPr>
            <p:nvPr/>
          </p:nvSpPr>
          <p:spPr bwMode="auto">
            <a:xfrm>
              <a:off x="1062038" y="4583113"/>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1" y="65"/>
                    <a:pt x="56" y="33"/>
                  </a:cubicBezTo>
                  <a:cubicBezTo>
                    <a:pt x="102" y="0"/>
                    <a:pt x="167" y="9"/>
                    <a:pt x="200" y="53"/>
                  </a:cubicBezTo>
                  <a:cubicBezTo>
                    <a:pt x="234" y="97"/>
                    <a:pt x="220" y="153"/>
                    <a:pt x="174" y="186"/>
                  </a:cubicBezTo>
                  <a:cubicBezTo>
                    <a:pt x="128" y="218"/>
                    <a:pt x="68" y="214"/>
                    <a:pt x="34" y="171"/>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82" name="Freeform 244">
              <a:extLst>
                <a:ext uri="{FF2B5EF4-FFF2-40B4-BE49-F238E27FC236}">
                  <a16:creationId xmlns:a16="http://schemas.microsoft.com/office/drawing/2014/main" id="{AA457C29-4101-469E-8AA1-9D2198C4B801}"/>
                </a:ext>
              </a:extLst>
            </p:cNvPr>
            <p:cNvSpPr>
              <a:spLocks/>
            </p:cNvSpPr>
            <p:nvPr/>
          </p:nvSpPr>
          <p:spPr bwMode="auto">
            <a:xfrm>
              <a:off x="1254126" y="4772025"/>
              <a:ext cx="295275" cy="261938"/>
            </a:xfrm>
            <a:custGeom>
              <a:avLst/>
              <a:gdLst>
                <a:gd name="T0" fmla="*/ 102 w 102"/>
                <a:gd name="T1" fmla="*/ 67 h 90"/>
                <a:gd name="T2" fmla="*/ 79 w 102"/>
                <a:gd name="T3" fmla="*/ 90 h 90"/>
                <a:gd name="T4" fmla="*/ 22 w 102"/>
                <a:gd name="T5" fmla="*/ 90 h 90"/>
                <a:gd name="T6" fmla="*/ 0 w 102"/>
                <a:gd name="T7" fmla="*/ 67 h 90"/>
                <a:gd name="T8" fmla="*/ 0 w 102"/>
                <a:gd name="T9" fmla="*/ 23 h 90"/>
                <a:gd name="T10" fmla="*/ 22 w 102"/>
                <a:gd name="T11" fmla="*/ 0 h 90"/>
                <a:gd name="T12" fmla="*/ 79 w 102"/>
                <a:gd name="T13" fmla="*/ 0 h 90"/>
                <a:gd name="T14" fmla="*/ 102 w 102"/>
                <a:gd name="T15" fmla="*/ 23 h 90"/>
                <a:gd name="T16" fmla="*/ 102 w 102"/>
                <a:gd name="T17" fmla="*/ 6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90">
                  <a:moveTo>
                    <a:pt x="102" y="67"/>
                  </a:moveTo>
                  <a:cubicBezTo>
                    <a:pt x="102" y="80"/>
                    <a:pt x="91" y="90"/>
                    <a:pt x="79" y="90"/>
                  </a:cubicBezTo>
                  <a:cubicBezTo>
                    <a:pt x="22" y="90"/>
                    <a:pt x="22" y="90"/>
                    <a:pt x="22" y="90"/>
                  </a:cubicBezTo>
                  <a:cubicBezTo>
                    <a:pt x="10" y="90"/>
                    <a:pt x="0" y="80"/>
                    <a:pt x="0" y="67"/>
                  </a:cubicBezTo>
                  <a:cubicBezTo>
                    <a:pt x="0" y="23"/>
                    <a:pt x="0" y="23"/>
                    <a:pt x="0" y="23"/>
                  </a:cubicBezTo>
                  <a:cubicBezTo>
                    <a:pt x="0" y="10"/>
                    <a:pt x="10" y="0"/>
                    <a:pt x="22" y="0"/>
                  </a:cubicBezTo>
                  <a:cubicBezTo>
                    <a:pt x="79" y="0"/>
                    <a:pt x="79" y="0"/>
                    <a:pt x="79" y="0"/>
                  </a:cubicBezTo>
                  <a:cubicBezTo>
                    <a:pt x="91" y="0"/>
                    <a:pt x="102" y="10"/>
                    <a:pt x="102" y="23"/>
                  </a:cubicBezTo>
                  <a:lnTo>
                    <a:pt x="102" y="6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83" name="Freeform 245">
              <a:extLst>
                <a:ext uri="{FF2B5EF4-FFF2-40B4-BE49-F238E27FC236}">
                  <a16:creationId xmlns:a16="http://schemas.microsoft.com/office/drawing/2014/main" id="{42633958-A366-492F-A8D1-8E9D57F17644}"/>
                </a:ext>
              </a:extLst>
            </p:cNvPr>
            <p:cNvSpPr>
              <a:spLocks/>
            </p:cNvSpPr>
            <p:nvPr/>
          </p:nvSpPr>
          <p:spPr bwMode="auto">
            <a:xfrm>
              <a:off x="1357313" y="4845050"/>
              <a:ext cx="107950" cy="115888"/>
            </a:xfrm>
            <a:custGeom>
              <a:avLst/>
              <a:gdLst>
                <a:gd name="T0" fmla="*/ 5 w 37"/>
                <a:gd name="T1" fmla="*/ 2 h 40"/>
                <a:gd name="T2" fmla="*/ 37 w 37"/>
                <a:gd name="T3" fmla="*/ 21 h 40"/>
                <a:gd name="T4" fmla="*/ 5 w 37"/>
                <a:gd name="T5" fmla="*/ 39 h 40"/>
                <a:gd name="T6" fmla="*/ 0 w 37"/>
                <a:gd name="T7" fmla="*/ 36 h 40"/>
                <a:gd name="T8" fmla="*/ 0 w 37"/>
                <a:gd name="T9" fmla="*/ 4 h 40"/>
                <a:gd name="T10" fmla="*/ 5 w 37"/>
                <a:gd name="T11" fmla="*/ 2 h 40"/>
              </a:gdLst>
              <a:ahLst/>
              <a:cxnLst>
                <a:cxn ang="0">
                  <a:pos x="T0" y="T1"/>
                </a:cxn>
                <a:cxn ang="0">
                  <a:pos x="T2" y="T3"/>
                </a:cxn>
                <a:cxn ang="0">
                  <a:pos x="T4" y="T5"/>
                </a:cxn>
                <a:cxn ang="0">
                  <a:pos x="T6" y="T7"/>
                </a:cxn>
                <a:cxn ang="0">
                  <a:pos x="T8" y="T9"/>
                </a:cxn>
                <a:cxn ang="0">
                  <a:pos x="T10" y="T11"/>
                </a:cxn>
              </a:cxnLst>
              <a:rect l="0" t="0" r="r" b="b"/>
              <a:pathLst>
                <a:path w="37" h="40">
                  <a:moveTo>
                    <a:pt x="5" y="2"/>
                  </a:moveTo>
                  <a:cubicBezTo>
                    <a:pt x="8" y="3"/>
                    <a:pt x="30" y="12"/>
                    <a:pt x="37" y="21"/>
                  </a:cubicBezTo>
                  <a:cubicBezTo>
                    <a:pt x="19" y="30"/>
                    <a:pt x="19" y="35"/>
                    <a:pt x="5" y="39"/>
                  </a:cubicBezTo>
                  <a:cubicBezTo>
                    <a:pt x="2" y="40"/>
                    <a:pt x="0" y="39"/>
                    <a:pt x="0" y="36"/>
                  </a:cubicBezTo>
                  <a:cubicBezTo>
                    <a:pt x="0" y="34"/>
                    <a:pt x="0" y="6"/>
                    <a:pt x="0" y="4"/>
                  </a:cubicBezTo>
                  <a:cubicBezTo>
                    <a:pt x="0" y="1"/>
                    <a:pt x="2" y="0"/>
                    <a:pt x="5" y="2"/>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62" name="Group 161">
            <a:extLst>
              <a:ext uri="{FF2B5EF4-FFF2-40B4-BE49-F238E27FC236}">
                <a16:creationId xmlns:a16="http://schemas.microsoft.com/office/drawing/2014/main" id="{6CC81183-10F6-4E5F-86AF-3AE994326DF7}"/>
              </a:ext>
              <a:ext uri="{C183D7F6-B498-43B3-948B-1728B52AA6E4}">
                <adec:decorative xmlns:adec="http://schemas.microsoft.com/office/drawing/2017/decorative" val="1"/>
              </a:ext>
            </a:extLst>
          </p:cNvPr>
          <p:cNvGrpSpPr/>
          <p:nvPr/>
        </p:nvGrpSpPr>
        <p:grpSpPr>
          <a:xfrm>
            <a:off x="9204413" y="3946128"/>
            <a:ext cx="679450" cy="635000"/>
            <a:chOff x="9570236" y="3929204"/>
            <a:chExt cx="679450" cy="635000"/>
          </a:xfrm>
        </p:grpSpPr>
        <p:sp>
          <p:nvSpPr>
            <p:cNvPr id="285" name="Freeform 246">
              <a:extLst>
                <a:ext uri="{FF2B5EF4-FFF2-40B4-BE49-F238E27FC236}">
                  <a16:creationId xmlns:a16="http://schemas.microsoft.com/office/drawing/2014/main" id="{0557A959-37D5-4E5F-9F03-56A6AE90F876}"/>
                </a:ext>
              </a:extLst>
            </p:cNvPr>
            <p:cNvSpPr>
              <a:spLocks/>
            </p:cNvSpPr>
            <p:nvPr/>
          </p:nvSpPr>
          <p:spPr bwMode="auto">
            <a:xfrm>
              <a:off x="9570236" y="3929204"/>
              <a:ext cx="679450" cy="635000"/>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87" name="Freeform 248">
              <a:extLst>
                <a:ext uri="{FF2B5EF4-FFF2-40B4-BE49-F238E27FC236}">
                  <a16:creationId xmlns:a16="http://schemas.microsoft.com/office/drawing/2014/main" id="{1A8EAD0E-52D7-402D-B06F-C84570B4F5CC}"/>
                </a:ext>
              </a:extLst>
            </p:cNvPr>
            <p:cNvSpPr>
              <a:spLocks noEditPoints="1"/>
            </p:cNvSpPr>
            <p:nvPr/>
          </p:nvSpPr>
          <p:spPr bwMode="auto">
            <a:xfrm>
              <a:off x="9711523" y="4086367"/>
              <a:ext cx="392113" cy="293688"/>
            </a:xfrm>
            <a:custGeom>
              <a:avLst/>
              <a:gdLst>
                <a:gd name="T0" fmla="*/ 119 w 135"/>
                <a:gd name="T1" fmla="*/ 28 h 101"/>
                <a:gd name="T2" fmla="*/ 118 w 135"/>
                <a:gd name="T3" fmla="*/ 27 h 101"/>
                <a:gd name="T4" fmla="*/ 118 w 135"/>
                <a:gd name="T5" fmla="*/ 26 h 101"/>
                <a:gd name="T6" fmla="*/ 118 w 135"/>
                <a:gd name="T7" fmla="*/ 26 h 101"/>
                <a:gd name="T8" fmla="*/ 90 w 135"/>
                <a:gd name="T9" fmla="*/ 13 h 101"/>
                <a:gd name="T10" fmla="*/ 51 w 135"/>
                <a:gd name="T11" fmla="*/ 2 h 101"/>
                <a:gd name="T12" fmla="*/ 16 w 135"/>
                <a:gd name="T13" fmla="*/ 28 h 101"/>
                <a:gd name="T14" fmla="*/ 6 w 135"/>
                <a:gd name="T15" fmla="*/ 88 h 101"/>
                <a:gd name="T16" fmla="*/ 19 w 135"/>
                <a:gd name="T17" fmla="*/ 101 h 101"/>
                <a:gd name="T18" fmla="*/ 34 w 135"/>
                <a:gd name="T19" fmla="*/ 89 h 101"/>
                <a:gd name="T20" fmla="*/ 45 w 135"/>
                <a:gd name="T21" fmla="*/ 78 h 101"/>
                <a:gd name="T22" fmla="*/ 55 w 135"/>
                <a:gd name="T23" fmla="*/ 77 h 101"/>
                <a:gd name="T24" fmla="*/ 81 w 135"/>
                <a:gd name="T25" fmla="*/ 77 h 101"/>
                <a:gd name="T26" fmla="*/ 92 w 135"/>
                <a:gd name="T27" fmla="*/ 79 h 101"/>
                <a:gd name="T28" fmla="*/ 104 w 135"/>
                <a:gd name="T29" fmla="*/ 92 h 101"/>
                <a:gd name="T30" fmla="*/ 116 w 135"/>
                <a:gd name="T31" fmla="*/ 101 h 101"/>
                <a:gd name="T32" fmla="*/ 128 w 135"/>
                <a:gd name="T33" fmla="*/ 88 h 101"/>
                <a:gd name="T34" fmla="*/ 119 w 135"/>
                <a:gd name="T35" fmla="*/ 28 h 101"/>
                <a:gd name="T36" fmla="*/ 54 w 135"/>
                <a:gd name="T37" fmla="*/ 49 h 101"/>
                <a:gd name="T38" fmla="*/ 52 w 135"/>
                <a:gd name="T39" fmla="*/ 49 h 101"/>
                <a:gd name="T40" fmla="*/ 48 w 135"/>
                <a:gd name="T41" fmla="*/ 49 h 101"/>
                <a:gd name="T42" fmla="*/ 45 w 135"/>
                <a:gd name="T43" fmla="*/ 49 h 101"/>
                <a:gd name="T44" fmla="*/ 45 w 135"/>
                <a:gd name="T45" fmla="*/ 53 h 101"/>
                <a:gd name="T46" fmla="*/ 45 w 135"/>
                <a:gd name="T47" fmla="*/ 56 h 101"/>
                <a:gd name="T48" fmla="*/ 45 w 135"/>
                <a:gd name="T49" fmla="*/ 59 h 101"/>
                <a:gd name="T50" fmla="*/ 42 w 135"/>
                <a:gd name="T51" fmla="*/ 59 h 101"/>
                <a:gd name="T52" fmla="*/ 38 w 135"/>
                <a:gd name="T53" fmla="*/ 59 h 101"/>
                <a:gd name="T54" fmla="*/ 36 w 135"/>
                <a:gd name="T55" fmla="*/ 59 h 101"/>
                <a:gd name="T56" fmla="*/ 35 w 135"/>
                <a:gd name="T57" fmla="*/ 57 h 101"/>
                <a:gd name="T58" fmla="*/ 35 w 135"/>
                <a:gd name="T59" fmla="*/ 54 h 101"/>
                <a:gd name="T60" fmla="*/ 35 w 135"/>
                <a:gd name="T61" fmla="*/ 49 h 101"/>
                <a:gd name="T62" fmla="*/ 33 w 135"/>
                <a:gd name="T63" fmla="*/ 49 h 101"/>
                <a:gd name="T64" fmla="*/ 29 w 135"/>
                <a:gd name="T65" fmla="*/ 49 h 101"/>
                <a:gd name="T66" fmla="*/ 26 w 135"/>
                <a:gd name="T67" fmla="*/ 49 h 101"/>
                <a:gd name="T68" fmla="*/ 26 w 135"/>
                <a:gd name="T69" fmla="*/ 47 h 101"/>
                <a:gd name="T70" fmla="*/ 26 w 135"/>
                <a:gd name="T71" fmla="*/ 44 h 101"/>
                <a:gd name="T72" fmla="*/ 26 w 135"/>
                <a:gd name="T73" fmla="*/ 40 h 101"/>
                <a:gd name="T74" fmla="*/ 27 w 135"/>
                <a:gd name="T75" fmla="*/ 39 h 101"/>
                <a:gd name="T76" fmla="*/ 28 w 135"/>
                <a:gd name="T77" fmla="*/ 39 h 101"/>
                <a:gd name="T78" fmla="*/ 33 w 135"/>
                <a:gd name="T79" fmla="*/ 39 h 101"/>
                <a:gd name="T80" fmla="*/ 35 w 135"/>
                <a:gd name="T81" fmla="*/ 39 h 101"/>
                <a:gd name="T82" fmla="*/ 35 w 135"/>
                <a:gd name="T83" fmla="*/ 32 h 101"/>
                <a:gd name="T84" fmla="*/ 36 w 135"/>
                <a:gd name="T85" fmla="*/ 29 h 101"/>
                <a:gd name="T86" fmla="*/ 39 w 135"/>
                <a:gd name="T87" fmla="*/ 29 h 101"/>
                <a:gd name="T88" fmla="*/ 42 w 135"/>
                <a:gd name="T89" fmla="*/ 29 h 101"/>
                <a:gd name="T90" fmla="*/ 45 w 135"/>
                <a:gd name="T91" fmla="*/ 29 h 101"/>
                <a:gd name="T92" fmla="*/ 45 w 135"/>
                <a:gd name="T93" fmla="*/ 30 h 101"/>
                <a:gd name="T94" fmla="*/ 45 w 135"/>
                <a:gd name="T95" fmla="*/ 35 h 101"/>
                <a:gd name="T96" fmla="*/ 45 w 135"/>
                <a:gd name="T97" fmla="*/ 39 h 101"/>
                <a:gd name="T98" fmla="*/ 49 w 135"/>
                <a:gd name="T99" fmla="*/ 39 h 101"/>
                <a:gd name="T100" fmla="*/ 52 w 135"/>
                <a:gd name="T101" fmla="*/ 39 h 101"/>
                <a:gd name="T102" fmla="*/ 54 w 135"/>
                <a:gd name="T103" fmla="*/ 39 h 101"/>
                <a:gd name="T104" fmla="*/ 54 w 135"/>
                <a:gd name="T105" fmla="*/ 40 h 101"/>
                <a:gd name="T106" fmla="*/ 55 w 135"/>
                <a:gd name="T107" fmla="*/ 42 h 101"/>
                <a:gd name="T108" fmla="*/ 55 w 135"/>
                <a:gd name="T109" fmla="*/ 47 h 101"/>
                <a:gd name="T110" fmla="*/ 54 w 135"/>
                <a:gd name="T111" fmla="*/ 4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1">
                  <a:moveTo>
                    <a:pt x="119" y="28"/>
                  </a:moveTo>
                  <a:cubicBezTo>
                    <a:pt x="118" y="28"/>
                    <a:pt x="118" y="27"/>
                    <a:pt x="118" y="27"/>
                  </a:cubicBezTo>
                  <a:cubicBezTo>
                    <a:pt x="118" y="26"/>
                    <a:pt x="118" y="26"/>
                    <a:pt x="118" y="26"/>
                  </a:cubicBezTo>
                  <a:cubicBezTo>
                    <a:pt x="118" y="26"/>
                    <a:pt x="118" y="26"/>
                    <a:pt x="118" y="26"/>
                  </a:cubicBezTo>
                  <a:cubicBezTo>
                    <a:pt x="112" y="17"/>
                    <a:pt x="102" y="10"/>
                    <a:pt x="90" y="13"/>
                  </a:cubicBezTo>
                  <a:cubicBezTo>
                    <a:pt x="82" y="15"/>
                    <a:pt x="40" y="33"/>
                    <a:pt x="51" y="2"/>
                  </a:cubicBezTo>
                  <a:cubicBezTo>
                    <a:pt x="33" y="0"/>
                    <a:pt x="20" y="20"/>
                    <a:pt x="16" y="28"/>
                  </a:cubicBezTo>
                  <a:cubicBezTo>
                    <a:pt x="0" y="57"/>
                    <a:pt x="6" y="88"/>
                    <a:pt x="6" y="88"/>
                  </a:cubicBezTo>
                  <a:cubicBezTo>
                    <a:pt x="7" y="96"/>
                    <a:pt x="11" y="101"/>
                    <a:pt x="19" y="101"/>
                  </a:cubicBezTo>
                  <a:cubicBezTo>
                    <a:pt x="24" y="100"/>
                    <a:pt x="30" y="93"/>
                    <a:pt x="34" y="89"/>
                  </a:cubicBezTo>
                  <a:cubicBezTo>
                    <a:pt x="37" y="85"/>
                    <a:pt x="40" y="81"/>
                    <a:pt x="45" y="78"/>
                  </a:cubicBezTo>
                  <a:cubicBezTo>
                    <a:pt x="48" y="76"/>
                    <a:pt x="52" y="77"/>
                    <a:pt x="55" y="77"/>
                  </a:cubicBezTo>
                  <a:cubicBezTo>
                    <a:pt x="64" y="77"/>
                    <a:pt x="72" y="77"/>
                    <a:pt x="81" y="77"/>
                  </a:cubicBezTo>
                  <a:cubicBezTo>
                    <a:pt x="85" y="77"/>
                    <a:pt x="89" y="76"/>
                    <a:pt x="92" y="79"/>
                  </a:cubicBezTo>
                  <a:cubicBezTo>
                    <a:pt x="97" y="83"/>
                    <a:pt x="100" y="88"/>
                    <a:pt x="104" y="92"/>
                  </a:cubicBezTo>
                  <a:cubicBezTo>
                    <a:pt x="107" y="95"/>
                    <a:pt x="112" y="100"/>
                    <a:pt x="116" y="101"/>
                  </a:cubicBezTo>
                  <a:cubicBezTo>
                    <a:pt x="123" y="101"/>
                    <a:pt x="127" y="96"/>
                    <a:pt x="128" y="88"/>
                  </a:cubicBezTo>
                  <a:cubicBezTo>
                    <a:pt x="128" y="88"/>
                    <a:pt x="135" y="57"/>
                    <a:pt x="119" y="28"/>
                  </a:cubicBezTo>
                  <a:close/>
                  <a:moveTo>
                    <a:pt x="54" y="49"/>
                  </a:moveTo>
                  <a:cubicBezTo>
                    <a:pt x="54" y="50"/>
                    <a:pt x="53" y="49"/>
                    <a:pt x="52" y="49"/>
                  </a:cubicBezTo>
                  <a:cubicBezTo>
                    <a:pt x="48" y="49"/>
                    <a:pt x="48" y="49"/>
                    <a:pt x="48" y="49"/>
                  </a:cubicBezTo>
                  <a:cubicBezTo>
                    <a:pt x="45" y="49"/>
                    <a:pt x="45" y="49"/>
                    <a:pt x="45" y="49"/>
                  </a:cubicBezTo>
                  <a:cubicBezTo>
                    <a:pt x="45" y="53"/>
                    <a:pt x="45" y="53"/>
                    <a:pt x="45" y="53"/>
                  </a:cubicBezTo>
                  <a:cubicBezTo>
                    <a:pt x="45" y="56"/>
                    <a:pt x="45" y="56"/>
                    <a:pt x="45" y="56"/>
                  </a:cubicBezTo>
                  <a:cubicBezTo>
                    <a:pt x="45" y="57"/>
                    <a:pt x="46" y="58"/>
                    <a:pt x="45" y="59"/>
                  </a:cubicBezTo>
                  <a:cubicBezTo>
                    <a:pt x="44" y="60"/>
                    <a:pt x="43" y="59"/>
                    <a:pt x="42" y="59"/>
                  </a:cubicBezTo>
                  <a:cubicBezTo>
                    <a:pt x="42" y="59"/>
                    <a:pt x="38" y="59"/>
                    <a:pt x="38" y="59"/>
                  </a:cubicBezTo>
                  <a:cubicBezTo>
                    <a:pt x="37" y="59"/>
                    <a:pt x="37" y="60"/>
                    <a:pt x="36" y="59"/>
                  </a:cubicBezTo>
                  <a:cubicBezTo>
                    <a:pt x="35" y="59"/>
                    <a:pt x="35" y="57"/>
                    <a:pt x="35" y="57"/>
                  </a:cubicBezTo>
                  <a:cubicBezTo>
                    <a:pt x="35" y="54"/>
                    <a:pt x="35" y="54"/>
                    <a:pt x="35" y="54"/>
                  </a:cubicBezTo>
                  <a:cubicBezTo>
                    <a:pt x="35" y="49"/>
                    <a:pt x="35" y="49"/>
                    <a:pt x="35" y="49"/>
                  </a:cubicBezTo>
                  <a:cubicBezTo>
                    <a:pt x="33" y="49"/>
                    <a:pt x="33" y="49"/>
                    <a:pt x="33" y="49"/>
                  </a:cubicBezTo>
                  <a:cubicBezTo>
                    <a:pt x="29" y="49"/>
                    <a:pt x="29" y="49"/>
                    <a:pt x="29" y="49"/>
                  </a:cubicBezTo>
                  <a:cubicBezTo>
                    <a:pt x="28" y="49"/>
                    <a:pt x="27" y="50"/>
                    <a:pt x="26" y="49"/>
                  </a:cubicBezTo>
                  <a:cubicBezTo>
                    <a:pt x="26" y="49"/>
                    <a:pt x="26" y="48"/>
                    <a:pt x="26" y="47"/>
                  </a:cubicBezTo>
                  <a:cubicBezTo>
                    <a:pt x="26" y="46"/>
                    <a:pt x="26" y="45"/>
                    <a:pt x="26" y="44"/>
                  </a:cubicBezTo>
                  <a:cubicBezTo>
                    <a:pt x="26" y="43"/>
                    <a:pt x="26" y="42"/>
                    <a:pt x="26" y="40"/>
                  </a:cubicBezTo>
                  <a:cubicBezTo>
                    <a:pt x="26" y="40"/>
                    <a:pt x="26" y="39"/>
                    <a:pt x="27" y="39"/>
                  </a:cubicBezTo>
                  <a:cubicBezTo>
                    <a:pt x="27" y="39"/>
                    <a:pt x="28" y="39"/>
                    <a:pt x="28" y="39"/>
                  </a:cubicBezTo>
                  <a:cubicBezTo>
                    <a:pt x="33" y="39"/>
                    <a:pt x="33" y="39"/>
                    <a:pt x="33" y="39"/>
                  </a:cubicBezTo>
                  <a:cubicBezTo>
                    <a:pt x="35" y="39"/>
                    <a:pt x="35" y="39"/>
                    <a:pt x="35" y="39"/>
                  </a:cubicBezTo>
                  <a:cubicBezTo>
                    <a:pt x="35" y="39"/>
                    <a:pt x="35" y="32"/>
                    <a:pt x="35" y="32"/>
                  </a:cubicBezTo>
                  <a:cubicBezTo>
                    <a:pt x="35" y="31"/>
                    <a:pt x="35" y="30"/>
                    <a:pt x="36" y="29"/>
                  </a:cubicBezTo>
                  <a:cubicBezTo>
                    <a:pt x="36" y="28"/>
                    <a:pt x="38" y="29"/>
                    <a:pt x="39" y="29"/>
                  </a:cubicBezTo>
                  <a:cubicBezTo>
                    <a:pt x="39" y="29"/>
                    <a:pt x="42" y="29"/>
                    <a:pt x="42" y="29"/>
                  </a:cubicBezTo>
                  <a:cubicBezTo>
                    <a:pt x="43" y="29"/>
                    <a:pt x="44" y="29"/>
                    <a:pt x="45" y="29"/>
                  </a:cubicBezTo>
                  <a:cubicBezTo>
                    <a:pt x="45" y="29"/>
                    <a:pt x="45" y="30"/>
                    <a:pt x="45" y="30"/>
                  </a:cubicBezTo>
                  <a:cubicBezTo>
                    <a:pt x="45" y="31"/>
                    <a:pt x="45" y="35"/>
                    <a:pt x="45" y="35"/>
                  </a:cubicBezTo>
                  <a:cubicBezTo>
                    <a:pt x="45" y="39"/>
                    <a:pt x="45" y="39"/>
                    <a:pt x="45" y="39"/>
                  </a:cubicBezTo>
                  <a:cubicBezTo>
                    <a:pt x="49" y="39"/>
                    <a:pt x="49" y="39"/>
                    <a:pt x="49" y="39"/>
                  </a:cubicBezTo>
                  <a:cubicBezTo>
                    <a:pt x="52" y="39"/>
                    <a:pt x="52" y="39"/>
                    <a:pt x="52" y="39"/>
                  </a:cubicBezTo>
                  <a:cubicBezTo>
                    <a:pt x="53" y="39"/>
                    <a:pt x="54" y="38"/>
                    <a:pt x="54" y="39"/>
                  </a:cubicBezTo>
                  <a:cubicBezTo>
                    <a:pt x="54" y="39"/>
                    <a:pt x="54" y="39"/>
                    <a:pt x="54" y="40"/>
                  </a:cubicBezTo>
                  <a:cubicBezTo>
                    <a:pt x="55" y="40"/>
                    <a:pt x="55" y="41"/>
                    <a:pt x="55" y="42"/>
                  </a:cubicBezTo>
                  <a:cubicBezTo>
                    <a:pt x="55" y="42"/>
                    <a:pt x="55" y="46"/>
                    <a:pt x="55" y="47"/>
                  </a:cubicBezTo>
                  <a:cubicBezTo>
                    <a:pt x="55" y="47"/>
                    <a:pt x="55" y="48"/>
                    <a:pt x="54" y="4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161" name="Group 160">
              <a:extLst>
                <a:ext uri="{FF2B5EF4-FFF2-40B4-BE49-F238E27FC236}">
                  <a16:creationId xmlns:a16="http://schemas.microsoft.com/office/drawing/2014/main" id="{6084D208-D111-4CEA-BF90-6B1E0FA02DC1}"/>
                </a:ext>
              </a:extLst>
            </p:cNvPr>
            <p:cNvGrpSpPr/>
            <p:nvPr/>
          </p:nvGrpSpPr>
          <p:grpSpPr>
            <a:xfrm>
              <a:off x="9787723" y="4165742"/>
              <a:ext cx="263526" cy="141288"/>
              <a:chOff x="9787723" y="4165742"/>
              <a:chExt cx="263526" cy="141288"/>
            </a:xfrm>
          </p:grpSpPr>
          <p:sp>
            <p:nvSpPr>
              <p:cNvPr id="286" name="Freeform 247">
                <a:extLst>
                  <a:ext uri="{FF2B5EF4-FFF2-40B4-BE49-F238E27FC236}">
                    <a16:creationId xmlns:a16="http://schemas.microsoft.com/office/drawing/2014/main" id="{896819F4-BB1C-474E-A21A-44E30447623A}"/>
                  </a:ext>
                </a:extLst>
              </p:cNvPr>
              <p:cNvSpPr>
                <a:spLocks/>
              </p:cNvSpPr>
              <p:nvPr/>
            </p:nvSpPr>
            <p:spPr bwMode="auto">
              <a:xfrm>
                <a:off x="9787723" y="4168917"/>
                <a:ext cx="84138" cy="92075"/>
              </a:xfrm>
              <a:custGeom>
                <a:avLst/>
                <a:gdLst>
                  <a:gd name="T0" fmla="*/ 28 w 29"/>
                  <a:gd name="T1" fmla="*/ 12 h 32"/>
                  <a:gd name="T2" fmla="*/ 28 w 29"/>
                  <a:gd name="T3" fmla="*/ 11 h 32"/>
                  <a:gd name="T4" fmla="*/ 26 w 29"/>
                  <a:gd name="T5" fmla="*/ 11 h 32"/>
                  <a:gd name="T6" fmla="*/ 23 w 29"/>
                  <a:gd name="T7" fmla="*/ 11 h 32"/>
                  <a:gd name="T8" fmla="*/ 19 w 29"/>
                  <a:gd name="T9" fmla="*/ 11 h 32"/>
                  <a:gd name="T10" fmla="*/ 19 w 29"/>
                  <a:gd name="T11" fmla="*/ 7 h 32"/>
                  <a:gd name="T12" fmla="*/ 19 w 29"/>
                  <a:gd name="T13" fmla="*/ 2 h 32"/>
                  <a:gd name="T14" fmla="*/ 19 w 29"/>
                  <a:gd name="T15" fmla="*/ 1 h 32"/>
                  <a:gd name="T16" fmla="*/ 16 w 29"/>
                  <a:gd name="T17" fmla="*/ 1 h 32"/>
                  <a:gd name="T18" fmla="*/ 13 w 29"/>
                  <a:gd name="T19" fmla="*/ 1 h 32"/>
                  <a:gd name="T20" fmla="*/ 10 w 29"/>
                  <a:gd name="T21" fmla="*/ 1 h 32"/>
                  <a:gd name="T22" fmla="*/ 9 w 29"/>
                  <a:gd name="T23" fmla="*/ 4 h 32"/>
                  <a:gd name="T24" fmla="*/ 9 w 29"/>
                  <a:gd name="T25" fmla="*/ 11 h 32"/>
                  <a:gd name="T26" fmla="*/ 7 w 29"/>
                  <a:gd name="T27" fmla="*/ 11 h 32"/>
                  <a:gd name="T28" fmla="*/ 2 w 29"/>
                  <a:gd name="T29" fmla="*/ 11 h 32"/>
                  <a:gd name="T30" fmla="*/ 1 w 29"/>
                  <a:gd name="T31" fmla="*/ 11 h 32"/>
                  <a:gd name="T32" fmla="*/ 0 w 29"/>
                  <a:gd name="T33" fmla="*/ 12 h 32"/>
                  <a:gd name="T34" fmla="*/ 0 w 29"/>
                  <a:gd name="T35" fmla="*/ 16 h 32"/>
                  <a:gd name="T36" fmla="*/ 0 w 29"/>
                  <a:gd name="T37" fmla="*/ 19 h 32"/>
                  <a:gd name="T38" fmla="*/ 0 w 29"/>
                  <a:gd name="T39" fmla="*/ 21 h 32"/>
                  <a:gd name="T40" fmla="*/ 3 w 29"/>
                  <a:gd name="T41" fmla="*/ 21 h 32"/>
                  <a:gd name="T42" fmla="*/ 7 w 29"/>
                  <a:gd name="T43" fmla="*/ 21 h 32"/>
                  <a:gd name="T44" fmla="*/ 9 w 29"/>
                  <a:gd name="T45" fmla="*/ 21 h 32"/>
                  <a:gd name="T46" fmla="*/ 9 w 29"/>
                  <a:gd name="T47" fmla="*/ 26 h 32"/>
                  <a:gd name="T48" fmla="*/ 9 w 29"/>
                  <a:gd name="T49" fmla="*/ 29 h 32"/>
                  <a:gd name="T50" fmla="*/ 10 w 29"/>
                  <a:gd name="T51" fmla="*/ 31 h 32"/>
                  <a:gd name="T52" fmla="*/ 12 w 29"/>
                  <a:gd name="T53" fmla="*/ 31 h 32"/>
                  <a:gd name="T54" fmla="*/ 16 w 29"/>
                  <a:gd name="T55" fmla="*/ 31 h 32"/>
                  <a:gd name="T56" fmla="*/ 19 w 29"/>
                  <a:gd name="T57" fmla="*/ 31 h 32"/>
                  <a:gd name="T58" fmla="*/ 19 w 29"/>
                  <a:gd name="T59" fmla="*/ 28 h 32"/>
                  <a:gd name="T60" fmla="*/ 19 w 29"/>
                  <a:gd name="T61" fmla="*/ 25 h 32"/>
                  <a:gd name="T62" fmla="*/ 19 w 29"/>
                  <a:gd name="T63" fmla="*/ 21 h 32"/>
                  <a:gd name="T64" fmla="*/ 22 w 29"/>
                  <a:gd name="T65" fmla="*/ 21 h 32"/>
                  <a:gd name="T66" fmla="*/ 26 w 29"/>
                  <a:gd name="T67" fmla="*/ 21 h 32"/>
                  <a:gd name="T68" fmla="*/ 28 w 29"/>
                  <a:gd name="T69" fmla="*/ 21 h 32"/>
                  <a:gd name="T70" fmla="*/ 29 w 29"/>
                  <a:gd name="T71" fmla="*/ 19 h 32"/>
                  <a:gd name="T72" fmla="*/ 29 w 29"/>
                  <a:gd name="T73" fmla="*/ 14 h 32"/>
                  <a:gd name="T74" fmla="*/ 28 w 29"/>
                  <a:gd name="T75"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 h="32">
                    <a:moveTo>
                      <a:pt x="28" y="12"/>
                    </a:moveTo>
                    <a:cubicBezTo>
                      <a:pt x="28" y="11"/>
                      <a:pt x="28" y="11"/>
                      <a:pt x="28" y="11"/>
                    </a:cubicBezTo>
                    <a:cubicBezTo>
                      <a:pt x="28" y="10"/>
                      <a:pt x="27" y="11"/>
                      <a:pt x="26" y="11"/>
                    </a:cubicBezTo>
                    <a:cubicBezTo>
                      <a:pt x="23" y="11"/>
                      <a:pt x="23" y="11"/>
                      <a:pt x="23" y="11"/>
                    </a:cubicBezTo>
                    <a:cubicBezTo>
                      <a:pt x="19" y="11"/>
                      <a:pt x="19" y="11"/>
                      <a:pt x="19" y="11"/>
                    </a:cubicBezTo>
                    <a:cubicBezTo>
                      <a:pt x="19" y="7"/>
                      <a:pt x="19" y="7"/>
                      <a:pt x="19" y="7"/>
                    </a:cubicBezTo>
                    <a:cubicBezTo>
                      <a:pt x="19" y="7"/>
                      <a:pt x="19" y="3"/>
                      <a:pt x="19" y="2"/>
                    </a:cubicBezTo>
                    <a:cubicBezTo>
                      <a:pt x="19" y="2"/>
                      <a:pt x="19" y="1"/>
                      <a:pt x="19" y="1"/>
                    </a:cubicBezTo>
                    <a:cubicBezTo>
                      <a:pt x="18" y="1"/>
                      <a:pt x="17" y="1"/>
                      <a:pt x="16" y="1"/>
                    </a:cubicBezTo>
                    <a:cubicBezTo>
                      <a:pt x="16" y="1"/>
                      <a:pt x="13" y="1"/>
                      <a:pt x="13" y="1"/>
                    </a:cubicBezTo>
                    <a:cubicBezTo>
                      <a:pt x="12" y="1"/>
                      <a:pt x="10" y="0"/>
                      <a:pt x="10" y="1"/>
                    </a:cubicBezTo>
                    <a:cubicBezTo>
                      <a:pt x="9" y="2"/>
                      <a:pt x="9" y="3"/>
                      <a:pt x="9" y="4"/>
                    </a:cubicBezTo>
                    <a:cubicBezTo>
                      <a:pt x="9" y="4"/>
                      <a:pt x="9" y="11"/>
                      <a:pt x="9" y="11"/>
                    </a:cubicBezTo>
                    <a:cubicBezTo>
                      <a:pt x="7" y="11"/>
                      <a:pt x="7" y="11"/>
                      <a:pt x="7" y="11"/>
                    </a:cubicBezTo>
                    <a:cubicBezTo>
                      <a:pt x="2" y="11"/>
                      <a:pt x="2" y="11"/>
                      <a:pt x="2" y="11"/>
                    </a:cubicBezTo>
                    <a:cubicBezTo>
                      <a:pt x="2" y="11"/>
                      <a:pt x="1" y="11"/>
                      <a:pt x="1" y="11"/>
                    </a:cubicBezTo>
                    <a:cubicBezTo>
                      <a:pt x="0" y="11"/>
                      <a:pt x="0" y="12"/>
                      <a:pt x="0" y="12"/>
                    </a:cubicBezTo>
                    <a:cubicBezTo>
                      <a:pt x="0" y="14"/>
                      <a:pt x="0" y="15"/>
                      <a:pt x="0" y="16"/>
                    </a:cubicBezTo>
                    <a:cubicBezTo>
                      <a:pt x="0" y="17"/>
                      <a:pt x="0" y="18"/>
                      <a:pt x="0" y="19"/>
                    </a:cubicBezTo>
                    <a:cubicBezTo>
                      <a:pt x="0" y="20"/>
                      <a:pt x="0" y="21"/>
                      <a:pt x="0" y="21"/>
                    </a:cubicBezTo>
                    <a:cubicBezTo>
                      <a:pt x="1" y="22"/>
                      <a:pt x="2" y="21"/>
                      <a:pt x="3" y="21"/>
                    </a:cubicBezTo>
                    <a:cubicBezTo>
                      <a:pt x="7" y="21"/>
                      <a:pt x="7" y="21"/>
                      <a:pt x="7" y="21"/>
                    </a:cubicBezTo>
                    <a:cubicBezTo>
                      <a:pt x="9" y="21"/>
                      <a:pt x="9" y="21"/>
                      <a:pt x="9" y="21"/>
                    </a:cubicBezTo>
                    <a:cubicBezTo>
                      <a:pt x="9" y="26"/>
                      <a:pt x="9" y="26"/>
                      <a:pt x="9" y="26"/>
                    </a:cubicBezTo>
                    <a:cubicBezTo>
                      <a:pt x="9" y="29"/>
                      <a:pt x="9" y="29"/>
                      <a:pt x="9" y="29"/>
                    </a:cubicBezTo>
                    <a:cubicBezTo>
                      <a:pt x="9" y="29"/>
                      <a:pt x="9" y="31"/>
                      <a:pt x="10" y="31"/>
                    </a:cubicBezTo>
                    <a:cubicBezTo>
                      <a:pt x="11" y="32"/>
                      <a:pt x="11" y="31"/>
                      <a:pt x="12" y="31"/>
                    </a:cubicBezTo>
                    <a:cubicBezTo>
                      <a:pt x="12" y="31"/>
                      <a:pt x="16" y="31"/>
                      <a:pt x="16" y="31"/>
                    </a:cubicBezTo>
                    <a:cubicBezTo>
                      <a:pt x="17" y="31"/>
                      <a:pt x="18" y="32"/>
                      <a:pt x="19" y="31"/>
                    </a:cubicBezTo>
                    <a:cubicBezTo>
                      <a:pt x="20" y="30"/>
                      <a:pt x="19" y="29"/>
                      <a:pt x="19" y="28"/>
                    </a:cubicBezTo>
                    <a:cubicBezTo>
                      <a:pt x="19" y="25"/>
                      <a:pt x="19" y="25"/>
                      <a:pt x="19" y="25"/>
                    </a:cubicBezTo>
                    <a:cubicBezTo>
                      <a:pt x="19" y="21"/>
                      <a:pt x="19" y="21"/>
                      <a:pt x="19" y="21"/>
                    </a:cubicBezTo>
                    <a:cubicBezTo>
                      <a:pt x="22" y="21"/>
                      <a:pt x="22" y="21"/>
                      <a:pt x="22" y="21"/>
                    </a:cubicBezTo>
                    <a:cubicBezTo>
                      <a:pt x="26" y="21"/>
                      <a:pt x="26" y="21"/>
                      <a:pt x="26" y="21"/>
                    </a:cubicBezTo>
                    <a:cubicBezTo>
                      <a:pt x="27" y="21"/>
                      <a:pt x="28" y="22"/>
                      <a:pt x="28" y="21"/>
                    </a:cubicBezTo>
                    <a:cubicBezTo>
                      <a:pt x="29" y="20"/>
                      <a:pt x="29" y="19"/>
                      <a:pt x="29" y="19"/>
                    </a:cubicBezTo>
                    <a:cubicBezTo>
                      <a:pt x="29" y="18"/>
                      <a:pt x="29" y="14"/>
                      <a:pt x="29" y="14"/>
                    </a:cubicBezTo>
                    <a:cubicBezTo>
                      <a:pt x="29" y="13"/>
                      <a:pt x="29" y="12"/>
                      <a:pt x="28" y="12"/>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88" name="Freeform 249">
                <a:extLst>
                  <a:ext uri="{FF2B5EF4-FFF2-40B4-BE49-F238E27FC236}">
                    <a16:creationId xmlns:a16="http://schemas.microsoft.com/office/drawing/2014/main" id="{BAC59C34-2E11-4C17-881D-EDCFCA81CA94}"/>
                  </a:ext>
                </a:extLst>
              </p:cNvPr>
              <p:cNvSpPr>
                <a:spLocks/>
              </p:cNvSpPr>
              <p:nvPr/>
            </p:nvSpPr>
            <p:spPr bwMode="auto">
              <a:xfrm>
                <a:off x="10002036" y="4187967"/>
                <a:ext cx="49213" cy="49213"/>
              </a:xfrm>
              <a:custGeom>
                <a:avLst/>
                <a:gdLst>
                  <a:gd name="T0" fmla="*/ 2 w 17"/>
                  <a:gd name="T1" fmla="*/ 13 h 17"/>
                  <a:gd name="T2" fmla="*/ 4 w 17"/>
                  <a:gd name="T3" fmla="*/ 3 h 17"/>
                  <a:gd name="T4" fmla="*/ 15 w 17"/>
                  <a:gd name="T5" fmla="*/ 4 h 17"/>
                  <a:gd name="T6" fmla="*/ 13 w 17"/>
                  <a:gd name="T7" fmla="*/ 14 h 17"/>
                  <a:gd name="T8" fmla="*/ 2 w 17"/>
                  <a:gd name="T9" fmla="*/ 13 h 17"/>
                </a:gdLst>
                <a:ahLst/>
                <a:cxnLst>
                  <a:cxn ang="0">
                    <a:pos x="T0" y="T1"/>
                  </a:cxn>
                  <a:cxn ang="0">
                    <a:pos x="T2" y="T3"/>
                  </a:cxn>
                  <a:cxn ang="0">
                    <a:pos x="T4" y="T5"/>
                  </a:cxn>
                  <a:cxn ang="0">
                    <a:pos x="T6" y="T7"/>
                  </a:cxn>
                  <a:cxn ang="0">
                    <a:pos x="T8" y="T9"/>
                  </a:cxn>
                </a:cxnLst>
                <a:rect l="0" t="0" r="r" b="b"/>
                <a:pathLst>
                  <a:path w="17" h="17">
                    <a:moveTo>
                      <a:pt x="2" y="13"/>
                    </a:moveTo>
                    <a:cubicBezTo>
                      <a:pt x="0" y="10"/>
                      <a:pt x="0" y="5"/>
                      <a:pt x="4" y="3"/>
                    </a:cubicBezTo>
                    <a:cubicBezTo>
                      <a:pt x="7" y="0"/>
                      <a:pt x="12" y="1"/>
                      <a:pt x="15" y="4"/>
                    </a:cubicBezTo>
                    <a:cubicBezTo>
                      <a:pt x="17" y="8"/>
                      <a:pt x="16" y="12"/>
                      <a:pt x="13" y="14"/>
                    </a:cubicBezTo>
                    <a:cubicBezTo>
                      <a:pt x="9" y="17"/>
                      <a:pt x="5" y="16"/>
                      <a:pt x="2" y="13"/>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89" name="Freeform 250">
                <a:extLst>
                  <a:ext uri="{FF2B5EF4-FFF2-40B4-BE49-F238E27FC236}">
                    <a16:creationId xmlns:a16="http://schemas.microsoft.com/office/drawing/2014/main" id="{84BE0E01-F73E-4079-899D-5B6291E5C9B4}"/>
                  </a:ext>
                </a:extLst>
              </p:cNvPr>
              <p:cNvSpPr>
                <a:spLocks/>
              </p:cNvSpPr>
              <p:nvPr/>
            </p:nvSpPr>
            <p:spPr bwMode="auto">
              <a:xfrm>
                <a:off x="10002036" y="4257817"/>
                <a:ext cx="49213" cy="49213"/>
              </a:xfrm>
              <a:custGeom>
                <a:avLst/>
                <a:gdLst>
                  <a:gd name="T0" fmla="*/ 2 w 17"/>
                  <a:gd name="T1" fmla="*/ 13 h 17"/>
                  <a:gd name="T2" fmla="*/ 4 w 17"/>
                  <a:gd name="T3" fmla="*/ 3 h 17"/>
                  <a:gd name="T4" fmla="*/ 15 w 17"/>
                  <a:gd name="T5" fmla="*/ 4 h 17"/>
                  <a:gd name="T6" fmla="*/ 13 w 17"/>
                  <a:gd name="T7" fmla="*/ 14 h 17"/>
                  <a:gd name="T8" fmla="*/ 2 w 17"/>
                  <a:gd name="T9" fmla="*/ 13 h 17"/>
                </a:gdLst>
                <a:ahLst/>
                <a:cxnLst>
                  <a:cxn ang="0">
                    <a:pos x="T0" y="T1"/>
                  </a:cxn>
                  <a:cxn ang="0">
                    <a:pos x="T2" y="T3"/>
                  </a:cxn>
                  <a:cxn ang="0">
                    <a:pos x="T4" y="T5"/>
                  </a:cxn>
                  <a:cxn ang="0">
                    <a:pos x="T6" y="T7"/>
                  </a:cxn>
                  <a:cxn ang="0">
                    <a:pos x="T8" y="T9"/>
                  </a:cxn>
                </a:cxnLst>
                <a:rect l="0" t="0" r="r" b="b"/>
                <a:pathLst>
                  <a:path w="17" h="17">
                    <a:moveTo>
                      <a:pt x="2" y="13"/>
                    </a:moveTo>
                    <a:cubicBezTo>
                      <a:pt x="0" y="10"/>
                      <a:pt x="1" y="5"/>
                      <a:pt x="4" y="3"/>
                    </a:cubicBezTo>
                    <a:cubicBezTo>
                      <a:pt x="8" y="0"/>
                      <a:pt x="12" y="1"/>
                      <a:pt x="15" y="4"/>
                    </a:cubicBezTo>
                    <a:cubicBezTo>
                      <a:pt x="17" y="8"/>
                      <a:pt x="16" y="12"/>
                      <a:pt x="13" y="14"/>
                    </a:cubicBezTo>
                    <a:cubicBezTo>
                      <a:pt x="10" y="17"/>
                      <a:pt x="5" y="16"/>
                      <a:pt x="2" y="13"/>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90" name="Freeform 251">
                <a:extLst>
                  <a:ext uri="{FF2B5EF4-FFF2-40B4-BE49-F238E27FC236}">
                    <a16:creationId xmlns:a16="http://schemas.microsoft.com/office/drawing/2014/main" id="{2E0A634B-20B0-455A-B4B4-F8B8F9DE247B}"/>
                  </a:ext>
                </a:extLst>
              </p:cNvPr>
              <p:cNvSpPr>
                <a:spLocks/>
              </p:cNvSpPr>
              <p:nvPr/>
            </p:nvSpPr>
            <p:spPr bwMode="auto">
              <a:xfrm>
                <a:off x="9944886" y="4165742"/>
                <a:ext cx="52388" cy="46038"/>
              </a:xfrm>
              <a:custGeom>
                <a:avLst/>
                <a:gdLst>
                  <a:gd name="T0" fmla="*/ 3 w 18"/>
                  <a:gd name="T1" fmla="*/ 12 h 16"/>
                  <a:gd name="T2" fmla="*/ 4 w 18"/>
                  <a:gd name="T3" fmla="*/ 2 h 16"/>
                  <a:gd name="T4" fmla="*/ 15 w 18"/>
                  <a:gd name="T5" fmla="*/ 4 h 16"/>
                  <a:gd name="T6" fmla="*/ 13 w 18"/>
                  <a:gd name="T7" fmla="*/ 13 h 16"/>
                  <a:gd name="T8" fmla="*/ 3 w 18"/>
                  <a:gd name="T9" fmla="*/ 12 h 16"/>
                </a:gdLst>
                <a:ahLst/>
                <a:cxnLst>
                  <a:cxn ang="0">
                    <a:pos x="T0" y="T1"/>
                  </a:cxn>
                  <a:cxn ang="0">
                    <a:pos x="T2" y="T3"/>
                  </a:cxn>
                  <a:cxn ang="0">
                    <a:pos x="T4" y="T5"/>
                  </a:cxn>
                  <a:cxn ang="0">
                    <a:pos x="T6" y="T7"/>
                  </a:cxn>
                  <a:cxn ang="0">
                    <a:pos x="T8" y="T9"/>
                  </a:cxn>
                </a:cxnLst>
                <a:rect l="0" t="0" r="r" b="b"/>
                <a:pathLst>
                  <a:path w="18" h="16">
                    <a:moveTo>
                      <a:pt x="3" y="12"/>
                    </a:moveTo>
                    <a:cubicBezTo>
                      <a:pt x="0" y="9"/>
                      <a:pt x="1" y="4"/>
                      <a:pt x="4" y="2"/>
                    </a:cubicBezTo>
                    <a:cubicBezTo>
                      <a:pt x="8" y="0"/>
                      <a:pt x="13" y="0"/>
                      <a:pt x="15" y="4"/>
                    </a:cubicBezTo>
                    <a:cubicBezTo>
                      <a:pt x="18" y="7"/>
                      <a:pt x="16" y="11"/>
                      <a:pt x="13" y="13"/>
                    </a:cubicBezTo>
                    <a:cubicBezTo>
                      <a:pt x="10" y="16"/>
                      <a:pt x="5" y="16"/>
                      <a:pt x="3" y="12"/>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91" name="Freeform 252">
                <a:extLst>
                  <a:ext uri="{FF2B5EF4-FFF2-40B4-BE49-F238E27FC236}">
                    <a16:creationId xmlns:a16="http://schemas.microsoft.com/office/drawing/2014/main" id="{54D9A3CB-A309-445F-B506-03E41CEDF226}"/>
                  </a:ext>
                </a:extLst>
              </p:cNvPr>
              <p:cNvSpPr>
                <a:spLocks/>
              </p:cNvSpPr>
              <p:nvPr/>
            </p:nvSpPr>
            <p:spPr bwMode="auto">
              <a:xfrm>
                <a:off x="9946473" y="4221304"/>
                <a:ext cx="52388" cy="46038"/>
              </a:xfrm>
              <a:custGeom>
                <a:avLst/>
                <a:gdLst>
                  <a:gd name="T0" fmla="*/ 3 w 18"/>
                  <a:gd name="T1" fmla="*/ 12 h 16"/>
                  <a:gd name="T2" fmla="*/ 5 w 18"/>
                  <a:gd name="T3" fmla="*/ 2 h 16"/>
                  <a:gd name="T4" fmla="*/ 15 w 18"/>
                  <a:gd name="T5" fmla="*/ 4 h 16"/>
                  <a:gd name="T6" fmla="*/ 13 w 18"/>
                  <a:gd name="T7" fmla="*/ 14 h 16"/>
                  <a:gd name="T8" fmla="*/ 3 w 18"/>
                  <a:gd name="T9" fmla="*/ 12 h 16"/>
                </a:gdLst>
                <a:ahLst/>
                <a:cxnLst>
                  <a:cxn ang="0">
                    <a:pos x="T0" y="T1"/>
                  </a:cxn>
                  <a:cxn ang="0">
                    <a:pos x="T2" y="T3"/>
                  </a:cxn>
                  <a:cxn ang="0">
                    <a:pos x="T4" y="T5"/>
                  </a:cxn>
                  <a:cxn ang="0">
                    <a:pos x="T6" y="T7"/>
                  </a:cxn>
                  <a:cxn ang="0">
                    <a:pos x="T8" y="T9"/>
                  </a:cxn>
                </a:cxnLst>
                <a:rect l="0" t="0" r="r" b="b"/>
                <a:pathLst>
                  <a:path w="18" h="16">
                    <a:moveTo>
                      <a:pt x="3" y="12"/>
                    </a:moveTo>
                    <a:cubicBezTo>
                      <a:pt x="0" y="9"/>
                      <a:pt x="1" y="5"/>
                      <a:pt x="5" y="2"/>
                    </a:cubicBezTo>
                    <a:cubicBezTo>
                      <a:pt x="8" y="0"/>
                      <a:pt x="13" y="0"/>
                      <a:pt x="15" y="4"/>
                    </a:cubicBezTo>
                    <a:cubicBezTo>
                      <a:pt x="18" y="7"/>
                      <a:pt x="17" y="11"/>
                      <a:pt x="13" y="14"/>
                    </a:cubicBezTo>
                    <a:cubicBezTo>
                      <a:pt x="10" y="16"/>
                      <a:pt x="5" y="16"/>
                      <a:pt x="3" y="12"/>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grpSp>
        <p:nvGrpSpPr>
          <p:cNvPr id="298" name="Group 297">
            <a:extLst>
              <a:ext uri="{FF2B5EF4-FFF2-40B4-BE49-F238E27FC236}">
                <a16:creationId xmlns:a16="http://schemas.microsoft.com/office/drawing/2014/main" id="{14CE2D24-3984-434C-A384-ADC40AEFACF7}"/>
              </a:ext>
              <a:ext uri="{C183D7F6-B498-43B3-948B-1728B52AA6E4}">
                <adec:decorative xmlns:adec="http://schemas.microsoft.com/office/drawing/2017/decorative" val="1"/>
              </a:ext>
            </a:extLst>
          </p:cNvPr>
          <p:cNvGrpSpPr/>
          <p:nvPr/>
        </p:nvGrpSpPr>
        <p:grpSpPr>
          <a:xfrm>
            <a:off x="3603791" y="2995439"/>
            <a:ext cx="679450" cy="635000"/>
            <a:chOff x="7232651" y="3695700"/>
            <a:chExt cx="679450" cy="635000"/>
          </a:xfrm>
        </p:grpSpPr>
        <p:sp>
          <p:nvSpPr>
            <p:cNvPr id="299" name="Freeform 258">
              <a:extLst>
                <a:ext uri="{FF2B5EF4-FFF2-40B4-BE49-F238E27FC236}">
                  <a16:creationId xmlns:a16="http://schemas.microsoft.com/office/drawing/2014/main" id="{CCCBB650-7FFB-4BED-93FC-BEAF56BCB9BA}"/>
                </a:ext>
              </a:extLst>
            </p:cNvPr>
            <p:cNvSpPr>
              <a:spLocks/>
            </p:cNvSpPr>
            <p:nvPr/>
          </p:nvSpPr>
          <p:spPr bwMode="auto">
            <a:xfrm>
              <a:off x="7232651" y="3695700"/>
              <a:ext cx="679450" cy="635000"/>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0" name="Freeform 259">
              <a:extLst>
                <a:ext uri="{FF2B5EF4-FFF2-40B4-BE49-F238E27FC236}">
                  <a16:creationId xmlns:a16="http://schemas.microsoft.com/office/drawing/2014/main" id="{0295E1CA-9FC5-4759-AD99-A69144167487}"/>
                </a:ext>
              </a:extLst>
            </p:cNvPr>
            <p:cNvSpPr>
              <a:spLocks/>
            </p:cNvSpPr>
            <p:nvPr/>
          </p:nvSpPr>
          <p:spPr bwMode="auto">
            <a:xfrm>
              <a:off x="7424738" y="3814763"/>
              <a:ext cx="277813" cy="381000"/>
            </a:xfrm>
            <a:custGeom>
              <a:avLst/>
              <a:gdLst>
                <a:gd name="T0" fmla="*/ 5 w 96"/>
                <a:gd name="T1" fmla="*/ 125 h 131"/>
                <a:gd name="T2" fmla="*/ 5 w 96"/>
                <a:gd name="T3" fmla="*/ 40 h 131"/>
                <a:gd name="T4" fmla="*/ 38 w 96"/>
                <a:gd name="T5" fmla="*/ 6 h 131"/>
                <a:gd name="T6" fmla="*/ 92 w 96"/>
                <a:gd name="T7" fmla="*/ 8 h 131"/>
                <a:gd name="T8" fmla="*/ 92 w 96"/>
                <a:gd name="T9" fmla="*/ 125 h 131"/>
                <a:gd name="T10" fmla="*/ 5 w 96"/>
                <a:gd name="T11" fmla="*/ 125 h 131"/>
              </a:gdLst>
              <a:ahLst/>
              <a:cxnLst>
                <a:cxn ang="0">
                  <a:pos x="T0" y="T1"/>
                </a:cxn>
                <a:cxn ang="0">
                  <a:pos x="T2" y="T3"/>
                </a:cxn>
                <a:cxn ang="0">
                  <a:pos x="T4" y="T5"/>
                </a:cxn>
                <a:cxn ang="0">
                  <a:pos x="T6" y="T7"/>
                </a:cxn>
                <a:cxn ang="0">
                  <a:pos x="T8" y="T9"/>
                </a:cxn>
                <a:cxn ang="0">
                  <a:pos x="T10" y="T11"/>
                </a:cxn>
              </a:cxnLst>
              <a:rect l="0" t="0" r="r" b="b"/>
              <a:pathLst>
                <a:path w="96" h="131">
                  <a:moveTo>
                    <a:pt x="5" y="125"/>
                  </a:moveTo>
                  <a:cubicBezTo>
                    <a:pt x="0" y="120"/>
                    <a:pt x="1" y="50"/>
                    <a:pt x="5" y="40"/>
                  </a:cubicBezTo>
                  <a:cubicBezTo>
                    <a:pt x="12" y="32"/>
                    <a:pt x="35" y="10"/>
                    <a:pt x="38" y="6"/>
                  </a:cubicBezTo>
                  <a:cubicBezTo>
                    <a:pt x="40" y="5"/>
                    <a:pt x="63" y="0"/>
                    <a:pt x="92" y="8"/>
                  </a:cubicBezTo>
                  <a:cubicBezTo>
                    <a:pt x="85" y="44"/>
                    <a:pt x="96" y="120"/>
                    <a:pt x="92" y="125"/>
                  </a:cubicBezTo>
                  <a:cubicBezTo>
                    <a:pt x="87" y="131"/>
                    <a:pt x="11" y="131"/>
                    <a:pt x="5" y="1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1" name="Freeform 260">
              <a:extLst>
                <a:ext uri="{FF2B5EF4-FFF2-40B4-BE49-F238E27FC236}">
                  <a16:creationId xmlns:a16="http://schemas.microsoft.com/office/drawing/2014/main" id="{1CB69D18-800F-413C-97AD-C6B8B614744A}"/>
                </a:ext>
              </a:extLst>
            </p:cNvPr>
            <p:cNvSpPr>
              <a:spLocks/>
            </p:cNvSpPr>
            <p:nvPr/>
          </p:nvSpPr>
          <p:spPr bwMode="auto">
            <a:xfrm>
              <a:off x="7439026" y="3832225"/>
              <a:ext cx="104775" cy="111125"/>
            </a:xfrm>
            <a:custGeom>
              <a:avLst/>
              <a:gdLst>
                <a:gd name="T0" fmla="*/ 33 w 36"/>
                <a:gd name="T1" fmla="*/ 34 h 38"/>
                <a:gd name="T2" fmla="*/ 0 w 36"/>
                <a:gd name="T3" fmla="*/ 34 h 38"/>
                <a:gd name="T4" fmla="*/ 33 w 36"/>
                <a:gd name="T5" fmla="*/ 0 h 38"/>
                <a:gd name="T6" fmla="*/ 33 w 36"/>
                <a:gd name="T7" fmla="*/ 34 h 38"/>
              </a:gdLst>
              <a:ahLst/>
              <a:cxnLst>
                <a:cxn ang="0">
                  <a:pos x="T0" y="T1"/>
                </a:cxn>
                <a:cxn ang="0">
                  <a:pos x="T2" y="T3"/>
                </a:cxn>
                <a:cxn ang="0">
                  <a:pos x="T4" y="T5"/>
                </a:cxn>
                <a:cxn ang="0">
                  <a:pos x="T6" y="T7"/>
                </a:cxn>
              </a:cxnLst>
              <a:rect l="0" t="0" r="r" b="b"/>
              <a:pathLst>
                <a:path w="36" h="38">
                  <a:moveTo>
                    <a:pt x="33" y="34"/>
                  </a:moveTo>
                  <a:cubicBezTo>
                    <a:pt x="30" y="38"/>
                    <a:pt x="11" y="32"/>
                    <a:pt x="0" y="34"/>
                  </a:cubicBezTo>
                  <a:cubicBezTo>
                    <a:pt x="10" y="23"/>
                    <a:pt x="19" y="14"/>
                    <a:pt x="33" y="0"/>
                  </a:cubicBezTo>
                  <a:cubicBezTo>
                    <a:pt x="29" y="16"/>
                    <a:pt x="36" y="29"/>
                    <a:pt x="33" y="3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2" name="Freeform 261">
              <a:extLst>
                <a:ext uri="{FF2B5EF4-FFF2-40B4-BE49-F238E27FC236}">
                  <a16:creationId xmlns:a16="http://schemas.microsoft.com/office/drawing/2014/main" id="{AB737EF2-437B-4D2C-8B40-E9057FFE216D}"/>
                </a:ext>
              </a:extLst>
            </p:cNvPr>
            <p:cNvSpPr>
              <a:spLocks/>
            </p:cNvSpPr>
            <p:nvPr/>
          </p:nvSpPr>
          <p:spPr bwMode="auto">
            <a:xfrm>
              <a:off x="7481888" y="3952875"/>
              <a:ext cx="160338" cy="153988"/>
            </a:xfrm>
            <a:custGeom>
              <a:avLst/>
              <a:gdLst>
                <a:gd name="T0" fmla="*/ 54 w 55"/>
                <a:gd name="T1" fmla="*/ 3 h 53"/>
                <a:gd name="T2" fmla="*/ 53 w 55"/>
                <a:gd name="T3" fmla="*/ 1 h 53"/>
                <a:gd name="T4" fmla="*/ 52 w 55"/>
                <a:gd name="T5" fmla="*/ 0 h 53"/>
                <a:gd name="T6" fmla="*/ 51 w 55"/>
                <a:gd name="T7" fmla="*/ 0 h 53"/>
                <a:gd name="T8" fmla="*/ 31 w 55"/>
                <a:gd name="T9" fmla="*/ 17 h 53"/>
                <a:gd name="T10" fmla="*/ 16 w 55"/>
                <a:gd name="T11" fmla="*/ 38 h 53"/>
                <a:gd name="T12" fmla="*/ 15 w 55"/>
                <a:gd name="T13" fmla="*/ 37 h 53"/>
                <a:gd name="T14" fmla="*/ 1 w 55"/>
                <a:gd name="T15" fmla="*/ 31 h 53"/>
                <a:gd name="T16" fmla="*/ 0 w 55"/>
                <a:gd name="T17" fmla="*/ 32 h 53"/>
                <a:gd name="T18" fmla="*/ 2 w 55"/>
                <a:gd name="T19" fmla="*/ 33 h 53"/>
                <a:gd name="T20" fmla="*/ 5 w 55"/>
                <a:gd name="T21" fmla="*/ 36 h 53"/>
                <a:gd name="T22" fmla="*/ 9 w 55"/>
                <a:gd name="T23" fmla="*/ 45 h 53"/>
                <a:gd name="T24" fmla="*/ 10 w 55"/>
                <a:gd name="T25" fmla="*/ 47 h 53"/>
                <a:gd name="T26" fmla="*/ 12 w 55"/>
                <a:gd name="T27" fmla="*/ 52 h 53"/>
                <a:gd name="T28" fmla="*/ 13 w 55"/>
                <a:gd name="T29" fmla="*/ 53 h 53"/>
                <a:gd name="T30" fmla="*/ 13 w 55"/>
                <a:gd name="T31" fmla="*/ 53 h 53"/>
                <a:gd name="T32" fmla="*/ 14 w 55"/>
                <a:gd name="T33" fmla="*/ 52 h 53"/>
                <a:gd name="T34" fmla="*/ 18 w 55"/>
                <a:gd name="T35" fmla="*/ 50 h 53"/>
                <a:gd name="T36" fmla="*/ 19 w 55"/>
                <a:gd name="T37" fmla="*/ 49 h 53"/>
                <a:gd name="T38" fmla="*/ 20 w 55"/>
                <a:gd name="T39" fmla="*/ 48 h 53"/>
                <a:gd name="T40" fmla="*/ 33 w 55"/>
                <a:gd name="T41" fmla="*/ 25 h 53"/>
                <a:gd name="T42" fmla="*/ 54 w 55"/>
                <a:gd name="T43" fmla="*/ 5 h 53"/>
                <a:gd name="T44" fmla="*/ 54 w 55"/>
                <a:gd name="T45"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53">
                  <a:moveTo>
                    <a:pt x="54" y="3"/>
                  </a:moveTo>
                  <a:cubicBezTo>
                    <a:pt x="53" y="1"/>
                    <a:pt x="53" y="1"/>
                    <a:pt x="53" y="1"/>
                  </a:cubicBezTo>
                  <a:cubicBezTo>
                    <a:pt x="53" y="1"/>
                    <a:pt x="53" y="0"/>
                    <a:pt x="52" y="0"/>
                  </a:cubicBezTo>
                  <a:cubicBezTo>
                    <a:pt x="52" y="0"/>
                    <a:pt x="52" y="0"/>
                    <a:pt x="51" y="0"/>
                  </a:cubicBezTo>
                  <a:cubicBezTo>
                    <a:pt x="44" y="5"/>
                    <a:pt x="37" y="10"/>
                    <a:pt x="31" y="17"/>
                  </a:cubicBezTo>
                  <a:cubicBezTo>
                    <a:pt x="25" y="23"/>
                    <a:pt x="20" y="30"/>
                    <a:pt x="16" y="38"/>
                  </a:cubicBezTo>
                  <a:cubicBezTo>
                    <a:pt x="15" y="37"/>
                    <a:pt x="15" y="37"/>
                    <a:pt x="15" y="37"/>
                  </a:cubicBezTo>
                  <a:cubicBezTo>
                    <a:pt x="11" y="26"/>
                    <a:pt x="7" y="26"/>
                    <a:pt x="1" y="31"/>
                  </a:cubicBezTo>
                  <a:cubicBezTo>
                    <a:pt x="0" y="31"/>
                    <a:pt x="0" y="32"/>
                    <a:pt x="0" y="32"/>
                  </a:cubicBezTo>
                  <a:cubicBezTo>
                    <a:pt x="1" y="33"/>
                    <a:pt x="1" y="33"/>
                    <a:pt x="2" y="33"/>
                  </a:cubicBezTo>
                  <a:cubicBezTo>
                    <a:pt x="3" y="33"/>
                    <a:pt x="4" y="34"/>
                    <a:pt x="5" y="36"/>
                  </a:cubicBezTo>
                  <a:cubicBezTo>
                    <a:pt x="6" y="37"/>
                    <a:pt x="8" y="41"/>
                    <a:pt x="9" y="45"/>
                  </a:cubicBezTo>
                  <a:cubicBezTo>
                    <a:pt x="10" y="47"/>
                    <a:pt x="10" y="47"/>
                    <a:pt x="10" y="47"/>
                  </a:cubicBezTo>
                  <a:cubicBezTo>
                    <a:pt x="11" y="49"/>
                    <a:pt x="12" y="51"/>
                    <a:pt x="12" y="52"/>
                  </a:cubicBezTo>
                  <a:cubicBezTo>
                    <a:pt x="12" y="52"/>
                    <a:pt x="12" y="53"/>
                    <a:pt x="13" y="53"/>
                  </a:cubicBezTo>
                  <a:cubicBezTo>
                    <a:pt x="13" y="53"/>
                    <a:pt x="13" y="53"/>
                    <a:pt x="13" y="53"/>
                  </a:cubicBezTo>
                  <a:cubicBezTo>
                    <a:pt x="13" y="53"/>
                    <a:pt x="14" y="53"/>
                    <a:pt x="14" y="52"/>
                  </a:cubicBezTo>
                  <a:cubicBezTo>
                    <a:pt x="15" y="52"/>
                    <a:pt x="16" y="51"/>
                    <a:pt x="18" y="50"/>
                  </a:cubicBezTo>
                  <a:cubicBezTo>
                    <a:pt x="19" y="49"/>
                    <a:pt x="19" y="49"/>
                    <a:pt x="19" y="49"/>
                  </a:cubicBezTo>
                  <a:cubicBezTo>
                    <a:pt x="20" y="48"/>
                    <a:pt x="20" y="48"/>
                    <a:pt x="20" y="48"/>
                  </a:cubicBezTo>
                  <a:cubicBezTo>
                    <a:pt x="23" y="40"/>
                    <a:pt x="27" y="33"/>
                    <a:pt x="33" y="25"/>
                  </a:cubicBezTo>
                  <a:cubicBezTo>
                    <a:pt x="40" y="17"/>
                    <a:pt x="47" y="10"/>
                    <a:pt x="54" y="5"/>
                  </a:cubicBezTo>
                  <a:cubicBezTo>
                    <a:pt x="55" y="4"/>
                    <a:pt x="55" y="4"/>
                    <a:pt x="54" y="3"/>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321" name="Group 320">
            <a:extLst>
              <a:ext uri="{FF2B5EF4-FFF2-40B4-BE49-F238E27FC236}">
                <a16:creationId xmlns:a16="http://schemas.microsoft.com/office/drawing/2014/main" id="{E64888A6-B567-4499-B109-FF48B702E373}"/>
              </a:ext>
              <a:ext uri="{C183D7F6-B498-43B3-948B-1728B52AA6E4}">
                <adec:decorative xmlns:adec="http://schemas.microsoft.com/office/drawing/2017/decorative" val="1"/>
              </a:ext>
            </a:extLst>
          </p:cNvPr>
          <p:cNvGrpSpPr/>
          <p:nvPr/>
        </p:nvGrpSpPr>
        <p:grpSpPr>
          <a:xfrm>
            <a:off x="9237146" y="4941168"/>
            <a:ext cx="679450" cy="633413"/>
            <a:chOff x="4065588" y="4583113"/>
            <a:chExt cx="679450" cy="633413"/>
          </a:xfrm>
        </p:grpSpPr>
        <p:sp>
          <p:nvSpPr>
            <p:cNvPr id="322" name="Freeform 283">
              <a:extLst>
                <a:ext uri="{FF2B5EF4-FFF2-40B4-BE49-F238E27FC236}">
                  <a16:creationId xmlns:a16="http://schemas.microsoft.com/office/drawing/2014/main" id="{5F67429A-A39E-4D9E-BCDA-6B63037713B6}"/>
                </a:ext>
              </a:extLst>
            </p:cNvPr>
            <p:cNvSpPr>
              <a:spLocks/>
            </p:cNvSpPr>
            <p:nvPr/>
          </p:nvSpPr>
          <p:spPr bwMode="auto">
            <a:xfrm>
              <a:off x="4065588" y="4583113"/>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7" y="214"/>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23" name="Freeform 284">
              <a:extLst>
                <a:ext uri="{FF2B5EF4-FFF2-40B4-BE49-F238E27FC236}">
                  <a16:creationId xmlns:a16="http://schemas.microsoft.com/office/drawing/2014/main" id="{0ABCE95E-C9CE-4F33-8FE9-F804923B1DDB}"/>
                </a:ext>
              </a:extLst>
            </p:cNvPr>
            <p:cNvSpPr>
              <a:spLocks/>
            </p:cNvSpPr>
            <p:nvPr/>
          </p:nvSpPr>
          <p:spPr bwMode="auto">
            <a:xfrm>
              <a:off x="4314826" y="4710113"/>
              <a:ext cx="177800" cy="379413"/>
            </a:xfrm>
            <a:custGeom>
              <a:avLst/>
              <a:gdLst>
                <a:gd name="T0" fmla="*/ 59 w 61"/>
                <a:gd name="T1" fmla="*/ 50 h 130"/>
                <a:gd name="T2" fmla="*/ 36 w 61"/>
                <a:gd name="T3" fmla="*/ 50 h 130"/>
                <a:gd name="T4" fmla="*/ 60 w 61"/>
                <a:gd name="T5" fmla="*/ 13 h 130"/>
                <a:gd name="T6" fmla="*/ 60 w 61"/>
                <a:gd name="T7" fmla="*/ 11 h 130"/>
                <a:gd name="T8" fmla="*/ 59 w 61"/>
                <a:gd name="T9" fmla="*/ 10 h 130"/>
                <a:gd name="T10" fmla="*/ 17 w 61"/>
                <a:gd name="T11" fmla="*/ 8 h 130"/>
                <a:gd name="T12" fmla="*/ 0 w 61"/>
                <a:gd name="T13" fmla="*/ 72 h 130"/>
                <a:gd name="T14" fmla="*/ 1 w 61"/>
                <a:gd name="T15" fmla="*/ 73 h 130"/>
                <a:gd name="T16" fmla="*/ 2 w 61"/>
                <a:gd name="T17" fmla="*/ 74 h 130"/>
                <a:gd name="T18" fmla="*/ 20 w 61"/>
                <a:gd name="T19" fmla="*/ 74 h 130"/>
                <a:gd name="T20" fmla="*/ 4 w 61"/>
                <a:gd name="T21" fmla="*/ 128 h 130"/>
                <a:gd name="T22" fmla="*/ 6 w 61"/>
                <a:gd name="T23" fmla="*/ 130 h 130"/>
                <a:gd name="T24" fmla="*/ 6 w 61"/>
                <a:gd name="T25" fmla="*/ 130 h 130"/>
                <a:gd name="T26" fmla="*/ 8 w 61"/>
                <a:gd name="T27" fmla="*/ 129 h 130"/>
                <a:gd name="T28" fmla="*/ 60 w 61"/>
                <a:gd name="T29" fmla="*/ 53 h 130"/>
                <a:gd name="T30" fmla="*/ 60 w 61"/>
                <a:gd name="T31" fmla="*/ 51 h 130"/>
                <a:gd name="T32" fmla="*/ 59 w 61"/>
                <a:gd name="T33" fmla="*/ 5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130">
                  <a:moveTo>
                    <a:pt x="59" y="50"/>
                  </a:moveTo>
                  <a:cubicBezTo>
                    <a:pt x="36" y="50"/>
                    <a:pt x="36" y="50"/>
                    <a:pt x="36" y="50"/>
                  </a:cubicBezTo>
                  <a:cubicBezTo>
                    <a:pt x="60" y="13"/>
                    <a:pt x="60" y="13"/>
                    <a:pt x="60" y="13"/>
                  </a:cubicBezTo>
                  <a:cubicBezTo>
                    <a:pt x="61" y="12"/>
                    <a:pt x="61" y="12"/>
                    <a:pt x="60" y="11"/>
                  </a:cubicBezTo>
                  <a:cubicBezTo>
                    <a:pt x="60" y="10"/>
                    <a:pt x="59" y="10"/>
                    <a:pt x="59" y="10"/>
                  </a:cubicBezTo>
                  <a:cubicBezTo>
                    <a:pt x="59" y="10"/>
                    <a:pt x="42" y="0"/>
                    <a:pt x="17" y="8"/>
                  </a:cubicBezTo>
                  <a:cubicBezTo>
                    <a:pt x="17" y="31"/>
                    <a:pt x="0" y="72"/>
                    <a:pt x="0" y="72"/>
                  </a:cubicBezTo>
                  <a:cubicBezTo>
                    <a:pt x="0" y="72"/>
                    <a:pt x="0" y="73"/>
                    <a:pt x="1" y="73"/>
                  </a:cubicBezTo>
                  <a:cubicBezTo>
                    <a:pt x="1" y="74"/>
                    <a:pt x="2" y="74"/>
                    <a:pt x="2" y="74"/>
                  </a:cubicBezTo>
                  <a:cubicBezTo>
                    <a:pt x="20" y="74"/>
                    <a:pt x="20" y="74"/>
                    <a:pt x="20" y="74"/>
                  </a:cubicBezTo>
                  <a:cubicBezTo>
                    <a:pt x="4" y="128"/>
                    <a:pt x="4" y="128"/>
                    <a:pt x="4" y="128"/>
                  </a:cubicBezTo>
                  <a:cubicBezTo>
                    <a:pt x="4" y="129"/>
                    <a:pt x="5" y="130"/>
                    <a:pt x="6" y="130"/>
                  </a:cubicBezTo>
                  <a:cubicBezTo>
                    <a:pt x="6" y="130"/>
                    <a:pt x="6" y="130"/>
                    <a:pt x="6" y="130"/>
                  </a:cubicBezTo>
                  <a:cubicBezTo>
                    <a:pt x="7" y="130"/>
                    <a:pt x="8" y="130"/>
                    <a:pt x="8" y="129"/>
                  </a:cubicBezTo>
                  <a:cubicBezTo>
                    <a:pt x="60" y="53"/>
                    <a:pt x="60" y="53"/>
                    <a:pt x="60" y="53"/>
                  </a:cubicBezTo>
                  <a:cubicBezTo>
                    <a:pt x="61" y="53"/>
                    <a:pt x="61" y="52"/>
                    <a:pt x="60" y="51"/>
                  </a:cubicBezTo>
                  <a:cubicBezTo>
                    <a:pt x="60" y="50"/>
                    <a:pt x="59" y="50"/>
                    <a:pt x="59" y="5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328" name="Group 327">
            <a:extLst>
              <a:ext uri="{FF2B5EF4-FFF2-40B4-BE49-F238E27FC236}">
                <a16:creationId xmlns:a16="http://schemas.microsoft.com/office/drawing/2014/main" id="{D6E8BB1B-DE71-48FF-A509-C5D50B65851A}"/>
              </a:ext>
              <a:ext uri="{C183D7F6-B498-43B3-948B-1728B52AA6E4}">
                <adec:decorative xmlns:adec="http://schemas.microsoft.com/office/drawing/2017/decorative" val="1"/>
              </a:ext>
            </a:extLst>
          </p:cNvPr>
          <p:cNvGrpSpPr/>
          <p:nvPr/>
        </p:nvGrpSpPr>
        <p:grpSpPr>
          <a:xfrm>
            <a:off x="9233126" y="1101944"/>
            <a:ext cx="679450" cy="633413"/>
            <a:chOff x="7232651" y="942975"/>
            <a:chExt cx="679450" cy="633413"/>
          </a:xfrm>
        </p:grpSpPr>
        <p:sp>
          <p:nvSpPr>
            <p:cNvPr id="329" name="Freeform 289">
              <a:extLst>
                <a:ext uri="{FF2B5EF4-FFF2-40B4-BE49-F238E27FC236}">
                  <a16:creationId xmlns:a16="http://schemas.microsoft.com/office/drawing/2014/main" id="{AA9D5690-DE75-459F-A26F-C2EC8691E0CA}"/>
                </a:ext>
              </a:extLst>
            </p:cNvPr>
            <p:cNvSpPr>
              <a:spLocks/>
            </p:cNvSpPr>
            <p:nvPr/>
          </p:nvSpPr>
          <p:spPr bwMode="auto">
            <a:xfrm>
              <a:off x="7232651"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30" name="Freeform 290">
              <a:extLst>
                <a:ext uri="{FF2B5EF4-FFF2-40B4-BE49-F238E27FC236}">
                  <a16:creationId xmlns:a16="http://schemas.microsoft.com/office/drawing/2014/main" id="{44318ADF-C0E0-4EF8-8EA8-711FDECB288A}"/>
                </a:ext>
              </a:extLst>
            </p:cNvPr>
            <p:cNvSpPr>
              <a:spLocks/>
            </p:cNvSpPr>
            <p:nvPr/>
          </p:nvSpPr>
          <p:spPr bwMode="auto">
            <a:xfrm>
              <a:off x="7362826" y="1135063"/>
              <a:ext cx="412750" cy="255588"/>
            </a:xfrm>
            <a:custGeom>
              <a:avLst/>
              <a:gdLst>
                <a:gd name="T0" fmla="*/ 142 w 142"/>
                <a:gd name="T1" fmla="*/ 44 h 88"/>
                <a:gd name="T2" fmla="*/ 71 w 142"/>
                <a:gd name="T3" fmla="*/ 88 h 88"/>
                <a:gd name="T4" fmla="*/ 0 w 142"/>
                <a:gd name="T5" fmla="*/ 44 h 88"/>
                <a:gd name="T6" fmla="*/ 71 w 142"/>
                <a:gd name="T7" fmla="*/ 0 h 88"/>
                <a:gd name="T8" fmla="*/ 142 w 142"/>
                <a:gd name="T9" fmla="*/ 44 h 88"/>
              </a:gdLst>
              <a:ahLst/>
              <a:cxnLst>
                <a:cxn ang="0">
                  <a:pos x="T0" y="T1"/>
                </a:cxn>
                <a:cxn ang="0">
                  <a:pos x="T2" y="T3"/>
                </a:cxn>
                <a:cxn ang="0">
                  <a:pos x="T4" y="T5"/>
                </a:cxn>
                <a:cxn ang="0">
                  <a:pos x="T6" y="T7"/>
                </a:cxn>
                <a:cxn ang="0">
                  <a:pos x="T8" y="T9"/>
                </a:cxn>
              </a:cxnLst>
              <a:rect l="0" t="0" r="r" b="b"/>
              <a:pathLst>
                <a:path w="142" h="88">
                  <a:moveTo>
                    <a:pt x="142" y="44"/>
                  </a:moveTo>
                  <a:cubicBezTo>
                    <a:pt x="128" y="55"/>
                    <a:pt x="111" y="88"/>
                    <a:pt x="71" y="88"/>
                  </a:cubicBezTo>
                  <a:cubicBezTo>
                    <a:pt x="32" y="88"/>
                    <a:pt x="0" y="44"/>
                    <a:pt x="0" y="44"/>
                  </a:cubicBezTo>
                  <a:cubicBezTo>
                    <a:pt x="0" y="44"/>
                    <a:pt x="32" y="0"/>
                    <a:pt x="71" y="0"/>
                  </a:cubicBezTo>
                  <a:cubicBezTo>
                    <a:pt x="111" y="0"/>
                    <a:pt x="132" y="21"/>
                    <a:pt x="142"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31" name="Oval 291">
              <a:extLst>
                <a:ext uri="{FF2B5EF4-FFF2-40B4-BE49-F238E27FC236}">
                  <a16:creationId xmlns:a16="http://schemas.microsoft.com/office/drawing/2014/main" id="{E3F57689-B9FD-42D6-94C5-99E141A81DEB}"/>
                </a:ext>
              </a:extLst>
            </p:cNvPr>
            <p:cNvSpPr>
              <a:spLocks noChangeArrowheads="1"/>
            </p:cNvSpPr>
            <p:nvPr/>
          </p:nvSpPr>
          <p:spPr bwMode="auto">
            <a:xfrm>
              <a:off x="7481888" y="1176338"/>
              <a:ext cx="177800" cy="174625"/>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32" name="Oval 292">
              <a:extLst>
                <a:ext uri="{FF2B5EF4-FFF2-40B4-BE49-F238E27FC236}">
                  <a16:creationId xmlns:a16="http://schemas.microsoft.com/office/drawing/2014/main" id="{61216F4B-1439-46F6-9511-4D16C502F0F9}"/>
                </a:ext>
              </a:extLst>
            </p:cNvPr>
            <p:cNvSpPr>
              <a:spLocks noChangeArrowheads="1"/>
            </p:cNvSpPr>
            <p:nvPr/>
          </p:nvSpPr>
          <p:spPr bwMode="auto">
            <a:xfrm>
              <a:off x="7523163" y="1216025"/>
              <a:ext cx="95250" cy="93663"/>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33" name="Oval 293">
              <a:extLst>
                <a:ext uri="{FF2B5EF4-FFF2-40B4-BE49-F238E27FC236}">
                  <a16:creationId xmlns:a16="http://schemas.microsoft.com/office/drawing/2014/main" id="{B0647409-FBF2-492F-83E6-90092C0572EF}"/>
                </a:ext>
              </a:extLst>
            </p:cNvPr>
            <p:cNvSpPr>
              <a:spLocks noChangeArrowheads="1"/>
            </p:cNvSpPr>
            <p:nvPr/>
          </p:nvSpPr>
          <p:spPr bwMode="auto">
            <a:xfrm>
              <a:off x="7586663" y="1176338"/>
              <a:ext cx="73025" cy="73025"/>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28" name="Group 427">
            <a:extLst>
              <a:ext uri="{FF2B5EF4-FFF2-40B4-BE49-F238E27FC236}">
                <a16:creationId xmlns:a16="http://schemas.microsoft.com/office/drawing/2014/main" id="{515DC339-2927-4B28-8E93-29E96FFBEA49}"/>
              </a:ext>
              <a:ext uri="{C183D7F6-B498-43B3-948B-1728B52AA6E4}">
                <adec:decorative xmlns:adec="http://schemas.microsoft.com/office/drawing/2017/decorative" val="1"/>
              </a:ext>
            </a:extLst>
          </p:cNvPr>
          <p:cNvGrpSpPr/>
          <p:nvPr/>
        </p:nvGrpSpPr>
        <p:grpSpPr>
          <a:xfrm>
            <a:off x="461364" y="2027873"/>
            <a:ext cx="676275" cy="633413"/>
            <a:chOff x="1835151" y="942975"/>
            <a:chExt cx="676275" cy="633413"/>
          </a:xfrm>
        </p:grpSpPr>
        <p:sp>
          <p:nvSpPr>
            <p:cNvPr id="429" name="Freeform 378">
              <a:extLst>
                <a:ext uri="{FF2B5EF4-FFF2-40B4-BE49-F238E27FC236}">
                  <a16:creationId xmlns:a16="http://schemas.microsoft.com/office/drawing/2014/main" id="{3A375638-C3E4-4EDE-B300-EB2E883541F4}"/>
                </a:ext>
              </a:extLst>
            </p:cNvPr>
            <p:cNvSpPr>
              <a:spLocks/>
            </p:cNvSpPr>
            <p:nvPr/>
          </p:nvSpPr>
          <p:spPr bwMode="auto">
            <a:xfrm>
              <a:off x="1835151" y="942975"/>
              <a:ext cx="676275" cy="633413"/>
            </a:xfrm>
            <a:custGeom>
              <a:avLst/>
              <a:gdLst>
                <a:gd name="T0" fmla="*/ 34 w 233"/>
                <a:gd name="T1" fmla="*/ 170 h 218"/>
                <a:gd name="T2" fmla="*/ 56 w 233"/>
                <a:gd name="T3" fmla="*/ 32 h 218"/>
                <a:gd name="T4" fmla="*/ 200 w 233"/>
                <a:gd name="T5" fmla="*/ 53 h 218"/>
                <a:gd name="T6" fmla="*/ 174 w 233"/>
                <a:gd name="T7" fmla="*/ 185 h 218"/>
                <a:gd name="T8" fmla="*/ 34 w 233"/>
                <a:gd name="T9" fmla="*/ 170 h 218"/>
              </a:gdLst>
              <a:ahLst/>
              <a:cxnLst>
                <a:cxn ang="0">
                  <a:pos x="T0" y="T1"/>
                </a:cxn>
                <a:cxn ang="0">
                  <a:pos x="T2" y="T3"/>
                </a:cxn>
                <a:cxn ang="0">
                  <a:pos x="T4" y="T5"/>
                </a:cxn>
                <a:cxn ang="0">
                  <a:pos x="T6" y="T7"/>
                </a:cxn>
                <a:cxn ang="0">
                  <a:pos x="T8" y="T9"/>
                </a:cxn>
              </a:cxnLst>
              <a:rect l="0" t="0" r="r" b="b"/>
              <a:pathLst>
                <a:path w="233" h="218">
                  <a:moveTo>
                    <a:pt x="34" y="170"/>
                  </a:moveTo>
                  <a:cubicBezTo>
                    <a:pt x="0" y="127"/>
                    <a:pt x="10" y="65"/>
                    <a:pt x="56" y="32"/>
                  </a:cubicBezTo>
                  <a:cubicBezTo>
                    <a:pt x="102" y="0"/>
                    <a:pt x="166" y="9"/>
                    <a:pt x="200" y="53"/>
                  </a:cubicBezTo>
                  <a:cubicBezTo>
                    <a:pt x="233" y="96"/>
                    <a:pt x="220" y="153"/>
                    <a:pt x="174" y="185"/>
                  </a:cubicBezTo>
                  <a:cubicBezTo>
                    <a:pt x="128" y="218"/>
                    <a:pt x="67" y="214"/>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0" name="Freeform 379">
              <a:extLst>
                <a:ext uri="{FF2B5EF4-FFF2-40B4-BE49-F238E27FC236}">
                  <a16:creationId xmlns:a16="http://schemas.microsoft.com/office/drawing/2014/main" id="{323253A1-337E-4FA9-8B8A-18EB8D8CCA79}"/>
                </a:ext>
              </a:extLst>
            </p:cNvPr>
            <p:cNvSpPr>
              <a:spLocks noEditPoints="1"/>
            </p:cNvSpPr>
            <p:nvPr/>
          </p:nvSpPr>
          <p:spPr bwMode="auto">
            <a:xfrm>
              <a:off x="2014538" y="1163638"/>
              <a:ext cx="304800" cy="257175"/>
            </a:xfrm>
            <a:custGeom>
              <a:avLst/>
              <a:gdLst>
                <a:gd name="T0" fmla="*/ 75 w 105"/>
                <a:gd name="T1" fmla="*/ 47 h 88"/>
                <a:gd name="T2" fmla="*/ 75 w 105"/>
                <a:gd name="T3" fmla="*/ 34 h 88"/>
                <a:gd name="T4" fmla="*/ 71 w 105"/>
                <a:gd name="T5" fmla="*/ 33 h 88"/>
                <a:gd name="T6" fmla="*/ 48 w 105"/>
                <a:gd name="T7" fmla="*/ 49 h 88"/>
                <a:gd name="T8" fmla="*/ 45 w 105"/>
                <a:gd name="T9" fmla="*/ 47 h 88"/>
                <a:gd name="T10" fmla="*/ 45 w 105"/>
                <a:gd name="T11" fmla="*/ 30 h 88"/>
                <a:gd name="T12" fmla="*/ 37 w 105"/>
                <a:gd name="T13" fmla="*/ 30 h 88"/>
                <a:gd name="T14" fmla="*/ 37 w 105"/>
                <a:gd name="T15" fmla="*/ 13 h 88"/>
                <a:gd name="T16" fmla="*/ 30 w 105"/>
                <a:gd name="T17" fmla="*/ 13 h 88"/>
                <a:gd name="T18" fmla="*/ 30 w 105"/>
                <a:gd name="T19" fmla="*/ 30 h 88"/>
                <a:gd name="T20" fmla="*/ 22 w 105"/>
                <a:gd name="T21" fmla="*/ 30 h 88"/>
                <a:gd name="T22" fmla="*/ 22 w 105"/>
                <a:gd name="T23" fmla="*/ 2 h 88"/>
                <a:gd name="T24" fmla="*/ 20 w 105"/>
                <a:gd name="T25" fmla="*/ 0 h 88"/>
                <a:gd name="T26" fmla="*/ 12 w 105"/>
                <a:gd name="T27" fmla="*/ 0 h 88"/>
                <a:gd name="T28" fmla="*/ 7 w 105"/>
                <a:gd name="T29" fmla="*/ 0 h 88"/>
                <a:gd name="T30" fmla="*/ 7 w 105"/>
                <a:gd name="T31" fmla="*/ 15 h 88"/>
                <a:gd name="T32" fmla="*/ 7 w 105"/>
                <a:gd name="T33" fmla="*/ 30 h 88"/>
                <a:gd name="T34" fmla="*/ 0 w 105"/>
                <a:gd name="T35" fmla="*/ 30 h 88"/>
                <a:gd name="T36" fmla="*/ 0 w 105"/>
                <a:gd name="T37" fmla="*/ 86 h 88"/>
                <a:gd name="T38" fmla="*/ 2 w 105"/>
                <a:gd name="T39" fmla="*/ 88 h 88"/>
                <a:gd name="T40" fmla="*/ 103 w 105"/>
                <a:gd name="T41" fmla="*/ 88 h 88"/>
                <a:gd name="T42" fmla="*/ 105 w 105"/>
                <a:gd name="T43" fmla="*/ 86 h 88"/>
                <a:gd name="T44" fmla="*/ 105 w 105"/>
                <a:gd name="T45" fmla="*/ 34 h 88"/>
                <a:gd name="T46" fmla="*/ 101 w 105"/>
                <a:gd name="T47" fmla="*/ 33 h 88"/>
                <a:gd name="T48" fmla="*/ 78 w 105"/>
                <a:gd name="T49" fmla="*/ 49 h 88"/>
                <a:gd name="T50" fmla="*/ 75 w 105"/>
                <a:gd name="T51" fmla="*/ 47 h 88"/>
                <a:gd name="T52" fmla="*/ 37 w 105"/>
                <a:gd name="T53" fmla="*/ 77 h 88"/>
                <a:gd name="T54" fmla="*/ 32 w 105"/>
                <a:gd name="T55" fmla="*/ 77 h 88"/>
                <a:gd name="T56" fmla="*/ 28 w 105"/>
                <a:gd name="T57" fmla="*/ 73 h 88"/>
                <a:gd name="T58" fmla="*/ 28 w 105"/>
                <a:gd name="T59" fmla="*/ 68 h 88"/>
                <a:gd name="T60" fmla="*/ 32 w 105"/>
                <a:gd name="T61" fmla="*/ 64 h 88"/>
                <a:gd name="T62" fmla="*/ 37 w 105"/>
                <a:gd name="T63" fmla="*/ 64 h 88"/>
                <a:gd name="T64" fmla="*/ 41 w 105"/>
                <a:gd name="T65" fmla="*/ 68 h 88"/>
                <a:gd name="T66" fmla="*/ 41 w 105"/>
                <a:gd name="T67" fmla="*/ 73 h 88"/>
                <a:gd name="T68" fmla="*/ 37 w 105"/>
                <a:gd name="T69" fmla="*/ 77 h 88"/>
                <a:gd name="T70" fmla="*/ 55 w 105"/>
                <a:gd name="T71" fmla="*/ 77 h 88"/>
                <a:gd name="T72" fmla="*/ 50 w 105"/>
                <a:gd name="T73" fmla="*/ 77 h 88"/>
                <a:gd name="T74" fmla="*/ 46 w 105"/>
                <a:gd name="T75" fmla="*/ 73 h 88"/>
                <a:gd name="T76" fmla="*/ 46 w 105"/>
                <a:gd name="T77" fmla="*/ 68 h 88"/>
                <a:gd name="T78" fmla="*/ 50 w 105"/>
                <a:gd name="T79" fmla="*/ 64 h 88"/>
                <a:gd name="T80" fmla="*/ 55 w 105"/>
                <a:gd name="T81" fmla="*/ 64 h 88"/>
                <a:gd name="T82" fmla="*/ 59 w 105"/>
                <a:gd name="T83" fmla="*/ 68 h 88"/>
                <a:gd name="T84" fmla="*/ 59 w 105"/>
                <a:gd name="T85" fmla="*/ 73 h 88"/>
                <a:gd name="T86" fmla="*/ 55 w 105"/>
                <a:gd name="T87" fmla="*/ 77 h 88"/>
                <a:gd name="T88" fmla="*/ 72 w 105"/>
                <a:gd name="T89" fmla="*/ 77 h 88"/>
                <a:gd name="T90" fmla="*/ 67 w 105"/>
                <a:gd name="T91" fmla="*/ 77 h 88"/>
                <a:gd name="T92" fmla="*/ 63 w 105"/>
                <a:gd name="T93" fmla="*/ 73 h 88"/>
                <a:gd name="T94" fmla="*/ 63 w 105"/>
                <a:gd name="T95" fmla="*/ 68 h 88"/>
                <a:gd name="T96" fmla="*/ 67 w 105"/>
                <a:gd name="T97" fmla="*/ 64 h 88"/>
                <a:gd name="T98" fmla="*/ 72 w 105"/>
                <a:gd name="T99" fmla="*/ 64 h 88"/>
                <a:gd name="T100" fmla="*/ 77 w 105"/>
                <a:gd name="T101" fmla="*/ 68 h 88"/>
                <a:gd name="T102" fmla="*/ 77 w 105"/>
                <a:gd name="T103" fmla="*/ 73 h 88"/>
                <a:gd name="T104" fmla="*/ 72 w 105"/>
                <a:gd name="T105" fmla="*/ 7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88">
                  <a:moveTo>
                    <a:pt x="75" y="47"/>
                  </a:moveTo>
                  <a:cubicBezTo>
                    <a:pt x="75" y="34"/>
                    <a:pt x="75" y="34"/>
                    <a:pt x="75" y="34"/>
                  </a:cubicBezTo>
                  <a:cubicBezTo>
                    <a:pt x="75" y="33"/>
                    <a:pt x="73" y="32"/>
                    <a:pt x="71" y="33"/>
                  </a:cubicBezTo>
                  <a:cubicBezTo>
                    <a:pt x="48" y="49"/>
                    <a:pt x="48" y="49"/>
                    <a:pt x="48" y="49"/>
                  </a:cubicBezTo>
                  <a:cubicBezTo>
                    <a:pt x="47" y="50"/>
                    <a:pt x="45" y="49"/>
                    <a:pt x="45" y="47"/>
                  </a:cubicBezTo>
                  <a:cubicBezTo>
                    <a:pt x="45" y="30"/>
                    <a:pt x="45" y="30"/>
                    <a:pt x="45" y="30"/>
                  </a:cubicBezTo>
                  <a:cubicBezTo>
                    <a:pt x="37" y="30"/>
                    <a:pt x="37" y="30"/>
                    <a:pt x="37" y="30"/>
                  </a:cubicBezTo>
                  <a:cubicBezTo>
                    <a:pt x="37" y="13"/>
                    <a:pt x="37" y="13"/>
                    <a:pt x="37" y="13"/>
                  </a:cubicBezTo>
                  <a:cubicBezTo>
                    <a:pt x="30" y="13"/>
                    <a:pt x="30" y="13"/>
                    <a:pt x="30" y="13"/>
                  </a:cubicBezTo>
                  <a:cubicBezTo>
                    <a:pt x="30" y="30"/>
                    <a:pt x="30" y="30"/>
                    <a:pt x="30" y="30"/>
                  </a:cubicBezTo>
                  <a:cubicBezTo>
                    <a:pt x="22" y="30"/>
                    <a:pt x="22" y="30"/>
                    <a:pt x="22" y="30"/>
                  </a:cubicBezTo>
                  <a:cubicBezTo>
                    <a:pt x="22" y="2"/>
                    <a:pt x="22" y="2"/>
                    <a:pt x="22" y="2"/>
                  </a:cubicBezTo>
                  <a:cubicBezTo>
                    <a:pt x="22" y="1"/>
                    <a:pt x="21" y="0"/>
                    <a:pt x="20" y="0"/>
                  </a:cubicBezTo>
                  <a:cubicBezTo>
                    <a:pt x="12" y="0"/>
                    <a:pt x="12" y="0"/>
                    <a:pt x="12" y="0"/>
                  </a:cubicBezTo>
                  <a:cubicBezTo>
                    <a:pt x="7" y="0"/>
                    <a:pt x="7" y="0"/>
                    <a:pt x="7" y="0"/>
                  </a:cubicBezTo>
                  <a:cubicBezTo>
                    <a:pt x="7" y="15"/>
                    <a:pt x="7" y="15"/>
                    <a:pt x="7" y="15"/>
                  </a:cubicBezTo>
                  <a:cubicBezTo>
                    <a:pt x="7" y="30"/>
                    <a:pt x="7" y="30"/>
                    <a:pt x="7" y="30"/>
                  </a:cubicBezTo>
                  <a:cubicBezTo>
                    <a:pt x="0" y="30"/>
                    <a:pt x="0" y="30"/>
                    <a:pt x="0" y="30"/>
                  </a:cubicBezTo>
                  <a:cubicBezTo>
                    <a:pt x="0" y="86"/>
                    <a:pt x="0" y="86"/>
                    <a:pt x="0" y="86"/>
                  </a:cubicBezTo>
                  <a:cubicBezTo>
                    <a:pt x="0" y="87"/>
                    <a:pt x="1" y="88"/>
                    <a:pt x="2" y="88"/>
                  </a:cubicBezTo>
                  <a:cubicBezTo>
                    <a:pt x="103" y="88"/>
                    <a:pt x="103" y="88"/>
                    <a:pt x="103" y="88"/>
                  </a:cubicBezTo>
                  <a:cubicBezTo>
                    <a:pt x="104" y="88"/>
                    <a:pt x="105" y="87"/>
                    <a:pt x="105" y="86"/>
                  </a:cubicBezTo>
                  <a:cubicBezTo>
                    <a:pt x="105" y="34"/>
                    <a:pt x="105" y="34"/>
                    <a:pt x="105" y="34"/>
                  </a:cubicBezTo>
                  <a:cubicBezTo>
                    <a:pt x="105" y="33"/>
                    <a:pt x="103" y="32"/>
                    <a:pt x="101" y="33"/>
                  </a:cubicBezTo>
                  <a:cubicBezTo>
                    <a:pt x="78" y="49"/>
                    <a:pt x="78" y="49"/>
                    <a:pt x="78" y="49"/>
                  </a:cubicBezTo>
                  <a:cubicBezTo>
                    <a:pt x="77" y="50"/>
                    <a:pt x="75" y="49"/>
                    <a:pt x="75" y="47"/>
                  </a:cubicBezTo>
                  <a:moveTo>
                    <a:pt x="37" y="77"/>
                  </a:moveTo>
                  <a:cubicBezTo>
                    <a:pt x="32" y="77"/>
                    <a:pt x="32" y="77"/>
                    <a:pt x="32" y="77"/>
                  </a:cubicBezTo>
                  <a:cubicBezTo>
                    <a:pt x="30" y="77"/>
                    <a:pt x="28" y="75"/>
                    <a:pt x="28" y="73"/>
                  </a:cubicBezTo>
                  <a:cubicBezTo>
                    <a:pt x="28" y="68"/>
                    <a:pt x="28" y="68"/>
                    <a:pt x="28" y="68"/>
                  </a:cubicBezTo>
                  <a:cubicBezTo>
                    <a:pt x="28" y="65"/>
                    <a:pt x="30" y="64"/>
                    <a:pt x="32" y="64"/>
                  </a:cubicBezTo>
                  <a:cubicBezTo>
                    <a:pt x="37" y="64"/>
                    <a:pt x="37" y="64"/>
                    <a:pt x="37" y="64"/>
                  </a:cubicBezTo>
                  <a:cubicBezTo>
                    <a:pt x="40" y="64"/>
                    <a:pt x="41" y="65"/>
                    <a:pt x="41" y="68"/>
                  </a:cubicBezTo>
                  <a:cubicBezTo>
                    <a:pt x="41" y="73"/>
                    <a:pt x="41" y="73"/>
                    <a:pt x="41" y="73"/>
                  </a:cubicBezTo>
                  <a:cubicBezTo>
                    <a:pt x="41" y="75"/>
                    <a:pt x="40" y="77"/>
                    <a:pt x="37" y="77"/>
                  </a:cubicBezTo>
                  <a:moveTo>
                    <a:pt x="55" y="77"/>
                  </a:moveTo>
                  <a:cubicBezTo>
                    <a:pt x="50" y="77"/>
                    <a:pt x="50" y="77"/>
                    <a:pt x="50" y="77"/>
                  </a:cubicBezTo>
                  <a:cubicBezTo>
                    <a:pt x="47" y="77"/>
                    <a:pt x="46" y="75"/>
                    <a:pt x="46" y="73"/>
                  </a:cubicBezTo>
                  <a:cubicBezTo>
                    <a:pt x="46" y="68"/>
                    <a:pt x="46" y="68"/>
                    <a:pt x="46" y="68"/>
                  </a:cubicBezTo>
                  <a:cubicBezTo>
                    <a:pt x="46" y="65"/>
                    <a:pt x="47" y="64"/>
                    <a:pt x="50" y="64"/>
                  </a:cubicBezTo>
                  <a:cubicBezTo>
                    <a:pt x="55" y="64"/>
                    <a:pt x="55" y="64"/>
                    <a:pt x="55" y="64"/>
                  </a:cubicBezTo>
                  <a:cubicBezTo>
                    <a:pt x="57" y="64"/>
                    <a:pt x="59" y="65"/>
                    <a:pt x="59" y="68"/>
                  </a:cubicBezTo>
                  <a:cubicBezTo>
                    <a:pt x="59" y="73"/>
                    <a:pt x="59" y="73"/>
                    <a:pt x="59" y="73"/>
                  </a:cubicBezTo>
                  <a:cubicBezTo>
                    <a:pt x="59" y="75"/>
                    <a:pt x="57" y="77"/>
                    <a:pt x="55" y="77"/>
                  </a:cubicBezTo>
                  <a:moveTo>
                    <a:pt x="72" y="77"/>
                  </a:moveTo>
                  <a:cubicBezTo>
                    <a:pt x="67" y="77"/>
                    <a:pt x="67" y="77"/>
                    <a:pt x="67" y="77"/>
                  </a:cubicBezTo>
                  <a:cubicBezTo>
                    <a:pt x="65" y="77"/>
                    <a:pt x="63" y="75"/>
                    <a:pt x="63" y="73"/>
                  </a:cubicBezTo>
                  <a:cubicBezTo>
                    <a:pt x="63" y="68"/>
                    <a:pt x="63" y="68"/>
                    <a:pt x="63" y="68"/>
                  </a:cubicBezTo>
                  <a:cubicBezTo>
                    <a:pt x="63" y="65"/>
                    <a:pt x="65" y="64"/>
                    <a:pt x="67" y="64"/>
                  </a:cubicBezTo>
                  <a:cubicBezTo>
                    <a:pt x="72" y="64"/>
                    <a:pt x="72" y="64"/>
                    <a:pt x="72" y="64"/>
                  </a:cubicBezTo>
                  <a:cubicBezTo>
                    <a:pt x="75" y="64"/>
                    <a:pt x="77" y="65"/>
                    <a:pt x="77" y="68"/>
                  </a:cubicBezTo>
                  <a:cubicBezTo>
                    <a:pt x="77" y="73"/>
                    <a:pt x="77" y="73"/>
                    <a:pt x="77" y="73"/>
                  </a:cubicBezTo>
                  <a:cubicBezTo>
                    <a:pt x="77" y="75"/>
                    <a:pt x="75" y="77"/>
                    <a:pt x="72" y="77"/>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1" name="Freeform 380">
              <a:extLst>
                <a:ext uri="{FF2B5EF4-FFF2-40B4-BE49-F238E27FC236}">
                  <a16:creationId xmlns:a16="http://schemas.microsoft.com/office/drawing/2014/main" id="{20535B87-485C-4CD3-879C-2006584A0178}"/>
                </a:ext>
              </a:extLst>
            </p:cNvPr>
            <p:cNvSpPr>
              <a:spLocks/>
            </p:cNvSpPr>
            <p:nvPr/>
          </p:nvSpPr>
          <p:spPr bwMode="auto">
            <a:xfrm>
              <a:off x="2055813" y="1074738"/>
              <a:ext cx="112713" cy="84138"/>
            </a:xfrm>
            <a:custGeom>
              <a:avLst/>
              <a:gdLst>
                <a:gd name="T0" fmla="*/ 0 w 39"/>
                <a:gd name="T1" fmla="*/ 29 h 29"/>
                <a:gd name="T2" fmla="*/ 39 w 39"/>
                <a:gd name="T3" fmla="*/ 1 h 29"/>
                <a:gd name="T4" fmla="*/ 25 w 39"/>
                <a:gd name="T5" fmla="*/ 18 h 29"/>
                <a:gd name="T6" fmla="*/ 0 w 39"/>
                <a:gd name="T7" fmla="*/ 29 h 29"/>
              </a:gdLst>
              <a:ahLst/>
              <a:cxnLst>
                <a:cxn ang="0">
                  <a:pos x="T0" y="T1"/>
                </a:cxn>
                <a:cxn ang="0">
                  <a:pos x="T2" y="T3"/>
                </a:cxn>
                <a:cxn ang="0">
                  <a:pos x="T4" y="T5"/>
                </a:cxn>
                <a:cxn ang="0">
                  <a:pos x="T6" y="T7"/>
                </a:cxn>
              </a:cxnLst>
              <a:rect l="0" t="0" r="r" b="b"/>
              <a:pathLst>
                <a:path w="39" h="29">
                  <a:moveTo>
                    <a:pt x="0" y="29"/>
                  </a:moveTo>
                  <a:cubicBezTo>
                    <a:pt x="0" y="29"/>
                    <a:pt x="1" y="0"/>
                    <a:pt x="39" y="1"/>
                  </a:cubicBezTo>
                  <a:cubicBezTo>
                    <a:pt x="39" y="1"/>
                    <a:pt x="34" y="11"/>
                    <a:pt x="25" y="18"/>
                  </a:cubicBezTo>
                  <a:cubicBezTo>
                    <a:pt x="16" y="24"/>
                    <a:pt x="3" y="22"/>
                    <a:pt x="0" y="2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32" name="Group 431">
            <a:extLst>
              <a:ext uri="{FF2B5EF4-FFF2-40B4-BE49-F238E27FC236}">
                <a16:creationId xmlns:a16="http://schemas.microsoft.com/office/drawing/2014/main" id="{298BC3D7-153C-412A-B936-7732B65E6D46}"/>
              </a:ext>
              <a:ext uri="{C183D7F6-B498-43B3-948B-1728B52AA6E4}">
                <adec:decorative xmlns:adec="http://schemas.microsoft.com/office/drawing/2017/decorative" val="1"/>
              </a:ext>
            </a:extLst>
          </p:cNvPr>
          <p:cNvGrpSpPr/>
          <p:nvPr/>
        </p:nvGrpSpPr>
        <p:grpSpPr>
          <a:xfrm>
            <a:off x="6840882" y="1101944"/>
            <a:ext cx="679450" cy="633413"/>
            <a:chOff x="2605088" y="942975"/>
            <a:chExt cx="679450" cy="633413"/>
          </a:xfrm>
        </p:grpSpPr>
        <p:sp>
          <p:nvSpPr>
            <p:cNvPr id="433" name="Freeform 381">
              <a:extLst>
                <a:ext uri="{FF2B5EF4-FFF2-40B4-BE49-F238E27FC236}">
                  <a16:creationId xmlns:a16="http://schemas.microsoft.com/office/drawing/2014/main" id="{60B2D176-1064-455D-AE94-7251F1FDD518}"/>
                </a:ext>
              </a:extLst>
            </p:cNvPr>
            <p:cNvSpPr>
              <a:spLocks/>
            </p:cNvSpPr>
            <p:nvPr/>
          </p:nvSpPr>
          <p:spPr bwMode="auto">
            <a:xfrm>
              <a:off x="2605088"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8"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4" name="Freeform 382">
              <a:extLst>
                <a:ext uri="{FF2B5EF4-FFF2-40B4-BE49-F238E27FC236}">
                  <a16:creationId xmlns:a16="http://schemas.microsoft.com/office/drawing/2014/main" id="{09BC27BD-982D-415B-AE8E-6AF518FF69DD}"/>
                </a:ext>
              </a:extLst>
            </p:cNvPr>
            <p:cNvSpPr>
              <a:spLocks/>
            </p:cNvSpPr>
            <p:nvPr/>
          </p:nvSpPr>
          <p:spPr bwMode="auto">
            <a:xfrm>
              <a:off x="2738438" y="1093788"/>
              <a:ext cx="312738" cy="236538"/>
            </a:xfrm>
            <a:custGeom>
              <a:avLst/>
              <a:gdLst>
                <a:gd name="T0" fmla="*/ 38 w 108"/>
                <a:gd name="T1" fmla="*/ 55 h 81"/>
                <a:gd name="T2" fmla="*/ 31 w 108"/>
                <a:gd name="T3" fmla="*/ 55 h 81"/>
                <a:gd name="T4" fmla="*/ 31 w 108"/>
                <a:gd name="T5" fmla="*/ 55 h 81"/>
                <a:gd name="T6" fmla="*/ 69 w 108"/>
                <a:gd name="T7" fmla="*/ 17 h 81"/>
                <a:gd name="T8" fmla="*/ 92 w 108"/>
                <a:gd name="T9" fmla="*/ 25 h 81"/>
                <a:gd name="T10" fmla="*/ 99 w 108"/>
                <a:gd name="T11" fmla="*/ 25 h 81"/>
                <a:gd name="T12" fmla="*/ 108 w 108"/>
                <a:gd name="T13" fmla="*/ 16 h 81"/>
                <a:gd name="T14" fmla="*/ 69 w 108"/>
                <a:gd name="T15" fmla="*/ 0 h 81"/>
                <a:gd name="T16" fmla="*/ 14 w 108"/>
                <a:gd name="T17" fmla="*/ 55 h 81"/>
                <a:gd name="T18" fmla="*/ 6 w 108"/>
                <a:gd name="T19" fmla="*/ 55 h 81"/>
                <a:gd name="T20" fmla="*/ 2 w 108"/>
                <a:gd name="T21" fmla="*/ 62 h 81"/>
                <a:gd name="T22" fmla="*/ 18 w 108"/>
                <a:gd name="T23" fmla="*/ 78 h 81"/>
                <a:gd name="T24" fmla="*/ 27 w 108"/>
                <a:gd name="T25" fmla="*/ 78 h 81"/>
                <a:gd name="T26" fmla="*/ 43 w 108"/>
                <a:gd name="T27" fmla="*/ 62 h 81"/>
                <a:gd name="T28" fmla="*/ 38 w 108"/>
                <a:gd name="T29" fmla="*/ 5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81">
                  <a:moveTo>
                    <a:pt x="38" y="55"/>
                  </a:moveTo>
                  <a:cubicBezTo>
                    <a:pt x="31" y="55"/>
                    <a:pt x="31" y="55"/>
                    <a:pt x="31" y="55"/>
                  </a:cubicBezTo>
                  <a:cubicBezTo>
                    <a:pt x="31" y="55"/>
                    <a:pt x="31" y="55"/>
                    <a:pt x="31" y="55"/>
                  </a:cubicBezTo>
                  <a:cubicBezTo>
                    <a:pt x="31" y="34"/>
                    <a:pt x="48" y="17"/>
                    <a:pt x="69" y="17"/>
                  </a:cubicBezTo>
                  <a:cubicBezTo>
                    <a:pt x="78" y="17"/>
                    <a:pt x="86" y="20"/>
                    <a:pt x="92" y="25"/>
                  </a:cubicBezTo>
                  <a:cubicBezTo>
                    <a:pt x="94" y="27"/>
                    <a:pt x="97" y="27"/>
                    <a:pt x="99" y="25"/>
                  </a:cubicBezTo>
                  <a:cubicBezTo>
                    <a:pt x="108" y="16"/>
                    <a:pt x="108" y="16"/>
                    <a:pt x="108" y="16"/>
                  </a:cubicBezTo>
                  <a:cubicBezTo>
                    <a:pt x="98" y="6"/>
                    <a:pt x="84" y="0"/>
                    <a:pt x="69" y="0"/>
                  </a:cubicBezTo>
                  <a:cubicBezTo>
                    <a:pt x="38" y="0"/>
                    <a:pt x="14" y="25"/>
                    <a:pt x="14" y="55"/>
                  </a:cubicBezTo>
                  <a:cubicBezTo>
                    <a:pt x="6" y="55"/>
                    <a:pt x="6" y="55"/>
                    <a:pt x="6" y="55"/>
                  </a:cubicBezTo>
                  <a:cubicBezTo>
                    <a:pt x="2" y="55"/>
                    <a:pt x="0" y="58"/>
                    <a:pt x="2" y="62"/>
                  </a:cubicBezTo>
                  <a:cubicBezTo>
                    <a:pt x="18" y="78"/>
                    <a:pt x="18" y="78"/>
                    <a:pt x="18" y="78"/>
                  </a:cubicBezTo>
                  <a:cubicBezTo>
                    <a:pt x="21" y="81"/>
                    <a:pt x="23" y="81"/>
                    <a:pt x="27" y="78"/>
                  </a:cubicBezTo>
                  <a:cubicBezTo>
                    <a:pt x="43" y="62"/>
                    <a:pt x="43" y="62"/>
                    <a:pt x="43" y="62"/>
                  </a:cubicBezTo>
                  <a:cubicBezTo>
                    <a:pt x="45" y="58"/>
                    <a:pt x="43" y="55"/>
                    <a:pt x="38" y="55"/>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5" name="Freeform 383">
              <a:extLst>
                <a:ext uri="{FF2B5EF4-FFF2-40B4-BE49-F238E27FC236}">
                  <a16:creationId xmlns:a16="http://schemas.microsoft.com/office/drawing/2014/main" id="{63F94F61-3930-4E6C-957C-D4412ED9201C}"/>
                </a:ext>
              </a:extLst>
            </p:cNvPr>
            <p:cNvSpPr>
              <a:spLocks/>
            </p:cNvSpPr>
            <p:nvPr/>
          </p:nvSpPr>
          <p:spPr bwMode="auto">
            <a:xfrm>
              <a:off x="2833688" y="1201738"/>
              <a:ext cx="314325" cy="236538"/>
            </a:xfrm>
            <a:custGeom>
              <a:avLst/>
              <a:gdLst>
                <a:gd name="T0" fmla="*/ 105 w 108"/>
                <a:gd name="T1" fmla="*/ 19 h 81"/>
                <a:gd name="T2" fmla="*/ 89 w 108"/>
                <a:gd name="T3" fmla="*/ 3 h 81"/>
                <a:gd name="T4" fmla="*/ 81 w 108"/>
                <a:gd name="T5" fmla="*/ 3 h 81"/>
                <a:gd name="T6" fmla="*/ 65 w 108"/>
                <a:gd name="T7" fmla="*/ 19 h 81"/>
                <a:gd name="T8" fmla="*/ 69 w 108"/>
                <a:gd name="T9" fmla="*/ 26 h 81"/>
                <a:gd name="T10" fmla="*/ 76 w 108"/>
                <a:gd name="T11" fmla="*/ 26 h 81"/>
                <a:gd name="T12" fmla="*/ 39 w 108"/>
                <a:gd name="T13" fmla="*/ 64 h 81"/>
                <a:gd name="T14" fmla="*/ 15 w 108"/>
                <a:gd name="T15" fmla="*/ 56 h 81"/>
                <a:gd name="T16" fmla="*/ 9 w 108"/>
                <a:gd name="T17" fmla="*/ 56 h 81"/>
                <a:gd name="T18" fmla="*/ 0 w 108"/>
                <a:gd name="T19" fmla="*/ 65 h 81"/>
                <a:gd name="T20" fmla="*/ 39 w 108"/>
                <a:gd name="T21" fmla="*/ 81 h 81"/>
                <a:gd name="T22" fmla="*/ 94 w 108"/>
                <a:gd name="T23" fmla="*/ 26 h 81"/>
                <a:gd name="T24" fmla="*/ 101 w 108"/>
                <a:gd name="T25" fmla="*/ 26 h 81"/>
                <a:gd name="T26" fmla="*/ 105 w 108"/>
                <a:gd name="T27" fmla="*/ 1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1">
                  <a:moveTo>
                    <a:pt x="105" y="19"/>
                  </a:moveTo>
                  <a:cubicBezTo>
                    <a:pt x="89" y="3"/>
                    <a:pt x="89" y="3"/>
                    <a:pt x="89" y="3"/>
                  </a:cubicBezTo>
                  <a:cubicBezTo>
                    <a:pt x="86" y="0"/>
                    <a:pt x="84" y="0"/>
                    <a:pt x="81" y="3"/>
                  </a:cubicBezTo>
                  <a:cubicBezTo>
                    <a:pt x="65" y="19"/>
                    <a:pt x="65" y="19"/>
                    <a:pt x="65" y="19"/>
                  </a:cubicBezTo>
                  <a:cubicBezTo>
                    <a:pt x="62" y="23"/>
                    <a:pt x="64" y="26"/>
                    <a:pt x="69" y="26"/>
                  </a:cubicBezTo>
                  <a:cubicBezTo>
                    <a:pt x="76" y="26"/>
                    <a:pt x="76" y="26"/>
                    <a:pt x="76" y="26"/>
                  </a:cubicBezTo>
                  <a:cubicBezTo>
                    <a:pt x="76" y="46"/>
                    <a:pt x="60" y="64"/>
                    <a:pt x="39" y="64"/>
                  </a:cubicBezTo>
                  <a:cubicBezTo>
                    <a:pt x="30" y="64"/>
                    <a:pt x="22" y="61"/>
                    <a:pt x="15" y="56"/>
                  </a:cubicBezTo>
                  <a:cubicBezTo>
                    <a:pt x="13" y="54"/>
                    <a:pt x="10" y="54"/>
                    <a:pt x="9" y="56"/>
                  </a:cubicBezTo>
                  <a:cubicBezTo>
                    <a:pt x="0" y="65"/>
                    <a:pt x="0" y="65"/>
                    <a:pt x="0" y="65"/>
                  </a:cubicBezTo>
                  <a:cubicBezTo>
                    <a:pt x="10" y="75"/>
                    <a:pt x="23" y="81"/>
                    <a:pt x="39" y="81"/>
                  </a:cubicBezTo>
                  <a:cubicBezTo>
                    <a:pt x="69" y="81"/>
                    <a:pt x="93" y="56"/>
                    <a:pt x="94" y="26"/>
                  </a:cubicBezTo>
                  <a:cubicBezTo>
                    <a:pt x="101" y="26"/>
                    <a:pt x="101" y="26"/>
                    <a:pt x="101" y="26"/>
                  </a:cubicBezTo>
                  <a:cubicBezTo>
                    <a:pt x="106" y="26"/>
                    <a:pt x="108" y="23"/>
                    <a:pt x="105" y="1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36" name="Group 435">
            <a:extLst>
              <a:ext uri="{FF2B5EF4-FFF2-40B4-BE49-F238E27FC236}">
                <a16:creationId xmlns:a16="http://schemas.microsoft.com/office/drawing/2014/main" id="{1C4C261A-F1CF-4851-A7BF-33AD79E62660}"/>
              </a:ext>
              <a:ext uri="{C183D7F6-B498-43B3-948B-1728B52AA6E4}">
                <adec:decorative xmlns:adec="http://schemas.microsoft.com/office/drawing/2017/decorative" val="1"/>
              </a:ext>
            </a:extLst>
          </p:cNvPr>
          <p:cNvGrpSpPr/>
          <p:nvPr/>
        </p:nvGrpSpPr>
        <p:grpSpPr>
          <a:xfrm>
            <a:off x="3650199" y="1101944"/>
            <a:ext cx="677863" cy="633413"/>
            <a:chOff x="3376613" y="942975"/>
            <a:chExt cx="677863" cy="633413"/>
          </a:xfrm>
        </p:grpSpPr>
        <p:sp>
          <p:nvSpPr>
            <p:cNvPr id="437" name="Freeform 384">
              <a:extLst>
                <a:ext uri="{FF2B5EF4-FFF2-40B4-BE49-F238E27FC236}">
                  <a16:creationId xmlns:a16="http://schemas.microsoft.com/office/drawing/2014/main" id="{DA4E2F1F-E77C-4158-9B13-7F87892D96C0}"/>
                </a:ext>
              </a:extLst>
            </p:cNvPr>
            <p:cNvSpPr>
              <a:spLocks/>
            </p:cNvSpPr>
            <p:nvPr/>
          </p:nvSpPr>
          <p:spPr bwMode="auto">
            <a:xfrm>
              <a:off x="3376613" y="942975"/>
              <a:ext cx="677863"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20" y="153"/>
                    <a:pt x="174" y="185"/>
                  </a:cubicBezTo>
                  <a:cubicBezTo>
                    <a:pt x="128" y="218"/>
                    <a:pt x="67" y="214"/>
                    <a:pt x="33"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8" name="Freeform 385">
              <a:extLst>
                <a:ext uri="{FF2B5EF4-FFF2-40B4-BE49-F238E27FC236}">
                  <a16:creationId xmlns:a16="http://schemas.microsoft.com/office/drawing/2014/main" id="{DA4160A4-DFF2-4FC3-812D-C5394D9A51EB}"/>
                </a:ext>
              </a:extLst>
            </p:cNvPr>
            <p:cNvSpPr>
              <a:spLocks/>
            </p:cNvSpPr>
            <p:nvPr/>
          </p:nvSpPr>
          <p:spPr bwMode="auto">
            <a:xfrm>
              <a:off x="3516313" y="1089025"/>
              <a:ext cx="409575" cy="363538"/>
            </a:xfrm>
            <a:custGeom>
              <a:avLst/>
              <a:gdLst>
                <a:gd name="T0" fmla="*/ 86 w 141"/>
                <a:gd name="T1" fmla="*/ 114 h 125"/>
                <a:gd name="T2" fmla="*/ 76 w 141"/>
                <a:gd name="T3" fmla="*/ 114 h 125"/>
                <a:gd name="T4" fmla="*/ 76 w 141"/>
                <a:gd name="T5" fmla="*/ 25 h 125"/>
                <a:gd name="T6" fmla="*/ 117 w 141"/>
                <a:gd name="T7" fmla="*/ 25 h 125"/>
                <a:gd name="T8" fmla="*/ 100 w 141"/>
                <a:gd name="T9" fmla="*/ 52 h 125"/>
                <a:gd name="T10" fmla="*/ 101 w 141"/>
                <a:gd name="T11" fmla="*/ 57 h 125"/>
                <a:gd name="T12" fmla="*/ 103 w 141"/>
                <a:gd name="T13" fmla="*/ 57 h 125"/>
                <a:gd name="T14" fmla="*/ 105 w 141"/>
                <a:gd name="T15" fmla="*/ 56 h 125"/>
                <a:gd name="T16" fmla="*/ 120 w 141"/>
                <a:gd name="T17" fmla="*/ 32 h 125"/>
                <a:gd name="T18" fmla="*/ 135 w 141"/>
                <a:gd name="T19" fmla="*/ 56 h 125"/>
                <a:gd name="T20" fmla="*/ 139 w 141"/>
                <a:gd name="T21" fmla="*/ 57 h 125"/>
                <a:gd name="T22" fmla="*/ 140 w 141"/>
                <a:gd name="T23" fmla="*/ 52 h 125"/>
                <a:gd name="T24" fmla="*/ 123 w 141"/>
                <a:gd name="T25" fmla="*/ 25 h 125"/>
                <a:gd name="T26" fmla="*/ 123 w 141"/>
                <a:gd name="T27" fmla="*/ 25 h 125"/>
                <a:gd name="T28" fmla="*/ 128 w 141"/>
                <a:gd name="T29" fmla="*/ 20 h 125"/>
                <a:gd name="T30" fmla="*/ 123 w 141"/>
                <a:gd name="T31" fmla="*/ 16 h 125"/>
                <a:gd name="T32" fmla="*/ 89 w 141"/>
                <a:gd name="T33" fmla="*/ 16 h 125"/>
                <a:gd name="T34" fmla="*/ 81 w 141"/>
                <a:gd name="T35" fmla="*/ 10 h 125"/>
                <a:gd name="T36" fmla="*/ 70 w 141"/>
                <a:gd name="T37" fmla="*/ 0 h 125"/>
                <a:gd name="T38" fmla="*/ 60 w 141"/>
                <a:gd name="T39" fmla="*/ 10 h 125"/>
                <a:gd name="T40" fmla="*/ 52 w 141"/>
                <a:gd name="T41" fmla="*/ 16 h 125"/>
                <a:gd name="T42" fmla="*/ 18 w 141"/>
                <a:gd name="T43" fmla="*/ 16 h 125"/>
                <a:gd name="T44" fmla="*/ 13 w 141"/>
                <a:gd name="T45" fmla="*/ 20 h 125"/>
                <a:gd name="T46" fmla="*/ 18 w 141"/>
                <a:gd name="T47" fmla="*/ 25 h 125"/>
                <a:gd name="T48" fmla="*/ 18 w 141"/>
                <a:gd name="T49" fmla="*/ 25 h 125"/>
                <a:gd name="T50" fmla="*/ 0 w 141"/>
                <a:gd name="T51" fmla="*/ 52 h 125"/>
                <a:gd name="T52" fmla="*/ 1 w 141"/>
                <a:gd name="T53" fmla="*/ 57 h 125"/>
                <a:gd name="T54" fmla="*/ 3 w 141"/>
                <a:gd name="T55" fmla="*/ 57 h 125"/>
                <a:gd name="T56" fmla="*/ 6 w 141"/>
                <a:gd name="T57" fmla="*/ 56 h 125"/>
                <a:gd name="T58" fmla="*/ 21 w 141"/>
                <a:gd name="T59" fmla="*/ 32 h 125"/>
                <a:gd name="T60" fmla="*/ 36 w 141"/>
                <a:gd name="T61" fmla="*/ 56 h 125"/>
                <a:gd name="T62" fmla="*/ 40 w 141"/>
                <a:gd name="T63" fmla="*/ 57 h 125"/>
                <a:gd name="T64" fmla="*/ 41 w 141"/>
                <a:gd name="T65" fmla="*/ 52 h 125"/>
                <a:gd name="T66" fmla="*/ 23 w 141"/>
                <a:gd name="T67" fmla="*/ 25 h 125"/>
                <a:gd name="T68" fmla="*/ 64 w 141"/>
                <a:gd name="T69" fmla="*/ 25 h 125"/>
                <a:gd name="T70" fmla="*/ 64 w 141"/>
                <a:gd name="T71" fmla="*/ 114 h 125"/>
                <a:gd name="T72" fmla="*/ 55 w 141"/>
                <a:gd name="T73" fmla="*/ 114 h 125"/>
                <a:gd name="T74" fmla="*/ 44 w 141"/>
                <a:gd name="T75" fmla="*/ 125 h 125"/>
                <a:gd name="T76" fmla="*/ 97 w 141"/>
                <a:gd name="T77" fmla="*/ 125 h 125"/>
                <a:gd name="T78" fmla="*/ 86 w 141"/>
                <a:gd name="T79"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1" h="125">
                  <a:moveTo>
                    <a:pt x="86" y="114"/>
                  </a:moveTo>
                  <a:cubicBezTo>
                    <a:pt x="76" y="114"/>
                    <a:pt x="76" y="114"/>
                    <a:pt x="76" y="114"/>
                  </a:cubicBezTo>
                  <a:cubicBezTo>
                    <a:pt x="76" y="25"/>
                    <a:pt x="76" y="25"/>
                    <a:pt x="76" y="25"/>
                  </a:cubicBezTo>
                  <a:cubicBezTo>
                    <a:pt x="117" y="25"/>
                    <a:pt x="117" y="25"/>
                    <a:pt x="117" y="25"/>
                  </a:cubicBezTo>
                  <a:cubicBezTo>
                    <a:pt x="100" y="52"/>
                    <a:pt x="100" y="52"/>
                    <a:pt x="100" y="52"/>
                  </a:cubicBezTo>
                  <a:cubicBezTo>
                    <a:pt x="99" y="54"/>
                    <a:pt x="100" y="56"/>
                    <a:pt x="101" y="57"/>
                  </a:cubicBezTo>
                  <a:cubicBezTo>
                    <a:pt x="101" y="57"/>
                    <a:pt x="102" y="57"/>
                    <a:pt x="103" y="57"/>
                  </a:cubicBezTo>
                  <a:cubicBezTo>
                    <a:pt x="104" y="57"/>
                    <a:pt x="104" y="57"/>
                    <a:pt x="105" y="56"/>
                  </a:cubicBezTo>
                  <a:cubicBezTo>
                    <a:pt x="120" y="32"/>
                    <a:pt x="120" y="32"/>
                    <a:pt x="120" y="32"/>
                  </a:cubicBezTo>
                  <a:cubicBezTo>
                    <a:pt x="135" y="56"/>
                    <a:pt x="135" y="56"/>
                    <a:pt x="135" y="56"/>
                  </a:cubicBezTo>
                  <a:cubicBezTo>
                    <a:pt x="136" y="57"/>
                    <a:pt x="138" y="57"/>
                    <a:pt x="139" y="57"/>
                  </a:cubicBezTo>
                  <a:cubicBezTo>
                    <a:pt x="141" y="56"/>
                    <a:pt x="141" y="54"/>
                    <a:pt x="140" y="52"/>
                  </a:cubicBezTo>
                  <a:cubicBezTo>
                    <a:pt x="123" y="25"/>
                    <a:pt x="123" y="25"/>
                    <a:pt x="123" y="25"/>
                  </a:cubicBezTo>
                  <a:cubicBezTo>
                    <a:pt x="123" y="25"/>
                    <a:pt x="123" y="25"/>
                    <a:pt x="123" y="25"/>
                  </a:cubicBezTo>
                  <a:cubicBezTo>
                    <a:pt x="126" y="25"/>
                    <a:pt x="128" y="23"/>
                    <a:pt x="128" y="20"/>
                  </a:cubicBezTo>
                  <a:cubicBezTo>
                    <a:pt x="128" y="18"/>
                    <a:pt x="126" y="16"/>
                    <a:pt x="123" y="16"/>
                  </a:cubicBezTo>
                  <a:cubicBezTo>
                    <a:pt x="89" y="16"/>
                    <a:pt x="89" y="16"/>
                    <a:pt x="89" y="16"/>
                  </a:cubicBezTo>
                  <a:cubicBezTo>
                    <a:pt x="87" y="13"/>
                    <a:pt x="84" y="11"/>
                    <a:pt x="81" y="10"/>
                  </a:cubicBezTo>
                  <a:cubicBezTo>
                    <a:pt x="80" y="4"/>
                    <a:pt x="76" y="0"/>
                    <a:pt x="70" y="0"/>
                  </a:cubicBezTo>
                  <a:cubicBezTo>
                    <a:pt x="65" y="0"/>
                    <a:pt x="60" y="4"/>
                    <a:pt x="60" y="10"/>
                  </a:cubicBezTo>
                  <a:cubicBezTo>
                    <a:pt x="57" y="11"/>
                    <a:pt x="54" y="13"/>
                    <a:pt x="52" y="16"/>
                  </a:cubicBezTo>
                  <a:cubicBezTo>
                    <a:pt x="18" y="16"/>
                    <a:pt x="18" y="16"/>
                    <a:pt x="18" y="16"/>
                  </a:cubicBezTo>
                  <a:cubicBezTo>
                    <a:pt x="15" y="16"/>
                    <a:pt x="13" y="18"/>
                    <a:pt x="13" y="20"/>
                  </a:cubicBezTo>
                  <a:cubicBezTo>
                    <a:pt x="13" y="23"/>
                    <a:pt x="15" y="25"/>
                    <a:pt x="18" y="25"/>
                  </a:cubicBezTo>
                  <a:cubicBezTo>
                    <a:pt x="18" y="25"/>
                    <a:pt x="18" y="25"/>
                    <a:pt x="18" y="25"/>
                  </a:cubicBezTo>
                  <a:cubicBezTo>
                    <a:pt x="0" y="52"/>
                    <a:pt x="0" y="52"/>
                    <a:pt x="0" y="52"/>
                  </a:cubicBezTo>
                  <a:cubicBezTo>
                    <a:pt x="0" y="54"/>
                    <a:pt x="0" y="56"/>
                    <a:pt x="1" y="57"/>
                  </a:cubicBezTo>
                  <a:cubicBezTo>
                    <a:pt x="2" y="57"/>
                    <a:pt x="2" y="57"/>
                    <a:pt x="3" y="57"/>
                  </a:cubicBezTo>
                  <a:cubicBezTo>
                    <a:pt x="4" y="57"/>
                    <a:pt x="5" y="57"/>
                    <a:pt x="6" y="56"/>
                  </a:cubicBezTo>
                  <a:cubicBezTo>
                    <a:pt x="21" y="32"/>
                    <a:pt x="21" y="32"/>
                    <a:pt x="21" y="32"/>
                  </a:cubicBezTo>
                  <a:cubicBezTo>
                    <a:pt x="36" y="56"/>
                    <a:pt x="36" y="56"/>
                    <a:pt x="36" y="56"/>
                  </a:cubicBezTo>
                  <a:cubicBezTo>
                    <a:pt x="37" y="57"/>
                    <a:pt x="38" y="57"/>
                    <a:pt x="40" y="57"/>
                  </a:cubicBezTo>
                  <a:cubicBezTo>
                    <a:pt x="41" y="56"/>
                    <a:pt x="42" y="54"/>
                    <a:pt x="41" y="52"/>
                  </a:cubicBezTo>
                  <a:cubicBezTo>
                    <a:pt x="23" y="25"/>
                    <a:pt x="23" y="25"/>
                    <a:pt x="23" y="25"/>
                  </a:cubicBezTo>
                  <a:cubicBezTo>
                    <a:pt x="64" y="25"/>
                    <a:pt x="64" y="25"/>
                    <a:pt x="64" y="25"/>
                  </a:cubicBezTo>
                  <a:cubicBezTo>
                    <a:pt x="64" y="114"/>
                    <a:pt x="64" y="114"/>
                    <a:pt x="64" y="114"/>
                  </a:cubicBezTo>
                  <a:cubicBezTo>
                    <a:pt x="55" y="114"/>
                    <a:pt x="55" y="114"/>
                    <a:pt x="55" y="114"/>
                  </a:cubicBezTo>
                  <a:cubicBezTo>
                    <a:pt x="49" y="114"/>
                    <a:pt x="44" y="119"/>
                    <a:pt x="44" y="125"/>
                  </a:cubicBezTo>
                  <a:cubicBezTo>
                    <a:pt x="97" y="125"/>
                    <a:pt x="97" y="125"/>
                    <a:pt x="97" y="125"/>
                  </a:cubicBezTo>
                  <a:cubicBezTo>
                    <a:pt x="97" y="119"/>
                    <a:pt x="92" y="114"/>
                    <a:pt x="86" y="11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9" name="Freeform 386">
              <a:extLst>
                <a:ext uri="{FF2B5EF4-FFF2-40B4-BE49-F238E27FC236}">
                  <a16:creationId xmlns:a16="http://schemas.microsoft.com/office/drawing/2014/main" id="{D0725949-7A2C-4C74-88C4-AB695F54E721}"/>
                </a:ext>
              </a:extLst>
            </p:cNvPr>
            <p:cNvSpPr>
              <a:spLocks/>
            </p:cNvSpPr>
            <p:nvPr/>
          </p:nvSpPr>
          <p:spPr bwMode="auto">
            <a:xfrm>
              <a:off x="3508376" y="1263650"/>
              <a:ext cx="136525" cy="71438"/>
            </a:xfrm>
            <a:custGeom>
              <a:avLst/>
              <a:gdLst>
                <a:gd name="T0" fmla="*/ 46 w 47"/>
                <a:gd name="T1" fmla="*/ 0 h 25"/>
                <a:gd name="T2" fmla="*/ 2 w 47"/>
                <a:gd name="T3" fmla="*/ 0 h 25"/>
                <a:gd name="T4" fmla="*/ 0 w 47"/>
                <a:gd name="T5" fmla="*/ 2 h 25"/>
                <a:gd name="T6" fmla="*/ 24 w 47"/>
                <a:gd name="T7" fmla="*/ 25 h 25"/>
                <a:gd name="T8" fmla="*/ 47 w 47"/>
                <a:gd name="T9" fmla="*/ 2 h 25"/>
                <a:gd name="T10" fmla="*/ 46 w 47"/>
                <a:gd name="T11" fmla="*/ 0 h 25"/>
              </a:gdLst>
              <a:ahLst/>
              <a:cxnLst>
                <a:cxn ang="0">
                  <a:pos x="T0" y="T1"/>
                </a:cxn>
                <a:cxn ang="0">
                  <a:pos x="T2" y="T3"/>
                </a:cxn>
                <a:cxn ang="0">
                  <a:pos x="T4" y="T5"/>
                </a:cxn>
                <a:cxn ang="0">
                  <a:pos x="T6" y="T7"/>
                </a:cxn>
                <a:cxn ang="0">
                  <a:pos x="T8" y="T9"/>
                </a:cxn>
                <a:cxn ang="0">
                  <a:pos x="T10" y="T11"/>
                </a:cxn>
              </a:cxnLst>
              <a:rect l="0" t="0" r="r" b="b"/>
              <a:pathLst>
                <a:path w="47" h="25">
                  <a:moveTo>
                    <a:pt x="46" y="0"/>
                  </a:moveTo>
                  <a:cubicBezTo>
                    <a:pt x="2" y="0"/>
                    <a:pt x="2" y="0"/>
                    <a:pt x="2" y="0"/>
                  </a:cubicBezTo>
                  <a:cubicBezTo>
                    <a:pt x="1" y="0"/>
                    <a:pt x="0" y="1"/>
                    <a:pt x="0" y="2"/>
                  </a:cubicBezTo>
                  <a:cubicBezTo>
                    <a:pt x="0" y="15"/>
                    <a:pt x="11" y="25"/>
                    <a:pt x="24" y="25"/>
                  </a:cubicBezTo>
                  <a:cubicBezTo>
                    <a:pt x="37" y="25"/>
                    <a:pt x="47" y="15"/>
                    <a:pt x="47" y="2"/>
                  </a:cubicBezTo>
                  <a:cubicBezTo>
                    <a:pt x="47" y="1"/>
                    <a:pt x="46" y="0"/>
                    <a:pt x="46" y="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40" name="Freeform 387">
              <a:extLst>
                <a:ext uri="{FF2B5EF4-FFF2-40B4-BE49-F238E27FC236}">
                  <a16:creationId xmlns:a16="http://schemas.microsoft.com/office/drawing/2014/main" id="{2C33EF4E-1924-4DCB-85A5-9919007F7196}"/>
                </a:ext>
              </a:extLst>
            </p:cNvPr>
            <p:cNvSpPr>
              <a:spLocks/>
            </p:cNvSpPr>
            <p:nvPr/>
          </p:nvSpPr>
          <p:spPr bwMode="auto">
            <a:xfrm>
              <a:off x="3798888" y="1263650"/>
              <a:ext cx="136525" cy="71438"/>
            </a:xfrm>
            <a:custGeom>
              <a:avLst/>
              <a:gdLst>
                <a:gd name="T0" fmla="*/ 45 w 47"/>
                <a:gd name="T1" fmla="*/ 0 h 25"/>
                <a:gd name="T2" fmla="*/ 1 w 47"/>
                <a:gd name="T3" fmla="*/ 0 h 25"/>
                <a:gd name="T4" fmla="*/ 0 w 47"/>
                <a:gd name="T5" fmla="*/ 2 h 25"/>
                <a:gd name="T6" fmla="*/ 23 w 47"/>
                <a:gd name="T7" fmla="*/ 25 h 25"/>
                <a:gd name="T8" fmla="*/ 47 w 47"/>
                <a:gd name="T9" fmla="*/ 2 h 25"/>
                <a:gd name="T10" fmla="*/ 45 w 47"/>
                <a:gd name="T11" fmla="*/ 0 h 25"/>
              </a:gdLst>
              <a:ahLst/>
              <a:cxnLst>
                <a:cxn ang="0">
                  <a:pos x="T0" y="T1"/>
                </a:cxn>
                <a:cxn ang="0">
                  <a:pos x="T2" y="T3"/>
                </a:cxn>
                <a:cxn ang="0">
                  <a:pos x="T4" y="T5"/>
                </a:cxn>
                <a:cxn ang="0">
                  <a:pos x="T6" y="T7"/>
                </a:cxn>
                <a:cxn ang="0">
                  <a:pos x="T8" y="T9"/>
                </a:cxn>
                <a:cxn ang="0">
                  <a:pos x="T10" y="T11"/>
                </a:cxn>
              </a:cxnLst>
              <a:rect l="0" t="0" r="r" b="b"/>
              <a:pathLst>
                <a:path w="47" h="25">
                  <a:moveTo>
                    <a:pt x="45" y="0"/>
                  </a:moveTo>
                  <a:cubicBezTo>
                    <a:pt x="1" y="0"/>
                    <a:pt x="1" y="0"/>
                    <a:pt x="1" y="0"/>
                  </a:cubicBezTo>
                  <a:cubicBezTo>
                    <a:pt x="0" y="0"/>
                    <a:pt x="0" y="1"/>
                    <a:pt x="0" y="2"/>
                  </a:cubicBezTo>
                  <a:cubicBezTo>
                    <a:pt x="0" y="15"/>
                    <a:pt x="10" y="25"/>
                    <a:pt x="23" y="25"/>
                  </a:cubicBezTo>
                  <a:cubicBezTo>
                    <a:pt x="36" y="25"/>
                    <a:pt x="47" y="15"/>
                    <a:pt x="47" y="2"/>
                  </a:cubicBezTo>
                  <a:cubicBezTo>
                    <a:pt x="47" y="1"/>
                    <a:pt x="46" y="0"/>
                    <a:pt x="45" y="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41" name="Group 440">
            <a:extLst>
              <a:ext uri="{FF2B5EF4-FFF2-40B4-BE49-F238E27FC236}">
                <a16:creationId xmlns:a16="http://schemas.microsoft.com/office/drawing/2014/main" id="{2014D4DC-72A5-4106-B3AA-299C6C875619}"/>
              </a:ext>
              <a:ext uri="{C183D7F6-B498-43B3-948B-1728B52AA6E4}">
                <adec:decorative xmlns:adec="http://schemas.microsoft.com/office/drawing/2017/decorative" val="1"/>
              </a:ext>
            </a:extLst>
          </p:cNvPr>
          <p:cNvGrpSpPr/>
          <p:nvPr/>
        </p:nvGrpSpPr>
        <p:grpSpPr>
          <a:xfrm>
            <a:off x="3644395" y="2027873"/>
            <a:ext cx="679450" cy="633413"/>
            <a:chOff x="5689601" y="942975"/>
            <a:chExt cx="679450" cy="633413"/>
          </a:xfrm>
        </p:grpSpPr>
        <p:sp>
          <p:nvSpPr>
            <p:cNvPr id="442" name="Freeform 388">
              <a:extLst>
                <a:ext uri="{FF2B5EF4-FFF2-40B4-BE49-F238E27FC236}">
                  <a16:creationId xmlns:a16="http://schemas.microsoft.com/office/drawing/2014/main" id="{AF7F9A5D-9F0A-413E-9AE2-A615A7E163A3}"/>
                </a:ext>
              </a:extLst>
            </p:cNvPr>
            <p:cNvSpPr>
              <a:spLocks/>
            </p:cNvSpPr>
            <p:nvPr/>
          </p:nvSpPr>
          <p:spPr bwMode="auto">
            <a:xfrm>
              <a:off x="5689601"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43" name="Freeform 389">
              <a:extLst>
                <a:ext uri="{FF2B5EF4-FFF2-40B4-BE49-F238E27FC236}">
                  <a16:creationId xmlns:a16="http://schemas.microsoft.com/office/drawing/2014/main" id="{0E65DE21-3D0B-453A-BCAC-B74D64AFC3D5}"/>
                </a:ext>
              </a:extLst>
            </p:cNvPr>
            <p:cNvSpPr>
              <a:spLocks/>
            </p:cNvSpPr>
            <p:nvPr/>
          </p:nvSpPr>
          <p:spPr bwMode="auto">
            <a:xfrm>
              <a:off x="5832476" y="1079500"/>
              <a:ext cx="392113" cy="363538"/>
            </a:xfrm>
            <a:custGeom>
              <a:avLst/>
              <a:gdLst>
                <a:gd name="T0" fmla="*/ 110 w 135"/>
                <a:gd name="T1" fmla="*/ 1 h 125"/>
                <a:gd name="T2" fmla="*/ 101 w 135"/>
                <a:gd name="T3" fmla="*/ 2 h 125"/>
                <a:gd name="T4" fmla="*/ 97 w 135"/>
                <a:gd name="T5" fmla="*/ 5 h 125"/>
                <a:gd name="T6" fmla="*/ 89 w 135"/>
                <a:gd name="T7" fmla="*/ 21 h 125"/>
                <a:gd name="T8" fmla="*/ 89 w 135"/>
                <a:gd name="T9" fmla="*/ 27 h 125"/>
                <a:gd name="T10" fmla="*/ 72 w 135"/>
                <a:gd name="T11" fmla="*/ 42 h 125"/>
                <a:gd name="T12" fmla="*/ 43 w 135"/>
                <a:gd name="T13" fmla="*/ 69 h 125"/>
                <a:gd name="T14" fmla="*/ 31 w 135"/>
                <a:gd name="T15" fmla="*/ 80 h 125"/>
                <a:gd name="T16" fmla="*/ 24 w 135"/>
                <a:gd name="T17" fmla="*/ 80 h 125"/>
                <a:gd name="T18" fmla="*/ 2 w 135"/>
                <a:gd name="T19" fmla="*/ 94 h 125"/>
                <a:gd name="T20" fmla="*/ 1 w 135"/>
                <a:gd name="T21" fmla="*/ 107 h 125"/>
                <a:gd name="T22" fmla="*/ 11 w 135"/>
                <a:gd name="T23" fmla="*/ 100 h 125"/>
                <a:gd name="T24" fmla="*/ 19 w 135"/>
                <a:gd name="T25" fmla="*/ 92 h 125"/>
                <a:gd name="T26" fmla="*/ 26 w 135"/>
                <a:gd name="T27" fmla="*/ 100 h 125"/>
                <a:gd name="T28" fmla="*/ 32 w 135"/>
                <a:gd name="T29" fmla="*/ 108 h 125"/>
                <a:gd name="T30" fmla="*/ 25 w 135"/>
                <a:gd name="T31" fmla="*/ 116 h 125"/>
                <a:gd name="T32" fmla="*/ 17 w 135"/>
                <a:gd name="T33" fmla="*/ 124 h 125"/>
                <a:gd name="T34" fmla="*/ 24 w 135"/>
                <a:gd name="T35" fmla="*/ 125 h 125"/>
                <a:gd name="T36" fmla="*/ 46 w 135"/>
                <a:gd name="T37" fmla="*/ 104 h 125"/>
                <a:gd name="T38" fmla="*/ 46 w 135"/>
                <a:gd name="T39" fmla="*/ 98 h 125"/>
                <a:gd name="T40" fmla="*/ 75 w 135"/>
                <a:gd name="T41" fmla="*/ 72 h 125"/>
                <a:gd name="T42" fmla="*/ 105 w 135"/>
                <a:gd name="T43" fmla="*/ 45 h 125"/>
                <a:gd name="T44" fmla="*/ 111 w 135"/>
                <a:gd name="T45" fmla="*/ 45 h 125"/>
                <a:gd name="T46" fmla="*/ 134 w 135"/>
                <a:gd name="T47" fmla="*/ 27 h 125"/>
                <a:gd name="T48" fmla="*/ 134 w 135"/>
                <a:gd name="T49" fmla="*/ 20 h 125"/>
                <a:gd name="T50" fmla="*/ 125 w 135"/>
                <a:gd name="T51" fmla="*/ 25 h 125"/>
                <a:gd name="T52" fmla="*/ 116 w 135"/>
                <a:gd name="T53" fmla="*/ 32 h 125"/>
                <a:gd name="T54" fmla="*/ 104 w 135"/>
                <a:gd name="T55" fmla="*/ 17 h 125"/>
                <a:gd name="T56" fmla="*/ 109 w 135"/>
                <a:gd name="T57" fmla="*/ 9 h 125"/>
                <a:gd name="T58" fmla="*/ 126 w 135"/>
                <a:gd name="T59" fmla="*/ 4 h 125"/>
                <a:gd name="T60" fmla="*/ 110 w 135"/>
                <a:gd name="T61"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25">
                  <a:moveTo>
                    <a:pt x="110" y="1"/>
                  </a:moveTo>
                  <a:cubicBezTo>
                    <a:pt x="108" y="1"/>
                    <a:pt x="105" y="1"/>
                    <a:pt x="101" y="2"/>
                  </a:cubicBezTo>
                  <a:cubicBezTo>
                    <a:pt x="101" y="3"/>
                    <a:pt x="99" y="3"/>
                    <a:pt x="97" y="5"/>
                  </a:cubicBezTo>
                  <a:cubicBezTo>
                    <a:pt x="92" y="9"/>
                    <a:pt x="89" y="14"/>
                    <a:pt x="89" y="21"/>
                  </a:cubicBezTo>
                  <a:cubicBezTo>
                    <a:pt x="89" y="27"/>
                    <a:pt x="89" y="27"/>
                    <a:pt x="89" y="27"/>
                  </a:cubicBezTo>
                  <a:cubicBezTo>
                    <a:pt x="72" y="42"/>
                    <a:pt x="72" y="42"/>
                    <a:pt x="72" y="42"/>
                  </a:cubicBezTo>
                  <a:cubicBezTo>
                    <a:pt x="63" y="50"/>
                    <a:pt x="50" y="62"/>
                    <a:pt x="43" y="69"/>
                  </a:cubicBezTo>
                  <a:cubicBezTo>
                    <a:pt x="31" y="80"/>
                    <a:pt x="31" y="80"/>
                    <a:pt x="31" y="80"/>
                  </a:cubicBezTo>
                  <a:cubicBezTo>
                    <a:pt x="24" y="80"/>
                    <a:pt x="24" y="80"/>
                    <a:pt x="24" y="80"/>
                  </a:cubicBezTo>
                  <a:cubicBezTo>
                    <a:pt x="13" y="80"/>
                    <a:pt x="6" y="85"/>
                    <a:pt x="2" y="94"/>
                  </a:cubicBezTo>
                  <a:cubicBezTo>
                    <a:pt x="0" y="98"/>
                    <a:pt x="0" y="107"/>
                    <a:pt x="1" y="107"/>
                  </a:cubicBezTo>
                  <a:cubicBezTo>
                    <a:pt x="2" y="107"/>
                    <a:pt x="6" y="104"/>
                    <a:pt x="11" y="100"/>
                  </a:cubicBezTo>
                  <a:cubicBezTo>
                    <a:pt x="19" y="92"/>
                    <a:pt x="19" y="92"/>
                    <a:pt x="19" y="92"/>
                  </a:cubicBezTo>
                  <a:cubicBezTo>
                    <a:pt x="26" y="100"/>
                    <a:pt x="26" y="100"/>
                    <a:pt x="26" y="100"/>
                  </a:cubicBezTo>
                  <a:cubicBezTo>
                    <a:pt x="29" y="104"/>
                    <a:pt x="33" y="108"/>
                    <a:pt x="32" y="108"/>
                  </a:cubicBezTo>
                  <a:cubicBezTo>
                    <a:pt x="32" y="109"/>
                    <a:pt x="29" y="112"/>
                    <a:pt x="25" y="116"/>
                  </a:cubicBezTo>
                  <a:cubicBezTo>
                    <a:pt x="21" y="119"/>
                    <a:pt x="17" y="123"/>
                    <a:pt x="17" y="124"/>
                  </a:cubicBezTo>
                  <a:cubicBezTo>
                    <a:pt x="17" y="125"/>
                    <a:pt x="19" y="125"/>
                    <a:pt x="24" y="125"/>
                  </a:cubicBezTo>
                  <a:cubicBezTo>
                    <a:pt x="37" y="125"/>
                    <a:pt x="46" y="117"/>
                    <a:pt x="46" y="104"/>
                  </a:cubicBezTo>
                  <a:cubicBezTo>
                    <a:pt x="46" y="98"/>
                    <a:pt x="46" y="98"/>
                    <a:pt x="46" y="98"/>
                  </a:cubicBezTo>
                  <a:cubicBezTo>
                    <a:pt x="75" y="72"/>
                    <a:pt x="75" y="72"/>
                    <a:pt x="75" y="72"/>
                  </a:cubicBezTo>
                  <a:cubicBezTo>
                    <a:pt x="105" y="45"/>
                    <a:pt x="105" y="45"/>
                    <a:pt x="105" y="45"/>
                  </a:cubicBezTo>
                  <a:cubicBezTo>
                    <a:pt x="111" y="45"/>
                    <a:pt x="111" y="45"/>
                    <a:pt x="111" y="45"/>
                  </a:cubicBezTo>
                  <a:cubicBezTo>
                    <a:pt x="122" y="47"/>
                    <a:pt x="132" y="39"/>
                    <a:pt x="134" y="27"/>
                  </a:cubicBezTo>
                  <a:cubicBezTo>
                    <a:pt x="135" y="24"/>
                    <a:pt x="134" y="21"/>
                    <a:pt x="134" y="20"/>
                  </a:cubicBezTo>
                  <a:cubicBezTo>
                    <a:pt x="133" y="18"/>
                    <a:pt x="132" y="19"/>
                    <a:pt x="125" y="25"/>
                  </a:cubicBezTo>
                  <a:cubicBezTo>
                    <a:pt x="120" y="30"/>
                    <a:pt x="118" y="32"/>
                    <a:pt x="116" y="32"/>
                  </a:cubicBezTo>
                  <a:cubicBezTo>
                    <a:pt x="111" y="33"/>
                    <a:pt x="103" y="25"/>
                    <a:pt x="104" y="17"/>
                  </a:cubicBezTo>
                  <a:cubicBezTo>
                    <a:pt x="105" y="13"/>
                    <a:pt x="108" y="10"/>
                    <a:pt x="109" y="9"/>
                  </a:cubicBezTo>
                  <a:cubicBezTo>
                    <a:pt x="116" y="3"/>
                    <a:pt x="126" y="5"/>
                    <a:pt x="126" y="4"/>
                  </a:cubicBezTo>
                  <a:cubicBezTo>
                    <a:pt x="126" y="2"/>
                    <a:pt x="118" y="0"/>
                    <a:pt x="110"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50" name="Group 449">
            <a:extLst>
              <a:ext uri="{FF2B5EF4-FFF2-40B4-BE49-F238E27FC236}">
                <a16:creationId xmlns:a16="http://schemas.microsoft.com/office/drawing/2014/main" id="{51713F1E-5349-4504-9B96-8BD3FB87B690}"/>
              </a:ext>
              <a:ext uri="{C183D7F6-B498-43B3-948B-1728B52AA6E4}">
                <adec:decorative xmlns:adec="http://schemas.microsoft.com/office/drawing/2017/decorative" val="1"/>
              </a:ext>
            </a:extLst>
          </p:cNvPr>
          <p:cNvGrpSpPr/>
          <p:nvPr/>
        </p:nvGrpSpPr>
        <p:grpSpPr>
          <a:xfrm>
            <a:off x="2848240" y="2027873"/>
            <a:ext cx="677863" cy="633413"/>
            <a:chOff x="4919663" y="942975"/>
            <a:chExt cx="677863" cy="633413"/>
          </a:xfrm>
        </p:grpSpPr>
        <p:sp>
          <p:nvSpPr>
            <p:cNvPr id="451" name="Freeform 395">
              <a:extLst>
                <a:ext uri="{FF2B5EF4-FFF2-40B4-BE49-F238E27FC236}">
                  <a16:creationId xmlns:a16="http://schemas.microsoft.com/office/drawing/2014/main" id="{253CDB91-64B8-43F9-B5E2-692E93432BBE}"/>
                </a:ext>
              </a:extLst>
            </p:cNvPr>
            <p:cNvSpPr>
              <a:spLocks/>
            </p:cNvSpPr>
            <p:nvPr/>
          </p:nvSpPr>
          <p:spPr bwMode="auto">
            <a:xfrm>
              <a:off x="4919663" y="942975"/>
              <a:ext cx="677863"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52" name="Freeform 396">
              <a:extLst>
                <a:ext uri="{FF2B5EF4-FFF2-40B4-BE49-F238E27FC236}">
                  <a16:creationId xmlns:a16="http://schemas.microsoft.com/office/drawing/2014/main" id="{9B325FD0-5D2A-4EE9-9E9C-A3B1113773FF}"/>
                </a:ext>
              </a:extLst>
            </p:cNvPr>
            <p:cNvSpPr>
              <a:spLocks/>
            </p:cNvSpPr>
            <p:nvPr/>
          </p:nvSpPr>
          <p:spPr bwMode="auto">
            <a:xfrm>
              <a:off x="5219701" y="1092200"/>
              <a:ext cx="223838" cy="174625"/>
            </a:xfrm>
            <a:custGeom>
              <a:avLst/>
              <a:gdLst>
                <a:gd name="T0" fmla="*/ 12 w 77"/>
                <a:gd name="T1" fmla="*/ 3 h 60"/>
                <a:gd name="T2" fmla="*/ 1 w 77"/>
                <a:gd name="T3" fmla="*/ 14 h 60"/>
                <a:gd name="T4" fmla="*/ 7 w 77"/>
                <a:gd name="T5" fmla="*/ 13 h 60"/>
                <a:gd name="T6" fmla="*/ 11 w 77"/>
                <a:gd name="T7" fmla="*/ 13 h 60"/>
                <a:gd name="T8" fmla="*/ 15 w 77"/>
                <a:gd name="T9" fmla="*/ 14 h 60"/>
                <a:gd name="T10" fmla="*/ 25 w 77"/>
                <a:gd name="T11" fmla="*/ 19 h 60"/>
                <a:gd name="T12" fmla="*/ 29 w 77"/>
                <a:gd name="T13" fmla="*/ 23 h 60"/>
                <a:gd name="T14" fmla="*/ 19 w 77"/>
                <a:gd name="T15" fmla="*/ 35 h 60"/>
                <a:gd name="T16" fmla="*/ 8 w 77"/>
                <a:gd name="T17" fmla="*/ 46 h 60"/>
                <a:gd name="T18" fmla="*/ 13 w 77"/>
                <a:gd name="T19" fmla="*/ 52 h 60"/>
                <a:gd name="T20" fmla="*/ 23 w 77"/>
                <a:gd name="T21" fmla="*/ 60 h 60"/>
                <a:gd name="T22" fmla="*/ 34 w 77"/>
                <a:gd name="T23" fmla="*/ 48 h 60"/>
                <a:gd name="T24" fmla="*/ 44 w 77"/>
                <a:gd name="T25" fmla="*/ 36 h 60"/>
                <a:gd name="T26" fmla="*/ 47 w 77"/>
                <a:gd name="T27" fmla="*/ 39 h 60"/>
                <a:gd name="T28" fmla="*/ 49 w 77"/>
                <a:gd name="T29" fmla="*/ 44 h 60"/>
                <a:gd name="T30" fmla="*/ 53 w 77"/>
                <a:gd name="T31" fmla="*/ 50 h 60"/>
                <a:gd name="T32" fmla="*/ 59 w 77"/>
                <a:gd name="T33" fmla="*/ 56 h 60"/>
                <a:gd name="T34" fmla="*/ 68 w 77"/>
                <a:gd name="T35" fmla="*/ 46 h 60"/>
                <a:gd name="T36" fmla="*/ 77 w 77"/>
                <a:gd name="T37" fmla="*/ 37 h 60"/>
                <a:gd name="T38" fmla="*/ 71 w 77"/>
                <a:gd name="T39" fmla="*/ 31 h 60"/>
                <a:gd name="T40" fmla="*/ 64 w 77"/>
                <a:gd name="T41" fmla="*/ 28 h 60"/>
                <a:gd name="T42" fmla="*/ 59 w 77"/>
                <a:gd name="T43" fmla="*/ 26 h 60"/>
                <a:gd name="T44" fmla="*/ 57 w 77"/>
                <a:gd name="T45" fmla="*/ 21 h 60"/>
                <a:gd name="T46" fmla="*/ 52 w 77"/>
                <a:gd name="T47" fmla="*/ 14 h 60"/>
                <a:gd name="T48" fmla="*/ 42 w 77"/>
                <a:gd name="T49" fmla="*/ 9 h 60"/>
                <a:gd name="T50" fmla="*/ 37 w 77"/>
                <a:gd name="T51" fmla="*/ 7 h 60"/>
                <a:gd name="T52" fmla="*/ 22 w 77"/>
                <a:gd name="T53" fmla="*/ 0 h 60"/>
                <a:gd name="T54" fmla="*/ 12 w 77"/>
                <a:gd name="T55"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7" h="60">
                  <a:moveTo>
                    <a:pt x="12" y="3"/>
                  </a:moveTo>
                  <a:cubicBezTo>
                    <a:pt x="7" y="6"/>
                    <a:pt x="0" y="13"/>
                    <a:pt x="1" y="14"/>
                  </a:cubicBezTo>
                  <a:cubicBezTo>
                    <a:pt x="4" y="14"/>
                    <a:pt x="5" y="13"/>
                    <a:pt x="7" y="13"/>
                  </a:cubicBezTo>
                  <a:cubicBezTo>
                    <a:pt x="9" y="13"/>
                    <a:pt x="10" y="12"/>
                    <a:pt x="11" y="13"/>
                  </a:cubicBezTo>
                  <a:cubicBezTo>
                    <a:pt x="13" y="13"/>
                    <a:pt x="14" y="13"/>
                    <a:pt x="15" y="14"/>
                  </a:cubicBezTo>
                  <a:cubicBezTo>
                    <a:pt x="19" y="15"/>
                    <a:pt x="23" y="18"/>
                    <a:pt x="25" y="19"/>
                  </a:cubicBezTo>
                  <a:cubicBezTo>
                    <a:pt x="29" y="23"/>
                    <a:pt x="29" y="23"/>
                    <a:pt x="29" y="23"/>
                  </a:cubicBezTo>
                  <a:cubicBezTo>
                    <a:pt x="19" y="35"/>
                    <a:pt x="19" y="35"/>
                    <a:pt x="19" y="35"/>
                  </a:cubicBezTo>
                  <a:cubicBezTo>
                    <a:pt x="8" y="46"/>
                    <a:pt x="8" y="46"/>
                    <a:pt x="8" y="46"/>
                  </a:cubicBezTo>
                  <a:cubicBezTo>
                    <a:pt x="13" y="52"/>
                    <a:pt x="13" y="52"/>
                    <a:pt x="13" y="52"/>
                  </a:cubicBezTo>
                  <a:cubicBezTo>
                    <a:pt x="19" y="57"/>
                    <a:pt x="23" y="60"/>
                    <a:pt x="23" y="60"/>
                  </a:cubicBezTo>
                  <a:cubicBezTo>
                    <a:pt x="23" y="59"/>
                    <a:pt x="28" y="54"/>
                    <a:pt x="34" y="48"/>
                  </a:cubicBezTo>
                  <a:cubicBezTo>
                    <a:pt x="44" y="36"/>
                    <a:pt x="44" y="36"/>
                    <a:pt x="44" y="36"/>
                  </a:cubicBezTo>
                  <a:cubicBezTo>
                    <a:pt x="47" y="39"/>
                    <a:pt x="47" y="39"/>
                    <a:pt x="47" y="39"/>
                  </a:cubicBezTo>
                  <a:cubicBezTo>
                    <a:pt x="50" y="42"/>
                    <a:pt x="51" y="43"/>
                    <a:pt x="49" y="44"/>
                  </a:cubicBezTo>
                  <a:cubicBezTo>
                    <a:pt x="48" y="45"/>
                    <a:pt x="48" y="46"/>
                    <a:pt x="53" y="50"/>
                  </a:cubicBezTo>
                  <a:cubicBezTo>
                    <a:pt x="59" y="56"/>
                    <a:pt x="59" y="56"/>
                    <a:pt x="59" y="56"/>
                  </a:cubicBezTo>
                  <a:cubicBezTo>
                    <a:pt x="68" y="46"/>
                    <a:pt x="68" y="46"/>
                    <a:pt x="68" y="46"/>
                  </a:cubicBezTo>
                  <a:cubicBezTo>
                    <a:pt x="73" y="41"/>
                    <a:pt x="77" y="37"/>
                    <a:pt x="77" y="37"/>
                  </a:cubicBezTo>
                  <a:cubicBezTo>
                    <a:pt x="77" y="36"/>
                    <a:pt x="74" y="34"/>
                    <a:pt x="71" y="31"/>
                  </a:cubicBezTo>
                  <a:cubicBezTo>
                    <a:pt x="66" y="27"/>
                    <a:pt x="65" y="26"/>
                    <a:pt x="64" y="28"/>
                  </a:cubicBezTo>
                  <a:cubicBezTo>
                    <a:pt x="62" y="29"/>
                    <a:pt x="61" y="28"/>
                    <a:pt x="59" y="26"/>
                  </a:cubicBezTo>
                  <a:cubicBezTo>
                    <a:pt x="56" y="23"/>
                    <a:pt x="56" y="23"/>
                    <a:pt x="57" y="21"/>
                  </a:cubicBezTo>
                  <a:cubicBezTo>
                    <a:pt x="58" y="20"/>
                    <a:pt x="57" y="19"/>
                    <a:pt x="52" y="14"/>
                  </a:cubicBezTo>
                  <a:cubicBezTo>
                    <a:pt x="45" y="8"/>
                    <a:pt x="43" y="7"/>
                    <a:pt x="42" y="9"/>
                  </a:cubicBezTo>
                  <a:cubicBezTo>
                    <a:pt x="42" y="10"/>
                    <a:pt x="41" y="10"/>
                    <a:pt x="37" y="7"/>
                  </a:cubicBezTo>
                  <a:cubicBezTo>
                    <a:pt x="31" y="1"/>
                    <a:pt x="28" y="0"/>
                    <a:pt x="22" y="0"/>
                  </a:cubicBezTo>
                  <a:cubicBezTo>
                    <a:pt x="17" y="0"/>
                    <a:pt x="15" y="0"/>
                    <a:pt x="12" y="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53" name="Freeform 397">
              <a:extLst>
                <a:ext uri="{FF2B5EF4-FFF2-40B4-BE49-F238E27FC236}">
                  <a16:creationId xmlns:a16="http://schemas.microsoft.com/office/drawing/2014/main" id="{30EF64BF-2494-4332-9B83-0E08E598E322}"/>
                </a:ext>
              </a:extLst>
            </p:cNvPr>
            <p:cNvSpPr>
              <a:spLocks/>
            </p:cNvSpPr>
            <p:nvPr/>
          </p:nvSpPr>
          <p:spPr bwMode="auto">
            <a:xfrm>
              <a:off x="5070476" y="1123950"/>
              <a:ext cx="328613" cy="304800"/>
            </a:xfrm>
            <a:custGeom>
              <a:avLst/>
              <a:gdLst>
                <a:gd name="T0" fmla="*/ 14 w 113"/>
                <a:gd name="T1" fmla="*/ 1 h 105"/>
                <a:gd name="T2" fmla="*/ 20 w 113"/>
                <a:gd name="T3" fmla="*/ 7 h 105"/>
                <a:gd name="T4" fmla="*/ 27 w 113"/>
                <a:gd name="T5" fmla="*/ 14 h 105"/>
                <a:gd name="T6" fmla="*/ 16 w 113"/>
                <a:gd name="T7" fmla="*/ 26 h 105"/>
                <a:gd name="T8" fmla="*/ 8 w 113"/>
                <a:gd name="T9" fmla="*/ 21 h 105"/>
                <a:gd name="T10" fmla="*/ 1 w 113"/>
                <a:gd name="T11" fmla="*/ 16 h 105"/>
                <a:gd name="T12" fmla="*/ 0 w 113"/>
                <a:gd name="T13" fmla="*/ 22 h 105"/>
                <a:gd name="T14" fmla="*/ 20 w 113"/>
                <a:gd name="T15" fmla="*/ 37 h 105"/>
                <a:gd name="T16" fmla="*/ 25 w 113"/>
                <a:gd name="T17" fmla="*/ 37 h 105"/>
                <a:gd name="T18" fmla="*/ 50 w 113"/>
                <a:gd name="T19" fmla="*/ 59 h 105"/>
                <a:gd name="T20" fmla="*/ 75 w 113"/>
                <a:gd name="T21" fmla="*/ 82 h 105"/>
                <a:gd name="T22" fmla="*/ 75 w 113"/>
                <a:gd name="T23" fmla="*/ 87 h 105"/>
                <a:gd name="T24" fmla="*/ 93 w 113"/>
                <a:gd name="T25" fmla="*/ 105 h 105"/>
                <a:gd name="T26" fmla="*/ 99 w 113"/>
                <a:gd name="T27" fmla="*/ 103 h 105"/>
                <a:gd name="T28" fmla="*/ 92 w 113"/>
                <a:gd name="T29" fmla="*/ 97 h 105"/>
                <a:gd name="T30" fmla="*/ 86 w 113"/>
                <a:gd name="T31" fmla="*/ 90 h 105"/>
                <a:gd name="T32" fmla="*/ 92 w 113"/>
                <a:gd name="T33" fmla="*/ 83 h 105"/>
                <a:gd name="T34" fmla="*/ 97 w 113"/>
                <a:gd name="T35" fmla="*/ 77 h 105"/>
                <a:gd name="T36" fmla="*/ 104 w 113"/>
                <a:gd name="T37" fmla="*/ 83 h 105"/>
                <a:gd name="T38" fmla="*/ 112 w 113"/>
                <a:gd name="T39" fmla="*/ 90 h 105"/>
                <a:gd name="T40" fmla="*/ 111 w 113"/>
                <a:gd name="T41" fmla="*/ 78 h 105"/>
                <a:gd name="T42" fmla="*/ 93 w 113"/>
                <a:gd name="T43" fmla="*/ 67 h 105"/>
                <a:gd name="T44" fmla="*/ 88 w 113"/>
                <a:gd name="T45" fmla="*/ 67 h 105"/>
                <a:gd name="T46" fmla="*/ 77 w 113"/>
                <a:gd name="T47" fmla="*/ 57 h 105"/>
                <a:gd name="T48" fmla="*/ 52 w 113"/>
                <a:gd name="T49" fmla="*/ 34 h 105"/>
                <a:gd name="T50" fmla="*/ 38 w 113"/>
                <a:gd name="T51" fmla="*/ 22 h 105"/>
                <a:gd name="T52" fmla="*/ 38 w 113"/>
                <a:gd name="T53" fmla="*/ 17 h 105"/>
                <a:gd name="T54" fmla="*/ 31 w 113"/>
                <a:gd name="T55" fmla="*/ 3 h 105"/>
                <a:gd name="T56" fmla="*/ 21 w 113"/>
                <a:gd name="T57" fmla="*/ 0 h 105"/>
                <a:gd name="T58" fmla="*/ 14 w 113"/>
                <a:gd name="T59"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05">
                  <a:moveTo>
                    <a:pt x="14" y="1"/>
                  </a:moveTo>
                  <a:cubicBezTo>
                    <a:pt x="14" y="1"/>
                    <a:pt x="17" y="4"/>
                    <a:pt x="20" y="7"/>
                  </a:cubicBezTo>
                  <a:cubicBezTo>
                    <a:pt x="24" y="11"/>
                    <a:pt x="27" y="14"/>
                    <a:pt x="27" y="14"/>
                  </a:cubicBezTo>
                  <a:cubicBezTo>
                    <a:pt x="27" y="15"/>
                    <a:pt x="17" y="26"/>
                    <a:pt x="16" y="26"/>
                  </a:cubicBezTo>
                  <a:cubicBezTo>
                    <a:pt x="15" y="27"/>
                    <a:pt x="12" y="24"/>
                    <a:pt x="8" y="21"/>
                  </a:cubicBezTo>
                  <a:cubicBezTo>
                    <a:pt x="2" y="15"/>
                    <a:pt x="2" y="15"/>
                    <a:pt x="1" y="16"/>
                  </a:cubicBezTo>
                  <a:cubicBezTo>
                    <a:pt x="0" y="17"/>
                    <a:pt x="0" y="20"/>
                    <a:pt x="0" y="22"/>
                  </a:cubicBezTo>
                  <a:cubicBezTo>
                    <a:pt x="2" y="32"/>
                    <a:pt x="10" y="38"/>
                    <a:pt x="20" y="37"/>
                  </a:cubicBezTo>
                  <a:cubicBezTo>
                    <a:pt x="25" y="37"/>
                    <a:pt x="25" y="37"/>
                    <a:pt x="25" y="37"/>
                  </a:cubicBezTo>
                  <a:cubicBezTo>
                    <a:pt x="50" y="59"/>
                    <a:pt x="50" y="59"/>
                    <a:pt x="50" y="59"/>
                  </a:cubicBezTo>
                  <a:cubicBezTo>
                    <a:pt x="75" y="82"/>
                    <a:pt x="75" y="82"/>
                    <a:pt x="75" y="82"/>
                  </a:cubicBezTo>
                  <a:cubicBezTo>
                    <a:pt x="75" y="87"/>
                    <a:pt x="75" y="87"/>
                    <a:pt x="75" y="87"/>
                  </a:cubicBezTo>
                  <a:cubicBezTo>
                    <a:pt x="75" y="97"/>
                    <a:pt x="82" y="105"/>
                    <a:pt x="93" y="105"/>
                  </a:cubicBezTo>
                  <a:cubicBezTo>
                    <a:pt x="97" y="105"/>
                    <a:pt x="99" y="104"/>
                    <a:pt x="99" y="103"/>
                  </a:cubicBezTo>
                  <a:cubicBezTo>
                    <a:pt x="99" y="103"/>
                    <a:pt x="96" y="100"/>
                    <a:pt x="92" y="97"/>
                  </a:cubicBezTo>
                  <a:cubicBezTo>
                    <a:pt x="89" y="94"/>
                    <a:pt x="86" y="91"/>
                    <a:pt x="86" y="90"/>
                  </a:cubicBezTo>
                  <a:cubicBezTo>
                    <a:pt x="86" y="90"/>
                    <a:pt x="88" y="87"/>
                    <a:pt x="92" y="83"/>
                  </a:cubicBezTo>
                  <a:cubicBezTo>
                    <a:pt x="97" y="77"/>
                    <a:pt x="97" y="77"/>
                    <a:pt x="97" y="77"/>
                  </a:cubicBezTo>
                  <a:cubicBezTo>
                    <a:pt x="104" y="83"/>
                    <a:pt x="104" y="83"/>
                    <a:pt x="104" y="83"/>
                  </a:cubicBezTo>
                  <a:cubicBezTo>
                    <a:pt x="108" y="87"/>
                    <a:pt x="112" y="90"/>
                    <a:pt x="112" y="90"/>
                  </a:cubicBezTo>
                  <a:cubicBezTo>
                    <a:pt x="113" y="90"/>
                    <a:pt x="113" y="82"/>
                    <a:pt x="111" y="78"/>
                  </a:cubicBezTo>
                  <a:cubicBezTo>
                    <a:pt x="108" y="70"/>
                    <a:pt x="102" y="67"/>
                    <a:pt x="93" y="67"/>
                  </a:cubicBezTo>
                  <a:cubicBezTo>
                    <a:pt x="88" y="67"/>
                    <a:pt x="88" y="67"/>
                    <a:pt x="88" y="67"/>
                  </a:cubicBezTo>
                  <a:cubicBezTo>
                    <a:pt x="77" y="57"/>
                    <a:pt x="77" y="57"/>
                    <a:pt x="77" y="57"/>
                  </a:cubicBezTo>
                  <a:cubicBezTo>
                    <a:pt x="71" y="52"/>
                    <a:pt x="60" y="41"/>
                    <a:pt x="52" y="34"/>
                  </a:cubicBezTo>
                  <a:cubicBezTo>
                    <a:pt x="38" y="22"/>
                    <a:pt x="38" y="22"/>
                    <a:pt x="38" y="22"/>
                  </a:cubicBezTo>
                  <a:cubicBezTo>
                    <a:pt x="38" y="17"/>
                    <a:pt x="38" y="17"/>
                    <a:pt x="38" y="17"/>
                  </a:cubicBezTo>
                  <a:cubicBezTo>
                    <a:pt x="38" y="11"/>
                    <a:pt x="36" y="7"/>
                    <a:pt x="31" y="3"/>
                  </a:cubicBezTo>
                  <a:cubicBezTo>
                    <a:pt x="28" y="1"/>
                    <a:pt x="26" y="0"/>
                    <a:pt x="21" y="0"/>
                  </a:cubicBezTo>
                  <a:cubicBezTo>
                    <a:pt x="16" y="0"/>
                    <a:pt x="14" y="0"/>
                    <a:pt x="14"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54" name="Freeform 398">
              <a:extLst>
                <a:ext uri="{FF2B5EF4-FFF2-40B4-BE49-F238E27FC236}">
                  <a16:creationId xmlns:a16="http://schemas.microsoft.com/office/drawing/2014/main" id="{E7FF5BF1-E883-4097-851E-CD1A0BE231C8}"/>
                </a:ext>
              </a:extLst>
            </p:cNvPr>
            <p:cNvSpPr>
              <a:spLocks/>
            </p:cNvSpPr>
            <p:nvPr/>
          </p:nvSpPr>
          <p:spPr bwMode="auto">
            <a:xfrm>
              <a:off x="5084763" y="1285875"/>
              <a:ext cx="149225" cy="152400"/>
            </a:xfrm>
            <a:custGeom>
              <a:avLst/>
              <a:gdLst>
                <a:gd name="T0" fmla="*/ 17 w 51"/>
                <a:gd name="T1" fmla="*/ 18 h 52"/>
                <a:gd name="T2" fmla="*/ 0 w 51"/>
                <a:gd name="T3" fmla="*/ 37 h 52"/>
                <a:gd name="T4" fmla="*/ 17 w 51"/>
                <a:gd name="T5" fmla="*/ 51 h 52"/>
                <a:gd name="T6" fmla="*/ 51 w 51"/>
                <a:gd name="T7" fmla="*/ 13 h 52"/>
                <a:gd name="T8" fmla="*/ 35 w 51"/>
                <a:gd name="T9" fmla="*/ 0 h 52"/>
                <a:gd name="T10" fmla="*/ 17 w 51"/>
                <a:gd name="T11" fmla="*/ 18 h 52"/>
              </a:gdLst>
              <a:ahLst/>
              <a:cxnLst>
                <a:cxn ang="0">
                  <a:pos x="T0" y="T1"/>
                </a:cxn>
                <a:cxn ang="0">
                  <a:pos x="T2" y="T3"/>
                </a:cxn>
                <a:cxn ang="0">
                  <a:pos x="T4" y="T5"/>
                </a:cxn>
                <a:cxn ang="0">
                  <a:pos x="T6" y="T7"/>
                </a:cxn>
                <a:cxn ang="0">
                  <a:pos x="T8" y="T9"/>
                </a:cxn>
                <a:cxn ang="0">
                  <a:pos x="T10" y="T11"/>
                </a:cxn>
              </a:cxnLst>
              <a:rect l="0" t="0" r="r" b="b"/>
              <a:pathLst>
                <a:path w="51" h="52">
                  <a:moveTo>
                    <a:pt x="17" y="18"/>
                  </a:moveTo>
                  <a:cubicBezTo>
                    <a:pt x="8" y="28"/>
                    <a:pt x="0" y="36"/>
                    <a:pt x="0" y="37"/>
                  </a:cubicBezTo>
                  <a:cubicBezTo>
                    <a:pt x="0" y="38"/>
                    <a:pt x="16" y="52"/>
                    <a:pt x="17" y="51"/>
                  </a:cubicBezTo>
                  <a:cubicBezTo>
                    <a:pt x="19" y="51"/>
                    <a:pt x="51" y="14"/>
                    <a:pt x="51" y="13"/>
                  </a:cubicBezTo>
                  <a:cubicBezTo>
                    <a:pt x="50" y="13"/>
                    <a:pt x="36" y="0"/>
                    <a:pt x="35" y="0"/>
                  </a:cubicBezTo>
                  <a:cubicBezTo>
                    <a:pt x="35" y="0"/>
                    <a:pt x="27" y="8"/>
                    <a:pt x="17" y="1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55" name="Group 454">
            <a:extLst>
              <a:ext uri="{FF2B5EF4-FFF2-40B4-BE49-F238E27FC236}">
                <a16:creationId xmlns:a16="http://schemas.microsoft.com/office/drawing/2014/main" id="{A8E8D604-35B4-41E0-9BC8-6D242B5A774A}"/>
              </a:ext>
              <a:ext uri="{C183D7F6-B498-43B3-948B-1728B52AA6E4}">
                <adec:decorative xmlns:adec="http://schemas.microsoft.com/office/drawing/2017/decorative" val="1"/>
              </a:ext>
            </a:extLst>
          </p:cNvPr>
          <p:cNvGrpSpPr/>
          <p:nvPr/>
        </p:nvGrpSpPr>
        <p:grpSpPr>
          <a:xfrm>
            <a:off x="7639355" y="1101944"/>
            <a:ext cx="679450" cy="633413"/>
            <a:chOff x="8775701" y="942975"/>
            <a:chExt cx="679450" cy="633413"/>
          </a:xfrm>
        </p:grpSpPr>
        <p:sp>
          <p:nvSpPr>
            <p:cNvPr id="456" name="Freeform 399">
              <a:extLst>
                <a:ext uri="{FF2B5EF4-FFF2-40B4-BE49-F238E27FC236}">
                  <a16:creationId xmlns:a16="http://schemas.microsoft.com/office/drawing/2014/main" id="{E18DDC47-05B0-42B5-85DA-FB298C913349}"/>
                </a:ext>
              </a:extLst>
            </p:cNvPr>
            <p:cNvSpPr>
              <a:spLocks/>
            </p:cNvSpPr>
            <p:nvPr/>
          </p:nvSpPr>
          <p:spPr bwMode="auto">
            <a:xfrm>
              <a:off x="8775701"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57" name="Freeform 400">
              <a:extLst>
                <a:ext uri="{FF2B5EF4-FFF2-40B4-BE49-F238E27FC236}">
                  <a16:creationId xmlns:a16="http://schemas.microsoft.com/office/drawing/2014/main" id="{2D66283E-8000-4053-B243-ECCC46DB1BE0}"/>
                </a:ext>
              </a:extLst>
            </p:cNvPr>
            <p:cNvSpPr>
              <a:spLocks/>
            </p:cNvSpPr>
            <p:nvPr/>
          </p:nvSpPr>
          <p:spPr bwMode="auto">
            <a:xfrm>
              <a:off x="8950326" y="1260475"/>
              <a:ext cx="327025" cy="133350"/>
            </a:xfrm>
            <a:custGeom>
              <a:avLst/>
              <a:gdLst>
                <a:gd name="T0" fmla="*/ 113 w 113"/>
                <a:gd name="T1" fmla="*/ 0 h 46"/>
                <a:gd name="T2" fmla="*/ 113 w 113"/>
                <a:gd name="T3" fmla="*/ 27 h 46"/>
                <a:gd name="T4" fmla="*/ 101 w 113"/>
                <a:gd name="T5" fmla="*/ 46 h 46"/>
                <a:gd name="T6" fmla="*/ 19 w 113"/>
                <a:gd name="T7" fmla="*/ 46 h 46"/>
                <a:gd name="T8" fmla="*/ 0 w 113"/>
                <a:gd name="T9" fmla="*/ 27 h 46"/>
                <a:gd name="T10" fmla="*/ 0 w 113"/>
                <a:gd name="T11" fmla="*/ 0 h 46"/>
              </a:gdLst>
              <a:ahLst/>
              <a:cxnLst>
                <a:cxn ang="0">
                  <a:pos x="T0" y="T1"/>
                </a:cxn>
                <a:cxn ang="0">
                  <a:pos x="T2" y="T3"/>
                </a:cxn>
                <a:cxn ang="0">
                  <a:pos x="T4" y="T5"/>
                </a:cxn>
                <a:cxn ang="0">
                  <a:pos x="T6" y="T7"/>
                </a:cxn>
                <a:cxn ang="0">
                  <a:pos x="T8" y="T9"/>
                </a:cxn>
                <a:cxn ang="0">
                  <a:pos x="T10" y="T11"/>
                </a:cxn>
              </a:cxnLst>
              <a:rect l="0" t="0" r="r" b="b"/>
              <a:pathLst>
                <a:path w="113" h="46">
                  <a:moveTo>
                    <a:pt x="113" y="0"/>
                  </a:moveTo>
                  <a:cubicBezTo>
                    <a:pt x="113" y="27"/>
                    <a:pt x="113" y="27"/>
                    <a:pt x="113" y="27"/>
                  </a:cubicBezTo>
                  <a:cubicBezTo>
                    <a:pt x="113" y="38"/>
                    <a:pt x="111" y="46"/>
                    <a:pt x="101" y="46"/>
                  </a:cubicBezTo>
                  <a:cubicBezTo>
                    <a:pt x="19" y="46"/>
                    <a:pt x="19" y="46"/>
                    <a:pt x="19" y="46"/>
                  </a:cubicBezTo>
                  <a:cubicBezTo>
                    <a:pt x="9" y="46"/>
                    <a:pt x="0" y="38"/>
                    <a:pt x="0" y="27"/>
                  </a:cubicBezTo>
                  <a:cubicBezTo>
                    <a:pt x="0" y="0"/>
                    <a:pt x="0" y="0"/>
                    <a:pt x="0" y="0"/>
                  </a:cubicBezTo>
                </a:path>
              </a:pathLst>
            </a:custGeom>
            <a:noFill/>
            <a:ln w="41275"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458" name="Freeform 401">
              <a:extLst>
                <a:ext uri="{FF2B5EF4-FFF2-40B4-BE49-F238E27FC236}">
                  <a16:creationId xmlns:a16="http://schemas.microsoft.com/office/drawing/2014/main" id="{6225EA13-35C9-4289-950D-EFC358FE75A0}"/>
                </a:ext>
              </a:extLst>
            </p:cNvPr>
            <p:cNvSpPr>
              <a:spLocks/>
            </p:cNvSpPr>
            <p:nvPr/>
          </p:nvSpPr>
          <p:spPr bwMode="auto">
            <a:xfrm>
              <a:off x="9010651" y="1106488"/>
              <a:ext cx="206375" cy="234950"/>
            </a:xfrm>
            <a:custGeom>
              <a:avLst/>
              <a:gdLst>
                <a:gd name="T0" fmla="*/ 36 w 71"/>
                <a:gd name="T1" fmla="*/ 81 h 81"/>
                <a:gd name="T2" fmla="*/ 71 w 71"/>
                <a:gd name="T3" fmla="*/ 34 h 81"/>
                <a:gd name="T4" fmla="*/ 52 w 71"/>
                <a:gd name="T5" fmla="*/ 34 h 81"/>
                <a:gd name="T6" fmla="*/ 52 w 71"/>
                <a:gd name="T7" fmla="*/ 0 h 81"/>
                <a:gd name="T8" fmla="*/ 19 w 71"/>
                <a:gd name="T9" fmla="*/ 0 h 81"/>
                <a:gd name="T10" fmla="*/ 19 w 71"/>
                <a:gd name="T11" fmla="*/ 34 h 81"/>
                <a:gd name="T12" fmla="*/ 0 w 71"/>
                <a:gd name="T13" fmla="*/ 34 h 81"/>
                <a:gd name="T14" fmla="*/ 36 w 71"/>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81">
                  <a:moveTo>
                    <a:pt x="36" y="81"/>
                  </a:moveTo>
                  <a:cubicBezTo>
                    <a:pt x="43" y="65"/>
                    <a:pt x="64" y="40"/>
                    <a:pt x="71" y="34"/>
                  </a:cubicBezTo>
                  <a:cubicBezTo>
                    <a:pt x="68" y="34"/>
                    <a:pt x="52" y="34"/>
                    <a:pt x="52" y="34"/>
                  </a:cubicBezTo>
                  <a:cubicBezTo>
                    <a:pt x="52" y="0"/>
                    <a:pt x="52" y="0"/>
                    <a:pt x="52" y="0"/>
                  </a:cubicBezTo>
                  <a:cubicBezTo>
                    <a:pt x="19" y="0"/>
                    <a:pt x="19" y="0"/>
                    <a:pt x="19" y="0"/>
                  </a:cubicBezTo>
                  <a:cubicBezTo>
                    <a:pt x="19" y="34"/>
                    <a:pt x="19" y="34"/>
                    <a:pt x="19" y="34"/>
                  </a:cubicBezTo>
                  <a:cubicBezTo>
                    <a:pt x="19" y="34"/>
                    <a:pt x="3" y="34"/>
                    <a:pt x="0" y="34"/>
                  </a:cubicBezTo>
                  <a:cubicBezTo>
                    <a:pt x="7" y="40"/>
                    <a:pt x="24" y="72"/>
                    <a:pt x="36" y="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99" name="Group 498">
            <a:extLst>
              <a:ext uri="{FF2B5EF4-FFF2-40B4-BE49-F238E27FC236}">
                <a16:creationId xmlns:a16="http://schemas.microsoft.com/office/drawing/2014/main" id="{1FC89599-B121-47C0-8EB3-62D01411A214}"/>
              </a:ext>
              <a:ext uri="{C183D7F6-B498-43B3-948B-1728B52AA6E4}">
                <adec:decorative xmlns:adec="http://schemas.microsoft.com/office/drawing/2017/decorative" val="1"/>
              </a:ext>
            </a:extLst>
          </p:cNvPr>
          <p:cNvGrpSpPr/>
          <p:nvPr/>
        </p:nvGrpSpPr>
        <p:grpSpPr>
          <a:xfrm>
            <a:off x="4407594" y="2995439"/>
            <a:ext cx="677863" cy="633413"/>
            <a:chOff x="9567863" y="4583113"/>
            <a:chExt cx="677863" cy="633413"/>
          </a:xfrm>
        </p:grpSpPr>
        <p:sp>
          <p:nvSpPr>
            <p:cNvPr id="500" name="Freeform 441">
              <a:extLst>
                <a:ext uri="{FF2B5EF4-FFF2-40B4-BE49-F238E27FC236}">
                  <a16:creationId xmlns:a16="http://schemas.microsoft.com/office/drawing/2014/main" id="{E3E042E7-0235-4FEC-A5DA-8EBFC84149AC}"/>
                </a:ext>
              </a:extLst>
            </p:cNvPr>
            <p:cNvSpPr>
              <a:spLocks/>
            </p:cNvSpPr>
            <p:nvPr/>
          </p:nvSpPr>
          <p:spPr bwMode="auto">
            <a:xfrm>
              <a:off x="9567863" y="4583113"/>
              <a:ext cx="677863" cy="633413"/>
            </a:xfrm>
            <a:custGeom>
              <a:avLst/>
              <a:gdLst>
                <a:gd name="T0" fmla="*/ 33 w 233"/>
                <a:gd name="T1" fmla="*/ 171 h 218"/>
                <a:gd name="T2" fmla="*/ 56 w 233"/>
                <a:gd name="T3" fmla="*/ 33 h 218"/>
                <a:gd name="T4" fmla="*/ 200 w 233"/>
                <a:gd name="T5" fmla="*/ 53 h 218"/>
                <a:gd name="T6" fmla="*/ 173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9"/>
                    <a:pt x="200" y="53"/>
                  </a:cubicBezTo>
                  <a:cubicBezTo>
                    <a:pt x="233" y="97"/>
                    <a:pt x="219" y="153"/>
                    <a:pt x="173" y="186"/>
                  </a:cubicBezTo>
                  <a:cubicBezTo>
                    <a:pt x="128" y="218"/>
                    <a:pt x="67" y="214"/>
                    <a:pt x="33" y="171"/>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01" name="Freeform 442">
              <a:extLst>
                <a:ext uri="{FF2B5EF4-FFF2-40B4-BE49-F238E27FC236}">
                  <a16:creationId xmlns:a16="http://schemas.microsoft.com/office/drawing/2014/main" id="{E6CF0FF7-D759-479D-B2DD-5C6E0B34271E}"/>
                </a:ext>
              </a:extLst>
            </p:cNvPr>
            <p:cNvSpPr>
              <a:spLocks/>
            </p:cNvSpPr>
            <p:nvPr/>
          </p:nvSpPr>
          <p:spPr bwMode="auto">
            <a:xfrm>
              <a:off x="9731376" y="4727575"/>
              <a:ext cx="347663" cy="303213"/>
            </a:xfrm>
            <a:custGeom>
              <a:avLst/>
              <a:gdLst>
                <a:gd name="T0" fmla="*/ 55 w 120"/>
                <a:gd name="T1" fmla="*/ 4 h 104"/>
                <a:gd name="T2" fmla="*/ 2 w 120"/>
                <a:gd name="T3" fmla="*/ 97 h 104"/>
                <a:gd name="T4" fmla="*/ 6 w 120"/>
                <a:gd name="T5" fmla="*/ 104 h 104"/>
                <a:gd name="T6" fmla="*/ 113 w 120"/>
                <a:gd name="T7" fmla="*/ 104 h 104"/>
                <a:gd name="T8" fmla="*/ 118 w 120"/>
                <a:gd name="T9" fmla="*/ 97 h 104"/>
                <a:gd name="T10" fmla="*/ 64 w 120"/>
                <a:gd name="T11" fmla="*/ 4 h 104"/>
                <a:gd name="T12" fmla="*/ 55 w 120"/>
                <a:gd name="T13" fmla="*/ 4 h 104"/>
              </a:gdLst>
              <a:ahLst/>
              <a:cxnLst>
                <a:cxn ang="0">
                  <a:pos x="T0" y="T1"/>
                </a:cxn>
                <a:cxn ang="0">
                  <a:pos x="T2" y="T3"/>
                </a:cxn>
                <a:cxn ang="0">
                  <a:pos x="T4" y="T5"/>
                </a:cxn>
                <a:cxn ang="0">
                  <a:pos x="T6" y="T7"/>
                </a:cxn>
                <a:cxn ang="0">
                  <a:pos x="T8" y="T9"/>
                </a:cxn>
                <a:cxn ang="0">
                  <a:pos x="T10" y="T11"/>
                </a:cxn>
                <a:cxn ang="0">
                  <a:pos x="T12" y="T13"/>
                </a:cxn>
              </a:cxnLst>
              <a:rect l="0" t="0" r="r" b="b"/>
              <a:pathLst>
                <a:path w="120" h="104">
                  <a:moveTo>
                    <a:pt x="55" y="4"/>
                  </a:moveTo>
                  <a:cubicBezTo>
                    <a:pt x="2" y="97"/>
                    <a:pt x="2" y="97"/>
                    <a:pt x="2" y="97"/>
                  </a:cubicBezTo>
                  <a:cubicBezTo>
                    <a:pt x="0" y="100"/>
                    <a:pt x="2" y="104"/>
                    <a:pt x="6" y="104"/>
                  </a:cubicBezTo>
                  <a:cubicBezTo>
                    <a:pt x="113" y="104"/>
                    <a:pt x="113" y="104"/>
                    <a:pt x="113" y="104"/>
                  </a:cubicBezTo>
                  <a:cubicBezTo>
                    <a:pt x="117" y="104"/>
                    <a:pt x="120" y="100"/>
                    <a:pt x="118" y="97"/>
                  </a:cubicBezTo>
                  <a:cubicBezTo>
                    <a:pt x="64" y="4"/>
                    <a:pt x="64" y="4"/>
                    <a:pt x="64" y="4"/>
                  </a:cubicBezTo>
                  <a:cubicBezTo>
                    <a:pt x="62" y="0"/>
                    <a:pt x="57" y="0"/>
                    <a:pt x="5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02" name="Freeform 443">
              <a:extLst>
                <a:ext uri="{FF2B5EF4-FFF2-40B4-BE49-F238E27FC236}">
                  <a16:creationId xmlns:a16="http://schemas.microsoft.com/office/drawing/2014/main" id="{5D1E631D-25F1-4AE3-82B4-F8D9908B5C68}"/>
                </a:ext>
              </a:extLst>
            </p:cNvPr>
            <p:cNvSpPr>
              <a:spLocks noEditPoints="1"/>
            </p:cNvSpPr>
            <p:nvPr/>
          </p:nvSpPr>
          <p:spPr bwMode="auto">
            <a:xfrm>
              <a:off x="9890126" y="4795838"/>
              <a:ext cx="30163" cy="200025"/>
            </a:xfrm>
            <a:custGeom>
              <a:avLst/>
              <a:gdLst>
                <a:gd name="T0" fmla="*/ 10 w 10"/>
                <a:gd name="T1" fmla="*/ 4 h 69"/>
                <a:gd name="T2" fmla="*/ 9 w 10"/>
                <a:gd name="T3" fmla="*/ 46 h 69"/>
                <a:gd name="T4" fmla="*/ 5 w 10"/>
                <a:gd name="T5" fmla="*/ 50 h 69"/>
                <a:gd name="T6" fmla="*/ 5 w 10"/>
                <a:gd name="T7" fmla="*/ 50 h 69"/>
                <a:gd name="T8" fmla="*/ 1 w 10"/>
                <a:gd name="T9" fmla="*/ 46 h 69"/>
                <a:gd name="T10" fmla="*/ 0 w 10"/>
                <a:gd name="T11" fmla="*/ 4 h 69"/>
                <a:gd name="T12" fmla="*/ 4 w 10"/>
                <a:gd name="T13" fmla="*/ 0 h 69"/>
                <a:gd name="T14" fmla="*/ 6 w 10"/>
                <a:gd name="T15" fmla="*/ 0 h 69"/>
                <a:gd name="T16" fmla="*/ 10 w 10"/>
                <a:gd name="T17" fmla="*/ 4 h 69"/>
                <a:gd name="T18" fmla="*/ 6 w 10"/>
                <a:gd name="T19" fmla="*/ 69 h 69"/>
                <a:gd name="T20" fmla="*/ 4 w 10"/>
                <a:gd name="T21" fmla="*/ 69 h 69"/>
                <a:gd name="T22" fmla="*/ 0 w 10"/>
                <a:gd name="T23" fmla="*/ 65 h 69"/>
                <a:gd name="T24" fmla="*/ 0 w 10"/>
                <a:gd name="T25" fmla="*/ 63 h 69"/>
                <a:gd name="T26" fmla="*/ 4 w 10"/>
                <a:gd name="T27" fmla="*/ 59 h 69"/>
                <a:gd name="T28" fmla="*/ 6 w 10"/>
                <a:gd name="T29" fmla="*/ 59 h 69"/>
                <a:gd name="T30" fmla="*/ 10 w 10"/>
                <a:gd name="T31" fmla="*/ 63 h 69"/>
                <a:gd name="T32" fmla="*/ 10 w 10"/>
                <a:gd name="T33" fmla="*/ 65 h 69"/>
                <a:gd name="T34" fmla="*/ 6 w 10"/>
                <a:gd name="T3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69">
                  <a:moveTo>
                    <a:pt x="10" y="4"/>
                  </a:moveTo>
                  <a:cubicBezTo>
                    <a:pt x="9" y="46"/>
                    <a:pt x="9" y="46"/>
                    <a:pt x="9" y="46"/>
                  </a:cubicBezTo>
                  <a:cubicBezTo>
                    <a:pt x="9" y="48"/>
                    <a:pt x="7" y="50"/>
                    <a:pt x="5" y="50"/>
                  </a:cubicBezTo>
                  <a:cubicBezTo>
                    <a:pt x="5" y="50"/>
                    <a:pt x="5" y="50"/>
                    <a:pt x="5" y="50"/>
                  </a:cubicBezTo>
                  <a:cubicBezTo>
                    <a:pt x="3" y="50"/>
                    <a:pt x="1" y="48"/>
                    <a:pt x="1" y="46"/>
                  </a:cubicBezTo>
                  <a:cubicBezTo>
                    <a:pt x="0" y="4"/>
                    <a:pt x="0" y="4"/>
                    <a:pt x="0" y="4"/>
                  </a:cubicBezTo>
                  <a:cubicBezTo>
                    <a:pt x="0" y="1"/>
                    <a:pt x="2" y="0"/>
                    <a:pt x="4" y="0"/>
                  </a:cubicBezTo>
                  <a:cubicBezTo>
                    <a:pt x="6" y="0"/>
                    <a:pt x="6" y="0"/>
                    <a:pt x="6" y="0"/>
                  </a:cubicBezTo>
                  <a:cubicBezTo>
                    <a:pt x="8" y="0"/>
                    <a:pt x="10" y="1"/>
                    <a:pt x="10" y="4"/>
                  </a:cubicBezTo>
                  <a:close/>
                  <a:moveTo>
                    <a:pt x="6" y="69"/>
                  </a:moveTo>
                  <a:cubicBezTo>
                    <a:pt x="4" y="69"/>
                    <a:pt x="4" y="69"/>
                    <a:pt x="4" y="69"/>
                  </a:cubicBezTo>
                  <a:cubicBezTo>
                    <a:pt x="2" y="69"/>
                    <a:pt x="0" y="67"/>
                    <a:pt x="0" y="65"/>
                  </a:cubicBezTo>
                  <a:cubicBezTo>
                    <a:pt x="0" y="63"/>
                    <a:pt x="0" y="63"/>
                    <a:pt x="0" y="63"/>
                  </a:cubicBezTo>
                  <a:cubicBezTo>
                    <a:pt x="0" y="61"/>
                    <a:pt x="2" y="59"/>
                    <a:pt x="4" y="59"/>
                  </a:cubicBezTo>
                  <a:cubicBezTo>
                    <a:pt x="6" y="59"/>
                    <a:pt x="6" y="59"/>
                    <a:pt x="6" y="59"/>
                  </a:cubicBezTo>
                  <a:cubicBezTo>
                    <a:pt x="8" y="59"/>
                    <a:pt x="10" y="61"/>
                    <a:pt x="10" y="63"/>
                  </a:cubicBezTo>
                  <a:cubicBezTo>
                    <a:pt x="10" y="65"/>
                    <a:pt x="10" y="65"/>
                    <a:pt x="10" y="65"/>
                  </a:cubicBezTo>
                  <a:cubicBezTo>
                    <a:pt x="10" y="67"/>
                    <a:pt x="8" y="69"/>
                    <a:pt x="6" y="69"/>
                  </a:cubicBezTo>
                  <a:close/>
                </a:path>
              </a:pathLst>
            </a:custGeom>
            <a:solidFill>
              <a:schemeClr val="accent1"/>
            </a:solidFill>
            <a:ln w="3175"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pl-PL"/>
            </a:p>
          </p:txBody>
        </p:sp>
      </p:grpSp>
      <p:grpSp>
        <p:nvGrpSpPr>
          <p:cNvPr id="125" name="Group 124">
            <a:extLst>
              <a:ext uri="{FF2B5EF4-FFF2-40B4-BE49-F238E27FC236}">
                <a16:creationId xmlns:a16="http://schemas.microsoft.com/office/drawing/2014/main" id="{3C78F7E2-CA9A-4080-A7BD-ED24D0C89762}"/>
              </a:ext>
              <a:ext uri="{C183D7F6-B498-43B3-948B-1728B52AA6E4}">
                <adec:decorative xmlns:adec="http://schemas.microsoft.com/office/drawing/2017/decorative" val="1"/>
              </a:ext>
            </a:extLst>
          </p:cNvPr>
          <p:cNvGrpSpPr/>
          <p:nvPr/>
        </p:nvGrpSpPr>
        <p:grpSpPr>
          <a:xfrm>
            <a:off x="2798400" y="2995439"/>
            <a:ext cx="681038" cy="614363"/>
            <a:chOff x="2351584" y="3061201"/>
            <a:chExt cx="681038" cy="614363"/>
          </a:xfrm>
        </p:grpSpPr>
        <p:sp>
          <p:nvSpPr>
            <p:cNvPr id="504" name="Freeform 444">
              <a:extLst>
                <a:ext uri="{FF2B5EF4-FFF2-40B4-BE49-F238E27FC236}">
                  <a16:creationId xmlns:a16="http://schemas.microsoft.com/office/drawing/2014/main" id="{F08041AA-2BE4-479A-9987-077C468311F3}"/>
                </a:ext>
              </a:extLst>
            </p:cNvPr>
            <p:cNvSpPr>
              <a:spLocks/>
            </p:cNvSpPr>
            <p:nvPr/>
          </p:nvSpPr>
          <p:spPr bwMode="auto">
            <a:xfrm>
              <a:off x="2351584" y="3061201"/>
              <a:ext cx="681038" cy="614363"/>
            </a:xfrm>
            <a:custGeom>
              <a:avLst/>
              <a:gdLst>
                <a:gd name="T0" fmla="*/ 34 w 234"/>
                <a:gd name="T1" fmla="*/ 165 h 211"/>
                <a:gd name="T2" fmla="*/ 56 w 234"/>
                <a:gd name="T3" fmla="*/ 32 h 211"/>
                <a:gd name="T4" fmla="*/ 200 w 234"/>
                <a:gd name="T5" fmla="*/ 51 h 211"/>
                <a:gd name="T6" fmla="*/ 174 w 234"/>
                <a:gd name="T7" fmla="*/ 179 h 211"/>
                <a:gd name="T8" fmla="*/ 34 w 234"/>
                <a:gd name="T9" fmla="*/ 165 h 211"/>
              </a:gdLst>
              <a:ahLst/>
              <a:cxnLst>
                <a:cxn ang="0">
                  <a:pos x="T0" y="T1"/>
                </a:cxn>
                <a:cxn ang="0">
                  <a:pos x="T2" y="T3"/>
                </a:cxn>
                <a:cxn ang="0">
                  <a:pos x="T4" y="T5"/>
                </a:cxn>
                <a:cxn ang="0">
                  <a:pos x="T6" y="T7"/>
                </a:cxn>
                <a:cxn ang="0">
                  <a:pos x="T8" y="T9"/>
                </a:cxn>
              </a:cxnLst>
              <a:rect l="0" t="0" r="r" b="b"/>
              <a:pathLst>
                <a:path w="234" h="211">
                  <a:moveTo>
                    <a:pt x="34" y="165"/>
                  </a:moveTo>
                  <a:cubicBezTo>
                    <a:pt x="0" y="123"/>
                    <a:pt x="11" y="63"/>
                    <a:pt x="56" y="32"/>
                  </a:cubicBezTo>
                  <a:cubicBezTo>
                    <a:pt x="102" y="0"/>
                    <a:pt x="167" y="9"/>
                    <a:pt x="200" y="51"/>
                  </a:cubicBezTo>
                  <a:cubicBezTo>
                    <a:pt x="234" y="93"/>
                    <a:pt x="220" y="148"/>
                    <a:pt x="174" y="179"/>
                  </a:cubicBezTo>
                  <a:cubicBezTo>
                    <a:pt x="128" y="211"/>
                    <a:pt x="68" y="207"/>
                    <a:pt x="34" y="165"/>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06" name="Freeform 446">
              <a:extLst>
                <a:ext uri="{FF2B5EF4-FFF2-40B4-BE49-F238E27FC236}">
                  <a16:creationId xmlns:a16="http://schemas.microsoft.com/office/drawing/2014/main" id="{74C78D79-6A46-40A7-AD66-E5184F6DF8D1}"/>
                </a:ext>
              </a:extLst>
            </p:cNvPr>
            <p:cNvSpPr>
              <a:spLocks noChangeAspect="1"/>
            </p:cNvSpPr>
            <p:nvPr/>
          </p:nvSpPr>
          <p:spPr bwMode="auto">
            <a:xfrm>
              <a:off x="2553754" y="3226830"/>
              <a:ext cx="300857" cy="288000"/>
            </a:xfrm>
            <a:custGeom>
              <a:avLst/>
              <a:gdLst>
                <a:gd name="T0" fmla="*/ 63 w 64"/>
                <a:gd name="T1" fmla="*/ 3 h 61"/>
                <a:gd name="T2" fmla="*/ 62 w 64"/>
                <a:gd name="T3" fmla="*/ 1 h 61"/>
                <a:gd name="T4" fmla="*/ 61 w 64"/>
                <a:gd name="T5" fmla="*/ 0 h 61"/>
                <a:gd name="T6" fmla="*/ 60 w 64"/>
                <a:gd name="T7" fmla="*/ 1 h 61"/>
                <a:gd name="T8" fmla="*/ 36 w 64"/>
                <a:gd name="T9" fmla="*/ 20 h 61"/>
                <a:gd name="T10" fmla="*/ 18 w 64"/>
                <a:gd name="T11" fmla="*/ 44 h 61"/>
                <a:gd name="T12" fmla="*/ 18 w 64"/>
                <a:gd name="T13" fmla="*/ 43 h 61"/>
                <a:gd name="T14" fmla="*/ 1 w 64"/>
                <a:gd name="T15" fmla="*/ 36 h 61"/>
                <a:gd name="T16" fmla="*/ 1 w 64"/>
                <a:gd name="T17" fmla="*/ 38 h 61"/>
                <a:gd name="T18" fmla="*/ 2 w 64"/>
                <a:gd name="T19" fmla="*/ 39 h 61"/>
                <a:gd name="T20" fmla="*/ 6 w 64"/>
                <a:gd name="T21" fmla="*/ 41 h 61"/>
                <a:gd name="T22" fmla="*/ 11 w 64"/>
                <a:gd name="T23" fmla="*/ 53 h 61"/>
                <a:gd name="T24" fmla="*/ 12 w 64"/>
                <a:gd name="T25" fmla="*/ 55 h 61"/>
                <a:gd name="T26" fmla="*/ 14 w 64"/>
                <a:gd name="T27" fmla="*/ 60 h 61"/>
                <a:gd name="T28" fmla="*/ 15 w 64"/>
                <a:gd name="T29" fmla="*/ 61 h 61"/>
                <a:gd name="T30" fmla="*/ 16 w 64"/>
                <a:gd name="T31" fmla="*/ 61 h 61"/>
                <a:gd name="T32" fmla="*/ 17 w 64"/>
                <a:gd name="T33" fmla="*/ 61 h 61"/>
                <a:gd name="T34" fmla="*/ 21 w 64"/>
                <a:gd name="T35" fmla="*/ 58 h 61"/>
                <a:gd name="T36" fmla="*/ 23 w 64"/>
                <a:gd name="T37" fmla="*/ 57 h 61"/>
                <a:gd name="T38" fmla="*/ 23 w 64"/>
                <a:gd name="T39" fmla="*/ 56 h 61"/>
                <a:gd name="T40" fmla="*/ 39 w 64"/>
                <a:gd name="T41" fmla="*/ 29 h 61"/>
                <a:gd name="T42" fmla="*/ 63 w 64"/>
                <a:gd name="T43" fmla="*/ 6 h 61"/>
                <a:gd name="T44" fmla="*/ 63 w 64"/>
                <a:gd name="T4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61">
                  <a:moveTo>
                    <a:pt x="63" y="3"/>
                  </a:moveTo>
                  <a:cubicBezTo>
                    <a:pt x="62" y="1"/>
                    <a:pt x="62" y="1"/>
                    <a:pt x="62" y="1"/>
                  </a:cubicBezTo>
                  <a:cubicBezTo>
                    <a:pt x="62" y="1"/>
                    <a:pt x="61" y="1"/>
                    <a:pt x="61" y="0"/>
                  </a:cubicBezTo>
                  <a:cubicBezTo>
                    <a:pt x="61" y="0"/>
                    <a:pt x="60" y="0"/>
                    <a:pt x="60" y="1"/>
                  </a:cubicBezTo>
                  <a:cubicBezTo>
                    <a:pt x="51" y="6"/>
                    <a:pt x="43" y="12"/>
                    <a:pt x="36" y="20"/>
                  </a:cubicBezTo>
                  <a:cubicBezTo>
                    <a:pt x="29" y="27"/>
                    <a:pt x="23" y="35"/>
                    <a:pt x="18" y="44"/>
                  </a:cubicBezTo>
                  <a:cubicBezTo>
                    <a:pt x="18" y="43"/>
                    <a:pt x="18" y="43"/>
                    <a:pt x="18" y="43"/>
                  </a:cubicBezTo>
                  <a:cubicBezTo>
                    <a:pt x="13" y="30"/>
                    <a:pt x="8" y="30"/>
                    <a:pt x="1" y="36"/>
                  </a:cubicBezTo>
                  <a:cubicBezTo>
                    <a:pt x="1" y="36"/>
                    <a:pt x="0" y="37"/>
                    <a:pt x="1" y="38"/>
                  </a:cubicBezTo>
                  <a:cubicBezTo>
                    <a:pt x="1" y="38"/>
                    <a:pt x="1" y="39"/>
                    <a:pt x="2" y="39"/>
                  </a:cubicBezTo>
                  <a:cubicBezTo>
                    <a:pt x="3" y="39"/>
                    <a:pt x="5" y="40"/>
                    <a:pt x="6" y="41"/>
                  </a:cubicBezTo>
                  <a:cubicBezTo>
                    <a:pt x="7" y="44"/>
                    <a:pt x="9" y="47"/>
                    <a:pt x="11" y="53"/>
                  </a:cubicBezTo>
                  <a:cubicBezTo>
                    <a:pt x="12" y="55"/>
                    <a:pt x="12" y="55"/>
                    <a:pt x="12" y="55"/>
                  </a:cubicBezTo>
                  <a:cubicBezTo>
                    <a:pt x="13" y="57"/>
                    <a:pt x="14" y="59"/>
                    <a:pt x="14" y="60"/>
                  </a:cubicBezTo>
                  <a:cubicBezTo>
                    <a:pt x="14" y="61"/>
                    <a:pt x="14" y="61"/>
                    <a:pt x="15" y="61"/>
                  </a:cubicBezTo>
                  <a:cubicBezTo>
                    <a:pt x="15" y="61"/>
                    <a:pt x="15" y="61"/>
                    <a:pt x="16" y="61"/>
                  </a:cubicBezTo>
                  <a:cubicBezTo>
                    <a:pt x="16" y="61"/>
                    <a:pt x="16" y="61"/>
                    <a:pt x="17" y="61"/>
                  </a:cubicBezTo>
                  <a:cubicBezTo>
                    <a:pt x="18" y="60"/>
                    <a:pt x="19" y="59"/>
                    <a:pt x="21" y="58"/>
                  </a:cubicBezTo>
                  <a:cubicBezTo>
                    <a:pt x="23" y="57"/>
                    <a:pt x="23" y="57"/>
                    <a:pt x="23" y="57"/>
                  </a:cubicBezTo>
                  <a:cubicBezTo>
                    <a:pt x="23" y="56"/>
                    <a:pt x="23" y="56"/>
                    <a:pt x="23" y="56"/>
                  </a:cubicBezTo>
                  <a:cubicBezTo>
                    <a:pt x="27" y="47"/>
                    <a:pt x="32" y="38"/>
                    <a:pt x="39" y="29"/>
                  </a:cubicBezTo>
                  <a:cubicBezTo>
                    <a:pt x="46" y="19"/>
                    <a:pt x="54" y="12"/>
                    <a:pt x="63" y="6"/>
                  </a:cubicBezTo>
                  <a:cubicBezTo>
                    <a:pt x="64" y="5"/>
                    <a:pt x="64" y="4"/>
                    <a:pt x="63" y="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07" name="Group 506">
            <a:extLst>
              <a:ext uri="{FF2B5EF4-FFF2-40B4-BE49-F238E27FC236}">
                <a16:creationId xmlns:a16="http://schemas.microsoft.com/office/drawing/2014/main" id="{0F004790-FF61-453C-98EF-3356A80DF899}"/>
              </a:ext>
              <a:ext uri="{C183D7F6-B498-43B3-948B-1728B52AA6E4}">
                <adec:decorative xmlns:adec="http://schemas.microsoft.com/office/drawing/2017/decorative" val="1"/>
              </a:ext>
            </a:extLst>
          </p:cNvPr>
          <p:cNvGrpSpPr/>
          <p:nvPr/>
        </p:nvGrpSpPr>
        <p:grpSpPr>
          <a:xfrm>
            <a:off x="10022577" y="2027873"/>
            <a:ext cx="677863" cy="614363"/>
            <a:chOff x="4919663" y="5605463"/>
            <a:chExt cx="677863" cy="614363"/>
          </a:xfrm>
        </p:grpSpPr>
        <p:sp>
          <p:nvSpPr>
            <p:cNvPr id="508" name="Freeform 447">
              <a:extLst>
                <a:ext uri="{FF2B5EF4-FFF2-40B4-BE49-F238E27FC236}">
                  <a16:creationId xmlns:a16="http://schemas.microsoft.com/office/drawing/2014/main" id="{0447125C-E4D7-480D-9482-1F7C131A2933}"/>
                </a:ext>
              </a:extLst>
            </p:cNvPr>
            <p:cNvSpPr>
              <a:spLocks/>
            </p:cNvSpPr>
            <p:nvPr/>
          </p:nvSpPr>
          <p:spPr bwMode="auto">
            <a:xfrm>
              <a:off x="4919663" y="5605463"/>
              <a:ext cx="677863" cy="614363"/>
            </a:xfrm>
            <a:custGeom>
              <a:avLst/>
              <a:gdLst>
                <a:gd name="T0" fmla="*/ 34 w 233"/>
                <a:gd name="T1" fmla="*/ 165 h 211"/>
                <a:gd name="T2" fmla="*/ 56 w 233"/>
                <a:gd name="T3" fmla="*/ 32 h 211"/>
                <a:gd name="T4" fmla="*/ 200 w 233"/>
                <a:gd name="T5" fmla="*/ 51 h 211"/>
                <a:gd name="T6" fmla="*/ 174 w 233"/>
                <a:gd name="T7" fmla="*/ 179 h 211"/>
                <a:gd name="T8" fmla="*/ 34 w 233"/>
                <a:gd name="T9" fmla="*/ 165 h 211"/>
              </a:gdLst>
              <a:ahLst/>
              <a:cxnLst>
                <a:cxn ang="0">
                  <a:pos x="T0" y="T1"/>
                </a:cxn>
                <a:cxn ang="0">
                  <a:pos x="T2" y="T3"/>
                </a:cxn>
                <a:cxn ang="0">
                  <a:pos x="T4" y="T5"/>
                </a:cxn>
                <a:cxn ang="0">
                  <a:pos x="T6" y="T7"/>
                </a:cxn>
                <a:cxn ang="0">
                  <a:pos x="T8" y="T9"/>
                </a:cxn>
              </a:cxnLst>
              <a:rect l="0" t="0" r="r" b="b"/>
              <a:pathLst>
                <a:path w="233" h="211">
                  <a:moveTo>
                    <a:pt x="34" y="165"/>
                  </a:moveTo>
                  <a:cubicBezTo>
                    <a:pt x="0" y="123"/>
                    <a:pt x="10" y="63"/>
                    <a:pt x="56" y="32"/>
                  </a:cubicBezTo>
                  <a:cubicBezTo>
                    <a:pt x="102" y="0"/>
                    <a:pt x="166" y="9"/>
                    <a:pt x="200" y="51"/>
                  </a:cubicBezTo>
                  <a:cubicBezTo>
                    <a:pt x="233" y="93"/>
                    <a:pt x="220" y="148"/>
                    <a:pt x="174" y="179"/>
                  </a:cubicBezTo>
                  <a:cubicBezTo>
                    <a:pt x="128" y="211"/>
                    <a:pt x="67" y="207"/>
                    <a:pt x="34" y="165"/>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09" name="Freeform 448">
              <a:extLst>
                <a:ext uri="{FF2B5EF4-FFF2-40B4-BE49-F238E27FC236}">
                  <a16:creationId xmlns:a16="http://schemas.microsoft.com/office/drawing/2014/main" id="{CB29B45C-0FFA-4C0D-A9B8-8E429634BCD0}"/>
                </a:ext>
              </a:extLst>
            </p:cNvPr>
            <p:cNvSpPr>
              <a:spLocks/>
            </p:cNvSpPr>
            <p:nvPr/>
          </p:nvSpPr>
          <p:spPr bwMode="auto">
            <a:xfrm>
              <a:off x="5033963" y="5726113"/>
              <a:ext cx="460375" cy="371475"/>
            </a:xfrm>
            <a:custGeom>
              <a:avLst/>
              <a:gdLst>
                <a:gd name="T0" fmla="*/ 29 w 159"/>
                <a:gd name="T1" fmla="*/ 62 h 128"/>
                <a:gd name="T2" fmla="*/ 31 w 159"/>
                <a:gd name="T3" fmla="*/ 62 h 128"/>
                <a:gd name="T4" fmla="*/ 33 w 159"/>
                <a:gd name="T5" fmla="*/ 62 h 128"/>
                <a:gd name="T6" fmla="*/ 41 w 159"/>
                <a:gd name="T7" fmla="*/ 48 h 128"/>
                <a:gd name="T8" fmla="*/ 44 w 159"/>
                <a:gd name="T9" fmla="*/ 45 h 128"/>
                <a:gd name="T10" fmla="*/ 52 w 159"/>
                <a:gd name="T11" fmla="*/ 48 h 128"/>
                <a:gd name="T12" fmla="*/ 52 w 159"/>
                <a:gd name="T13" fmla="*/ 49 h 128"/>
                <a:gd name="T14" fmla="*/ 54 w 159"/>
                <a:gd name="T15" fmla="*/ 55 h 128"/>
                <a:gd name="T16" fmla="*/ 60 w 159"/>
                <a:gd name="T17" fmla="*/ 74 h 128"/>
                <a:gd name="T18" fmla="*/ 62 w 159"/>
                <a:gd name="T19" fmla="*/ 80 h 128"/>
                <a:gd name="T20" fmla="*/ 62 w 159"/>
                <a:gd name="T21" fmla="*/ 79 h 128"/>
                <a:gd name="T22" fmla="*/ 57 w 159"/>
                <a:gd name="T23" fmla="*/ 78 h 128"/>
                <a:gd name="T24" fmla="*/ 55 w 159"/>
                <a:gd name="T25" fmla="*/ 81 h 128"/>
                <a:gd name="T26" fmla="*/ 68 w 159"/>
                <a:gd name="T27" fmla="*/ 6 h 128"/>
                <a:gd name="T28" fmla="*/ 72 w 159"/>
                <a:gd name="T29" fmla="*/ 2 h 128"/>
                <a:gd name="T30" fmla="*/ 82 w 159"/>
                <a:gd name="T31" fmla="*/ 2 h 128"/>
                <a:gd name="T32" fmla="*/ 85 w 159"/>
                <a:gd name="T33" fmla="*/ 7 h 128"/>
                <a:gd name="T34" fmla="*/ 92 w 159"/>
                <a:gd name="T35" fmla="*/ 120 h 128"/>
                <a:gd name="T36" fmla="*/ 91 w 159"/>
                <a:gd name="T37" fmla="*/ 117 h 128"/>
                <a:gd name="T38" fmla="*/ 89 w 159"/>
                <a:gd name="T39" fmla="*/ 117 h 128"/>
                <a:gd name="T40" fmla="*/ 88 w 159"/>
                <a:gd name="T41" fmla="*/ 119 h 128"/>
                <a:gd name="T42" fmla="*/ 98 w 159"/>
                <a:gd name="T43" fmla="*/ 43 h 128"/>
                <a:gd name="T44" fmla="*/ 100 w 159"/>
                <a:gd name="T45" fmla="*/ 39 h 128"/>
                <a:gd name="T46" fmla="*/ 108 w 159"/>
                <a:gd name="T47" fmla="*/ 38 h 128"/>
                <a:gd name="T48" fmla="*/ 111 w 159"/>
                <a:gd name="T49" fmla="*/ 42 h 128"/>
                <a:gd name="T50" fmla="*/ 117 w 159"/>
                <a:gd name="T51" fmla="*/ 56 h 128"/>
                <a:gd name="T52" fmla="*/ 124 w 159"/>
                <a:gd name="T53" fmla="*/ 61 h 128"/>
                <a:gd name="T54" fmla="*/ 159 w 159"/>
                <a:gd name="T55" fmla="*/ 66 h 128"/>
                <a:gd name="T56" fmla="*/ 124 w 159"/>
                <a:gd name="T57" fmla="*/ 71 h 128"/>
                <a:gd name="T58" fmla="*/ 113 w 159"/>
                <a:gd name="T59" fmla="*/ 69 h 128"/>
                <a:gd name="T60" fmla="*/ 101 w 159"/>
                <a:gd name="T61" fmla="*/ 46 h 128"/>
                <a:gd name="T62" fmla="*/ 103 w 159"/>
                <a:gd name="T63" fmla="*/ 48 h 128"/>
                <a:gd name="T64" fmla="*/ 107 w 159"/>
                <a:gd name="T65" fmla="*/ 47 h 128"/>
                <a:gd name="T66" fmla="*/ 109 w 159"/>
                <a:gd name="T67" fmla="*/ 45 h 128"/>
                <a:gd name="T68" fmla="*/ 99 w 159"/>
                <a:gd name="T69" fmla="*/ 121 h 128"/>
                <a:gd name="T70" fmla="*/ 96 w 159"/>
                <a:gd name="T71" fmla="*/ 126 h 128"/>
                <a:gd name="T72" fmla="*/ 84 w 159"/>
                <a:gd name="T73" fmla="*/ 126 h 128"/>
                <a:gd name="T74" fmla="*/ 81 w 159"/>
                <a:gd name="T75" fmla="*/ 121 h 128"/>
                <a:gd name="T76" fmla="*/ 74 w 159"/>
                <a:gd name="T77" fmla="*/ 8 h 128"/>
                <a:gd name="T78" fmla="*/ 75 w 159"/>
                <a:gd name="T79" fmla="*/ 11 h 128"/>
                <a:gd name="T80" fmla="*/ 78 w 159"/>
                <a:gd name="T81" fmla="*/ 11 h 128"/>
                <a:gd name="T82" fmla="*/ 79 w 159"/>
                <a:gd name="T83" fmla="*/ 9 h 128"/>
                <a:gd name="T84" fmla="*/ 65 w 159"/>
                <a:gd name="T85" fmla="*/ 83 h 128"/>
                <a:gd name="T86" fmla="*/ 61 w 159"/>
                <a:gd name="T87" fmla="*/ 88 h 128"/>
                <a:gd name="T88" fmla="*/ 53 w 159"/>
                <a:gd name="T89" fmla="*/ 85 h 128"/>
                <a:gd name="T90" fmla="*/ 52 w 159"/>
                <a:gd name="T91" fmla="*/ 83 h 128"/>
                <a:gd name="T92" fmla="*/ 50 w 159"/>
                <a:gd name="T93" fmla="*/ 77 h 128"/>
                <a:gd name="T94" fmla="*/ 45 w 159"/>
                <a:gd name="T95" fmla="*/ 58 h 128"/>
                <a:gd name="T96" fmla="*/ 43 w 159"/>
                <a:gd name="T97" fmla="*/ 52 h 128"/>
                <a:gd name="T98" fmla="*/ 43 w 159"/>
                <a:gd name="T99" fmla="*/ 53 h 128"/>
                <a:gd name="T100" fmla="*/ 47 w 159"/>
                <a:gd name="T101" fmla="*/ 54 h 128"/>
                <a:gd name="T102" fmla="*/ 49 w 159"/>
                <a:gd name="T103" fmla="*/ 53 h 128"/>
                <a:gd name="T104" fmla="*/ 45 w 159"/>
                <a:gd name="T105" fmla="*/ 61 h 128"/>
                <a:gd name="T106" fmla="*/ 44 w 159"/>
                <a:gd name="T107" fmla="*/ 63 h 128"/>
                <a:gd name="T108" fmla="*/ 37 w 159"/>
                <a:gd name="T109" fmla="*/ 70 h 128"/>
                <a:gd name="T110" fmla="*/ 31 w 159"/>
                <a:gd name="T111" fmla="*/ 71 h 128"/>
                <a:gd name="T112" fmla="*/ 29 w 159"/>
                <a:gd name="T113" fmla="*/ 71 h 128"/>
                <a:gd name="T114" fmla="*/ 0 w 159"/>
                <a:gd name="T115"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128">
                  <a:moveTo>
                    <a:pt x="4" y="63"/>
                  </a:moveTo>
                  <a:cubicBezTo>
                    <a:pt x="29" y="62"/>
                    <a:pt x="29" y="62"/>
                    <a:pt x="29" y="62"/>
                  </a:cubicBezTo>
                  <a:cubicBezTo>
                    <a:pt x="30" y="62"/>
                    <a:pt x="30" y="62"/>
                    <a:pt x="30" y="62"/>
                  </a:cubicBezTo>
                  <a:cubicBezTo>
                    <a:pt x="31" y="62"/>
                    <a:pt x="31" y="62"/>
                    <a:pt x="31" y="62"/>
                  </a:cubicBezTo>
                  <a:cubicBezTo>
                    <a:pt x="32" y="62"/>
                    <a:pt x="32" y="62"/>
                    <a:pt x="32" y="62"/>
                  </a:cubicBezTo>
                  <a:cubicBezTo>
                    <a:pt x="32" y="62"/>
                    <a:pt x="33" y="62"/>
                    <a:pt x="33" y="62"/>
                  </a:cubicBezTo>
                  <a:cubicBezTo>
                    <a:pt x="34" y="61"/>
                    <a:pt x="35" y="60"/>
                    <a:pt x="35" y="59"/>
                  </a:cubicBezTo>
                  <a:cubicBezTo>
                    <a:pt x="41" y="48"/>
                    <a:pt x="41" y="48"/>
                    <a:pt x="41" y="48"/>
                  </a:cubicBezTo>
                  <a:cubicBezTo>
                    <a:pt x="40" y="49"/>
                    <a:pt x="40" y="49"/>
                    <a:pt x="40" y="49"/>
                  </a:cubicBezTo>
                  <a:cubicBezTo>
                    <a:pt x="41" y="47"/>
                    <a:pt x="42" y="46"/>
                    <a:pt x="44" y="45"/>
                  </a:cubicBezTo>
                  <a:cubicBezTo>
                    <a:pt x="46" y="44"/>
                    <a:pt x="48" y="45"/>
                    <a:pt x="50" y="46"/>
                  </a:cubicBezTo>
                  <a:cubicBezTo>
                    <a:pt x="50" y="46"/>
                    <a:pt x="51" y="47"/>
                    <a:pt x="52" y="48"/>
                  </a:cubicBezTo>
                  <a:cubicBezTo>
                    <a:pt x="52" y="48"/>
                    <a:pt x="52" y="48"/>
                    <a:pt x="52" y="49"/>
                  </a:cubicBezTo>
                  <a:cubicBezTo>
                    <a:pt x="52" y="49"/>
                    <a:pt x="52" y="49"/>
                    <a:pt x="52" y="49"/>
                  </a:cubicBezTo>
                  <a:cubicBezTo>
                    <a:pt x="53" y="51"/>
                    <a:pt x="53" y="51"/>
                    <a:pt x="53" y="51"/>
                  </a:cubicBezTo>
                  <a:cubicBezTo>
                    <a:pt x="54" y="55"/>
                    <a:pt x="54" y="55"/>
                    <a:pt x="54" y="55"/>
                  </a:cubicBezTo>
                  <a:cubicBezTo>
                    <a:pt x="57" y="65"/>
                    <a:pt x="57" y="65"/>
                    <a:pt x="57" y="65"/>
                  </a:cubicBezTo>
                  <a:cubicBezTo>
                    <a:pt x="58" y="68"/>
                    <a:pt x="59" y="71"/>
                    <a:pt x="60" y="74"/>
                  </a:cubicBezTo>
                  <a:cubicBezTo>
                    <a:pt x="62" y="79"/>
                    <a:pt x="62" y="79"/>
                    <a:pt x="62" y="79"/>
                  </a:cubicBezTo>
                  <a:cubicBezTo>
                    <a:pt x="62" y="80"/>
                    <a:pt x="62" y="80"/>
                    <a:pt x="62" y="80"/>
                  </a:cubicBezTo>
                  <a:cubicBezTo>
                    <a:pt x="62" y="80"/>
                    <a:pt x="62" y="80"/>
                    <a:pt x="62" y="80"/>
                  </a:cubicBezTo>
                  <a:cubicBezTo>
                    <a:pt x="62" y="79"/>
                    <a:pt x="62" y="79"/>
                    <a:pt x="62" y="79"/>
                  </a:cubicBezTo>
                  <a:cubicBezTo>
                    <a:pt x="61" y="78"/>
                    <a:pt x="61" y="78"/>
                    <a:pt x="60" y="78"/>
                  </a:cubicBezTo>
                  <a:cubicBezTo>
                    <a:pt x="59" y="77"/>
                    <a:pt x="58" y="77"/>
                    <a:pt x="57" y="78"/>
                  </a:cubicBezTo>
                  <a:cubicBezTo>
                    <a:pt x="56" y="78"/>
                    <a:pt x="55" y="79"/>
                    <a:pt x="55" y="80"/>
                  </a:cubicBezTo>
                  <a:cubicBezTo>
                    <a:pt x="55" y="81"/>
                    <a:pt x="55" y="81"/>
                    <a:pt x="55" y="81"/>
                  </a:cubicBezTo>
                  <a:cubicBezTo>
                    <a:pt x="68" y="7"/>
                    <a:pt x="68" y="7"/>
                    <a:pt x="68" y="7"/>
                  </a:cubicBezTo>
                  <a:cubicBezTo>
                    <a:pt x="68" y="6"/>
                    <a:pt x="68" y="6"/>
                    <a:pt x="68" y="6"/>
                  </a:cubicBezTo>
                  <a:cubicBezTo>
                    <a:pt x="68" y="6"/>
                    <a:pt x="68" y="6"/>
                    <a:pt x="68" y="6"/>
                  </a:cubicBezTo>
                  <a:cubicBezTo>
                    <a:pt x="69" y="4"/>
                    <a:pt x="70" y="3"/>
                    <a:pt x="72" y="2"/>
                  </a:cubicBezTo>
                  <a:cubicBezTo>
                    <a:pt x="73" y="0"/>
                    <a:pt x="75" y="0"/>
                    <a:pt x="77" y="0"/>
                  </a:cubicBezTo>
                  <a:cubicBezTo>
                    <a:pt x="79" y="0"/>
                    <a:pt x="81" y="1"/>
                    <a:pt x="82" y="2"/>
                  </a:cubicBezTo>
                  <a:cubicBezTo>
                    <a:pt x="84" y="3"/>
                    <a:pt x="85" y="5"/>
                    <a:pt x="85" y="7"/>
                  </a:cubicBezTo>
                  <a:cubicBezTo>
                    <a:pt x="85" y="7"/>
                    <a:pt x="85" y="7"/>
                    <a:pt x="85" y="7"/>
                  </a:cubicBezTo>
                  <a:cubicBezTo>
                    <a:pt x="85" y="8"/>
                    <a:pt x="85" y="8"/>
                    <a:pt x="85" y="8"/>
                  </a:cubicBezTo>
                  <a:cubicBezTo>
                    <a:pt x="92" y="120"/>
                    <a:pt x="92" y="120"/>
                    <a:pt x="92" y="120"/>
                  </a:cubicBezTo>
                  <a:cubicBezTo>
                    <a:pt x="92" y="119"/>
                    <a:pt x="92" y="119"/>
                    <a:pt x="92" y="119"/>
                  </a:cubicBezTo>
                  <a:cubicBezTo>
                    <a:pt x="92" y="118"/>
                    <a:pt x="92" y="118"/>
                    <a:pt x="91" y="117"/>
                  </a:cubicBezTo>
                  <a:cubicBezTo>
                    <a:pt x="91" y="117"/>
                    <a:pt x="90" y="117"/>
                    <a:pt x="90" y="117"/>
                  </a:cubicBezTo>
                  <a:cubicBezTo>
                    <a:pt x="89" y="117"/>
                    <a:pt x="89" y="117"/>
                    <a:pt x="89" y="117"/>
                  </a:cubicBezTo>
                  <a:cubicBezTo>
                    <a:pt x="88" y="118"/>
                    <a:pt x="88" y="118"/>
                    <a:pt x="88" y="119"/>
                  </a:cubicBezTo>
                  <a:cubicBezTo>
                    <a:pt x="88" y="119"/>
                    <a:pt x="88" y="119"/>
                    <a:pt x="88" y="119"/>
                  </a:cubicBezTo>
                  <a:cubicBezTo>
                    <a:pt x="98" y="44"/>
                    <a:pt x="98" y="44"/>
                    <a:pt x="98" y="44"/>
                  </a:cubicBezTo>
                  <a:cubicBezTo>
                    <a:pt x="98" y="43"/>
                    <a:pt x="98" y="43"/>
                    <a:pt x="98" y="43"/>
                  </a:cubicBezTo>
                  <a:cubicBezTo>
                    <a:pt x="98" y="43"/>
                    <a:pt x="98" y="43"/>
                    <a:pt x="98" y="43"/>
                  </a:cubicBezTo>
                  <a:cubicBezTo>
                    <a:pt x="98" y="42"/>
                    <a:pt x="99" y="41"/>
                    <a:pt x="100" y="39"/>
                  </a:cubicBezTo>
                  <a:cubicBezTo>
                    <a:pt x="101" y="38"/>
                    <a:pt x="102" y="38"/>
                    <a:pt x="104" y="38"/>
                  </a:cubicBezTo>
                  <a:cubicBezTo>
                    <a:pt x="105" y="37"/>
                    <a:pt x="107" y="38"/>
                    <a:pt x="108" y="38"/>
                  </a:cubicBezTo>
                  <a:cubicBezTo>
                    <a:pt x="109" y="39"/>
                    <a:pt x="110" y="40"/>
                    <a:pt x="111" y="41"/>
                  </a:cubicBezTo>
                  <a:cubicBezTo>
                    <a:pt x="111" y="42"/>
                    <a:pt x="111" y="42"/>
                    <a:pt x="111" y="42"/>
                  </a:cubicBezTo>
                  <a:cubicBezTo>
                    <a:pt x="111" y="42"/>
                    <a:pt x="111" y="42"/>
                    <a:pt x="111" y="42"/>
                  </a:cubicBezTo>
                  <a:cubicBezTo>
                    <a:pt x="117" y="56"/>
                    <a:pt x="117" y="56"/>
                    <a:pt x="117" y="56"/>
                  </a:cubicBezTo>
                  <a:cubicBezTo>
                    <a:pt x="117" y="58"/>
                    <a:pt x="118" y="59"/>
                    <a:pt x="119" y="60"/>
                  </a:cubicBezTo>
                  <a:cubicBezTo>
                    <a:pt x="121" y="61"/>
                    <a:pt x="120" y="61"/>
                    <a:pt x="124" y="61"/>
                  </a:cubicBezTo>
                  <a:cubicBezTo>
                    <a:pt x="154" y="61"/>
                    <a:pt x="154" y="61"/>
                    <a:pt x="154" y="61"/>
                  </a:cubicBezTo>
                  <a:cubicBezTo>
                    <a:pt x="157" y="61"/>
                    <a:pt x="159" y="64"/>
                    <a:pt x="159" y="66"/>
                  </a:cubicBezTo>
                  <a:cubicBezTo>
                    <a:pt x="159" y="69"/>
                    <a:pt x="157" y="71"/>
                    <a:pt x="154" y="71"/>
                  </a:cubicBezTo>
                  <a:cubicBezTo>
                    <a:pt x="124" y="71"/>
                    <a:pt x="124" y="71"/>
                    <a:pt x="124" y="71"/>
                  </a:cubicBezTo>
                  <a:cubicBezTo>
                    <a:pt x="122" y="71"/>
                    <a:pt x="122" y="72"/>
                    <a:pt x="119" y="71"/>
                  </a:cubicBezTo>
                  <a:cubicBezTo>
                    <a:pt x="117" y="71"/>
                    <a:pt x="115" y="70"/>
                    <a:pt x="113" y="69"/>
                  </a:cubicBezTo>
                  <a:cubicBezTo>
                    <a:pt x="110" y="66"/>
                    <a:pt x="108" y="63"/>
                    <a:pt x="107" y="60"/>
                  </a:cubicBezTo>
                  <a:cubicBezTo>
                    <a:pt x="101" y="46"/>
                    <a:pt x="101" y="46"/>
                    <a:pt x="101" y="46"/>
                  </a:cubicBezTo>
                  <a:cubicBezTo>
                    <a:pt x="102" y="47"/>
                    <a:pt x="102" y="47"/>
                    <a:pt x="102" y="47"/>
                  </a:cubicBezTo>
                  <a:cubicBezTo>
                    <a:pt x="102" y="47"/>
                    <a:pt x="103" y="48"/>
                    <a:pt x="103" y="48"/>
                  </a:cubicBezTo>
                  <a:cubicBezTo>
                    <a:pt x="104" y="48"/>
                    <a:pt x="105" y="48"/>
                    <a:pt x="105" y="48"/>
                  </a:cubicBezTo>
                  <a:cubicBezTo>
                    <a:pt x="106" y="48"/>
                    <a:pt x="107" y="48"/>
                    <a:pt x="107" y="47"/>
                  </a:cubicBezTo>
                  <a:cubicBezTo>
                    <a:pt x="108" y="47"/>
                    <a:pt x="108" y="46"/>
                    <a:pt x="109" y="45"/>
                  </a:cubicBezTo>
                  <a:cubicBezTo>
                    <a:pt x="109" y="45"/>
                    <a:pt x="109" y="45"/>
                    <a:pt x="109" y="45"/>
                  </a:cubicBezTo>
                  <a:cubicBezTo>
                    <a:pt x="99" y="121"/>
                    <a:pt x="99" y="121"/>
                    <a:pt x="99" y="121"/>
                  </a:cubicBezTo>
                  <a:cubicBezTo>
                    <a:pt x="99" y="121"/>
                    <a:pt x="99" y="121"/>
                    <a:pt x="99" y="121"/>
                  </a:cubicBezTo>
                  <a:cubicBezTo>
                    <a:pt x="99" y="121"/>
                    <a:pt x="99" y="121"/>
                    <a:pt x="99" y="121"/>
                  </a:cubicBezTo>
                  <a:cubicBezTo>
                    <a:pt x="98" y="123"/>
                    <a:pt x="97" y="125"/>
                    <a:pt x="96" y="126"/>
                  </a:cubicBezTo>
                  <a:cubicBezTo>
                    <a:pt x="94" y="128"/>
                    <a:pt x="92" y="128"/>
                    <a:pt x="90" y="128"/>
                  </a:cubicBezTo>
                  <a:cubicBezTo>
                    <a:pt x="88" y="128"/>
                    <a:pt x="86" y="128"/>
                    <a:pt x="84" y="126"/>
                  </a:cubicBezTo>
                  <a:cubicBezTo>
                    <a:pt x="82" y="125"/>
                    <a:pt x="81" y="123"/>
                    <a:pt x="81" y="121"/>
                  </a:cubicBezTo>
                  <a:cubicBezTo>
                    <a:pt x="81" y="121"/>
                    <a:pt x="81" y="121"/>
                    <a:pt x="81" y="121"/>
                  </a:cubicBezTo>
                  <a:cubicBezTo>
                    <a:pt x="81" y="120"/>
                    <a:pt x="81" y="120"/>
                    <a:pt x="81" y="120"/>
                  </a:cubicBezTo>
                  <a:cubicBezTo>
                    <a:pt x="74" y="8"/>
                    <a:pt x="74" y="8"/>
                    <a:pt x="74" y="8"/>
                  </a:cubicBezTo>
                  <a:cubicBezTo>
                    <a:pt x="74" y="9"/>
                    <a:pt x="74" y="9"/>
                    <a:pt x="74" y="9"/>
                  </a:cubicBezTo>
                  <a:cubicBezTo>
                    <a:pt x="74" y="10"/>
                    <a:pt x="74" y="10"/>
                    <a:pt x="75" y="11"/>
                  </a:cubicBezTo>
                  <a:cubicBezTo>
                    <a:pt x="75" y="11"/>
                    <a:pt x="76" y="11"/>
                    <a:pt x="77" y="11"/>
                  </a:cubicBezTo>
                  <a:cubicBezTo>
                    <a:pt x="77" y="11"/>
                    <a:pt x="78" y="11"/>
                    <a:pt x="78" y="11"/>
                  </a:cubicBezTo>
                  <a:cubicBezTo>
                    <a:pt x="79" y="11"/>
                    <a:pt x="79" y="10"/>
                    <a:pt x="79" y="10"/>
                  </a:cubicBezTo>
                  <a:cubicBezTo>
                    <a:pt x="79" y="9"/>
                    <a:pt x="79" y="9"/>
                    <a:pt x="79" y="9"/>
                  </a:cubicBezTo>
                  <a:cubicBezTo>
                    <a:pt x="65" y="83"/>
                    <a:pt x="65" y="83"/>
                    <a:pt x="65" y="83"/>
                  </a:cubicBezTo>
                  <a:cubicBezTo>
                    <a:pt x="65" y="83"/>
                    <a:pt x="65" y="83"/>
                    <a:pt x="65" y="83"/>
                  </a:cubicBezTo>
                  <a:cubicBezTo>
                    <a:pt x="65" y="83"/>
                    <a:pt x="65" y="83"/>
                    <a:pt x="65" y="83"/>
                  </a:cubicBezTo>
                  <a:cubicBezTo>
                    <a:pt x="64" y="85"/>
                    <a:pt x="63" y="87"/>
                    <a:pt x="61" y="88"/>
                  </a:cubicBezTo>
                  <a:cubicBezTo>
                    <a:pt x="59" y="88"/>
                    <a:pt x="57" y="88"/>
                    <a:pt x="55" y="87"/>
                  </a:cubicBezTo>
                  <a:cubicBezTo>
                    <a:pt x="55" y="87"/>
                    <a:pt x="54" y="86"/>
                    <a:pt x="53" y="85"/>
                  </a:cubicBezTo>
                  <a:cubicBezTo>
                    <a:pt x="53" y="85"/>
                    <a:pt x="53" y="85"/>
                    <a:pt x="52" y="84"/>
                  </a:cubicBezTo>
                  <a:cubicBezTo>
                    <a:pt x="52" y="84"/>
                    <a:pt x="52" y="83"/>
                    <a:pt x="52" y="83"/>
                  </a:cubicBezTo>
                  <a:cubicBezTo>
                    <a:pt x="52" y="82"/>
                    <a:pt x="52" y="82"/>
                    <a:pt x="52" y="82"/>
                  </a:cubicBezTo>
                  <a:cubicBezTo>
                    <a:pt x="50" y="77"/>
                    <a:pt x="50" y="77"/>
                    <a:pt x="50" y="77"/>
                  </a:cubicBezTo>
                  <a:cubicBezTo>
                    <a:pt x="49" y="74"/>
                    <a:pt x="48" y="71"/>
                    <a:pt x="47" y="68"/>
                  </a:cubicBezTo>
                  <a:cubicBezTo>
                    <a:pt x="45" y="58"/>
                    <a:pt x="45" y="58"/>
                    <a:pt x="45" y="58"/>
                  </a:cubicBezTo>
                  <a:cubicBezTo>
                    <a:pt x="43" y="53"/>
                    <a:pt x="43" y="53"/>
                    <a:pt x="43" y="53"/>
                  </a:cubicBezTo>
                  <a:cubicBezTo>
                    <a:pt x="43" y="52"/>
                    <a:pt x="43" y="52"/>
                    <a:pt x="43" y="52"/>
                  </a:cubicBezTo>
                  <a:cubicBezTo>
                    <a:pt x="43" y="52"/>
                    <a:pt x="43" y="52"/>
                    <a:pt x="43" y="52"/>
                  </a:cubicBezTo>
                  <a:cubicBezTo>
                    <a:pt x="43" y="52"/>
                    <a:pt x="43" y="53"/>
                    <a:pt x="43" y="53"/>
                  </a:cubicBezTo>
                  <a:cubicBezTo>
                    <a:pt x="44" y="53"/>
                    <a:pt x="44" y="54"/>
                    <a:pt x="44" y="54"/>
                  </a:cubicBezTo>
                  <a:cubicBezTo>
                    <a:pt x="45" y="55"/>
                    <a:pt x="46" y="55"/>
                    <a:pt x="47" y="54"/>
                  </a:cubicBezTo>
                  <a:cubicBezTo>
                    <a:pt x="48" y="54"/>
                    <a:pt x="49" y="53"/>
                    <a:pt x="50" y="52"/>
                  </a:cubicBezTo>
                  <a:cubicBezTo>
                    <a:pt x="49" y="53"/>
                    <a:pt x="49" y="53"/>
                    <a:pt x="49" y="53"/>
                  </a:cubicBezTo>
                  <a:cubicBezTo>
                    <a:pt x="47" y="58"/>
                    <a:pt x="47" y="58"/>
                    <a:pt x="47" y="58"/>
                  </a:cubicBezTo>
                  <a:cubicBezTo>
                    <a:pt x="45" y="61"/>
                    <a:pt x="45" y="61"/>
                    <a:pt x="45" y="61"/>
                  </a:cubicBezTo>
                  <a:cubicBezTo>
                    <a:pt x="45" y="62"/>
                    <a:pt x="45" y="62"/>
                    <a:pt x="45" y="62"/>
                  </a:cubicBezTo>
                  <a:cubicBezTo>
                    <a:pt x="44" y="63"/>
                    <a:pt x="44" y="63"/>
                    <a:pt x="44" y="63"/>
                  </a:cubicBezTo>
                  <a:cubicBezTo>
                    <a:pt x="44" y="64"/>
                    <a:pt x="44" y="64"/>
                    <a:pt x="44" y="64"/>
                  </a:cubicBezTo>
                  <a:cubicBezTo>
                    <a:pt x="42" y="67"/>
                    <a:pt x="40" y="69"/>
                    <a:pt x="37" y="70"/>
                  </a:cubicBezTo>
                  <a:cubicBezTo>
                    <a:pt x="35" y="71"/>
                    <a:pt x="34" y="71"/>
                    <a:pt x="32" y="71"/>
                  </a:cubicBezTo>
                  <a:cubicBezTo>
                    <a:pt x="31" y="71"/>
                    <a:pt x="31" y="71"/>
                    <a:pt x="31" y="71"/>
                  </a:cubicBezTo>
                  <a:cubicBezTo>
                    <a:pt x="30" y="71"/>
                    <a:pt x="30" y="71"/>
                    <a:pt x="30" y="71"/>
                  </a:cubicBezTo>
                  <a:cubicBezTo>
                    <a:pt x="29" y="71"/>
                    <a:pt x="29" y="71"/>
                    <a:pt x="29" y="71"/>
                  </a:cubicBezTo>
                  <a:cubicBezTo>
                    <a:pt x="4" y="71"/>
                    <a:pt x="4" y="71"/>
                    <a:pt x="4" y="71"/>
                  </a:cubicBezTo>
                  <a:cubicBezTo>
                    <a:pt x="2" y="70"/>
                    <a:pt x="0" y="69"/>
                    <a:pt x="0" y="66"/>
                  </a:cubicBezTo>
                  <a:cubicBezTo>
                    <a:pt x="0" y="64"/>
                    <a:pt x="2" y="63"/>
                    <a:pt x="4" y="6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10" name="Group 509">
            <a:extLst>
              <a:ext uri="{FF2B5EF4-FFF2-40B4-BE49-F238E27FC236}">
                <a16:creationId xmlns:a16="http://schemas.microsoft.com/office/drawing/2014/main" id="{33AEE1AC-0E73-4398-840B-B43412BD816D}"/>
              </a:ext>
              <a:ext uri="{C183D7F6-B498-43B3-948B-1728B52AA6E4}">
                <adec:decorative xmlns:adec="http://schemas.microsoft.com/office/drawing/2017/decorative" val="1"/>
              </a:ext>
            </a:extLst>
          </p:cNvPr>
          <p:cNvGrpSpPr/>
          <p:nvPr/>
        </p:nvGrpSpPr>
        <p:grpSpPr>
          <a:xfrm>
            <a:off x="5209810" y="2995439"/>
            <a:ext cx="679450" cy="633413"/>
            <a:chOff x="7232651" y="5594350"/>
            <a:chExt cx="679450" cy="633413"/>
          </a:xfrm>
        </p:grpSpPr>
        <p:sp>
          <p:nvSpPr>
            <p:cNvPr id="511" name="Freeform 449">
              <a:extLst>
                <a:ext uri="{FF2B5EF4-FFF2-40B4-BE49-F238E27FC236}">
                  <a16:creationId xmlns:a16="http://schemas.microsoft.com/office/drawing/2014/main" id="{66F596E2-B19D-4378-BBE4-0D400D3A820E}"/>
                </a:ext>
              </a:extLst>
            </p:cNvPr>
            <p:cNvSpPr>
              <a:spLocks/>
            </p:cNvSpPr>
            <p:nvPr/>
          </p:nvSpPr>
          <p:spPr bwMode="auto">
            <a:xfrm>
              <a:off x="7232651" y="5594350"/>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1" y="65"/>
                    <a:pt x="56" y="33"/>
                  </a:cubicBezTo>
                  <a:cubicBezTo>
                    <a:pt x="102" y="0"/>
                    <a:pt x="167" y="10"/>
                    <a:pt x="200" y="53"/>
                  </a:cubicBezTo>
                  <a:cubicBezTo>
                    <a:pt x="234" y="97"/>
                    <a:pt x="220" y="154"/>
                    <a:pt x="174" y="186"/>
                  </a:cubicBezTo>
                  <a:cubicBezTo>
                    <a:pt x="128" y="218"/>
                    <a:pt x="68" y="215"/>
                    <a:pt x="34" y="171"/>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512" name="Freeform 450">
              <a:extLst>
                <a:ext uri="{FF2B5EF4-FFF2-40B4-BE49-F238E27FC236}">
                  <a16:creationId xmlns:a16="http://schemas.microsoft.com/office/drawing/2014/main" id="{99FAE2A5-F37B-41D4-9470-89220881153B}"/>
                </a:ext>
              </a:extLst>
            </p:cNvPr>
            <p:cNvSpPr>
              <a:spLocks/>
            </p:cNvSpPr>
            <p:nvPr/>
          </p:nvSpPr>
          <p:spPr bwMode="auto">
            <a:xfrm>
              <a:off x="7410451" y="5780088"/>
              <a:ext cx="312738" cy="285750"/>
            </a:xfrm>
            <a:custGeom>
              <a:avLst/>
              <a:gdLst>
                <a:gd name="T0" fmla="*/ 15 w 108"/>
                <a:gd name="T1" fmla="*/ 20 h 98"/>
                <a:gd name="T2" fmla="*/ 61 w 108"/>
                <a:gd name="T3" fmla="*/ 1 h 98"/>
                <a:gd name="T4" fmla="*/ 102 w 108"/>
                <a:gd name="T5" fmla="*/ 25 h 98"/>
                <a:gd name="T6" fmla="*/ 59 w 108"/>
                <a:gd name="T7" fmla="*/ 98 h 98"/>
                <a:gd name="T8" fmla="*/ 15 w 108"/>
                <a:gd name="T9" fmla="*/ 20 h 98"/>
              </a:gdLst>
              <a:ahLst/>
              <a:cxnLst>
                <a:cxn ang="0">
                  <a:pos x="T0" y="T1"/>
                </a:cxn>
                <a:cxn ang="0">
                  <a:pos x="T2" y="T3"/>
                </a:cxn>
                <a:cxn ang="0">
                  <a:pos x="T4" y="T5"/>
                </a:cxn>
                <a:cxn ang="0">
                  <a:pos x="T6" y="T7"/>
                </a:cxn>
                <a:cxn ang="0">
                  <a:pos x="T8" y="T9"/>
                </a:cxn>
              </a:cxnLst>
              <a:rect l="0" t="0" r="r" b="b"/>
              <a:pathLst>
                <a:path w="108" h="98">
                  <a:moveTo>
                    <a:pt x="15" y="20"/>
                  </a:moveTo>
                  <a:cubicBezTo>
                    <a:pt x="34" y="0"/>
                    <a:pt x="61" y="1"/>
                    <a:pt x="61" y="1"/>
                  </a:cubicBezTo>
                  <a:cubicBezTo>
                    <a:pt x="68" y="8"/>
                    <a:pt x="98" y="6"/>
                    <a:pt x="102" y="25"/>
                  </a:cubicBezTo>
                  <a:cubicBezTo>
                    <a:pt x="108" y="49"/>
                    <a:pt x="94" y="93"/>
                    <a:pt x="59" y="98"/>
                  </a:cubicBezTo>
                  <a:cubicBezTo>
                    <a:pt x="0" y="88"/>
                    <a:pt x="15" y="20"/>
                    <a:pt x="15" y="2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13" name="Freeform 451">
              <a:extLst>
                <a:ext uri="{FF2B5EF4-FFF2-40B4-BE49-F238E27FC236}">
                  <a16:creationId xmlns:a16="http://schemas.microsoft.com/office/drawing/2014/main" id="{01371DDF-076C-4BA3-82A2-B4ED6C102987}"/>
                </a:ext>
              </a:extLst>
            </p:cNvPr>
            <p:cNvSpPr>
              <a:spLocks/>
            </p:cNvSpPr>
            <p:nvPr/>
          </p:nvSpPr>
          <p:spPr bwMode="auto">
            <a:xfrm>
              <a:off x="7446963" y="5818188"/>
              <a:ext cx="157163" cy="212725"/>
            </a:xfrm>
            <a:custGeom>
              <a:avLst/>
              <a:gdLst>
                <a:gd name="T0" fmla="*/ 48 w 54"/>
                <a:gd name="T1" fmla="*/ 14 h 73"/>
                <a:gd name="T2" fmla="*/ 48 w 54"/>
                <a:gd name="T3" fmla="*/ 13 h 73"/>
                <a:gd name="T4" fmla="*/ 48 w 54"/>
                <a:gd name="T5" fmla="*/ 13 h 73"/>
                <a:gd name="T6" fmla="*/ 47 w 54"/>
                <a:gd name="T7" fmla="*/ 0 h 73"/>
                <a:gd name="T8" fmla="*/ 13 w 54"/>
                <a:gd name="T9" fmla="*/ 14 h 73"/>
                <a:gd name="T10" fmla="*/ 44 w 54"/>
                <a:gd name="T11" fmla="*/ 73 h 73"/>
                <a:gd name="T12" fmla="*/ 48 w 54"/>
                <a:gd name="T13" fmla="*/ 14 h 73"/>
              </a:gdLst>
              <a:ahLst/>
              <a:cxnLst>
                <a:cxn ang="0">
                  <a:pos x="T0" y="T1"/>
                </a:cxn>
                <a:cxn ang="0">
                  <a:pos x="T2" y="T3"/>
                </a:cxn>
                <a:cxn ang="0">
                  <a:pos x="T4" y="T5"/>
                </a:cxn>
                <a:cxn ang="0">
                  <a:pos x="T6" y="T7"/>
                </a:cxn>
                <a:cxn ang="0">
                  <a:pos x="T8" y="T9"/>
                </a:cxn>
                <a:cxn ang="0">
                  <a:pos x="T10" y="T11"/>
                </a:cxn>
                <a:cxn ang="0">
                  <a:pos x="T12" y="T13"/>
                </a:cxn>
              </a:cxnLst>
              <a:rect l="0" t="0" r="r" b="b"/>
              <a:pathLst>
                <a:path w="54" h="73">
                  <a:moveTo>
                    <a:pt x="48" y="14"/>
                  </a:moveTo>
                  <a:cubicBezTo>
                    <a:pt x="48" y="14"/>
                    <a:pt x="48" y="13"/>
                    <a:pt x="48" y="13"/>
                  </a:cubicBezTo>
                  <a:cubicBezTo>
                    <a:pt x="48" y="13"/>
                    <a:pt x="48" y="13"/>
                    <a:pt x="48" y="13"/>
                  </a:cubicBezTo>
                  <a:cubicBezTo>
                    <a:pt x="47" y="7"/>
                    <a:pt x="47" y="4"/>
                    <a:pt x="47" y="0"/>
                  </a:cubicBezTo>
                  <a:cubicBezTo>
                    <a:pt x="44" y="0"/>
                    <a:pt x="26" y="1"/>
                    <a:pt x="13" y="14"/>
                  </a:cubicBezTo>
                  <a:cubicBezTo>
                    <a:pt x="13" y="14"/>
                    <a:pt x="0" y="64"/>
                    <a:pt x="44" y="73"/>
                  </a:cubicBezTo>
                  <a:cubicBezTo>
                    <a:pt x="54" y="57"/>
                    <a:pt x="49" y="31"/>
                    <a:pt x="48" y="1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grpSp>
        <p:nvGrpSpPr>
          <p:cNvPr id="514" name="Group 513">
            <a:extLst>
              <a:ext uri="{FF2B5EF4-FFF2-40B4-BE49-F238E27FC236}">
                <a16:creationId xmlns:a16="http://schemas.microsoft.com/office/drawing/2014/main" id="{DE378A39-4DAD-45A6-AF82-12496178DBD2}"/>
              </a:ext>
              <a:ext uri="{C183D7F6-B498-43B3-948B-1728B52AA6E4}">
                <adec:decorative xmlns:adec="http://schemas.microsoft.com/office/drawing/2017/decorative" val="1"/>
              </a:ext>
            </a:extLst>
          </p:cNvPr>
          <p:cNvGrpSpPr/>
          <p:nvPr/>
        </p:nvGrpSpPr>
        <p:grpSpPr>
          <a:xfrm>
            <a:off x="2065056" y="3946128"/>
            <a:ext cx="679450" cy="633413"/>
            <a:chOff x="1062038" y="5850210"/>
            <a:chExt cx="679450" cy="633413"/>
          </a:xfrm>
        </p:grpSpPr>
        <p:sp>
          <p:nvSpPr>
            <p:cNvPr id="515" name="Freeform 452">
              <a:extLst>
                <a:ext uri="{FF2B5EF4-FFF2-40B4-BE49-F238E27FC236}">
                  <a16:creationId xmlns:a16="http://schemas.microsoft.com/office/drawing/2014/main" id="{C0BB81FA-D148-4D30-B00A-E640B400AEEC}"/>
                </a:ext>
              </a:extLst>
            </p:cNvPr>
            <p:cNvSpPr>
              <a:spLocks/>
            </p:cNvSpPr>
            <p:nvPr/>
          </p:nvSpPr>
          <p:spPr bwMode="auto">
            <a:xfrm>
              <a:off x="1062038" y="5850210"/>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1" y="65"/>
                    <a:pt x="56" y="33"/>
                  </a:cubicBezTo>
                  <a:cubicBezTo>
                    <a:pt x="102" y="0"/>
                    <a:pt x="167" y="10"/>
                    <a:pt x="200" y="53"/>
                  </a:cubicBezTo>
                  <a:cubicBezTo>
                    <a:pt x="234" y="97"/>
                    <a:pt x="220" y="154"/>
                    <a:pt x="174" y="186"/>
                  </a:cubicBezTo>
                  <a:cubicBezTo>
                    <a:pt x="128" y="218"/>
                    <a:pt x="68" y="215"/>
                    <a:pt x="34" y="171"/>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16" name="Freeform 453">
              <a:extLst>
                <a:ext uri="{FF2B5EF4-FFF2-40B4-BE49-F238E27FC236}">
                  <a16:creationId xmlns:a16="http://schemas.microsoft.com/office/drawing/2014/main" id="{3F02A70A-43A9-4754-91A3-AD4210CB754C}"/>
                </a:ext>
              </a:extLst>
            </p:cNvPr>
            <p:cNvSpPr>
              <a:spLocks/>
            </p:cNvSpPr>
            <p:nvPr/>
          </p:nvSpPr>
          <p:spPr bwMode="auto">
            <a:xfrm>
              <a:off x="1273176" y="6053410"/>
              <a:ext cx="254000" cy="236538"/>
            </a:xfrm>
            <a:custGeom>
              <a:avLst/>
              <a:gdLst>
                <a:gd name="T0" fmla="*/ 73 w 87"/>
                <a:gd name="T1" fmla="*/ 10 h 81"/>
                <a:gd name="T2" fmla="*/ 38 w 87"/>
                <a:gd name="T3" fmla="*/ 9 h 81"/>
                <a:gd name="T4" fmla="*/ 25 w 87"/>
                <a:gd name="T5" fmla="*/ 0 h 81"/>
                <a:gd name="T6" fmla="*/ 0 w 87"/>
                <a:gd name="T7" fmla="*/ 0 h 81"/>
                <a:gd name="T8" fmla="*/ 0 w 87"/>
                <a:gd name="T9" fmla="*/ 10 h 81"/>
                <a:gd name="T10" fmla="*/ 0 w 87"/>
                <a:gd name="T11" fmla="*/ 10 h 81"/>
                <a:gd name="T12" fmla="*/ 0 w 87"/>
                <a:gd name="T13" fmla="*/ 63 h 81"/>
                <a:gd name="T14" fmla="*/ 13 w 87"/>
                <a:gd name="T15" fmla="*/ 80 h 81"/>
                <a:gd name="T16" fmla="*/ 73 w 87"/>
                <a:gd name="T17" fmla="*/ 80 h 81"/>
                <a:gd name="T18" fmla="*/ 87 w 87"/>
                <a:gd name="T19" fmla="*/ 67 h 81"/>
                <a:gd name="T20" fmla="*/ 87 w 87"/>
                <a:gd name="T21" fmla="*/ 26 h 81"/>
                <a:gd name="T22" fmla="*/ 73 w 87"/>
                <a:gd name="T23" fmla="*/ 1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 h="81">
                  <a:moveTo>
                    <a:pt x="73" y="10"/>
                  </a:moveTo>
                  <a:cubicBezTo>
                    <a:pt x="68" y="9"/>
                    <a:pt x="53" y="9"/>
                    <a:pt x="38" y="9"/>
                  </a:cubicBezTo>
                  <a:cubicBezTo>
                    <a:pt x="35" y="6"/>
                    <a:pt x="29" y="0"/>
                    <a:pt x="25" y="0"/>
                  </a:cubicBezTo>
                  <a:cubicBezTo>
                    <a:pt x="0" y="0"/>
                    <a:pt x="0" y="0"/>
                    <a:pt x="0" y="0"/>
                  </a:cubicBezTo>
                  <a:cubicBezTo>
                    <a:pt x="0" y="0"/>
                    <a:pt x="0" y="6"/>
                    <a:pt x="0" y="10"/>
                  </a:cubicBezTo>
                  <a:cubicBezTo>
                    <a:pt x="0" y="10"/>
                    <a:pt x="0" y="10"/>
                    <a:pt x="0" y="10"/>
                  </a:cubicBezTo>
                  <a:cubicBezTo>
                    <a:pt x="0" y="23"/>
                    <a:pt x="0" y="63"/>
                    <a:pt x="0" y="63"/>
                  </a:cubicBezTo>
                  <a:cubicBezTo>
                    <a:pt x="0" y="74"/>
                    <a:pt x="2" y="79"/>
                    <a:pt x="13" y="80"/>
                  </a:cubicBezTo>
                  <a:cubicBezTo>
                    <a:pt x="20" y="80"/>
                    <a:pt x="64" y="81"/>
                    <a:pt x="73" y="80"/>
                  </a:cubicBezTo>
                  <a:cubicBezTo>
                    <a:pt x="84" y="80"/>
                    <a:pt x="87" y="78"/>
                    <a:pt x="87" y="67"/>
                  </a:cubicBezTo>
                  <a:cubicBezTo>
                    <a:pt x="87" y="26"/>
                    <a:pt x="87" y="26"/>
                    <a:pt x="87" y="26"/>
                  </a:cubicBezTo>
                  <a:cubicBezTo>
                    <a:pt x="87" y="13"/>
                    <a:pt x="83" y="11"/>
                    <a:pt x="73" y="1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17" name="Freeform 454">
              <a:extLst>
                <a:ext uri="{FF2B5EF4-FFF2-40B4-BE49-F238E27FC236}">
                  <a16:creationId xmlns:a16="http://schemas.microsoft.com/office/drawing/2014/main" id="{635D0EFF-B9DB-4399-8204-FCF00D4A3E48}"/>
                </a:ext>
              </a:extLst>
            </p:cNvPr>
            <p:cNvSpPr>
              <a:spLocks/>
            </p:cNvSpPr>
            <p:nvPr/>
          </p:nvSpPr>
          <p:spPr bwMode="auto">
            <a:xfrm>
              <a:off x="1273176" y="6123260"/>
              <a:ext cx="255588" cy="166688"/>
            </a:xfrm>
            <a:custGeom>
              <a:avLst/>
              <a:gdLst>
                <a:gd name="T0" fmla="*/ 14 w 88"/>
                <a:gd name="T1" fmla="*/ 56 h 57"/>
                <a:gd name="T2" fmla="*/ 74 w 88"/>
                <a:gd name="T3" fmla="*/ 56 h 57"/>
                <a:gd name="T4" fmla="*/ 87 w 88"/>
                <a:gd name="T5" fmla="*/ 39 h 57"/>
                <a:gd name="T6" fmla="*/ 87 w 88"/>
                <a:gd name="T7" fmla="*/ 1 h 57"/>
                <a:gd name="T8" fmla="*/ 14 w 88"/>
                <a:gd name="T9" fmla="*/ 1 h 57"/>
                <a:gd name="T10" fmla="*/ 0 w 88"/>
                <a:gd name="T11" fmla="*/ 17 h 57"/>
                <a:gd name="T12" fmla="*/ 0 w 88"/>
                <a:gd name="T13" fmla="*/ 43 h 57"/>
                <a:gd name="T14" fmla="*/ 14 w 88"/>
                <a:gd name="T15" fmla="*/ 56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57">
                  <a:moveTo>
                    <a:pt x="14" y="56"/>
                  </a:moveTo>
                  <a:cubicBezTo>
                    <a:pt x="23" y="57"/>
                    <a:pt x="68" y="57"/>
                    <a:pt x="74" y="56"/>
                  </a:cubicBezTo>
                  <a:cubicBezTo>
                    <a:pt x="85" y="55"/>
                    <a:pt x="88" y="53"/>
                    <a:pt x="87" y="39"/>
                  </a:cubicBezTo>
                  <a:cubicBezTo>
                    <a:pt x="87" y="39"/>
                    <a:pt x="87" y="14"/>
                    <a:pt x="87" y="1"/>
                  </a:cubicBezTo>
                  <a:cubicBezTo>
                    <a:pt x="84" y="1"/>
                    <a:pt x="26" y="0"/>
                    <a:pt x="14" y="1"/>
                  </a:cubicBezTo>
                  <a:cubicBezTo>
                    <a:pt x="4" y="2"/>
                    <a:pt x="0" y="3"/>
                    <a:pt x="0" y="17"/>
                  </a:cubicBezTo>
                  <a:cubicBezTo>
                    <a:pt x="0" y="43"/>
                    <a:pt x="0" y="43"/>
                    <a:pt x="0" y="43"/>
                  </a:cubicBezTo>
                  <a:cubicBezTo>
                    <a:pt x="0" y="54"/>
                    <a:pt x="3" y="56"/>
                    <a:pt x="14" y="5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74" name="Group 573">
            <a:extLst>
              <a:ext uri="{FF2B5EF4-FFF2-40B4-BE49-F238E27FC236}">
                <a16:creationId xmlns:a16="http://schemas.microsoft.com/office/drawing/2014/main" id="{4CA87EB5-E101-420D-833E-8725B6634B09}"/>
              </a:ext>
              <a:ext uri="{C183D7F6-B498-43B3-948B-1728B52AA6E4}">
                <adec:decorative xmlns:adec="http://schemas.microsoft.com/office/drawing/2017/decorative" val="1"/>
              </a:ext>
            </a:extLst>
          </p:cNvPr>
          <p:cNvGrpSpPr/>
          <p:nvPr/>
        </p:nvGrpSpPr>
        <p:grpSpPr>
          <a:xfrm>
            <a:off x="461364" y="2995439"/>
            <a:ext cx="612775" cy="576263"/>
            <a:chOff x="2636838" y="5626100"/>
            <a:chExt cx="612775" cy="576263"/>
          </a:xfrm>
        </p:grpSpPr>
        <p:sp>
          <p:nvSpPr>
            <p:cNvPr id="575" name="Freeform 502">
              <a:extLst>
                <a:ext uri="{FF2B5EF4-FFF2-40B4-BE49-F238E27FC236}">
                  <a16:creationId xmlns:a16="http://schemas.microsoft.com/office/drawing/2014/main" id="{EC5C8701-2744-470E-981D-BF47FE6E3356}"/>
                </a:ext>
              </a:extLst>
            </p:cNvPr>
            <p:cNvSpPr>
              <a:spLocks/>
            </p:cNvSpPr>
            <p:nvPr/>
          </p:nvSpPr>
          <p:spPr bwMode="auto">
            <a:xfrm>
              <a:off x="2636838" y="5626100"/>
              <a:ext cx="612775" cy="576263"/>
            </a:xfrm>
            <a:custGeom>
              <a:avLst/>
              <a:gdLst>
                <a:gd name="T0" fmla="*/ 189 w 211"/>
                <a:gd name="T1" fmla="*/ 43 h 198"/>
                <a:gd name="T2" fmla="*/ 206 w 211"/>
                <a:gd name="T3" fmla="*/ 113 h 198"/>
                <a:gd name="T4" fmla="*/ 163 w 211"/>
                <a:gd name="T5" fmla="*/ 175 h 198"/>
                <a:gd name="T6" fmla="*/ 89 w 211"/>
                <a:gd name="T7" fmla="*/ 196 h 198"/>
                <a:gd name="T8" fmla="*/ 23 w 211"/>
                <a:gd name="T9" fmla="*/ 160 h 198"/>
                <a:gd name="T10" fmla="*/ 5 w 211"/>
                <a:gd name="T11" fmla="*/ 87 h 198"/>
                <a:gd name="T12" fmla="*/ 45 w 211"/>
                <a:gd name="T13" fmla="*/ 22 h 198"/>
                <a:gd name="T14" fmla="*/ 122 w 211"/>
                <a:gd name="T15" fmla="*/ 4 h 198"/>
                <a:gd name="T16" fmla="*/ 189 w 211"/>
                <a:gd name="T17" fmla="*/ 4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98">
                  <a:moveTo>
                    <a:pt x="189" y="43"/>
                  </a:moveTo>
                  <a:cubicBezTo>
                    <a:pt x="206" y="64"/>
                    <a:pt x="211" y="88"/>
                    <a:pt x="206" y="113"/>
                  </a:cubicBezTo>
                  <a:cubicBezTo>
                    <a:pt x="201" y="138"/>
                    <a:pt x="186" y="159"/>
                    <a:pt x="163" y="175"/>
                  </a:cubicBezTo>
                  <a:cubicBezTo>
                    <a:pt x="140" y="192"/>
                    <a:pt x="115" y="198"/>
                    <a:pt x="89" y="196"/>
                  </a:cubicBezTo>
                  <a:cubicBezTo>
                    <a:pt x="61" y="193"/>
                    <a:pt x="40" y="181"/>
                    <a:pt x="23" y="160"/>
                  </a:cubicBezTo>
                  <a:cubicBezTo>
                    <a:pt x="6" y="138"/>
                    <a:pt x="0" y="114"/>
                    <a:pt x="5" y="87"/>
                  </a:cubicBezTo>
                  <a:cubicBezTo>
                    <a:pt x="9" y="60"/>
                    <a:pt x="22" y="38"/>
                    <a:pt x="45" y="22"/>
                  </a:cubicBezTo>
                  <a:cubicBezTo>
                    <a:pt x="69" y="6"/>
                    <a:pt x="94" y="0"/>
                    <a:pt x="122" y="4"/>
                  </a:cubicBezTo>
                  <a:cubicBezTo>
                    <a:pt x="150" y="8"/>
                    <a:pt x="173" y="21"/>
                    <a:pt x="189" y="43"/>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6" name="Freeform 503">
              <a:extLst>
                <a:ext uri="{FF2B5EF4-FFF2-40B4-BE49-F238E27FC236}">
                  <a16:creationId xmlns:a16="http://schemas.microsoft.com/office/drawing/2014/main" id="{B0A4ACC8-CDE1-4EA9-B08F-CEF507BC4865}"/>
                </a:ext>
              </a:extLst>
            </p:cNvPr>
            <p:cNvSpPr>
              <a:spLocks noEditPoints="1"/>
            </p:cNvSpPr>
            <p:nvPr/>
          </p:nvSpPr>
          <p:spPr bwMode="auto">
            <a:xfrm>
              <a:off x="2822576" y="5862638"/>
              <a:ext cx="241300" cy="144463"/>
            </a:xfrm>
            <a:custGeom>
              <a:avLst/>
              <a:gdLst>
                <a:gd name="T0" fmla="*/ 12 w 83"/>
                <a:gd name="T1" fmla="*/ 2 h 50"/>
                <a:gd name="T2" fmla="*/ 12 w 83"/>
                <a:gd name="T3" fmla="*/ 49 h 50"/>
                <a:gd name="T4" fmla="*/ 12 w 83"/>
                <a:gd name="T5" fmla="*/ 50 h 50"/>
                <a:gd name="T6" fmla="*/ 10 w 83"/>
                <a:gd name="T7" fmla="*/ 50 h 50"/>
                <a:gd name="T8" fmla="*/ 2 w 83"/>
                <a:gd name="T9" fmla="*/ 50 h 50"/>
                <a:gd name="T10" fmla="*/ 1 w 83"/>
                <a:gd name="T11" fmla="*/ 50 h 50"/>
                <a:gd name="T12" fmla="*/ 0 w 83"/>
                <a:gd name="T13" fmla="*/ 49 h 50"/>
                <a:gd name="T14" fmla="*/ 0 w 83"/>
                <a:gd name="T15" fmla="*/ 2 h 50"/>
                <a:gd name="T16" fmla="*/ 1 w 83"/>
                <a:gd name="T17" fmla="*/ 0 h 50"/>
                <a:gd name="T18" fmla="*/ 2 w 83"/>
                <a:gd name="T19" fmla="*/ 0 h 50"/>
                <a:gd name="T20" fmla="*/ 10 w 83"/>
                <a:gd name="T21" fmla="*/ 0 h 50"/>
                <a:gd name="T22" fmla="*/ 12 w 83"/>
                <a:gd name="T23" fmla="*/ 0 h 50"/>
                <a:gd name="T24" fmla="*/ 12 w 83"/>
                <a:gd name="T25" fmla="*/ 2 h 50"/>
                <a:gd name="T26" fmla="*/ 59 w 83"/>
                <a:gd name="T27" fmla="*/ 0 h 50"/>
                <a:gd name="T28" fmla="*/ 59 w 83"/>
                <a:gd name="T29" fmla="*/ 2 h 50"/>
                <a:gd name="T30" fmla="*/ 59 w 83"/>
                <a:gd name="T31" fmla="*/ 49 h 50"/>
                <a:gd name="T32" fmla="*/ 59 w 83"/>
                <a:gd name="T33" fmla="*/ 50 h 50"/>
                <a:gd name="T34" fmla="*/ 58 w 83"/>
                <a:gd name="T35" fmla="*/ 50 h 50"/>
                <a:gd name="T36" fmla="*/ 49 w 83"/>
                <a:gd name="T37" fmla="*/ 50 h 50"/>
                <a:gd name="T38" fmla="*/ 48 w 83"/>
                <a:gd name="T39" fmla="*/ 50 h 50"/>
                <a:gd name="T40" fmla="*/ 47 w 83"/>
                <a:gd name="T41" fmla="*/ 49 h 50"/>
                <a:gd name="T42" fmla="*/ 47 w 83"/>
                <a:gd name="T43" fmla="*/ 2 h 50"/>
                <a:gd name="T44" fmla="*/ 48 w 83"/>
                <a:gd name="T45" fmla="*/ 0 h 50"/>
                <a:gd name="T46" fmla="*/ 49 w 83"/>
                <a:gd name="T47" fmla="*/ 0 h 50"/>
                <a:gd name="T48" fmla="*/ 58 w 83"/>
                <a:gd name="T49" fmla="*/ 0 h 50"/>
                <a:gd name="T50" fmla="*/ 59 w 83"/>
                <a:gd name="T51" fmla="*/ 0 h 50"/>
                <a:gd name="T52" fmla="*/ 36 w 83"/>
                <a:gd name="T53" fmla="*/ 2 h 50"/>
                <a:gd name="T54" fmla="*/ 36 w 83"/>
                <a:gd name="T55" fmla="*/ 49 h 50"/>
                <a:gd name="T56" fmla="*/ 35 w 83"/>
                <a:gd name="T57" fmla="*/ 50 h 50"/>
                <a:gd name="T58" fmla="*/ 34 w 83"/>
                <a:gd name="T59" fmla="*/ 50 h 50"/>
                <a:gd name="T60" fmla="*/ 25 w 83"/>
                <a:gd name="T61" fmla="*/ 50 h 50"/>
                <a:gd name="T62" fmla="*/ 24 w 83"/>
                <a:gd name="T63" fmla="*/ 50 h 50"/>
                <a:gd name="T64" fmla="*/ 24 w 83"/>
                <a:gd name="T65" fmla="*/ 49 h 50"/>
                <a:gd name="T66" fmla="*/ 24 w 83"/>
                <a:gd name="T67" fmla="*/ 2 h 50"/>
                <a:gd name="T68" fmla="*/ 24 w 83"/>
                <a:gd name="T69" fmla="*/ 0 h 50"/>
                <a:gd name="T70" fmla="*/ 25 w 83"/>
                <a:gd name="T71" fmla="*/ 0 h 50"/>
                <a:gd name="T72" fmla="*/ 34 w 83"/>
                <a:gd name="T73" fmla="*/ 0 h 50"/>
                <a:gd name="T74" fmla="*/ 35 w 83"/>
                <a:gd name="T75" fmla="*/ 0 h 50"/>
                <a:gd name="T76" fmla="*/ 36 w 83"/>
                <a:gd name="T77" fmla="*/ 2 h 50"/>
                <a:gd name="T78" fmla="*/ 83 w 83"/>
                <a:gd name="T79" fmla="*/ 2 h 50"/>
                <a:gd name="T80" fmla="*/ 83 w 83"/>
                <a:gd name="T81" fmla="*/ 49 h 50"/>
                <a:gd name="T82" fmla="*/ 83 w 83"/>
                <a:gd name="T83" fmla="*/ 50 h 50"/>
                <a:gd name="T84" fmla="*/ 81 w 83"/>
                <a:gd name="T85" fmla="*/ 50 h 50"/>
                <a:gd name="T86" fmla="*/ 73 w 83"/>
                <a:gd name="T87" fmla="*/ 50 h 50"/>
                <a:gd name="T88" fmla="*/ 71 w 83"/>
                <a:gd name="T89" fmla="*/ 50 h 50"/>
                <a:gd name="T90" fmla="*/ 71 w 83"/>
                <a:gd name="T91" fmla="*/ 49 h 50"/>
                <a:gd name="T92" fmla="*/ 71 w 83"/>
                <a:gd name="T93" fmla="*/ 2 h 50"/>
                <a:gd name="T94" fmla="*/ 71 w 83"/>
                <a:gd name="T95" fmla="*/ 0 h 50"/>
                <a:gd name="T96" fmla="*/ 73 w 83"/>
                <a:gd name="T97" fmla="*/ 0 h 50"/>
                <a:gd name="T98" fmla="*/ 81 w 83"/>
                <a:gd name="T99" fmla="*/ 0 h 50"/>
                <a:gd name="T100" fmla="*/ 83 w 83"/>
                <a:gd name="T101" fmla="*/ 0 h 50"/>
                <a:gd name="T102" fmla="*/ 83 w 83"/>
                <a:gd name="T103"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 h="50">
                  <a:moveTo>
                    <a:pt x="12" y="2"/>
                  </a:moveTo>
                  <a:cubicBezTo>
                    <a:pt x="12" y="49"/>
                    <a:pt x="12" y="49"/>
                    <a:pt x="12" y="49"/>
                  </a:cubicBezTo>
                  <a:cubicBezTo>
                    <a:pt x="12" y="50"/>
                    <a:pt x="12" y="50"/>
                    <a:pt x="12" y="50"/>
                  </a:cubicBezTo>
                  <a:cubicBezTo>
                    <a:pt x="10" y="50"/>
                    <a:pt x="10" y="50"/>
                    <a:pt x="10" y="50"/>
                  </a:cubicBezTo>
                  <a:cubicBezTo>
                    <a:pt x="2" y="50"/>
                    <a:pt x="2" y="50"/>
                    <a:pt x="2" y="50"/>
                  </a:cubicBezTo>
                  <a:cubicBezTo>
                    <a:pt x="1" y="50"/>
                    <a:pt x="1" y="50"/>
                    <a:pt x="1" y="50"/>
                  </a:cubicBezTo>
                  <a:cubicBezTo>
                    <a:pt x="0" y="49"/>
                    <a:pt x="0" y="49"/>
                    <a:pt x="0" y="49"/>
                  </a:cubicBezTo>
                  <a:cubicBezTo>
                    <a:pt x="0" y="2"/>
                    <a:pt x="0" y="2"/>
                    <a:pt x="0" y="2"/>
                  </a:cubicBezTo>
                  <a:cubicBezTo>
                    <a:pt x="1" y="0"/>
                    <a:pt x="1" y="0"/>
                    <a:pt x="1" y="0"/>
                  </a:cubicBezTo>
                  <a:cubicBezTo>
                    <a:pt x="2" y="0"/>
                    <a:pt x="2" y="0"/>
                    <a:pt x="2" y="0"/>
                  </a:cubicBezTo>
                  <a:cubicBezTo>
                    <a:pt x="10" y="0"/>
                    <a:pt x="10" y="0"/>
                    <a:pt x="10" y="0"/>
                  </a:cubicBezTo>
                  <a:cubicBezTo>
                    <a:pt x="11" y="0"/>
                    <a:pt x="11" y="0"/>
                    <a:pt x="12" y="0"/>
                  </a:cubicBezTo>
                  <a:cubicBezTo>
                    <a:pt x="12" y="2"/>
                    <a:pt x="12" y="2"/>
                    <a:pt x="12" y="2"/>
                  </a:cubicBezTo>
                  <a:moveTo>
                    <a:pt x="59" y="0"/>
                  </a:moveTo>
                  <a:cubicBezTo>
                    <a:pt x="59" y="2"/>
                    <a:pt x="59" y="2"/>
                    <a:pt x="59" y="2"/>
                  </a:cubicBezTo>
                  <a:cubicBezTo>
                    <a:pt x="59" y="49"/>
                    <a:pt x="59" y="49"/>
                    <a:pt x="59" y="49"/>
                  </a:cubicBezTo>
                  <a:cubicBezTo>
                    <a:pt x="59" y="50"/>
                    <a:pt x="59" y="50"/>
                    <a:pt x="59" y="50"/>
                  </a:cubicBezTo>
                  <a:cubicBezTo>
                    <a:pt x="58" y="50"/>
                    <a:pt x="58" y="50"/>
                    <a:pt x="58" y="50"/>
                  </a:cubicBezTo>
                  <a:cubicBezTo>
                    <a:pt x="49" y="50"/>
                    <a:pt x="49" y="50"/>
                    <a:pt x="49" y="50"/>
                  </a:cubicBezTo>
                  <a:cubicBezTo>
                    <a:pt x="48" y="50"/>
                    <a:pt x="48" y="50"/>
                    <a:pt x="48" y="50"/>
                  </a:cubicBezTo>
                  <a:cubicBezTo>
                    <a:pt x="47" y="49"/>
                    <a:pt x="47" y="49"/>
                    <a:pt x="47" y="49"/>
                  </a:cubicBezTo>
                  <a:cubicBezTo>
                    <a:pt x="47" y="2"/>
                    <a:pt x="47" y="2"/>
                    <a:pt x="47" y="2"/>
                  </a:cubicBezTo>
                  <a:cubicBezTo>
                    <a:pt x="48" y="0"/>
                    <a:pt x="48" y="0"/>
                    <a:pt x="48" y="0"/>
                  </a:cubicBezTo>
                  <a:cubicBezTo>
                    <a:pt x="49" y="0"/>
                    <a:pt x="49" y="0"/>
                    <a:pt x="49" y="0"/>
                  </a:cubicBezTo>
                  <a:cubicBezTo>
                    <a:pt x="58" y="0"/>
                    <a:pt x="58" y="0"/>
                    <a:pt x="58" y="0"/>
                  </a:cubicBezTo>
                  <a:lnTo>
                    <a:pt x="59" y="0"/>
                  </a:lnTo>
                  <a:close/>
                  <a:moveTo>
                    <a:pt x="36" y="2"/>
                  </a:moveTo>
                  <a:cubicBezTo>
                    <a:pt x="36" y="49"/>
                    <a:pt x="36" y="49"/>
                    <a:pt x="36" y="49"/>
                  </a:cubicBezTo>
                  <a:cubicBezTo>
                    <a:pt x="35" y="50"/>
                    <a:pt x="35" y="50"/>
                    <a:pt x="35" y="50"/>
                  </a:cubicBezTo>
                  <a:cubicBezTo>
                    <a:pt x="34" y="50"/>
                    <a:pt x="34" y="50"/>
                    <a:pt x="34" y="50"/>
                  </a:cubicBezTo>
                  <a:cubicBezTo>
                    <a:pt x="25" y="50"/>
                    <a:pt x="25" y="50"/>
                    <a:pt x="25" y="50"/>
                  </a:cubicBezTo>
                  <a:cubicBezTo>
                    <a:pt x="24" y="50"/>
                    <a:pt x="24" y="50"/>
                    <a:pt x="24" y="50"/>
                  </a:cubicBezTo>
                  <a:cubicBezTo>
                    <a:pt x="24" y="49"/>
                    <a:pt x="24" y="49"/>
                    <a:pt x="24" y="49"/>
                  </a:cubicBezTo>
                  <a:cubicBezTo>
                    <a:pt x="24" y="2"/>
                    <a:pt x="24" y="2"/>
                    <a:pt x="24" y="2"/>
                  </a:cubicBezTo>
                  <a:cubicBezTo>
                    <a:pt x="24" y="0"/>
                    <a:pt x="24" y="0"/>
                    <a:pt x="24" y="0"/>
                  </a:cubicBezTo>
                  <a:cubicBezTo>
                    <a:pt x="25" y="0"/>
                    <a:pt x="25" y="0"/>
                    <a:pt x="25" y="0"/>
                  </a:cubicBezTo>
                  <a:cubicBezTo>
                    <a:pt x="34" y="0"/>
                    <a:pt x="34" y="0"/>
                    <a:pt x="34" y="0"/>
                  </a:cubicBezTo>
                  <a:cubicBezTo>
                    <a:pt x="35" y="0"/>
                    <a:pt x="35" y="0"/>
                    <a:pt x="35" y="0"/>
                  </a:cubicBezTo>
                  <a:lnTo>
                    <a:pt x="36" y="2"/>
                  </a:lnTo>
                  <a:close/>
                  <a:moveTo>
                    <a:pt x="83" y="2"/>
                  </a:moveTo>
                  <a:cubicBezTo>
                    <a:pt x="83" y="49"/>
                    <a:pt x="83" y="49"/>
                    <a:pt x="83" y="49"/>
                  </a:cubicBezTo>
                  <a:cubicBezTo>
                    <a:pt x="83" y="50"/>
                    <a:pt x="83" y="50"/>
                    <a:pt x="83" y="50"/>
                  </a:cubicBezTo>
                  <a:cubicBezTo>
                    <a:pt x="81" y="50"/>
                    <a:pt x="81" y="50"/>
                    <a:pt x="81" y="50"/>
                  </a:cubicBezTo>
                  <a:cubicBezTo>
                    <a:pt x="73" y="50"/>
                    <a:pt x="73" y="50"/>
                    <a:pt x="73" y="50"/>
                  </a:cubicBezTo>
                  <a:cubicBezTo>
                    <a:pt x="71" y="50"/>
                    <a:pt x="71" y="50"/>
                    <a:pt x="71" y="50"/>
                  </a:cubicBezTo>
                  <a:cubicBezTo>
                    <a:pt x="71" y="49"/>
                    <a:pt x="71" y="49"/>
                    <a:pt x="71" y="49"/>
                  </a:cubicBezTo>
                  <a:cubicBezTo>
                    <a:pt x="71" y="2"/>
                    <a:pt x="71" y="2"/>
                    <a:pt x="71" y="2"/>
                  </a:cubicBezTo>
                  <a:cubicBezTo>
                    <a:pt x="71" y="0"/>
                    <a:pt x="71" y="0"/>
                    <a:pt x="71" y="0"/>
                  </a:cubicBezTo>
                  <a:cubicBezTo>
                    <a:pt x="73" y="0"/>
                    <a:pt x="73" y="0"/>
                    <a:pt x="73" y="0"/>
                  </a:cubicBezTo>
                  <a:cubicBezTo>
                    <a:pt x="81" y="0"/>
                    <a:pt x="81" y="0"/>
                    <a:pt x="81" y="0"/>
                  </a:cubicBezTo>
                  <a:cubicBezTo>
                    <a:pt x="83" y="0"/>
                    <a:pt x="83" y="0"/>
                    <a:pt x="83" y="0"/>
                  </a:cubicBezTo>
                  <a:lnTo>
                    <a:pt x="83" y="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7" name="Freeform 504">
              <a:extLst>
                <a:ext uri="{FF2B5EF4-FFF2-40B4-BE49-F238E27FC236}">
                  <a16:creationId xmlns:a16="http://schemas.microsoft.com/office/drawing/2014/main" id="{FE7F2FB7-B2A9-45E8-A70D-83EB819C3202}"/>
                </a:ext>
              </a:extLst>
            </p:cNvPr>
            <p:cNvSpPr>
              <a:spLocks/>
            </p:cNvSpPr>
            <p:nvPr/>
          </p:nvSpPr>
          <p:spPr bwMode="auto">
            <a:xfrm>
              <a:off x="2805113" y="6021388"/>
              <a:ext cx="276225" cy="14288"/>
            </a:xfrm>
            <a:custGeom>
              <a:avLst/>
              <a:gdLst>
                <a:gd name="T0" fmla="*/ 172 w 174"/>
                <a:gd name="T1" fmla="*/ 0 h 9"/>
                <a:gd name="T2" fmla="*/ 174 w 174"/>
                <a:gd name="T3" fmla="*/ 2 h 9"/>
                <a:gd name="T4" fmla="*/ 174 w 174"/>
                <a:gd name="T5" fmla="*/ 8 h 9"/>
                <a:gd name="T6" fmla="*/ 172 w 174"/>
                <a:gd name="T7" fmla="*/ 9 h 9"/>
                <a:gd name="T8" fmla="*/ 170 w 174"/>
                <a:gd name="T9" fmla="*/ 9 h 9"/>
                <a:gd name="T10" fmla="*/ 3 w 174"/>
                <a:gd name="T11" fmla="*/ 9 h 9"/>
                <a:gd name="T12" fmla="*/ 2 w 174"/>
                <a:gd name="T13" fmla="*/ 9 h 9"/>
                <a:gd name="T14" fmla="*/ 0 w 174"/>
                <a:gd name="T15" fmla="*/ 8 h 9"/>
                <a:gd name="T16" fmla="*/ 0 w 174"/>
                <a:gd name="T17" fmla="*/ 2 h 9"/>
                <a:gd name="T18" fmla="*/ 2 w 174"/>
                <a:gd name="T19" fmla="*/ 0 h 9"/>
                <a:gd name="T20" fmla="*/ 3 w 174"/>
                <a:gd name="T21" fmla="*/ 0 h 9"/>
                <a:gd name="T22" fmla="*/ 170 w 174"/>
                <a:gd name="T23" fmla="*/ 0 h 9"/>
                <a:gd name="T24" fmla="*/ 172 w 174"/>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9">
                  <a:moveTo>
                    <a:pt x="172" y="0"/>
                  </a:moveTo>
                  <a:lnTo>
                    <a:pt x="174" y="2"/>
                  </a:lnTo>
                  <a:lnTo>
                    <a:pt x="174" y="8"/>
                  </a:lnTo>
                  <a:lnTo>
                    <a:pt x="172" y="9"/>
                  </a:lnTo>
                  <a:lnTo>
                    <a:pt x="170" y="9"/>
                  </a:lnTo>
                  <a:lnTo>
                    <a:pt x="3" y="9"/>
                  </a:lnTo>
                  <a:lnTo>
                    <a:pt x="2" y="9"/>
                  </a:lnTo>
                  <a:lnTo>
                    <a:pt x="0" y="8"/>
                  </a:lnTo>
                  <a:lnTo>
                    <a:pt x="0" y="2"/>
                  </a:lnTo>
                  <a:lnTo>
                    <a:pt x="2" y="0"/>
                  </a:lnTo>
                  <a:lnTo>
                    <a:pt x="3" y="0"/>
                  </a:lnTo>
                  <a:lnTo>
                    <a:pt x="170" y="0"/>
                  </a:lnTo>
                  <a:lnTo>
                    <a:pt x="172"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8" name="Freeform 505">
              <a:extLst>
                <a:ext uri="{FF2B5EF4-FFF2-40B4-BE49-F238E27FC236}">
                  <a16:creationId xmlns:a16="http://schemas.microsoft.com/office/drawing/2014/main" id="{E3CBFE7A-B07F-46B6-AC49-A6D03CE6A5AD}"/>
                </a:ext>
              </a:extLst>
            </p:cNvPr>
            <p:cNvSpPr>
              <a:spLocks/>
            </p:cNvSpPr>
            <p:nvPr/>
          </p:nvSpPr>
          <p:spPr bwMode="auto">
            <a:xfrm>
              <a:off x="2805113" y="6021388"/>
              <a:ext cx="276225" cy="14288"/>
            </a:xfrm>
            <a:custGeom>
              <a:avLst/>
              <a:gdLst>
                <a:gd name="T0" fmla="*/ 172 w 174"/>
                <a:gd name="T1" fmla="*/ 0 h 9"/>
                <a:gd name="T2" fmla="*/ 174 w 174"/>
                <a:gd name="T3" fmla="*/ 2 h 9"/>
                <a:gd name="T4" fmla="*/ 174 w 174"/>
                <a:gd name="T5" fmla="*/ 8 h 9"/>
                <a:gd name="T6" fmla="*/ 172 w 174"/>
                <a:gd name="T7" fmla="*/ 9 h 9"/>
                <a:gd name="T8" fmla="*/ 170 w 174"/>
                <a:gd name="T9" fmla="*/ 9 h 9"/>
                <a:gd name="T10" fmla="*/ 3 w 174"/>
                <a:gd name="T11" fmla="*/ 9 h 9"/>
                <a:gd name="T12" fmla="*/ 2 w 174"/>
                <a:gd name="T13" fmla="*/ 9 h 9"/>
                <a:gd name="T14" fmla="*/ 0 w 174"/>
                <a:gd name="T15" fmla="*/ 8 h 9"/>
                <a:gd name="T16" fmla="*/ 0 w 174"/>
                <a:gd name="T17" fmla="*/ 2 h 9"/>
                <a:gd name="T18" fmla="*/ 2 w 174"/>
                <a:gd name="T19" fmla="*/ 0 h 9"/>
                <a:gd name="T20" fmla="*/ 3 w 174"/>
                <a:gd name="T21" fmla="*/ 0 h 9"/>
                <a:gd name="T22" fmla="*/ 170 w 174"/>
                <a:gd name="T23" fmla="*/ 0 h 9"/>
                <a:gd name="T24" fmla="*/ 172 w 174"/>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9">
                  <a:moveTo>
                    <a:pt x="172" y="0"/>
                  </a:moveTo>
                  <a:lnTo>
                    <a:pt x="174" y="2"/>
                  </a:lnTo>
                  <a:lnTo>
                    <a:pt x="174" y="8"/>
                  </a:lnTo>
                  <a:lnTo>
                    <a:pt x="172" y="9"/>
                  </a:lnTo>
                  <a:lnTo>
                    <a:pt x="170" y="9"/>
                  </a:lnTo>
                  <a:lnTo>
                    <a:pt x="3" y="9"/>
                  </a:lnTo>
                  <a:lnTo>
                    <a:pt x="2" y="9"/>
                  </a:lnTo>
                  <a:lnTo>
                    <a:pt x="0" y="8"/>
                  </a:lnTo>
                  <a:lnTo>
                    <a:pt x="0" y="2"/>
                  </a:lnTo>
                  <a:lnTo>
                    <a:pt x="2" y="0"/>
                  </a:lnTo>
                  <a:lnTo>
                    <a:pt x="3" y="0"/>
                  </a:lnTo>
                  <a:lnTo>
                    <a:pt x="170" y="0"/>
                  </a:lnTo>
                  <a:lnTo>
                    <a:pt x="17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9" name="Freeform 506">
              <a:extLst>
                <a:ext uri="{FF2B5EF4-FFF2-40B4-BE49-F238E27FC236}">
                  <a16:creationId xmlns:a16="http://schemas.microsoft.com/office/drawing/2014/main" id="{88619E45-F265-4236-BA72-E254BC02B18C}"/>
                </a:ext>
              </a:extLst>
            </p:cNvPr>
            <p:cNvSpPr>
              <a:spLocks/>
            </p:cNvSpPr>
            <p:nvPr/>
          </p:nvSpPr>
          <p:spPr bwMode="auto">
            <a:xfrm>
              <a:off x="2795588" y="6048375"/>
              <a:ext cx="293688" cy="20638"/>
            </a:xfrm>
            <a:custGeom>
              <a:avLst/>
              <a:gdLst>
                <a:gd name="T0" fmla="*/ 183 w 185"/>
                <a:gd name="T1" fmla="*/ 2 h 13"/>
                <a:gd name="T2" fmla="*/ 185 w 185"/>
                <a:gd name="T3" fmla="*/ 3 h 13"/>
                <a:gd name="T4" fmla="*/ 185 w 185"/>
                <a:gd name="T5" fmla="*/ 9 h 13"/>
                <a:gd name="T6" fmla="*/ 183 w 185"/>
                <a:gd name="T7" fmla="*/ 11 h 13"/>
                <a:gd name="T8" fmla="*/ 181 w 185"/>
                <a:gd name="T9" fmla="*/ 13 h 13"/>
                <a:gd name="T10" fmla="*/ 4 w 185"/>
                <a:gd name="T11" fmla="*/ 13 h 13"/>
                <a:gd name="T12" fmla="*/ 2 w 185"/>
                <a:gd name="T13" fmla="*/ 11 h 13"/>
                <a:gd name="T14" fmla="*/ 0 w 185"/>
                <a:gd name="T15" fmla="*/ 9 h 13"/>
                <a:gd name="T16" fmla="*/ 0 w 185"/>
                <a:gd name="T17" fmla="*/ 3 h 13"/>
                <a:gd name="T18" fmla="*/ 2 w 185"/>
                <a:gd name="T19" fmla="*/ 2 h 13"/>
                <a:gd name="T20" fmla="*/ 4 w 185"/>
                <a:gd name="T21" fmla="*/ 0 h 13"/>
                <a:gd name="T22" fmla="*/ 181 w 185"/>
                <a:gd name="T23" fmla="*/ 0 h 13"/>
                <a:gd name="T24" fmla="*/ 183 w 185"/>
                <a:gd name="T25"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13">
                  <a:moveTo>
                    <a:pt x="183" y="2"/>
                  </a:moveTo>
                  <a:lnTo>
                    <a:pt x="185" y="3"/>
                  </a:lnTo>
                  <a:lnTo>
                    <a:pt x="185" y="9"/>
                  </a:lnTo>
                  <a:lnTo>
                    <a:pt x="183" y="11"/>
                  </a:lnTo>
                  <a:lnTo>
                    <a:pt x="181" y="13"/>
                  </a:lnTo>
                  <a:lnTo>
                    <a:pt x="4" y="13"/>
                  </a:lnTo>
                  <a:lnTo>
                    <a:pt x="2" y="11"/>
                  </a:lnTo>
                  <a:lnTo>
                    <a:pt x="0" y="9"/>
                  </a:lnTo>
                  <a:lnTo>
                    <a:pt x="0" y="3"/>
                  </a:lnTo>
                  <a:lnTo>
                    <a:pt x="2" y="2"/>
                  </a:lnTo>
                  <a:lnTo>
                    <a:pt x="4" y="0"/>
                  </a:lnTo>
                  <a:lnTo>
                    <a:pt x="181" y="0"/>
                  </a:lnTo>
                  <a:lnTo>
                    <a:pt x="183" y="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0" name="Freeform 507">
              <a:extLst>
                <a:ext uri="{FF2B5EF4-FFF2-40B4-BE49-F238E27FC236}">
                  <a16:creationId xmlns:a16="http://schemas.microsoft.com/office/drawing/2014/main" id="{D208DEAB-3515-415F-B117-A942E9D8CBE6}"/>
                </a:ext>
              </a:extLst>
            </p:cNvPr>
            <p:cNvSpPr>
              <a:spLocks/>
            </p:cNvSpPr>
            <p:nvPr/>
          </p:nvSpPr>
          <p:spPr bwMode="auto">
            <a:xfrm>
              <a:off x="2795588" y="6048375"/>
              <a:ext cx="293688" cy="20638"/>
            </a:xfrm>
            <a:custGeom>
              <a:avLst/>
              <a:gdLst>
                <a:gd name="T0" fmla="*/ 183 w 185"/>
                <a:gd name="T1" fmla="*/ 2 h 13"/>
                <a:gd name="T2" fmla="*/ 185 w 185"/>
                <a:gd name="T3" fmla="*/ 3 h 13"/>
                <a:gd name="T4" fmla="*/ 185 w 185"/>
                <a:gd name="T5" fmla="*/ 9 h 13"/>
                <a:gd name="T6" fmla="*/ 183 w 185"/>
                <a:gd name="T7" fmla="*/ 11 h 13"/>
                <a:gd name="T8" fmla="*/ 181 w 185"/>
                <a:gd name="T9" fmla="*/ 13 h 13"/>
                <a:gd name="T10" fmla="*/ 4 w 185"/>
                <a:gd name="T11" fmla="*/ 13 h 13"/>
                <a:gd name="T12" fmla="*/ 2 w 185"/>
                <a:gd name="T13" fmla="*/ 11 h 13"/>
                <a:gd name="T14" fmla="*/ 0 w 185"/>
                <a:gd name="T15" fmla="*/ 9 h 13"/>
                <a:gd name="T16" fmla="*/ 0 w 185"/>
                <a:gd name="T17" fmla="*/ 3 h 13"/>
                <a:gd name="T18" fmla="*/ 2 w 185"/>
                <a:gd name="T19" fmla="*/ 2 h 13"/>
                <a:gd name="T20" fmla="*/ 4 w 185"/>
                <a:gd name="T21" fmla="*/ 0 h 13"/>
                <a:gd name="T22" fmla="*/ 181 w 185"/>
                <a:gd name="T23" fmla="*/ 0 h 13"/>
                <a:gd name="T24" fmla="*/ 183 w 185"/>
                <a:gd name="T25"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13">
                  <a:moveTo>
                    <a:pt x="183" y="2"/>
                  </a:moveTo>
                  <a:lnTo>
                    <a:pt x="185" y="3"/>
                  </a:lnTo>
                  <a:lnTo>
                    <a:pt x="185" y="9"/>
                  </a:lnTo>
                  <a:lnTo>
                    <a:pt x="183" y="11"/>
                  </a:lnTo>
                  <a:lnTo>
                    <a:pt x="181" y="13"/>
                  </a:lnTo>
                  <a:lnTo>
                    <a:pt x="4" y="13"/>
                  </a:lnTo>
                  <a:lnTo>
                    <a:pt x="2" y="11"/>
                  </a:lnTo>
                  <a:lnTo>
                    <a:pt x="0" y="9"/>
                  </a:lnTo>
                  <a:lnTo>
                    <a:pt x="0" y="3"/>
                  </a:lnTo>
                  <a:lnTo>
                    <a:pt x="2" y="2"/>
                  </a:lnTo>
                  <a:lnTo>
                    <a:pt x="4" y="0"/>
                  </a:lnTo>
                  <a:lnTo>
                    <a:pt x="181" y="0"/>
                  </a:lnTo>
                  <a:lnTo>
                    <a:pt x="183"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1" name="Freeform 508">
              <a:extLst>
                <a:ext uri="{FF2B5EF4-FFF2-40B4-BE49-F238E27FC236}">
                  <a16:creationId xmlns:a16="http://schemas.microsoft.com/office/drawing/2014/main" id="{243AFF02-BAF7-453B-80CC-4DBBABEE0AE6}"/>
                </a:ext>
              </a:extLst>
            </p:cNvPr>
            <p:cNvSpPr>
              <a:spLocks/>
            </p:cNvSpPr>
            <p:nvPr/>
          </p:nvSpPr>
          <p:spPr bwMode="auto">
            <a:xfrm>
              <a:off x="2805113" y="5832475"/>
              <a:ext cx="276225" cy="17463"/>
            </a:xfrm>
            <a:custGeom>
              <a:avLst/>
              <a:gdLst>
                <a:gd name="T0" fmla="*/ 2 w 174"/>
                <a:gd name="T1" fmla="*/ 2 h 11"/>
                <a:gd name="T2" fmla="*/ 3 w 174"/>
                <a:gd name="T3" fmla="*/ 0 h 11"/>
                <a:gd name="T4" fmla="*/ 170 w 174"/>
                <a:gd name="T5" fmla="*/ 0 h 11"/>
                <a:gd name="T6" fmla="*/ 172 w 174"/>
                <a:gd name="T7" fmla="*/ 2 h 11"/>
                <a:gd name="T8" fmla="*/ 174 w 174"/>
                <a:gd name="T9" fmla="*/ 4 h 11"/>
                <a:gd name="T10" fmla="*/ 174 w 174"/>
                <a:gd name="T11" fmla="*/ 8 h 11"/>
                <a:gd name="T12" fmla="*/ 172 w 174"/>
                <a:gd name="T13" fmla="*/ 9 h 11"/>
                <a:gd name="T14" fmla="*/ 170 w 174"/>
                <a:gd name="T15" fmla="*/ 11 h 11"/>
                <a:gd name="T16" fmla="*/ 3 w 174"/>
                <a:gd name="T17" fmla="*/ 11 h 11"/>
                <a:gd name="T18" fmla="*/ 2 w 174"/>
                <a:gd name="T19" fmla="*/ 9 h 11"/>
                <a:gd name="T20" fmla="*/ 0 w 174"/>
                <a:gd name="T21" fmla="*/ 8 h 11"/>
                <a:gd name="T22" fmla="*/ 0 w 174"/>
                <a:gd name="T23" fmla="*/ 4 h 11"/>
                <a:gd name="T24" fmla="*/ 2 w 174"/>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11">
                  <a:moveTo>
                    <a:pt x="2" y="2"/>
                  </a:moveTo>
                  <a:lnTo>
                    <a:pt x="3" y="0"/>
                  </a:lnTo>
                  <a:lnTo>
                    <a:pt x="170" y="0"/>
                  </a:lnTo>
                  <a:lnTo>
                    <a:pt x="172" y="2"/>
                  </a:lnTo>
                  <a:lnTo>
                    <a:pt x="174" y="4"/>
                  </a:lnTo>
                  <a:lnTo>
                    <a:pt x="174" y="8"/>
                  </a:lnTo>
                  <a:lnTo>
                    <a:pt x="172" y="9"/>
                  </a:lnTo>
                  <a:lnTo>
                    <a:pt x="170" y="11"/>
                  </a:lnTo>
                  <a:lnTo>
                    <a:pt x="3" y="11"/>
                  </a:lnTo>
                  <a:lnTo>
                    <a:pt x="2" y="9"/>
                  </a:lnTo>
                  <a:lnTo>
                    <a:pt x="0" y="8"/>
                  </a:lnTo>
                  <a:lnTo>
                    <a:pt x="0" y="4"/>
                  </a:lnTo>
                  <a:lnTo>
                    <a:pt x="2" y="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2" name="Freeform 509">
              <a:extLst>
                <a:ext uri="{FF2B5EF4-FFF2-40B4-BE49-F238E27FC236}">
                  <a16:creationId xmlns:a16="http://schemas.microsoft.com/office/drawing/2014/main" id="{03CB9944-2B72-4327-B427-7ED3181D640C}"/>
                </a:ext>
              </a:extLst>
            </p:cNvPr>
            <p:cNvSpPr>
              <a:spLocks/>
            </p:cNvSpPr>
            <p:nvPr/>
          </p:nvSpPr>
          <p:spPr bwMode="auto">
            <a:xfrm>
              <a:off x="2805113" y="5832475"/>
              <a:ext cx="276225" cy="17463"/>
            </a:xfrm>
            <a:custGeom>
              <a:avLst/>
              <a:gdLst>
                <a:gd name="T0" fmla="*/ 2 w 174"/>
                <a:gd name="T1" fmla="*/ 2 h 11"/>
                <a:gd name="T2" fmla="*/ 3 w 174"/>
                <a:gd name="T3" fmla="*/ 0 h 11"/>
                <a:gd name="T4" fmla="*/ 170 w 174"/>
                <a:gd name="T5" fmla="*/ 0 h 11"/>
                <a:gd name="T6" fmla="*/ 172 w 174"/>
                <a:gd name="T7" fmla="*/ 2 h 11"/>
                <a:gd name="T8" fmla="*/ 174 w 174"/>
                <a:gd name="T9" fmla="*/ 4 h 11"/>
                <a:gd name="T10" fmla="*/ 174 w 174"/>
                <a:gd name="T11" fmla="*/ 8 h 11"/>
                <a:gd name="T12" fmla="*/ 172 w 174"/>
                <a:gd name="T13" fmla="*/ 9 h 11"/>
                <a:gd name="T14" fmla="*/ 170 w 174"/>
                <a:gd name="T15" fmla="*/ 11 h 11"/>
                <a:gd name="T16" fmla="*/ 3 w 174"/>
                <a:gd name="T17" fmla="*/ 11 h 11"/>
                <a:gd name="T18" fmla="*/ 2 w 174"/>
                <a:gd name="T19" fmla="*/ 9 h 11"/>
                <a:gd name="T20" fmla="*/ 0 w 174"/>
                <a:gd name="T21" fmla="*/ 8 h 11"/>
                <a:gd name="T22" fmla="*/ 0 w 174"/>
                <a:gd name="T23" fmla="*/ 4 h 11"/>
                <a:gd name="T24" fmla="*/ 2 w 174"/>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11">
                  <a:moveTo>
                    <a:pt x="2" y="2"/>
                  </a:moveTo>
                  <a:lnTo>
                    <a:pt x="3" y="0"/>
                  </a:lnTo>
                  <a:lnTo>
                    <a:pt x="170" y="0"/>
                  </a:lnTo>
                  <a:lnTo>
                    <a:pt x="172" y="2"/>
                  </a:lnTo>
                  <a:lnTo>
                    <a:pt x="174" y="4"/>
                  </a:lnTo>
                  <a:lnTo>
                    <a:pt x="174" y="8"/>
                  </a:lnTo>
                  <a:lnTo>
                    <a:pt x="172" y="9"/>
                  </a:lnTo>
                  <a:lnTo>
                    <a:pt x="170" y="11"/>
                  </a:lnTo>
                  <a:lnTo>
                    <a:pt x="3" y="11"/>
                  </a:lnTo>
                  <a:lnTo>
                    <a:pt x="2" y="9"/>
                  </a:lnTo>
                  <a:lnTo>
                    <a:pt x="0" y="8"/>
                  </a:lnTo>
                  <a:lnTo>
                    <a:pt x="0" y="4"/>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3" name="Freeform 510">
              <a:extLst>
                <a:ext uri="{FF2B5EF4-FFF2-40B4-BE49-F238E27FC236}">
                  <a16:creationId xmlns:a16="http://schemas.microsoft.com/office/drawing/2014/main" id="{99B3551A-5BC4-4975-B9DB-E48EAD752C18}"/>
                </a:ext>
              </a:extLst>
            </p:cNvPr>
            <p:cNvSpPr>
              <a:spLocks/>
            </p:cNvSpPr>
            <p:nvPr/>
          </p:nvSpPr>
          <p:spPr bwMode="auto">
            <a:xfrm>
              <a:off x="2778126" y="5761038"/>
              <a:ext cx="328613" cy="60325"/>
            </a:xfrm>
            <a:custGeom>
              <a:avLst/>
              <a:gdLst>
                <a:gd name="T0" fmla="*/ 0 w 207"/>
                <a:gd name="T1" fmla="*/ 29 h 38"/>
                <a:gd name="T2" fmla="*/ 2 w 207"/>
                <a:gd name="T3" fmla="*/ 29 h 38"/>
                <a:gd name="T4" fmla="*/ 103 w 207"/>
                <a:gd name="T5" fmla="*/ 0 h 38"/>
                <a:gd name="T6" fmla="*/ 205 w 207"/>
                <a:gd name="T7" fmla="*/ 29 h 38"/>
                <a:gd name="T8" fmla="*/ 205 w 207"/>
                <a:gd name="T9" fmla="*/ 29 h 38"/>
                <a:gd name="T10" fmla="*/ 207 w 207"/>
                <a:gd name="T11" fmla="*/ 31 h 38"/>
                <a:gd name="T12" fmla="*/ 207 w 207"/>
                <a:gd name="T13" fmla="*/ 36 h 38"/>
                <a:gd name="T14" fmla="*/ 205 w 207"/>
                <a:gd name="T15" fmla="*/ 38 h 38"/>
                <a:gd name="T16" fmla="*/ 205 w 207"/>
                <a:gd name="T17" fmla="*/ 38 h 38"/>
                <a:gd name="T18" fmla="*/ 2 w 207"/>
                <a:gd name="T19" fmla="*/ 38 h 38"/>
                <a:gd name="T20" fmla="*/ 0 w 207"/>
                <a:gd name="T21" fmla="*/ 38 h 38"/>
                <a:gd name="T22" fmla="*/ 0 w 207"/>
                <a:gd name="T23" fmla="*/ 36 h 38"/>
                <a:gd name="T24" fmla="*/ 0 w 207"/>
                <a:gd name="T25" fmla="*/ 31 h 38"/>
                <a:gd name="T26" fmla="*/ 0 w 207"/>
                <a:gd name="T2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 h="38">
                  <a:moveTo>
                    <a:pt x="0" y="29"/>
                  </a:moveTo>
                  <a:lnTo>
                    <a:pt x="2" y="29"/>
                  </a:lnTo>
                  <a:lnTo>
                    <a:pt x="103" y="0"/>
                  </a:lnTo>
                  <a:lnTo>
                    <a:pt x="205" y="29"/>
                  </a:lnTo>
                  <a:lnTo>
                    <a:pt x="205" y="29"/>
                  </a:lnTo>
                  <a:lnTo>
                    <a:pt x="207" y="31"/>
                  </a:lnTo>
                  <a:lnTo>
                    <a:pt x="207" y="36"/>
                  </a:lnTo>
                  <a:lnTo>
                    <a:pt x="205" y="38"/>
                  </a:lnTo>
                  <a:lnTo>
                    <a:pt x="205" y="38"/>
                  </a:lnTo>
                  <a:lnTo>
                    <a:pt x="2" y="38"/>
                  </a:lnTo>
                  <a:lnTo>
                    <a:pt x="0" y="38"/>
                  </a:lnTo>
                  <a:lnTo>
                    <a:pt x="0" y="36"/>
                  </a:lnTo>
                  <a:lnTo>
                    <a:pt x="0" y="31"/>
                  </a:lnTo>
                  <a:lnTo>
                    <a:pt x="0" y="2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4" name="Freeform 511">
              <a:extLst>
                <a:ext uri="{FF2B5EF4-FFF2-40B4-BE49-F238E27FC236}">
                  <a16:creationId xmlns:a16="http://schemas.microsoft.com/office/drawing/2014/main" id="{06425CF2-B4B2-478A-883E-B75E3D388CAA}"/>
                </a:ext>
              </a:extLst>
            </p:cNvPr>
            <p:cNvSpPr>
              <a:spLocks/>
            </p:cNvSpPr>
            <p:nvPr/>
          </p:nvSpPr>
          <p:spPr bwMode="auto">
            <a:xfrm>
              <a:off x="2778126" y="5761038"/>
              <a:ext cx="328613" cy="60325"/>
            </a:xfrm>
            <a:custGeom>
              <a:avLst/>
              <a:gdLst>
                <a:gd name="T0" fmla="*/ 0 w 207"/>
                <a:gd name="T1" fmla="*/ 29 h 38"/>
                <a:gd name="T2" fmla="*/ 2 w 207"/>
                <a:gd name="T3" fmla="*/ 29 h 38"/>
                <a:gd name="T4" fmla="*/ 103 w 207"/>
                <a:gd name="T5" fmla="*/ 0 h 38"/>
                <a:gd name="T6" fmla="*/ 205 w 207"/>
                <a:gd name="T7" fmla="*/ 29 h 38"/>
                <a:gd name="T8" fmla="*/ 205 w 207"/>
                <a:gd name="T9" fmla="*/ 29 h 38"/>
                <a:gd name="T10" fmla="*/ 207 w 207"/>
                <a:gd name="T11" fmla="*/ 31 h 38"/>
                <a:gd name="T12" fmla="*/ 207 w 207"/>
                <a:gd name="T13" fmla="*/ 36 h 38"/>
                <a:gd name="T14" fmla="*/ 205 w 207"/>
                <a:gd name="T15" fmla="*/ 38 h 38"/>
                <a:gd name="T16" fmla="*/ 205 w 207"/>
                <a:gd name="T17" fmla="*/ 38 h 38"/>
                <a:gd name="T18" fmla="*/ 2 w 207"/>
                <a:gd name="T19" fmla="*/ 38 h 38"/>
                <a:gd name="T20" fmla="*/ 0 w 207"/>
                <a:gd name="T21" fmla="*/ 38 h 38"/>
                <a:gd name="T22" fmla="*/ 0 w 207"/>
                <a:gd name="T23" fmla="*/ 36 h 38"/>
                <a:gd name="T24" fmla="*/ 0 w 207"/>
                <a:gd name="T25" fmla="*/ 31 h 38"/>
                <a:gd name="T26" fmla="*/ 0 w 207"/>
                <a:gd name="T2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 h="38">
                  <a:moveTo>
                    <a:pt x="0" y="29"/>
                  </a:moveTo>
                  <a:lnTo>
                    <a:pt x="2" y="29"/>
                  </a:lnTo>
                  <a:lnTo>
                    <a:pt x="103" y="0"/>
                  </a:lnTo>
                  <a:lnTo>
                    <a:pt x="205" y="29"/>
                  </a:lnTo>
                  <a:lnTo>
                    <a:pt x="205" y="29"/>
                  </a:lnTo>
                  <a:lnTo>
                    <a:pt x="207" y="31"/>
                  </a:lnTo>
                  <a:lnTo>
                    <a:pt x="207" y="36"/>
                  </a:lnTo>
                  <a:lnTo>
                    <a:pt x="205" y="38"/>
                  </a:lnTo>
                  <a:lnTo>
                    <a:pt x="205" y="38"/>
                  </a:lnTo>
                  <a:lnTo>
                    <a:pt x="2" y="38"/>
                  </a:lnTo>
                  <a:lnTo>
                    <a:pt x="0" y="38"/>
                  </a:lnTo>
                  <a:lnTo>
                    <a:pt x="0" y="36"/>
                  </a:lnTo>
                  <a:lnTo>
                    <a:pt x="0" y="31"/>
                  </a:lnTo>
                  <a:lnTo>
                    <a:pt x="0" y="29"/>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99" name="Group 598">
            <a:extLst>
              <a:ext uri="{FF2B5EF4-FFF2-40B4-BE49-F238E27FC236}">
                <a16:creationId xmlns:a16="http://schemas.microsoft.com/office/drawing/2014/main" id="{466888F9-183D-4B1F-82E2-ABBF85681263}"/>
              </a:ext>
              <a:ext uri="{C183D7F6-B498-43B3-948B-1728B52AA6E4}">
                <adec:decorative xmlns:adec="http://schemas.microsoft.com/office/drawing/2017/decorative" val="1"/>
              </a:ext>
            </a:extLst>
          </p:cNvPr>
          <p:cNvGrpSpPr/>
          <p:nvPr/>
        </p:nvGrpSpPr>
        <p:grpSpPr>
          <a:xfrm>
            <a:off x="10829557" y="4941168"/>
            <a:ext cx="667043" cy="628652"/>
            <a:chOff x="8156576" y="5670550"/>
            <a:chExt cx="882650" cy="831850"/>
          </a:xfrm>
        </p:grpSpPr>
        <p:sp>
          <p:nvSpPr>
            <p:cNvPr id="600" name="Freeform 520">
              <a:extLst>
                <a:ext uri="{FF2B5EF4-FFF2-40B4-BE49-F238E27FC236}">
                  <a16:creationId xmlns:a16="http://schemas.microsoft.com/office/drawing/2014/main" id="{CB2EEDCB-A94D-4C90-9D82-B648436161EE}"/>
                </a:ext>
              </a:extLst>
            </p:cNvPr>
            <p:cNvSpPr>
              <a:spLocks/>
            </p:cNvSpPr>
            <p:nvPr/>
          </p:nvSpPr>
          <p:spPr bwMode="auto">
            <a:xfrm>
              <a:off x="8156576" y="5670550"/>
              <a:ext cx="882650" cy="83185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601" name="Freeform 521">
              <a:extLst>
                <a:ext uri="{FF2B5EF4-FFF2-40B4-BE49-F238E27FC236}">
                  <a16:creationId xmlns:a16="http://schemas.microsoft.com/office/drawing/2014/main" id="{F944B086-9980-44FE-9DAB-8ABBE1EEE4E4}"/>
                </a:ext>
              </a:extLst>
            </p:cNvPr>
            <p:cNvSpPr>
              <a:spLocks/>
            </p:cNvSpPr>
            <p:nvPr/>
          </p:nvSpPr>
          <p:spPr bwMode="auto">
            <a:xfrm>
              <a:off x="8397876" y="5838825"/>
              <a:ext cx="336550" cy="598488"/>
            </a:xfrm>
            <a:custGeom>
              <a:avLst/>
              <a:gdLst>
                <a:gd name="T0" fmla="*/ 2 w 89"/>
                <a:gd name="T1" fmla="*/ 50 h 157"/>
                <a:gd name="T2" fmla="*/ 2 w 89"/>
                <a:gd name="T3" fmla="*/ 64 h 157"/>
                <a:gd name="T4" fmla="*/ 3 w 89"/>
                <a:gd name="T5" fmla="*/ 82 h 157"/>
                <a:gd name="T6" fmla="*/ 26 w 89"/>
                <a:gd name="T7" fmla="*/ 105 h 157"/>
                <a:gd name="T8" fmla="*/ 34 w 89"/>
                <a:gd name="T9" fmla="*/ 110 h 157"/>
                <a:gd name="T10" fmla="*/ 34 w 89"/>
                <a:gd name="T11" fmla="*/ 157 h 157"/>
                <a:gd name="T12" fmla="*/ 81 w 89"/>
                <a:gd name="T13" fmla="*/ 157 h 157"/>
                <a:gd name="T14" fmla="*/ 81 w 89"/>
                <a:gd name="T15" fmla="*/ 107 h 157"/>
                <a:gd name="T16" fmla="*/ 89 w 89"/>
                <a:gd name="T17" fmla="*/ 92 h 157"/>
                <a:gd name="T18" fmla="*/ 89 w 89"/>
                <a:gd name="T19" fmla="*/ 79 h 157"/>
                <a:gd name="T20" fmla="*/ 89 w 89"/>
                <a:gd name="T21" fmla="*/ 61 h 157"/>
                <a:gd name="T22" fmla="*/ 89 w 89"/>
                <a:gd name="T23" fmla="*/ 44 h 157"/>
                <a:gd name="T24" fmla="*/ 82 w 89"/>
                <a:gd name="T25" fmla="*/ 37 h 157"/>
                <a:gd name="T26" fmla="*/ 72 w 89"/>
                <a:gd name="T27" fmla="*/ 42 h 157"/>
                <a:gd name="T28" fmla="*/ 71 w 89"/>
                <a:gd name="T29" fmla="*/ 37 h 157"/>
                <a:gd name="T30" fmla="*/ 64 w 89"/>
                <a:gd name="T31" fmla="*/ 29 h 157"/>
                <a:gd name="T32" fmla="*/ 56 w 89"/>
                <a:gd name="T33" fmla="*/ 37 h 157"/>
                <a:gd name="T34" fmla="*/ 54 w 89"/>
                <a:gd name="T35" fmla="*/ 42 h 157"/>
                <a:gd name="T36" fmla="*/ 53 w 89"/>
                <a:gd name="T37" fmla="*/ 30 h 157"/>
                <a:gd name="T38" fmla="*/ 46 w 89"/>
                <a:gd name="T39" fmla="*/ 23 h 157"/>
                <a:gd name="T40" fmla="*/ 38 w 89"/>
                <a:gd name="T41" fmla="*/ 30 h 157"/>
                <a:gd name="T42" fmla="*/ 36 w 89"/>
                <a:gd name="T43" fmla="*/ 42 h 157"/>
                <a:gd name="T44" fmla="*/ 35 w 89"/>
                <a:gd name="T45" fmla="*/ 7 h 157"/>
                <a:gd name="T46" fmla="*/ 27 w 89"/>
                <a:gd name="T47" fmla="*/ 0 h 157"/>
                <a:gd name="T48" fmla="*/ 20 w 89"/>
                <a:gd name="T49" fmla="*/ 7 h 157"/>
                <a:gd name="T50" fmla="*/ 20 w 89"/>
                <a:gd name="T51" fmla="*/ 60 h 157"/>
                <a:gd name="T52" fmla="*/ 20 w 89"/>
                <a:gd name="T53" fmla="*/ 61 h 157"/>
                <a:gd name="T54" fmla="*/ 20 w 89"/>
                <a:gd name="T55" fmla="*/ 79 h 157"/>
                <a:gd name="T56" fmla="*/ 17 w 89"/>
                <a:gd name="T57" fmla="*/ 76 h 157"/>
                <a:gd name="T58" fmla="*/ 17 w 89"/>
                <a:gd name="T59" fmla="*/ 61 h 157"/>
                <a:gd name="T60" fmla="*/ 7 w 89"/>
                <a:gd name="T61" fmla="*/ 49 h 157"/>
                <a:gd name="T62" fmla="*/ 2 w 89"/>
                <a:gd name="T63" fmla="*/ 5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157">
                  <a:moveTo>
                    <a:pt x="2" y="50"/>
                  </a:moveTo>
                  <a:cubicBezTo>
                    <a:pt x="0" y="51"/>
                    <a:pt x="3" y="61"/>
                    <a:pt x="2" y="64"/>
                  </a:cubicBezTo>
                  <a:cubicBezTo>
                    <a:pt x="1" y="66"/>
                    <a:pt x="1" y="76"/>
                    <a:pt x="3" y="82"/>
                  </a:cubicBezTo>
                  <a:cubicBezTo>
                    <a:pt x="6" y="87"/>
                    <a:pt x="26" y="105"/>
                    <a:pt x="26" y="105"/>
                  </a:cubicBezTo>
                  <a:cubicBezTo>
                    <a:pt x="28" y="108"/>
                    <a:pt x="31" y="109"/>
                    <a:pt x="34" y="110"/>
                  </a:cubicBezTo>
                  <a:cubicBezTo>
                    <a:pt x="34" y="157"/>
                    <a:pt x="34" y="157"/>
                    <a:pt x="34" y="157"/>
                  </a:cubicBezTo>
                  <a:cubicBezTo>
                    <a:pt x="81" y="157"/>
                    <a:pt x="81" y="157"/>
                    <a:pt x="81" y="157"/>
                  </a:cubicBezTo>
                  <a:cubicBezTo>
                    <a:pt x="81" y="157"/>
                    <a:pt x="79" y="110"/>
                    <a:pt x="81" y="107"/>
                  </a:cubicBezTo>
                  <a:cubicBezTo>
                    <a:pt x="84" y="104"/>
                    <a:pt x="89" y="98"/>
                    <a:pt x="89" y="92"/>
                  </a:cubicBezTo>
                  <a:cubicBezTo>
                    <a:pt x="89" y="79"/>
                    <a:pt x="89" y="79"/>
                    <a:pt x="89" y="79"/>
                  </a:cubicBezTo>
                  <a:cubicBezTo>
                    <a:pt x="89" y="61"/>
                    <a:pt x="89" y="61"/>
                    <a:pt x="89" y="61"/>
                  </a:cubicBezTo>
                  <a:cubicBezTo>
                    <a:pt x="89" y="44"/>
                    <a:pt x="89" y="44"/>
                    <a:pt x="89" y="44"/>
                  </a:cubicBezTo>
                  <a:cubicBezTo>
                    <a:pt x="89" y="40"/>
                    <a:pt x="86" y="37"/>
                    <a:pt x="82" y="37"/>
                  </a:cubicBezTo>
                  <a:cubicBezTo>
                    <a:pt x="72" y="37"/>
                    <a:pt x="74" y="42"/>
                    <a:pt x="72" y="42"/>
                  </a:cubicBezTo>
                  <a:cubicBezTo>
                    <a:pt x="71" y="42"/>
                    <a:pt x="71" y="37"/>
                    <a:pt x="71" y="37"/>
                  </a:cubicBezTo>
                  <a:cubicBezTo>
                    <a:pt x="71" y="33"/>
                    <a:pt x="68" y="29"/>
                    <a:pt x="64" y="29"/>
                  </a:cubicBezTo>
                  <a:cubicBezTo>
                    <a:pt x="60" y="29"/>
                    <a:pt x="56" y="33"/>
                    <a:pt x="56" y="37"/>
                  </a:cubicBezTo>
                  <a:cubicBezTo>
                    <a:pt x="56" y="37"/>
                    <a:pt x="56" y="42"/>
                    <a:pt x="54" y="42"/>
                  </a:cubicBezTo>
                  <a:cubicBezTo>
                    <a:pt x="52" y="42"/>
                    <a:pt x="53" y="30"/>
                    <a:pt x="53" y="30"/>
                  </a:cubicBezTo>
                  <a:cubicBezTo>
                    <a:pt x="53" y="26"/>
                    <a:pt x="50" y="23"/>
                    <a:pt x="46" y="23"/>
                  </a:cubicBezTo>
                  <a:cubicBezTo>
                    <a:pt x="42" y="23"/>
                    <a:pt x="38" y="26"/>
                    <a:pt x="38" y="30"/>
                  </a:cubicBezTo>
                  <a:cubicBezTo>
                    <a:pt x="38" y="30"/>
                    <a:pt x="38" y="42"/>
                    <a:pt x="36" y="42"/>
                  </a:cubicBezTo>
                  <a:cubicBezTo>
                    <a:pt x="34" y="42"/>
                    <a:pt x="35" y="7"/>
                    <a:pt x="35" y="7"/>
                  </a:cubicBezTo>
                  <a:cubicBezTo>
                    <a:pt x="35" y="3"/>
                    <a:pt x="31" y="0"/>
                    <a:pt x="27" y="0"/>
                  </a:cubicBezTo>
                  <a:cubicBezTo>
                    <a:pt x="23" y="0"/>
                    <a:pt x="20" y="3"/>
                    <a:pt x="20" y="7"/>
                  </a:cubicBezTo>
                  <a:cubicBezTo>
                    <a:pt x="20" y="60"/>
                    <a:pt x="20" y="60"/>
                    <a:pt x="20" y="60"/>
                  </a:cubicBezTo>
                  <a:cubicBezTo>
                    <a:pt x="20" y="60"/>
                    <a:pt x="20" y="60"/>
                    <a:pt x="20" y="61"/>
                  </a:cubicBezTo>
                  <a:cubicBezTo>
                    <a:pt x="20" y="61"/>
                    <a:pt x="22" y="79"/>
                    <a:pt x="20" y="79"/>
                  </a:cubicBezTo>
                  <a:cubicBezTo>
                    <a:pt x="18" y="79"/>
                    <a:pt x="18" y="77"/>
                    <a:pt x="17" y="76"/>
                  </a:cubicBezTo>
                  <a:cubicBezTo>
                    <a:pt x="17" y="74"/>
                    <a:pt x="17" y="61"/>
                    <a:pt x="17" y="61"/>
                  </a:cubicBezTo>
                  <a:cubicBezTo>
                    <a:pt x="17" y="55"/>
                    <a:pt x="13" y="49"/>
                    <a:pt x="7" y="49"/>
                  </a:cubicBezTo>
                  <a:cubicBezTo>
                    <a:pt x="7" y="49"/>
                    <a:pt x="4" y="49"/>
                    <a:pt x="2" y="5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02" name="Freeform 528">
              <a:extLst>
                <a:ext uri="{FF2B5EF4-FFF2-40B4-BE49-F238E27FC236}">
                  <a16:creationId xmlns:a16="http://schemas.microsoft.com/office/drawing/2014/main" id="{270627DB-DC13-4FD1-A8C9-904041F32B22}"/>
                </a:ext>
              </a:extLst>
            </p:cNvPr>
            <p:cNvSpPr>
              <a:spLocks/>
            </p:cNvSpPr>
            <p:nvPr/>
          </p:nvSpPr>
          <p:spPr bwMode="auto">
            <a:xfrm>
              <a:off x="8493126" y="6269038"/>
              <a:ext cx="263525" cy="201613"/>
            </a:xfrm>
            <a:custGeom>
              <a:avLst/>
              <a:gdLst>
                <a:gd name="T0" fmla="*/ 6 w 70"/>
                <a:gd name="T1" fmla="*/ 12 h 53"/>
                <a:gd name="T2" fmla="*/ 2 w 70"/>
                <a:gd name="T3" fmla="*/ 49 h 53"/>
                <a:gd name="T4" fmla="*/ 69 w 70"/>
                <a:gd name="T5" fmla="*/ 39 h 53"/>
                <a:gd name="T6" fmla="*/ 70 w 70"/>
                <a:gd name="T7" fmla="*/ 12 h 53"/>
                <a:gd name="T8" fmla="*/ 6 w 70"/>
                <a:gd name="T9" fmla="*/ 12 h 53"/>
              </a:gdLst>
              <a:ahLst/>
              <a:cxnLst>
                <a:cxn ang="0">
                  <a:pos x="T0" y="T1"/>
                </a:cxn>
                <a:cxn ang="0">
                  <a:pos x="T2" y="T3"/>
                </a:cxn>
                <a:cxn ang="0">
                  <a:pos x="T4" y="T5"/>
                </a:cxn>
                <a:cxn ang="0">
                  <a:pos x="T6" y="T7"/>
                </a:cxn>
                <a:cxn ang="0">
                  <a:pos x="T8" y="T9"/>
                </a:cxn>
              </a:cxnLst>
              <a:rect l="0" t="0" r="r" b="b"/>
              <a:pathLst>
                <a:path w="70" h="53">
                  <a:moveTo>
                    <a:pt x="6" y="12"/>
                  </a:moveTo>
                  <a:cubicBezTo>
                    <a:pt x="0" y="18"/>
                    <a:pt x="0" y="35"/>
                    <a:pt x="2" y="49"/>
                  </a:cubicBezTo>
                  <a:cubicBezTo>
                    <a:pt x="24" y="53"/>
                    <a:pt x="47" y="49"/>
                    <a:pt x="69" y="39"/>
                  </a:cubicBezTo>
                  <a:cubicBezTo>
                    <a:pt x="69" y="27"/>
                    <a:pt x="69" y="16"/>
                    <a:pt x="70" y="12"/>
                  </a:cubicBezTo>
                  <a:cubicBezTo>
                    <a:pt x="62" y="7"/>
                    <a:pt x="16" y="0"/>
                    <a:pt x="6" y="1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FF304C"/>
                </a:solidFill>
              </a:endParaRPr>
            </a:p>
          </p:txBody>
        </p:sp>
        <p:sp>
          <p:nvSpPr>
            <p:cNvPr id="603" name="Oval 529">
              <a:extLst>
                <a:ext uri="{FF2B5EF4-FFF2-40B4-BE49-F238E27FC236}">
                  <a16:creationId xmlns:a16="http://schemas.microsoft.com/office/drawing/2014/main" id="{E7EB49CF-2A59-4319-B301-4C89F71836F7}"/>
                </a:ext>
              </a:extLst>
            </p:cNvPr>
            <p:cNvSpPr>
              <a:spLocks noChangeArrowheads="1"/>
            </p:cNvSpPr>
            <p:nvPr/>
          </p:nvSpPr>
          <p:spPr bwMode="auto">
            <a:xfrm>
              <a:off x="8632826" y="6334125"/>
              <a:ext cx="60325" cy="57150"/>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05" name="Groupe 608">
            <a:extLst>
              <a:ext uri="{FF2B5EF4-FFF2-40B4-BE49-F238E27FC236}">
                <a16:creationId xmlns:a16="http://schemas.microsoft.com/office/drawing/2014/main" id="{5F3C5ABD-91D6-45C2-8E99-89F39331911B}"/>
              </a:ext>
              <a:ext uri="{C183D7F6-B498-43B3-948B-1728B52AA6E4}">
                <adec:decorative xmlns:adec="http://schemas.microsoft.com/office/drawing/2017/decorative" val="1"/>
              </a:ext>
            </a:extLst>
          </p:cNvPr>
          <p:cNvGrpSpPr>
            <a:grpSpLocks noChangeAspect="1"/>
          </p:cNvGrpSpPr>
          <p:nvPr/>
        </p:nvGrpSpPr>
        <p:grpSpPr>
          <a:xfrm>
            <a:off x="4454505" y="5862175"/>
            <a:ext cx="677042" cy="633600"/>
            <a:chOff x="483151" y="4686475"/>
            <a:chExt cx="1014413" cy="949325"/>
          </a:xfrm>
        </p:grpSpPr>
        <p:sp>
          <p:nvSpPr>
            <p:cNvPr id="606" name="Freeform 168">
              <a:extLst>
                <a:ext uri="{FF2B5EF4-FFF2-40B4-BE49-F238E27FC236}">
                  <a16:creationId xmlns:a16="http://schemas.microsoft.com/office/drawing/2014/main" id="{21979D73-E3C4-4F12-A81E-2ED6554BD247}"/>
                </a:ext>
              </a:extLst>
            </p:cNvPr>
            <p:cNvSpPr>
              <a:spLocks/>
            </p:cNvSpPr>
            <p:nvPr/>
          </p:nvSpPr>
          <p:spPr bwMode="auto">
            <a:xfrm>
              <a:off x="483151" y="4686475"/>
              <a:ext cx="1014413" cy="949325"/>
            </a:xfrm>
            <a:custGeom>
              <a:avLst/>
              <a:gdLst>
                <a:gd name="T0" fmla="*/ 43 w 300"/>
                <a:gd name="T1" fmla="*/ 219 h 280"/>
                <a:gd name="T2" fmla="*/ 72 w 300"/>
                <a:gd name="T3" fmla="*/ 42 h 280"/>
                <a:gd name="T4" fmla="*/ 256 w 300"/>
                <a:gd name="T5" fmla="*/ 68 h 280"/>
                <a:gd name="T6" fmla="*/ 223 w 300"/>
                <a:gd name="T7" fmla="*/ 239 h 280"/>
                <a:gd name="T8" fmla="*/ 43 w 300"/>
                <a:gd name="T9" fmla="*/ 219 h 280"/>
              </a:gdLst>
              <a:ahLst/>
              <a:cxnLst>
                <a:cxn ang="0">
                  <a:pos x="T0" y="T1"/>
                </a:cxn>
                <a:cxn ang="0">
                  <a:pos x="T2" y="T3"/>
                </a:cxn>
                <a:cxn ang="0">
                  <a:pos x="T4" y="T5"/>
                </a:cxn>
                <a:cxn ang="0">
                  <a:pos x="T6" y="T7"/>
                </a:cxn>
                <a:cxn ang="0">
                  <a:pos x="T8" y="T9"/>
                </a:cxn>
              </a:cxnLst>
              <a:rect l="0" t="0" r="r" b="b"/>
              <a:pathLst>
                <a:path w="300" h="280">
                  <a:moveTo>
                    <a:pt x="43" y="219"/>
                  </a:moveTo>
                  <a:cubicBezTo>
                    <a:pt x="0" y="163"/>
                    <a:pt x="13" y="84"/>
                    <a:pt x="72" y="42"/>
                  </a:cubicBezTo>
                  <a:cubicBezTo>
                    <a:pt x="131" y="0"/>
                    <a:pt x="213" y="12"/>
                    <a:pt x="256" y="68"/>
                  </a:cubicBezTo>
                  <a:cubicBezTo>
                    <a:pt x="300" y="124"/>
                    <a:pt x="282" y="197"/>
                    <a:pt x="223" y="239"/>
                  </a:cubicBezTo>
                  <a:cubicBezTo>
                    <a:pt x="164" y="280"/>
                    <a:pt x="86" y="275"/>
                    <a:pt x="43" y="21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7" name="Groupe 610">
              <a:extLst>
                <a:ext uri="{FF2B5EF4-FFF2-40B4-BE49-F238E27FC236}">
                  <a16:creationId xmlns:a16="http://schemas.microsoft.com/office/drawing/2014/main" id="{A6DDC726-A42B-4411-8C0D-E5CFE9BF155B}"/>
                </a:ext>
              </a:extLst>
            </p:cNvPr>
            <p:cNvGrpSpPr>
              <a:grpSpLocks noChangeAspect="1"/>
            </p:cNvGrpSpPr>
            <p:nvPr/>
          </p:nvGrpSpPr>
          <p:grpSpPr>
            <a:xfrm rot="20916279">
              <a:off x="757973" y="5050852"/>
              <a:ext cx="494001" cy="252000"/>
              <a:chOff x="6642100" y="4413250"/>
              <a:chExt cx="392113" cy="200025"/>
            </a:xfrm>
            <a:solidFill>
              <a:schemeClr val="bg1"/>
            </a:solidFill>
          </p:grpSpPr>
          <p:sp>
            <p:nvSpPr>
              <p:cNvPr id="609" name="Freeform 170">
                <a:extLst>
                  <a:ext uri="{FF2B5EF4-FFF2-40B4-BE49-F238E27FC236}">
                    <a16:creationId xmlns:a16="http://schemas.microsoft.com/office/drawing/2014/main" id="{75A4D961-A074-4636-B0C1-E41C32EE6A6B}"/>
                  </a:ext>
                </a:extLst>
              </p:cNvPr>
              <p:cNvSpPr>
                <a:spLocks/>
              </p:cNvSpPr>
              <p:nvPr/>
            </p:nvSpPr>
            <p:spPr bwMode="auto">
              <a:xfrm>
                <a:off x="6642100" y="4413250"/>
                <a:ext cx="209550" cy="196850"/>
              </a:xfrm>
              <a:custGeom>
                <a:avLst/>
                <a:gdLst>
                  <a:gd name="T0" fmla="*/ 31 w 62"/>
                  <a:gd name="T1" fmla="*/ 58 h 58"/>
                  <a:gd name="T2" fmla="*/ 12 w 62"/>
                  <a:gd name="T3" fmla="*/ 50 h 58"/>
                  <a:gd name="T4" fmla="*/ 10 w 62"/>
                  <a:gd name="T5" fmla="*/ 11 h 58"/>
                  <a:gd name="T6" fmla="*/ 34 w 62"/>
                  <a:gd name="T7" fmla="*/ 1 h 58"/>
                  <a:gd name="T8" fmla="*/ 53 w 62"/>
                  <a:gd name="T9" fmla="*/ 13 h 58"/>
                  <a:gd name="T10" fmla="*/ 44 w 62"/>
                  <a:gd name="T11" fmla="*/ 19 h 58"/>
                  <a:gd name="T12" fmla="*/ 33 w 62"/>
                  <a:gd name="T13" fmla="*/ 12 h 58"/>
                  <a:gd name="T14" fmla="*/ 18 w 62"/>
                  <a:gd name="T15" fmla="*/ 18 h 58"/>
                  <a:gd name="T16" fmla="*/ 19 w 62"/>
                  <a:gd name="T17" fmla="*/ 43 h 58"/>
                  <a:gd name="T18" fmla="*/ 34 w 62"/>
                  <a:gd name="T19" fmla="*/ 48 h 58"/>
                  <a:gd name="T20" fmla="*/ 53 w 62"/>
                  <a:gd name="T21" fmla="*/ 29 h 58"/>
                  <a:gd name="T22" fmla="*/ 62 w 62"/>
                  <a:gd name="T23" fmla="*/ 33 h 58"/>
                  <a:gd name="T24" fmla="*/ 36 w 62"/>
                  <a:gd name="T25" fmla="*/ 58 h 58"/>
                  <a:gd name="T26" fmla="*/ 31 w 62"/>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58">
                    <a:moveTo>
                      <a:pt x="31" y="58"/>
                    </a:moveTo>
                    <a:cubicBezTo>
                      <a:pt x="24" y="58"/>
                      <a:pt x="17" y="55"/>
                      <a:pt x="12" y="50"/>
                    </a:cubicBezTo>
                    <a:cubicBezTo>
                      <a:pt x="1" y="39"/>
                      <a:pt x="0" y="22"/>
                      <a:pt x="10" y="11"/>
                    </a:cubicBezTo>
                    <a:cubicBezTo>
                      <a:pt x="17" y="4"/>
                      <a:pt x="25" y="0"/>
                      <a:pt x="34" y="1"/>
                    </a:cubicBezTo>
                    <a:cubicBezTo>
                      <a:pt x="39" y="2"/>
                      <a:pt x="47" y="4"/>
                      <a:pt x="53" y="13"/>
                    </a:cubicBezTo>
                    <a:cubicBezTo>
                      <a:pt x="44" y="19"/>
                      <a:pt x="44" y="19"/>
                      <a:pt x="44" y="19"/>
                    </a:cubicBezTo>
                    <a:cubicBezTo>
                      <a:pt x="41" y="14"/>
                      <a:pt x="37" y="12"/>
                      <a:pt x="33" y="12"/>
                    </a:cubicBezTo>
                    <a:cubicBezTo>
                      <a:pt x="28" y="11"/>
                      <a:pt x="22" y="13"/>
                      <a:pt x="18" y="18"/>
                    </a:cubicBezTo>
                    <a:cubicBezTo>
                      <a:pt x="12" y="25"/>
                      <a:pt x="12" y="36"/>
                      <a:pt x="19" y="43"/>
                    </a:cubicBezTo>
                    <a:cubicBezTo>
                      <a:pt x="23" y="47"/>
                      <a:pt x="28" y="48"/>
                      <a:pt x="34" y="48"/>
                    </a:cubicBezTo>
                    <a:cubicBezTo>
                      <a:pt x="41" y="46"/>
                      <a:pt x="48" y="40"/>
                      <a:pt x="53" y="29"/>
                    </a:cubicBezTo>
                    <a:cubicBezTo>
                      <a:pt x="62" y="33"/>
                      <a:pt x="62" y="33"/>
                      <a:pt x="62" y="33"/>
                    </a:cubicBezTo>
                    <a:cubicBezTo>
                      <a:pt x="56" y="47"/>
                      <a:pt x="47" y="56"/>
                      <a:pt x="36" y="58"/>
                    </a:cubicBezTo>
                    <a:cubicBezTo>
                      <a:pt x="34" y="58"/>
                      <a:pt x="33" y="58"/>
                      <a:pt x="31"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171">
                <a:extLst>
                  <a:ext uri="{FF2B5EF4-FFF2-40B4-BE49-F238E27FC236}">
                    <a16:creationId xmlns:a16="http://schemas.microsoft.com/office/drawing/2014/main" id="{EE39D9B4-72FC-4D71-830C-63A04BA05FB4}"/>
                  </a:ext>
                </a:extLst>
              </p:cNvPr>
              <p:cNvSpPr>
                <a:spLocks/>
              </p:cNvSpPr>
              <p:nvPr/>
            </p:nvSpPr>
            <p:spPr bwMode="auto">
              <a:xfrm>
                <a:off x="6821488" y="4416425"/>
                <a:ext cx="212725" cy="196850"/>
              </a:xfrm>
              <a:custGeom>
                <a:avLst/>
                <a:gdLst>
                  <a:gd name="T0" fmla="*/ 33 w 63"/>
                  <a:gd name="T1" fmla="*/ 58 h 58"/>
                  <a:gd name="T2" fmla="*/ 32 w 63"/>
                  <a:gd name="T3" fmla="*/ 58 h 58"/>
                  <a:gd name="T4" fmla="*/ 14 w 63"/>
                  <a:gd name="T5" fmla="*/ 49 h 58"/>
                  <a:gd name="T6" fmla="*/ 22 w 63"/>
                  <a:gd name="T7" fmla="*/ 42 h 58"/>
                  <a:gd name="T8" fmla="*/ 32 w 63"/>
                  <a:gd name="T9" fmla="*/ 47 h 58"/>
                  <a:gd name="T10" fmla="*/ 45 w 63"/>
                  <a:gd name="T11" fmla="*/ 42 h 58"/>
                  <a:gd name="T12" fmla="*/ 44 w 63"/>
                  <a:gd name="T13" fmla="*/ 17 h 58"/>
                  <a:gd name="T14" fmla="*/ 29 w 63"/>
                  <a:gd name="T15" fmla="*/ 12 h 58"/>
                  <a:gd name="T16" fmla="*/ 9 w 63"/>
                  <a:gd name="T17" fmla="*/ 32 h 58"/>
                  <a:gd name="T18" fmla="*/ 0 w 63"/>
                  <a:gd name="T19" fmla="*/ 28 h 58"/>
                  <a:gd name="T20" fmla="*/ 27 w 63"/>
                  <a:gd name="T21" fmla="*/ 2 h 58"/>
                  <a:gd name="T22" fmla="*/ 52 w 63"/>
                  <a:gd name="T23" fmla="*/ 10 h 58"/>
                  <a:gd name="T24" fmla="*/ 53 w 63"/>
                  <a:gd name="T25" fmla="*/ 49 h 58"/>
                  <a:gd name="T26" fmla="*/ 33 w 63"/>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8">
                    <a:moveTo>
                      <a:pt x="33" y="58"/>
                    </a:moveTo>
                    <a:cubicBezTo>
                      <a:pt x="32" y="58"/>
                      <a:pt x="32" y="58"/>
                      <a:pt x="32" y="58"/>
                    </a:cubicBezTo>
                    <a:cubicBezTo>
                      <a:pt x="24" y="57"/>
                      <a:pt x="18" y="54"/>
                      <a:pt x="14" y="49"/>
                    </a:cubicBezTo>
                    <a:cubicBezTo>
                      <a:pt x="22" y="42"/>
                      <a:pt x="22" y="42"/>
                      <a:pt x="22" y="42"/>
                    </a:cubicBezTo>
                    <a:cubicBezTo>
                      <a:pt x="24" y="45"/>
                      <a:pt x="28" y="47"/>
                      <a:pt x="32" y="47"/>
                    </a:cubicBezTo>
                    <a:cubicBezTo>
                      <a:pt x="37" y="48"/>
                      <a:pt x="42" y="45"/>
                      <a:pt x="45" y="42"/>
                    </a:cubicBezTo>
                    <a:cubicBezTo>
                      <a:pt x="52" y="35"/>
                      <a:pt x="51" y="24"/>
                      <a:pt x="44" y="17"/>
                    </a:cubicBezTo>
                    <a:cubicBezTo>
                      <a:pt x="40" y="13"/>
                      <a:pt x="35" y="11"/>
                      <a:pt x="29" y="12"/>
                    </a:cubicBezTo>
                    <a:cubicBezTo>
                      <a:pt x="21" y="14"/>
                      <a:pt x="14" y="21"/>
                      <a:pt x="9" y="32"/>
                    </a:cubicBezTo>
                    <a:cubicBezTo>
                      <a:pt x="0" y="28"/>
                      <a:pt x="0" y="28"/>
                      <a:pt x="0" y="28"/>
                    </a:cubicBezTo>
                    <a:cubicBezTo>
                      <a:pt x="6" y="14"/>
                      <a:pt x="16" y="4"/>
                      <a:pt x="27" y="2"/>
                    </a:cubicBezTo>
                    <a:cubicBezTo>
                      <a:pt x="36" y="0"/>
                      <a:pt x="45" y="3"/>
                      <a:pt x="52" y="10"/>
                    </a:cubicBezTo>
                    <a:cubicBezTo>
                      <a:pt x="63" y="21"/>
                      <a:pt x="63" y="38"/>
                      <a:pt x="53" y="49"/>
                    </a:cubicBezTo>
                    <a:cubicBezTo>
                      <a:pt x="47" y="55"/>
                      <a:pt x="40" y="58"/>
                      <a:pt x="33"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18" name="Groupe 279">
            <a:extLst>
              <a:ext uri="{FF2B5EF4-FFF2-40B4-BE49-F238E27FC236}">
                <a16:creationId xmlns:a16="http://schemas.microsoft.com/office/drawing/2014/main" id="{CBA0BD81-C284-475C-835E-DD39BD8C4D94}"/>
              </a:ext>
              <a:ext uri="{C183D7F6-B498-43B3-948B-1728B52AA6E4}">
                <adec:decorative xmlns:adec="http://schemas.microsoft.com/office/drawing/2017/decorative" val="1"/>
              </a:ext>
            </a:extLst>
          </p:cNvPr>
          <p:cNvGrpSpPr>
            <a:grpSpLocks noChangeAspect="1"/>
          </p:cNvGrpSpPr>
          <p:nvPr/>
        </p:nvGrpSpPr>
        <p:grpSpPr>
          <a:xfrm>
            <a:off x="6045114" y="1101944"/>
            <a:ext cx="676745" cy="633600"/>
            <a:chOff x="9953626" y="496887"/>
            <a:chExt cx="871538" cy="815975"/>
          </a:xfrm>
        </p:grpSpPr>
        <p:sp>
          <p:nvSpPr>
            <p:cNvPr id="619" name="Freeform 14">
              <a:extLst>
                <a:ext uri="{FF2B5EF4-FFF2-40B4-BE49-F238E27FC236}">
                  <a16:creationId xmlns:a16="http://schemas.microsoft.com/office/drawing/2014/main" id="{4EDD1EEA-4E0B-43EC-93C8-18112DBB0ECD}"/>
                </a:ext>
              </a:extLst>
            </p:cNvPr>
            <p:cNvSpPr>
              <a:spLocks/>
            </p:cNvSpPr>
            <p:nvPr/>
          </p:nvSpPr>
          <p:spPr bwMode="auto">
            <a:xfrm>
              <a:off x="9953626" y="496887"/>
              <a:ext cx="871538"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91">
              <a:extLst>
                <a:ext uri="{FF2B5EF4-FFF2-40B4-BE49-F238E27FC236}">
                  <a16:creationId xmlns:a16="http://schemas.microsoft.com/office/drawing/2014/main" id="{03F3BF0E-B862-4FD5-9BA3-E5D30117C119}"/>
                </a:ext>
              </a:extLst>
            </p:cNvPr>
            <p:cNvSpPr>
              <a:spLocks/>
            </p:cNvSpPr>
            <p:nvPr/>
          </p:nvSpPr>
          <p:spPr bwMode="auto">
            <a:xfrm>
              <a:off x="10266363" y="714375"/>
              <a:ext cx="242888" cy="203200"/>
            </a:xfrm>
            <a:custGeom>
              <a:avLst/>
              <a:gdLst>
                <a:gd name="T0" fmla="*/ 31 w 65"/>
                <a:gd name="T1" fmla="*/ 43 h 54"/>
                <a:gd name="T2" fmla="*/ 0 w 65"/>
                <a:gd name="T3" fmla="*/ 21 h 54"/>
                <a:gd name="T4" fmla="*/ 30 w 65"/>
                <a:gd name="T5" fmla="*/ 0 h 54"/>
                <a:gd name="T6" fmla="*/ 31 w 65"/>
                <a:gd name="T7" fmla="*/ 12 h 54"/>
                <a:gd name="T8" fmla="*/ 42 w 65"/>
                <a:gd name="T9" fmla="*/ 12 h 54"/>
                <a:gd name="T10" fmla="*/ 65 w 65"/>
                <a:gd name="T11" fmla="*/ 32 h 54"/>
                <a:gd name="T12" fmla="*/ 52 w 65"/>
                <a:gd name="T13" fmla="*/ 54 h 54"/>
                <a:gd name="T14" fmla="*/ 52 w 65"/>
                <a:gd name="T15" fmla="*/ 39 h 54"/>
                <a:gd name="T16" fmla="*/ 41 w 65"/>
                <a:gd name="T17" fmla="*/ 31 h 54"/>
                <a:gd name="T18" fmla="*/ 31 w 65"/>
                <a:gd name="T19" fmla="*/ 31 h 54"/>
                <a:gd name="T20" fmla="*/ 31 w 65"/>
                <a:gd name="T21"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1" y="43"/>
                  </a:moveTo>
                  <a:cubicBezTo>
                    <a:pt x="0" y="21"/>
                    <a:pt x="0" y="21"/>
                    <a:pt x="0" y="21"/>
                  </a:cubicBezTo>
                  <a:cubicBezTo>
                    <a:pt x="30" y="0"/>
                    <a:pt x="30" y="0"/>
                    <a:pt x="30" y="0"/>
                  </a:cubicBezTo>
                  <a:cubicBezTo>
                    <a:pt x="31" y="12"/>
                    <a:pt x="31" y="12"/>
                    <a:pt x="31" y="12"/>
                  </a:cubicBezTo>
                  <a:cubicBezTo>
                    <a:pt x="31" y="12"/>
                    <a:pt x="36" y="12"/>
                    <a:pt x="42" y="12"/>
                  </a:cubicBezTo>
                  <a:cubicBezTo>
                    <a:pt x="51" y="12"/>
                    <a:pt x="65" y="19"/>
                    <a:pt x="65" y="32"/>
                  </a:cubicBezTo>
                  <a:cubicBezTo>
                    <a:pt x="65" y="43"/>
                    <a:pt x="56" y="53"/>
                    <a:pt x="52" y="54"/>
                  </a:cubicBezTo>
                  <a:cubicBezTo>
                    <a:pt x="52" y="54"/>
                    <a:pt x="53" y="42"/>
                    <a:pt x="52" y="39"/>
                  </a:cubicBezTo>
                  <a:cubicBezTo>
                    <a:pt x="52" y="38"/>
                    <a:pt x="51" y="31"/>
                    <a:pt x="41" y="31"/>
                  </a:cubicBezTo>
                  <a:cubicBezTo>
                    <a:pt x="31" y="31"/>
                    <a:pt x="31" y="31"/>
                    <a:pt x="31" y="31"/>
                  </a:cubicBezTo>
                  <a:lnTo>
                    <a:pt x="31"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92">
              <a:extLst>
                <a:ext uri="{FF2B5EF4-FFF2-40B4-BE49-F238E27FC236}">
                  <a16:creationId xmlns:a16="http://schemas.microsoft.com/office/drawing/2014/main" id="{0A829131-8F7B-4117-A5F1-08AAF1912553}"/>
                </a:ext>
              </a:extLst>
            </p:cNvPr>
            <p:cNvSpPr>
              <a:spLocks/>
            </p:cNvSpPr>
            <p:nvPr/>
          </p:nvSpPr>
          <p:spPr bwMode="auto">
            <a:xfrm>
              <a:off x="10266363" y="887412"/>
              <a:ext cx="242888" cy="206375"/>
            </a:xfrm>
            <a:custGeom>
              <a:avLst/>
              <a:gdLst>
                <a:gd name="T0" fmla="*/ 34 w 65"/>
                <a:gd name="T1" fmla="*/ 24 h 55"/>
                <a:gd name="T2" fmla="*/ 24 w 65"/>
                <a:gd name="T3" fmla="*/ 24 h 55"/>
                <a:gd name="T4" fmla="*/ 12 w 65"/>
                <a:gd name="T5" fmla="*/ 15 h 55"/>
                <a:gd name="T6" fmla="*/ 13 w 65"/>
                <a:gd name="T7" fmla="*/ 0 h 55"/>
                <a:gd name="T8" fmla="*/ 0 w 65"/>
                <a:gd name="T9" fmla="*/ 22 h 55"/>
                <a:gd name="T10" fmla="*/ 22 w 65"/>
                <a:gd name="T11" fmla="*/ 43 h 55"/>
                <a:gd name="T12" fmla="*/ 34 w 65"/>
                <a:gd name="T13" fmla="*/ 43 h 55"/>
                <a:gd name="T14" fmla="*/ 34 w 65"/>
                <a:gd name="T15" fmla="*/ 55 h 55"/>
                <a:gd name="T16" fmla="*/ 65 w 65"/>
                <a:gd name="T17" fmla="*/ 33 h 55"/>
                <a:gd name="T18" fmla="*/ 34 w 65"/>
                <a:gd name="T19" fmla="*/ 12 h 55"/>
                <a:gd name="T20" fmla="*/ 34 w 65"/>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4" y="24"/>
                  </a:moveTo>
                  <a:cubicBezTo>
                    <a:pt x="24" y="24"/>
                    <a:pt x="24" y="24"/>
                    <a:pt x="24" y="24"/>
                  </a:cubicBezTo>
                  <a:cubicBezTo>
                    <a:pt x="13" y="24"/>
                    <a:pt x="13" y="17"/>
                    <a:pt x="12" y="15"/>
                  </a:cubicBezTo>
                  <a:cubicBezTo>
                    <a:pt x="12" y="13"/>
                    <a:pt x="13" y="0"/>
                    <a:pt x="13" y="0"/>
                  </a:cubicBezTo>
                  <a:cubicBezTo>
                    <a:pt x="8" y="2"/>
                    <a:pt x="0" y="12"/>
                    <a:pt x="0" y="22"/>
                  </a:cubicBezTo>
                  <a:cubicBezTo>
                    <a:pt x="0" y="36"/>
                    <a:pt x="14" y="43"/>
                    <a:pt x="22" y="43"/>
                  </a:cubicBezTo>
                  <a:cubicBezTo>
                    <a:pt x="28" y="43"/>
                    <a:pt x="34" y="43"/>
                    <a:pt x="34" y="43"/>
                  </a:cubicBezTo>
                  <a:cubicBezTo>
                    <a:pt x="34" y="55"/>
                    <a:pt x="34" y="55"/>
                    <a:pt x="34" y="55"/>
                  </a:cubicBezTo>
                  <a:cubicBezTo>
                    <a:pt x="65" y="33"/>
                    <a:pt x="65" y="33"/>
                    <a:pt x="65" y="33"/>
                  </a:cubicBezTo>
                  <a:cubicBezTo>
                    <a:pt x="34" y="12"/>
                    <a:pt x="34" y="12"/>
                    <a:pt x="34" y="12"/>
                  </a:cubicBezTo>
                  <a:lnTo>
                    <a:pt x="34"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2" name="Groupe 283">
            <a:extLst>
              <a:ext uri="{FF2B5EF4-FFF2-40B4-BE49-F238E27FC236}">
                <a16:creationId xmlns:a16="http://schemas.microsoft.com/office/drawing/2014/main" id="{7D57691A-B095-4D4B-AEE4-E60B58C0308F}"/>
              </a:ext>
              <a:ext uri="{C183D7F6-B498-43B3-948B-1728B52AA6E4}">
                <adec:decorative xmlns:adec="http://schemas.microsoft.com/office/drawing/2017/decorative" val="1"/>
              </a:ext>
            </a:extLst>
          </p:cNvPr>
          <p:cNvGrpSpPr>
            <a:grpSpLocks noChangeAspect="1"/>
          </p:cNvGrpSpPr>
          <p:nvPr/>
        </p:nvGrpSpPr>
        <p:grpSpPr>
          <a:xfrm>
            <a:off x="5245558" y="1101944"/>
            <a:ext cx="680533" cy="633600"/>
            <a:chOff x="7837488" y="5111750"/>
            <a:chExt cx="874713" cy="814388"/>
          </a:xfrm>
        </p:grpSpPr>
        <p:sp>
          <p:nvSpPr>
            <p:cNvPr id="623" name="Freeform 44">
              <a:extLst>
                <a:ext uri="{FF2B5EF4-FFF2-40B4-BE49-F238E27FC236}">
                  <a16:creationId xmlns:a16="http://schemas.microsoft.com/office/drawing/2014/main" id="{AF79A0AA-B6B0-4BF5-BB4E-2754EA2D3AA4}"/>
                </a:ext>
              </a:extLst>
            </p:cNvPr>
            <p:cNvSpPr>
              <a:spLocks/>
            </p:cNvSpPr>
            <p:nvPr/>
          </p:nvSpPr>
          <p:spPr bwMode="auto">
            <a:xfrm>
              <a:off x="7837488" y="5111750"/>
              <a:ext cx="874713" cy="814388"/>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4" name="Groupe 285">
              <a:extLst>
                <a:ext uri="{FF2B5EF4-FFF2-40B4-BE49-F238E27FC236}">
                  <a16:creationId xmlns:a16="http://schemas.microsoft.com/office/drawing/2014/main" id="{C3FD7AFC-3277-4D73-9980-124415D62420}"/>
                </a:ext>
              </a:extLst>
            </p:cNvPr>
            <p:cNvGrpSpPr/>
            <p:nvPr/>
          </p:nvGrpSpPr>
          <p:grpSpPr>
            <a:xfrm>
              <a:off x="8181975" y="5273605"/>
              <a:ext cx="214313" cy="508993"/>
              <a:chOff x="8181975" y="5273605"/>
              <a:chExt cx="214313" cy="508993"/>
            </a:xfrm>
          </p:grpSpPr>
          <p:sp>
            <p:nvSpPr>
              <p:cNvPr id="625" name="Freeform 178">
                <a:extLst>
                  <a:ext uri="{FF2B5EF4-FFF2-40B4-BE49-F238E27FC236}">
                    <a16:creationId xmlns:a16="http://schemas.microsoft.com/office/drawing/2014/main" id="{6F1FD793-601E-4C17-8A23-983E63BE7912}"/>
                  </a:ext>
                </a:extLst>
              </p:cNvPr>
              <p:cNvSpPr>
                <a:spLocks/>
              </p:cNvSpPr>
              <p:nvPr/>
            </p:nvSpPr>
            <p:spPr bwMode="auto">
              <a:xfrm>
                <a:off x="8272463" y="5475287"/>
                <a:ext cx="123825" cy="139700"/>
              </a:xfrm>
              <a:custGeom>
                <a:avLst/>
                <a:gdLst>
                  <a:gd name="T0" fmla="*/ 52 w 78"/>
                  <a:gd name="T1" fmla="*/ 43 h 88"/>
                  <a:gd name="T2" fmla="*/ 62 w 78"/>
                  <a:gd name="T3" fmla="*/ 52 h 88"/>
                  <a:gd name="T4" fmla="*/ 78 w 78"/>
                  <a:gd name="T5" fmla="*/ 0 h 88"/>
                  <a:gd name="T6" fmla="*/ 29 w 78"/>
                  <a:gd name="T7" fmla="*/ 17 h 88"/>
                  <a:gd name="T8" fmla="*/ 36 w 78"/>
                  <a:gd name="T9" fmla="*/ 29 h 88"/>
                  <a:gd name="T10" fmla="*/ 0 w 78"/>
                  <a:gd name="T11" fmla="*/ 59 h 88"/>
                  <a:gd name="T12" fmla="*/ 0 w 78"/>
                  <a:gd name="T13" fmla="*/ 88 h 88"/>
                  <a:gd name="T14" fmla="*/ 52 w 78"/>
                  <a:gd name="T15" fmla="*/ 43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8">
                    <a:moveTo>
                      <a:pt x="52" y="43"/>
                    </a:moveTo>
                    <a:lnTo>
                      <a:pt x="62" y="52"/>
                    </a:lnTo>
                    <a:lnTo>
                      <a:pt x="78" y="0"/>
                    </a:lnTo>
                    <a:lnTo>
                      <a:pt x="29" y="17"/>
                    </a:lnTo>
                    <a:lnTo>
                      <a:pt x="36" y="29"/>
                    </a:lnTo>
                    <a:lnTo>
                      <a:pt x="0" y="59"/>
                    </a:lnTo>
                    <a:lnTo>
                      <a:pt x="0" y="88"/>
                    </a:lnTo>
                    <a:lnTo>
                      <a:pt x="52"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179">
                <a:extLst>
                  <a:ext uri="{FF2B5EF4-FFF2-40B4-BE49-F238E27FC236}">
                    <a16:creationId xmlns:a16="http://schemas.microsoft.com/office/drawing/2014/main" id="{BC0785D7-34BA-4479-B7F4-BD408E37C01E}"/>
                  </a:ext>
                </a:extLst>
              </p:cNvPr>
              <p:cNvSpPr>
                <a:spLocks noChangeAspect="1"/>
              </p:cNvSpPr>
              <p:nvPr/>
            </p:nvSpPr>
            <p:spPr bwMode="auto">
              <a:xfrm>
                <a:off x="8181975" y="5273605"/>
                <a:ext cx="169023" cy="508993"/>
              </a:xfrm>
              <a:custGeom>
                <a:avLst/>
                <a:gdLst>
                  <a:gd name="T0" fmla="*/ 14 w 37"/>
                  <a:gd name="T1" fmla="*/ 110 h 112"/>
                  <a:gd name="T2" fmla="*/ 14 w 37"/>
                  <a:gd name="T3" fmla="*/ 35 h 112"/>
                  <a:gd name="T4" fmla="*/ 0 w 37"/>
                  <a:gd name="T5" fmla="*/ 35 h 112"/>
                  <a:gd name="T6" fmla="*/ 17 w 37"/>
                  <a:gd name="T7" fmla="*/ 0 h 112"/>
                  <a:gd name="T8" fmla="*/ 37 w 37"/>
                  <a:gd name="T9" fmla="*/ 35 h 112"/>
                  <a:gd name="T10" fmla="*/ 24 w 37"/>
                  <a:gd name="T11" fmla="*/ 35 h 112"/>
                  <a:gd name="T12" fmla="*/ 24 w 37"/>
                  <a:gd name="T13" fmla="*/ 40 h 112"/>
                  <a:gd name="T14" fmla="*/ 24 w 37"/>
                  <a:gd name="T15" fmla="*/ 67 h 112"/>
                  <a:gd name="T16" fmla="*/ 24 w 37"/>
                  <a:gd name="T17" fmla="*/ 79 h 112"/>
                  <a:gd name="T18" fmla="*/ 24 w 37"/>
                  <a:gd name="T19" fmla="*/ 87 h 112"/>
                  <a:gd name="T20" fmla="*/ 24 w 37"/>
                  <a:gd name="T21" fmla="*/ 110 h 112"/>
                  <a:gd name="T22" fmla="*/ 22 w 37"/>
                  <a:gd name="T23" fmla="*/ 110 h 112"/>
                  <a:gd name="T24" fmla="*/ 16 w 37"/>
                  <a:gd name="T25" fmla="*/ 112 h 112"/>
                  <a:gd name="T26" fmla="*/ 14 w 37"/>
                  <a:gd name="T27"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12">
                    <a:moveTo>
                      <a:pt x="14" y="110"/>
                    </a:moveTo>
                    <a:cubicBezTo>
                      <a:pt x="14" y="35"/>
                      <a:pt x="14" y="35"/>
                      <a:pt x="14" y="35"/>
                    </a:cubicBezTo>
                    <a:cubicBezTo>
                      <a:pt x="0" y="35"/>
                      <a:pt x="0" y="35"/>
                      <a:pt x="0" y="35"/>
                    </a:cubicBezTo>
                    <a:cubicBezTo>
                      <a:pt x="17" y="0"/>
                      <a:pt x="17" y="0"/>
                      <a:pt x="17" y="0"/>
                    </a:cubicBezTo>
                    <a:cubicBezTo>
                      <a:pt x="37" y="35"/>
                      <a:pt x="37" y="35"/>
                      <a:pt x="37" y="35"/>
                    </a:cubicBezTo>
                    <a:cubicBezTo>
                      <a:pt x="24" y="35"/>
                      <a:pt x="24" y="35"/>
                      <a:pt x="24" y="35"/>
                    </a:cubicBezTo>
                    <a:cubicBezTo>
                      <a:pt x="24" y="40"/>
                      <a:pt x="24" y="40"/>
                      <a:pt x="24" y="40"/>
                    </a:cubicBezTo>
                    <a:cubicBezTo>
                      <a:pt x="24" y="67"/>
                      <a:pt x="24" y="67"/>
                      <a:pt x="24" y="67"/>
                    </a:cubicBezTo>
                    <a:cubicBezTo>
                      <a:pt x="24" y="79"/>
                      <a:pt x="24" y="79"/>
                      <a:pt x="24" y="79"/>
                    </a:cubicBezTo>
                    <a:cubicBezTo>
                      <a:pt x="24" y="87"/>
                      <a:pt x="24" y="87"/>
                      <a:pt x="24" y="87"/>
                    </a:cubicBezTo>
                    <a:cubicBezTo>
                      <a:pt x="24" y="110"/>
                      <a:pt x="24" y="110"/>
                      <a:pt x="24" y="110"/>
                    </a:cubicBezTo>
                    <a:cubicBezTo>
                      <a:pt x="23" y="109"/>
                      <a:pt x="22" y="109"/>
                      <a:pt x="22" y="110"/>
                    </a:cubicBezTo>
                    <a:cubicBezTo>
                      <a:pt x="20" y="110"/>
                      <a:pt x="18" y="112"/>
                      <a:pt x="16" y="112"/>
                    </a:cubicBezTo>
                    <a:cubicBezTo>
                      <a:pt x="14" y="112"/>
                      <a:pt x="14" y="110"/>
                      <a:pt x="14"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27" name="Groupe 447">
            <a:extLst>
              <a:ext uri="{FF2B5EF4-FFF2-40B4-BE49-F238E27FC236}">
                <a16:creationId xmlns:a16="http://schemas.microsoft.com/office/drawing/2014/main" id="{931415A5-9D99-417B-B901-A5C7C31581DA}"/>
              </a:ext>
              <a:ext uri="{C183D7F6-B498-43B3-948B-1728B52AA6E4}">
                <adec:decorative xmlns:adec="http://schemas.microsoft.com/office/drawing/2017/decorative" val="1"/>
              </a:ext>
            </a:extLst>
          </p:cNvPr>
          <p:cNvGrpSpPr>
            <a:grpSpLocks noChangeAspect="1"/>
          </p:cNvGrpSpPr>
          <p:nvPr/>
        </p:nvGrpSpPr>
        <p:grpSpPr>
          <a:xfrm>
            <a:off x="1293333" y="5862175"/>
            <a:ext cx="676745" cy="633600"/>
            <a:chOff x="5927726" y="5300663"/>
            <a:chExt cx="871538" cy="815975"/>
          </a:xfrm>
        </p:grpSpPr>
        <p:sp>
          <p:nvSpPr>
            <p:cNvPr id="628" name="Freeform 104">
              <a:extLst>
                <a:ext uri="{FF2B5EF4-FFF2-40B4-BE49-F238E27FC236}">
                  <a16:creationId xmlns:a16="http://schemas.microsoft.com/office/drawing/2014/main" id="{12A18EFE-F1A5-451C-AA4A-430E9684C6E7}"/>
                </a:ext>
              </a:extLst>
            </p:cNvPr>
            <p:cNvSpPr>
              <a:spLocks/>
            </p:cNvSpPr>
            <p:nvPr/>
          </p:nvSpPr>
          <p:spPr bwMode="auto">
            <a:xfrm>
              <a:off x="5927726" y="5300663"/>
              <a:ext cx="871538"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9" name="Groupe 449">
              <a:extLst>
                <a:ext uri="{FF2B5EF4-FFF2-40B4-BE49-F238E27FC236}">
                  <a16:creationId xmlns:a16="http://schemas.microsoft.com/office/drawing/2014/main" id="{C69118CE-CD55-451E-9110-D5CF31517D95}"/>
                </a:ext>
              </a:extLst>
            </p:cNvPr>
            <p:cNvGrpSpPr/>
            <p:nvPr/>
          </p:nvGrpSpPr>
          <p:grpSpPr>
            <a:xfrm>
              <a:off x="6227763" y="5492751"/>
              <a:ext cx="263525" cy="450850"/>
              <a:chOff x="6227763" y="5492751"/>
              <a:chExt cx="263525" cy="450850"/>
            </a:xfrm>
          </p:grpSpPr>
          <p:sp>
            <p:nvSpPr>
              <p:cNvPr id="630" name="Freeform 106">
                <a:extLst>
                  <a:ext uri="{FF2B5EF4-FFF2-40B4-BE49-F238E27FC236}">
                    <a16:creationId xmlns:a16="http://schemas.microsoft.com/office/drawing/2014/main" id="{F749E82C-F6FD-464F-8ED7-B1D8935A3FB6}"/>
                  </a:ext>
                </a:extLst>
              </p:cNvPr>
              <p:cNvSpPr>
                <a:spLocks/>
              </p:cNvSpPr>
              <p:nvPr/>
            </p:nvSpPr>
            <p:spPr bwMode="auto">
              <a:xfrm>
                <a:off x="6284913" y="5827713"/>
                <a:ext cx="123825" cy="115888"/>
              </a:xfrm>
              <a:custGeom>
                <a:avLst/>
                <a:gdLst>
                  <a:gd name="T0" fmla="*/ 5 w 33"/>
                  <a:gd name="T1" fmla="*/ 24 h 31"/>
                  <a:gd name="T2" fmla="*/ 8 w 33"/>
                  <a:gd name="T3" fmla="*/ 4 h 31"/>
                  <a:gd name="T4" fmla="*/ 28 w 33"/>
                  <a:gd name="T5" fmla="*/ 7 h 31"/>
                  <a:gd name="T6" fmla="*/ 24 w 33"/>
                  <a:gd name="T7" fmla="*/ 26 h 31"/>
                  <a:gd name="T8" fmla="*/ 5 w 33"/>
                  <a:gd name="T9" fmla="*/ 24 h 31"/>
                </a:gdLst>
                <a:ahLst/>
                <a:cxnLst>
                  <a:cxn ang="0">
                    <a:pos x="T0" y="T1"/>
                  </a:cxn>
                  <a:cxn ang="0">
                    <a:pos x="T2" y="T3"/>
                  </a:cxn>
                  <a:cxn ang="0">
                    <a:pos x="T4" y="T5"/>
                  </a:cxn>
                  <a:cxn ang="0">
                    <a:pos x="T6" y="T7"/>
                  </a:cxn>
                  <a:cxn ang="0">
                    <a:pos x="T8" y="T9"/>
                  </a:cxn>
                </a:cxnLst>
                <a:rect l="0" t="0" r="r" b="b"/>
                <a:pathLst>
                  <a:path w="33" h="31">
                    <a:moveTo>
                      <a:pt x="5" y="24"/>
                    </a:moveTo>
                    <a:cubicBezTo>
                      <a:pt x="0" y="18"/>
                      <a:pt x="1" y="9"/>
                      <a:pt x="8" y="4"/>
                    </a:cubicBezTo>
                    <a:cubicBezTo>
                      <a:pt x="14" y="0"/>
                      <a:pt x="23" y="1"/>
                      <a:pt x="28" y="7"/>
                    </a:cubicBezTo>
                    <a:cubicBezTo>
                      <a:pt x="33" y="13"/>
                      <a:pt x="31" y="22"/>
                      <a:pt x="24" y="26"/>
                    </a:cubicBezTo>
                    <a:cubicBezTo>
                      <a:pt x="18" y="31"/>
                      <a:pt x="9" y="30"/>
                      <a:pt x="5" y="2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31" name="Freeform 107">
                <a:extLst>
                  <a:ext uri="{FF2B5EF4-FFF2-40B4-BE49-F238E27FC236}">
                    <a16:creationId xmlns:a16="http://schemas.microsoft.com/office/drawing/2014/main" id="{2A052AA3-2699-423E-BB15-29BF229E5E3C}"/>
                  </a:ext>
                </a:extLst>
              </p:cNvPr>
              <p:cNvSpPr>
                <a:spLocks noEditPoints="1"/>
              </p:cNvSpPr>
              <p:nvPr/>
            </p:nvSpPr>
            <p:spPr bwMode="auto">
              <a:xfrm>
                <a:off x="6227763" y="5492751"/>
                <a:ext cx="263525" cy="315913"/>
              </a:xfrm>
              <a:custGeom>
                <a:avLst/>
                <a:gdLst>
                  <a:gd name="T0" fmla="*/ 19 w 70"/>
                  <a:gd name="T1" fmla="*/ 84 h 84"/>
                  <a:gd name="T2" fmla="*/ 19 w 70"/>
                  <a:gd name="T3" fmla="*/ 84 h 84"/>
                  <a:gd name="T4" fmla="*/ 19 w 70"/>
                  <a:gd name="T5" fmla="*/ 84 h 84"/>
                  <a:gd name="T6" fmla="*/ 19 w 70"/>
                  <a:gd name="T7" fmla="*/ 80 h 84"/>
                  <a:gd name="T8" fmla="*/ 19 w 70"/>
                  <a:gd name="T9" fmla="*/ 76 h 84"/>
                  <a:gd name="T10" fmla="*/ 20 w 70"/>
                  <a:gd name="T11" fmla="*/ 68 h 84"/>
                  <a:gd name="T12" fmla="*/ 23 w 70"/>
                  <a:gd name="T13" fmla="*/ 60 h 84"/>
                  <a:gd name="T14" fmla="*/ 28 w 70"/>
                  <a:gd name="T15" fmla="*/ 54 h 84"/>
                  <a:gd name="T16" fmla="*/ 33 w 70"/>
                  <a:gd name="T17" fmla="*/ 48 h 84"/>
                  <a:gd name="T18" fmla="*/ 40 w 70"/>
                  <a:gd name="T19" fmla="*/ 41 h 84"/>
                  <a:gd name="T20" fmla="*/ 44 w 70"/>
                  <a:gd name="T21" fmla="*/ 32 h 84"/>
                  <a:gd name="T22" fmla="*/ 40 w 70"/>
                  <a:gd name="T23" fmla="*/ 25 h 84"/>
                  <a:gd name="T24" fmla="*/ 31 w 70"/>
                  <a:gd name="T25" fmla="*/ 22 h 84"/>
                  <a:gd name="T26" fmla="*/ 19 w 70"/>
                  <a:gd name="T27" fmla="*/ 23 h 84"/>
                  <a:gd name="T28" fmla="*/ 7 w 70"/>
                  <a:gd name="T29" fmla="*/ 28 h 84"/>
                  <a:gd name="T30" fmla="*/ 0 w 70"/>
                  <a:gd name="T31" fmla="*/ 9 h 84"/>
                  <a:gd name="T32" fmla="*/ 16 w 70"/>
                  <a:gd name="T33" fmla="*/ 2 h 84"/>
                  <a:gd name="T34" fmla="*/ 34 w 70"/>
                  <a:gd name="T35" fmla="*/ 0 h 84"/>
                  <a:gd name="T36" fmla="*/ 52 w 70"/>
                  <a:gd name="T37" fmla="*/ 3 h 84"/>
                  <a:gd name="T38" fmla="*/ 63 w 70"/>
                  <a:gd name="T39" fmla="*/ 10 h 84"/>
                  <a:gd name="T40" fmla="*/ 69 w 70"/>
                  <a:gd name="T41" fmla="*/ 20 h 84"/>
                  <a:gd name="T42" fmla="*/ 70 w 70"/>
                  <a:gd name="T43" fmla="*/ 30 h 84"/>
                  <a:gd name="T44" fmla="*/ 69 w 70"/>
                  <a:gd name="T45" fmla="*/ 39 h 84"/>
                  <a:gd name="T46" fmla="*/ 65 w 70"/>
                  <a:gd name="T47" fmla="*/ 46 h 84"/>
                  <a:gd name="T48" fmla="*/ 60 w 70"/>
                  <a:gd name="T49" fmla="*/ 53 h 84"/>
                  <a:gd name="T50" fmla="*/ 54 w 70"/>
                  <a:gd name="T51" fmla="*/ 59 h 84"/>
                  <a:gd name="T52" fmla="*/ 50 w 70"/>
                  <a:gd name="T53" fmla="*/ 63 h 84"/>
                  <a:gd name="T54" fmla="*/ 46 w 70"/>
                  <a:gd name="T55" fmla="*/ 68 h 84"/>
                  <a:gd name="T56" fmla="*/ 43 w 70"/>
                  <a:gd name="T57" fmla="*/ 74 h 84"/>
                  <a:gd name="T58" fmla="*/ 42 w 70"/>
                  <a:gd name="T59" fmla="*/ 79 h 84"/>
                  <a:gd name="T60" fmla="*/ 42 w 70"/>
                  <a:gd name="T61" fmla="*/ 79 h 84"/>
                  <a:gd name="T62" fmla="*/ 42 w 70"/>
                  <a:gd name="T63" fmla="*/ 79 h 84"/>
                  <a:gd name="T64" fmla="*/ 38 w 70"/>
                  <a:gd name="T65" fmla="*/ 84 h 84"/>
                  <a:gd name="T66" fmla="*/ 19 w 70"/>
                  <a:gd name="T6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84">
                    <a:moveTo>
                      <a:pt x="19" y="84"/>
                    </a:moveTo>
                    <a:cubicBezTo>
                      <a:pt x="19" y="84"/>
                      <a:pt x="19" y="84"/>
                      <a:pt x="19" y="84"/>
                    </a:cubicBezTo>
                    <a:moveTo>
                      <a:pt x="19" y="84"/>
                    </a:moveTo>
                    <a:cubicBezTo>
                      <a:pt x="19" y="80"/>
                      <a:pt x="19" y="80"/>
                      <a:pt x="19" y="80"/>
                    </a:cubicBezTo>
                    <a:cubicBezTo>
                      <a:pt x="19" y="78"/>
                      <a:pt x="19" y="77"/>
                      <a:pt x="19" y="76"/>
                    </a:cubicBezTo>
                    <a:cubicBezTo>
                      <a:pt x="19" y="73"/>
                      <a:pt x="19" y="70"/>
                      <a:pt x="20" y="68"/>
                    </a:cubicBezTo>
                    <a:cubicBezTo>
                      <a:pt x="21" y="65"/>
                      <a:pt x="22" y="63"/>
                      <a:pt x="23" y="60"/>
                    </a:cubicBezTo>
                    <a:cubicBezTo>
                      <a:pt x="25" y="58"/>
                      <a:pt x="26" y="56"/>
                      <a:pt x="28" y="54"/>
                    </a:cubicBezTo>
                    <a:cubicBezTo>
                      <a:pt x="29" y="52"/>
                      <a:pt x="31" y="50"/>
                      <a:pt x="33" y="48"/>
                    </a:cubicBezTo>
                    <a:cubicBezTo>
                      <a:pt x="36" y="46"/>
                      <a:pt x="38" y="43"/>
                      <a:pt x="40" y="41"/>
                    </a:cubicBezTo>
                    <a:cubicBezTo>
                      <a:pt x="42" y="38"/>
                      <a:pt x="44" y="35"/>
                      <a:pt x="44" y="32"/>
                    </a:cubicBezTo>
                    <a:cubicBezTo>
                      <a:pt x="44" y="29"/>
                      <a:pt x="43" y="27"/>
                      <a:pt x="40" y="25"/>
                    </a:cubicBezTo>
                    <a:cubicBezTo>
                      <a:pt x="38" y="23"/>
                      <a:pt x="35" y="22"/>
                      <a:pt x="31" y="22"/>
                    </a:cubicBezTo>
                    <a:cubicBezTo>
                      <a:pt x="27" y="22"/>
                      <a:pt x="23" y="22"/>
                      <a:pt x="19" y="23"/>
                    </a:cubicBezTo>
                    <a:cubicBezTo>
                      <a:pt x="16" y="24"/>
                      <a:pt x="12" y="26"/>
                      <a:pt x="7" y="28"/>
                    </a:cubicBezTo>
                    <a:cubicBezTo>
                      <a:pt x="0" y="9"/>
                      <a:pt x="0" y="9"/>
                      <a:pt x="0" y="9"/>
                    </a:cubicBezTo>
                    <a:cubicBezTo>
                      <a:pt x="4" y="6"/>
                      <a:pt x="10" y="4"/>
                      <a:pt x="16" y="2"/>
                    </a:cubicBezTo>
                    <a:cubicBezTo>
                      <a:pt x="22" y="1"/>
                      <a:pt x="28" y="0"/>
                      <a:pt x="34" y="0"/>
                    </a:cubicBezTo>
                    <a:cubicBezTo>
                      <a:pt x="41" y="0"/>
                      <a:pt x="47" y="1"/>
                      <a:pt x="52" y="3"/>
                    </a:cubicBezTo>
                    <a:cubicBezTo>
                      <a:pt x="56" y="5"/>
                      <a:pt x="60" y="7"/>
                      <a:pt x="63" y="10"/>
                    </a:cubicBezTo>
                    <a:cubicBezTo>
                      <a:pt x="66" y="13"/>
                      <a:pt x="68" y="16"/>
                      <a:pt x="69" y="20"/>
                    </a:cubicBezTo>
                    <a:cubicBezTo>
                      <a:pt x="70" y="24"/>
                      <a:pt x="70" y="27"/>
                      <a:pt x="70" y="30"/>
                    </a:cubicBezTo>
                    <a:cubicBezTo>
                      <a:pt x="70" y="33"/>
                      <a:pt x="70" y="36"/>
                      <a:pt x="69" y="39"/>
                    </a:cubicBezTo>
                    <a:cubicBezTo>
                      <a:pt x="68" y="42"/>
                      <a:pt x="67" y="44"/>
                      <a:pt x="65" y="46"/>
                    </a:cubicBezTo>
                    <a:cubicBezTo>
                      <a:pt x="64" y="49"/>
                      <a:pt x="62" y="51"/>
                      <a:pt x="60" y="53"/>
                    </a:cubicBezTo>
                    <a:cubicBezTo>
                      <a:pt x="58" y="55"/>
                      <a:pt x="56" y="57"/>
                      <a:pt x="54" y="59"/>
                    </a:cubicBezTo>
                    <a:cubicBezTo>
                      <a:pt x="53" y="60"/>
                      <a:pt x="52" y="62"/>
                      <a:pt x="50" y="63"/>
                    </a:cubicBezTo>
                    <a:cubicBezTo>
                      <a:pt x="49" y="65"/>
                      <a:pt x="47" y="66"/>
                      <a:pt x="46" y="68"/>
                    </a:cubicBezTo>
                    <a:cubicBezTo>
                      <a:pt x="45" y="70"/>
                      <a:pt x="44" y="72"/>
                      <a:pt x="43" y="74"/>
                    </a:cubicBezTo>
                    <a:cubicBezTo>
                      <a:pt x="42" y="75"/>
                      <a:pt x="42" y="77"/>
                      <a:pt x="42" y="79"/>
                    </a:cubicBezTo>
                    <a:cubicBezTo>
                      <a:pt x="42" y="79"/>
                      <a:pt x="42" y="79"/>
                      <a:pt x="42" y="79"/>
                    </a:cubicBezTo>
                    <a:cubicBezTo>
                      <a:pt x="42" y="79"/>
                      <a:pt x="42" y="79"/>
                      <a:pt x="42" y="79"/>
                    </a:cubicBezTo>
                    <a:cubicBezTo>
                      <a:pt x="42" y="82"/>
                      <a:pt x="40" y="84"/>
                      <a:pt x="38" y="84"/>
                    </a:cubicBezTo>
                    <a:lnTo>
                      <a:pt x="19" y="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32" name="Groupe 453">
            <a:extLst>
              <a:ext uri="{FF2B5EF4-FFF2-40B4-BE49-F238E27FC236}">
                <a16:creationId xmlns:a16="http://schemas.microsoft.com/office/drawing/2014/main" id="{347C49EC-1B00-4F86-B841-872F172B882A}"/>
              </a:ext>
              <a:ext uri="{C183D7F6-B498-43B3-948B-1728B52AA6E4}">
                <adec:decorative xmlns:adec="http://schemas.microsoft.com/office/drawing/2017/decorative" val="1"/>
              </a:ext>
            </a:extLst>
          </p:cNvPr>
          <p:cNvGrpSpPr>
            <a:grpSpLocks noChangeAspect="1"/>
          </p:cNvGrpSpPr>
          <p:nvPr/>
        </p:nvGrpSpPr>
        <p:grpSpPr>
          <a:xfrm>
            <a:off x="2082451" y="5862175"/>
            <a:ext cx="679210" cy="633600"/>
            <a:chOff x="6983413" y="5300663"/>
            <a:chExt cx="874713" cy="815975"/>
          </a:xfrm>
        </p:grpSpPr>
        <p:sp>
          <p:nvSpPr>
            <p:cNvPr id="633" name="Freeform 111">
              <a:extLst>
                <a:ext uri="{FF2B5EF4-FFF2-40B4-BE49-F238E27FC236}">
                  <a16:creationId xmlns:a16="http://schemas.microsoft.com/office/drawing/2014/main" id="{FCC82E70-3683-4A89-9D80-03EBA724AF56}"/>
                </a:ext>
              </a:extLst>
            </p:cNvPr>
            <p:cNvSpPr>
              <a:spLocks/>
            </p:cNvSpPr>
            <p:nvPr/>
          </p:nvSpPr>
          <p:spPr bwMode="auto">
            <a:xfrm>
              <a:off x="6983413" y="5300663"/>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3"/>
                  </a:cubicBezTo>
                  <a:cubicBezTo>
                    <a:pt x="102" y="0"/>
                    <a:pt x="166" y="9"/>
                    <a:pt x="199" y="53"/>
                  </a:cubicBezTo>
                  <a:cubicBezTo>
                    <a:pt x="233" y="96"/>
                    <a:pt x="219" y="153"/>
                    <a:pt x="173" y="185"/>
                  </a:cubicBezTo>
                  <a:cubicBezTo>
                    <a:pt x="128" y="217"/>
                    <a:pt x="67" y="213"/>
                    <a:pt x="34" y="17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4" name="Groupe 455">
              <a:extLst>
                <a:ext uri="{FF2B5EF4-FFF2-40B4-BE49-F238E27FC236}">
                  <a16:creationId xmlns:a16="http://schemas.microsoft.com/office/drawing/2014/main" id="{174A0FBC-72BC-4437-98D8-A5FFB6938C82}"/>
                </a:ext>
              </a:extLst>
            </p:cNvPr>
            <p:cNvGrpSpPr/>
            <p:nvPr/>
          </p:nvGrpSpPr>
          <p:grpSpPr>
            <a:xfrm>
              <a:off x="7350126" y="5470526"/>
              <a:ext cx="136525" cy="465137"/>
              <a:chOff x="7350126" y="5470526"/>
              <a:chExt cx="136525" cy="465137"/>
            </a:xfrm>
          </p:grpSpPr>
          <p:sp>
            <p:nvSpPr>
              <p:cNvPr id="635" name="Freeform 112">
                <a:extLst>
                  <a:ext uri="{FF2B5EF4-FFF2-40B4-BE49-F238E27FC236}">
                    <a16:creationId xmlns:a16="http://schemas.microsoft.com/office/drawing/2014/main" id="{E8FDAFF4-342C-42AD-A337-CC27D549410F}"/>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13">
                <a:extLst>
                  <a:ext uri="{FF2B5EF4-FFF2-40B4-BE49-F238E27FC236}">
                    <a16:creationId xmlns:a16="http://schemas.microsoft.com/office/drawing/2014/main" id="{AFD4D793-EDD8-4646-AB76-A81AA2D84915}"/>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59" name="Groupe 521">
            <a:extLst>
              <a:ext uri="{FF2B5EF4-FFF2-40B4-BE49-F238E27FC236}">
                <a16:creationId xmlns:a16="http://schemas.microsoft.com/office/drawing/2014/main" id="{A1D51B4D-7A98-4660-B5C7-EEAEFB7DC28E}"/>
              </a:ext>
              <a:ext uri="{C183D7F6-B498-43B3-948B-1728B52AA6E4}">
                <adec:decorative xmlns:adec="http://schemas.microsoft.com/office/drawing/2017/decorative" val="1"/>
              </a:ext>
            </a:extLst>
          </p:cNvPr>
          <p:cNvGrpSpPr>
            <a:grpSpLocks noChangeAspect="1"/>
          </p:cNvGrpSpPr>
          <p:nvPr/>
        </p:nvGrpSpPr>
        <p:grpSpPr>
          <a:xfrm>
            <a:off x="6834554" y="2027873"/>
            <a:ext cx="676745" cy="633600"/>
            <a:chOff x="2643188" y="5300663"/>
            <a:chExt cx="871538" cy="815975"/>
          </a:xfrm>
        </p:grpSpPr>
        <p:sp>
          <p:nvSpPr>
            <p:cNvPr id="660" name="Freeform 137">
              <a:extLst>
                <a:ext uri="{FF2B5EF4-FFF2-40B4-BE49-F238E27FC236}">
                  <a16:creationId xmlns:a16="http://schemas.microsoft.com/office/drawing/2014/main" id="{233C984A-CECD-487F-BB42-A730E286AF70}"/>
                </a:ext>
              </a:extLst>
            </p:cNvPr>
            <p:cNvSpPr>
              <a:spLocks/>
            </p:cNvSpPr>
            <p:nvPr/>
          </p:nvSpPr>
          <p:spPr bwMode="auto">
            <a:xfrm>
              <a:off x="2643188" y="5300663"/>
              <a:ext cx="871538" cy="815975"/>
            </a:xfrm>
            <a:custGeom>
              <a:avLst/>
              <a:gdLst>
                <a:gd name="T0" fmla="*/ 33 w 232"/>
                <a:gd name="T1" fmla="*/ 170 h 217"/>
                <a:gd name="T2" fmla="*/ 55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9" y="53"/>
                  </a:cubicBezTo>
                  <a:cubicBezTo>
                    <a:pt x="232" y="96"/>
                    <a:pt x="218" y="153"/>
                    <a:pt x="173" y="185"/>
                  </a:cubicBezTo>
                  <a:cubicBezTo>
                    <a:pt x="127" y="217"/>
                    <a:pt x="67" y="213"/>
                    <a:pt x="33" y="17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61" name="Groupe 523">
              <a:extLst>
                <a:ext uri="{FF2B5EF4-FFF2-40B4-BE49-F238E27FC236}">
                  <a16:creationId xmlns:a16="http://schemas.microsoft.com/office/drawing/2014/main" id="{D121CEF4-320E-4693-A8B1-9C6952F8730D}"/>
                </a:ext>
              </a:extLst>
            </p:cNvPr>
            <p:cNvGrpSpPr/>
            <p:nvPr/>
          </p:nvGrpSpPr>
          <p:grpSpPr>
            <a:xfrm>
              <a:off x="2849563" y="5511801"/>
              <a:ext cx="450850" cy="368300"/>
              <a:chOff x="2849563" y="5511801"/>
              <a:chExt cx="450850" cy="368300"/>
            </a:xfrm>
          </p:grpSpPr>
          <p:sp>
            <p:nvSpPr>
              <p:cNvPr id="662" name="Freeform 139">
                <a:extLst>
                  <a:ext uri="{FF2B5EF4-FFF2-40B4-BE49-F238E27FC236}">
                    <a16:creationId xmlns:a16="http://schemas.microsoft.com/office/drawing/2014/main" id="{3BD94092-1CFE-4C26-B8EF-CF3E44DD7F72}"/>
                  </a:ext>
                </a:extLst>
              </p:cNvPr>
              <p:cNvSpPr>
                <a:spLocks noEditPoints="1"/>
              </p:cNvSpPr>
              <p:nvPr/>
            </p:nvSpPr>
            <p:spPr bwMode="auto">
              <a:xfrm>
                <a:off x="2984501" y="5665788"/>
                <a:ext cx="120650" cy="112713"/>
              </a:xfrm>
              <a:custGeom>
                <a:avLst/>
                <a:gdLst>
                  <a:gd name="T0" fmla="*/ 26 w 32"/>
                  <a:gd name="T1" fmla="*/ 30 h 30"/>
                  <a:gd name="T2" fmla="*/ 32 w 32"/>
                  <a:gd name="T3" fmla="*/ 25 h 30"/>
                  <a:gd name="T4" fmla="*/ 26 w 32"/>
                  <a:gd name="T5" fmla="*/ 19 h 30"/>
                  <a:gd name="T6" fmla="*/ 0 w 32"/>
                  <a:gd name="T7" fmla="*/ 0 h 30"/>
                  <a:gd name="T8" fmla="*/ 20 w 32"/>
                  <a:gd name="T9" fmla="*/ 25 h 30"/>
                  <a:gd name="T10" fmla="*/ 26 w 32"/>
                  <a:gd name="T11" fmla="*/ 30 h 30"/>
                  <a:gd name="T12" fmla="*/ 26 w 32"/>
                  <a:gd name="T13" fmla="*/ 30 h 30"/>
                  <a:gd name="T14" fmla="*/ 26 w 32"/>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26" y="30"/>
                    </a:moveTo>
                    <a:cubicBezTo>
                      <a:pt x="29" y="30"/>
                      <a:pt x="32" y="28"/>
                      <a:pt x="32" y="25"/>
                    </a:cubicBezTo>
                    <a:cubicBezTo>
                      <a:pt x="32" y="21"/>
                      <a:pt x="29" y="19"/>
                      <a:pt x="26" y="19"/>
                    </a:cubicBezTo>
                    <a:cubicBezTo>
                      <a:pt x="0" y="0"/>
                      <a:pt x="0" y="0"/>
                      <a:pt x="0" y="0"/>
                    </a:cubicBezTo>
                    <a:cubicBezTo>
                      <a:pt x="20" y="25"/>
                      <a:pt x="20" y="25"/>
                      <a:pt x="20" y="25"/>
                    </a:cubicBezTo>
                    <a:cubicBezTo>
                      <a:pt x="21" y="28"/>
                      <a:pt x="23" y="30"/>
                      <a:pt x="26" y="30"/>
                    </a:cubicBezTo>
                    <a:close/>
                    <a:moveTo>
                      <a:pt x="26" y="30"/>
                    </a:moveTo>
                    <a:cubicBezTo>
                      <a:pt x="26" y="30"/>
                      <a:pt x="26" y="30"/>
                      <a:pt x="26" y="3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140">
                <a:extLst>
                  <a:ext uri="{FF2B5EF4-FFF2-40B4-BE49-F238E27FC236}">
                    <a16:creationId xmlns:a16="http://schemas.microsoft.com/office/drawing/2014/main" id="{07F6CDC9-577A-4201-A0F3-F999EF5E34CF}"/>
                  </a:ext>
                </a:extLst>
              </p:cNvPr>
              <p:cNvSpPr>
                <a:spLocks/>
              </p:cNvSpPr>
              <p:nvPr/>
            </p:nvSpPr>
            <p:spPr bwMode="auto">
              <a:xfrm>
                <a:off x="2849563" y="5511801"/>
                <a:ext cx="450850" cy="368300"/>
              </a:xfrm>
              <a:custGeom>
                <a:avLst/>
                <a:gdLst>
                  <a:gd name="T0" fmla="*/ 108 w 120"/>
                  <a:gd name="T1" fmla="*/ 96 h 98"/>
                  <a:gd name="T2" fmla="*/ 120 w 120"/>
                  <a:gd name="T3" fmla="*/ 60 h 98"/>
                  <a:gd name="T4" fmla="*/ 60 w 120"/>
                  <a:gd name="T5" fmla="*/ 0 h 98"/>
                  <a:gd name="T6" fmla="*/ 0 w 120"/>
                  <a:gd name="T7" fmla="*/ 60 h 98"/>
                  <a:gd name="T8" fmla="*/ 12 w 120"/>
                  <a:gd name="T9" fmla="*/ 96 h 98"/>
                  <a:gd name="T10" fmla="*/ 13 w 120"/>
                  <a:gd name="T11" fmla="*/ 98 h 98"/>
                  <a:gd name="T12" fmla="*/ 27 w 120"/>
                  <a:gd name="T13" fmla="*/ 86 h 98"/>
                  <a:gd name="T14" fmla="*/ 21 w 120"/>
                  <a:gd name="T15" fmla="*/ 80 h 98"/>
                  <a:gd name="T16" fmla="*/ 11 w 120"/>
                  <a:gd name="T17" fmla="*/ 89 h 98"/>
                  <a:gd name="T18" fmla="*/ 3 w 120"/>
                  <a:gd name="T19" fmla="*/ 61 h 98"/>
                  <a:gd name="T20" fmla="*/ 3 w 120"/>
                  <a:gd name="T21" fmla="*/ 59 h 98"/>
                  <a:gd name="T22" fmla="*/ 16 w 120"/>
                  <a:gd name="T23" fmla="*/ 59 h 98"/>
                  <a:gd name="T24" fmla="*/ 16 w 120"/>
                  <a:gd name="T25" fmla="*/ 51 h 98"/>
                  <a:gd name="T26" fmla="*/ 4 w 120"/>
                  <a:gd name="T27" fmla="*/ 51 h 98"/>
                  <a:gd name="T28" fmla="*/ 16 w 120"/>
                  <a:gd name="T29" fmla="*/ 25 h 98"/>
                  <a:gd name="T30" fmla="*/ 25 w 120"/>
                  <a:gd name="T31" fmla="*/ 34 h 98"/>
                  <a:gd name="T32" fmla="*/ 31 w 120"/>
                  <a:gd name="T33" fmla="*/ 28 h 98"/>
                  <a:gd name="T34" fmla="*/ 22 w 120"/>
                  <a:gd name="T35" fmla="*/ 19 h 98"/>
                  <a:gd name="T36" fmla="*/ 55 w 120"/>
                  <a:gd name="T37" fmla="*/ 4 h 98"/>
                  <a:gd name="T38" fmla="*/ 55 w 120"/>
                  <a:gd name="T39" fmla="*/ 19 h 98"/>
                  <a:gd name="T40" fmla="*/ 63 w 120"/>
                  <a:gd name="T41" fmla="*/ 19 h 98"/>
                  <a:gd name="T42" fmla="*/ 63 w 120"/>
                  <a:gd name="T43" fmla="*/ 4 h 98"/>
                  <a:gd name="T44" fmla="*/ 99 w 120"/>
                  <a:gd name="T45" fmla="*/ 20 h 98"/>
                  <a:gd name="T46" fmla="*/ 90 w 120"/>
                  <a:gd name="T47" fmla="*/ 29 h 98"/>
                  <a:gd name="T48" fmla="*/ 96 w 120"/>
                  <a:gd name="T49" fmla="*/ 35 h 98"/>
                  <a:gd name="T50" fmla="*/ 105 w 120"/>
                  <a:gd name="T51" fmla="*/ 26 h 98"/>
                  <a:gd name="T52" fmla="*/ 116 w 120"/>
                  <a:gd name="T53" fmla="*/ 51 h 98"/>
                  <a:gd name="T54" fmla="*/ 104 w 120"/>
                  <a:gd name="T55" fmla="*/ 51 h 98"/>
                  <a:gd name="T56" fmla="*/ 104 w 120"/>
                  <a:gd name="T57" fmla="*/ 59 h 98"/>
                  <a:gd name="T58" fmla="*/ 117 w 120"/>
                  <a:gd name="T59" fmla="*/ 59 h 98"/>
                  <a:gd name="T60" fmla="*/ 117 w 120"/>
                  <a:gd name="T61" fmla="*/ 61 h 98"/>
                  <a:gd name="T62" fmla="*/ 109 w 120"/>
                  <a:gd name="T63" fmla="*/ 89 h 98"/>
                  <a:gd name="T64" fmla="*/ 99 w 120"/>
                  <a:gd name="T65" fmla="*/ 80 h 98"/>
                  <a:gd name="T66" fmla="*/ 94 w 120"/>
                  <a:gd name="T67" fmla="*/ 85 h 98"/>
                  <a:gd name="T68" fmla="*/ 107 w 120"/>
                  <a:gd name="T69" fmla="*/ 98 h 98"/>
                  <a:gd name="T70" fmla="*/ 108 w 120"/>
                  <a:gd name="T71"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98">
                    <a:moveTo>
                      <a:pt x="108" y="96"/>
                    </a:moveTo>
                    <a:cubicBezTo>
                      <a:pt x="116" y="86"/>
                      <a:pt x="120" y="74"/>
                      <a:pt x="120" y="60"/>
                    </a:cubicBezTo>
                    <a:cubicBezTo>
                      <a:pt x="120" y="27"/>
                      <a:pt x="93" y="0"/>
                      <a:pt x="60" y="0"/>
                    </a:cubicBezTo>
                    <a:cubicBezTo>
                      <a:pt x="27" y="0"/>
                      <a:pt x="0" y="27"/>
                      <a:pt x="0" y="60"/>
                    </a:cubicBezTo>
                    <a:cubicBezTo>
                      <a:pt x="0" y="74"/>
                      <a:pt x="4" y="86"/>
                      <a:pt x="12" y="96"/>
                    </a:cubicBezTo>
                    <a:cubicBezTo>
                      <a:pt x="13" y="98"/>
                      <a:pt x="13" y="98"/>
                      <a:pt x="13" y="98"/>
                    </a:cubicBezTo>
                    <a:cubicBezTo>
                      <a:pt x="27" y="86"/>
                      <a:pt x="27" y="86"/>
                      <a:pt x="27" y="86"/>
                    </a:cubicBezTo>
                    <a:cubicBezTo>
                      <a:pt x="21" y="80"/>
                      <a:pt x="21" y="80"/>
                      <a:pt x="21" y="80"/>
                    </a:cubicBezTo>
                    <a:cubicBezTo>
                      <a:pt x="11" y="89"/>
                      <a:pt x="11" y="89"/>
                      <a:pt x="11" y="89"/>
                    </a:cubicBezTo>
                    <a:cubicBezTo>
                      <a:pt x="6" y="81"/>
                      <a:pt x="3" y="71"/>
                      <a:pt x="3" y="61"/>
                    </a:cubicBezTo>
                    <a:cubicBezTo>
                      <a:pt x="3" y="60"/>
                      <a:pt x="3" y="60"/>
                      <a:pt x="3" y="59"/>
                    </a:cubicBezTo>
                    <a:cubicBezTo>
                      <a:pt x="16" y="59"/>
                      <a:pt x="16" y="59"/>
                      <a:pt x="16" y="59"/>
                    </a:cubicBezTo>
                    <a:cubicBezTo>
                      <a:pt x="16" y="51"/>
                      <a:pt x="16" y="51"/>
                      <a:pt x="16" y="51"/>
                    </a:cubicBezTo>
                    <a:cubicBezTo>
                      <a:pt x="4" y="51"/>
                      <a:pt x="4" y="51"/>
                      <a:pt x="4" y="51"/>
                    </a:cubicBezTo>
                    <a:cubicBezTo>
                      <a:pt x="6" y="41"/>
                      <a:pt x="10" y="32"/>
                      <a:pt x="16" y="25"/>
                    </a:cubicBezTo>
                    <a:cubicBezTo>
                      <a:pt x="25" y="34"/>
                      <a:pt x="25" y="34"/>
                      <a:pt x="25" y="34"/>
                    </a:cubicBezTo>
                    <a:cubicBezTo>
                      <a:pt x="31" y="28"/>
                      <a:pt x="31" y="28"/>
                      <a:pt x="31" y="28"/>
                    </a:cubicBezTo>
                    <a:cubicBezTo>
                      <a:pt x="22" y="19"/>
                      <a:pt x="22" y="19"/>
                      <a:pt x="22" y="19"/>
                    </a:cubicBezTo>
                    <a:cubicBezTo>
                      <a:pt x="30" y="11"/>
                      <a:pt x="42" y="5"/>
                      <a:pt x="55" y="4"/>
                    </a:cubicBezTo>
                    <a:cubicBezTo>
                      <a:pt x="55" y="19"/>
                      <a:pt x="55" y="19"/>
                      <a:pt x="55" y="19"/>
                    </a:cubicBezTo>
                    <a:cubicBezTo>
                      <a:pt x="63" y="19"/>
                      <a:pt x="63" y="19"/>
                      <a:pt x="63" y="19"/>
                    </a:cubicBezTo>
                    <a:cubicBezTo>
                      <a:pt x="63" y="4"/>
                      <a:pt x="63" y="4"/>
                      <a:pt x="63" y="4"/>
                    </a:cubicBezTo>
                    <a:cubicBezTo>
                      <a:pt x="77" y="5"/>
                      <a:pt x="90" y="10"/>
                      <a:pt x="99" y="20"/>
                    </a:cubicBezTo>
                    <a:cubicBezTo>
                      <a:pt x="90" y="29"/>
                      <a:pt x="90" y="29"/>
                      <a:pt x="90" y="29"/>
                    </a:cubicBezTo>
                    <a:cubicBezTo>
                      <a:pt x="96" y="35"/>
                      <a:pt x="96" y="35"/>
                      <a:pt x="96" y="35"/>
                    </a:cubicBezTo>
                    <a:cubicBezTo>
                      <a:pt x="105" y="26"/>
                      <a:pt x="105" y="26"/>
                      <a:pt x="105" y="26"/>
                    </a:cubicBezTo>
                    <a:cubicBezTo>
                      <a:pt x="110" y="33"/>
                      <a:pt x="114" y="42"/>
                      <a:pt x="116" y="51"/>
                    </a:cubicBezTo>
                    <a:cubicBezTo>
                      <a:pt x="104" y="51"/>
                      <a:pt x="104" y="51"/>
                      <a:pt x="104" y="51"/>
                    </a:cubicBezTo>
                    <a:cubicBezTo>
                      <a:pt x="104" y="59"/>
                      <a:pt x="104" y="59"/>
                      <a:pt x="104" y="59"/>
                    </a:cubicBezTo>
                    <a:cubicBezTo>
                      <a:pt x="117" y="59"/>
                      <a:pt x="117" y="59"/>
                      <a:pt x="117" y="59"/>
                    </a:cubicBezTo>
                    <a:cubicBezTo>
                      <a:pt x="117" y="60"/>
                      <a:pt x="117" y="60"/>
                      <a:pt x="117" y="61"/>
                    </a:cubicBezTo>
                    <a:cubicBezTo>
                      <a:pt x="117" y="71"/>
                      <a:pt x="114" y="81"/>
                      <a:pt x="109" y="89"/>
                    </a:cubicBezTo>
                    <a:cubicBezTo>
                      <a:pt x="99" y="80"/>
                      <a:pt x="99" y="80"/>
                      <a:pt x="99" y="80"/>
                    </a:cubicBezTo>
                    <a:cubicBezTo>
                      <a:pt x="94" y="85"/>
                      <a:pt x="94" y="85"/>
                      <a:pt x="94" y="85"/>
                    </a:cubicBezTo>
                    <a:cubicBezTo>
                      <a:pt x="107" y="98"/>
                      <a:pt x="107" y="98"/>
                      <a:pt x="107" y="98"/>
                    </a:cubicBezTo>
                    <a:cubicBezTo>
                      <a:pt x="107" y="98"/>
                      <a:pt x="108" y="96"/>
                      <a:pt x="108" y="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64" name="Groupe 584">
            <a:extLst>
              <a:ext uri="{FF2B5EF4-FFF2-40B4-BE49-F238E27FC236}">
                <a16:creationId xmlns:a16="http://schemas.microsoft.com/office/drawing/2014/main" id="{2F19B625-8B1D-4231-A3D3-11204929ED94}"/>
              </a:ext>
              <a:ext uri="{C183D7F6-B498-43B3-948B-1728B52AA6E4}">
                <adec:decorative xmlns:adec="http://schemas.microsoft.com/office/drawing/2017/decorative" val="1"/>
              </a:ext>
            </a:extLst>
          </p:cNvPr>
          <p:cNvGrpSpPr>
            <a:grpSpLocks noChangeAspect="1"/>
          </p:cNvGrpSpPr>
          <p:nvPr/>
        </p:nvGrpSpPr>
        <p:grpSpPr>
          <a:xfrm>
            <a:off x="7620081" y="2995439"/>
            <a:ext cx="676827" cy="633600"/>
            <a:chOff x="8178801" y="3581400"/>
            <a:chExt cx="869950" cy="814388"/>
          </a:xfrm>
        </p:grpSpPr>
        <p:sp>
          <p:nvSpPr>
            <p:cNvPr id="665" name="Freeform 194">
              <a:extLst>
                <a:ext uri="{FF2B5EF4-FFF2-40B4-BE49-F238E27FC236}">
                  <a16:creationId xmlns:a16="http://schemas.microsoft.com/office/drawing/2014/main" id="{0AECAE89-33FA-4739-A8BF-871D9B777ABA}"/>
                </a:ext>
              </a:extLst>
            </p:cNvPr>
            <p:cNvSpPr>
              <a:spLocks/>
            </p:cNvSpPr>
            <p:nvPr/>
          </p:nvSpPr>
          <p:spPr bwMode="auto">
            <a:xfrm>
              <a:off x="8178801" y="3581400"/>
              <a:ext cx="869950" cy="814388"/>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66" name="Groupe 586">
              <a:extLst>
                <a:ext uri="{FF2B5EF4-FFF2-40B4-BE49-F238E27FC236}">
                  <a16:creationId xmlns:a16="http://schemas.microsoft.com/office/drawing/2014/main" id="{59B3885C-B099-4727-8C46-D3CF175BA36E}"/>
                </a:ext>
              </a:extLst>
            </p:cNvPr>
            <p:cNvGrpSpPr/>
            <p:nvPr/>
          </p:nvGrpSpPr>
          <p:grpSpPr>
            <a:xfrm>
              <a:off x="8362951" y="3760787"/>
              <a:ext cx="382588" cy="433388"/>
              <a:chOff x="8362951" y="3760787"/>
              <a:chExt cx="382588" cy="433388"/>
            </a:xfrm>
          </p:grpSpPr>
          <p:sp>
            <p:nvSpPr>
              <p:cNvPr id="667" name="Freeform 78">
                <a:extLst>
                  <a:ext uri="{FF2B5EF4-FFF2-40B4-BE49-F238E27FC236}">
                    <a16:creationId xmlns:a16="http://schemas.microsoft.com/office/drawing/2014/main" id="{B91401D9-4929-4AE2-844E-D2068F8607A3}"/>
                  </a:ext>
                </a:extLst>
              </p:cNvPr>
              <p:cNvSpPr>
                <a:spLocks/>
              </p:cNvSpPr>
              <p:nvPr/>
            </p:nvSpPr>
            <p:spPr bwMode="auto">
              <a:xfrm>
                <a:off x="8362951" y="39862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79">
                <a:extLst>
                  <a:ext uri="{FF2B5EF4-FFF2-40B4-BE49-F238E27FC236}">
                    <a16:creationId xmlns:a16="http://schemas.microsoft.com/office/drawing/2014/main" id="{151F0CBB-A1AE-444B-9B89-352AB05EAAB8}"/>
                  </a:ext>
                </a:extLst>
              </p:cNvPr>
              <p:cNvSpPr>
                <a:spLocks/>
              </p:cNvSpPr>
              <p:nvPr/>
            </p:nvSpPr>
            <p:spPr bwMode="auto">
              <a:xfrm>
                <a:off x="8362951" y="3986212"/>
                <a:ext cx="0" cy="476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200">
                <a:extLst>
                  <a:ext uri="{FF2B5EF4-FFF2-40B4-BE49-F238E27FC236}">
                    <a16:creationId xmlns:a16="http://schemas.microsoft.com/office/drawing/2014/main" id="{FE93E89C-23AE-4888-A8AE-4A45DC04C9EB}"/>
                  </a:ext>
                </a:extLst>
              </p:cNvPr>
              <p:cNvSpPr>
                <a:spLocks/>
              </p:cNvSpPr>
              <p:nvPr/>
            </p:nvSpPr>
            <p:spPr bwMode="auto">
              <a:xfrm>
                <a:off x="8509001" y="3760787"/>
                <a:ext cx="203200" cy="230188"/>
              </a:xfrm>
              <a:custGeom>
                <a:avLst/>
                <a:gdLst>
                  <a:gd name="T0" fmla="*/ 0 w 54"/>
                  <a:gd name="T1" fmla="*/ 61 h 61"/>
                  <a:gd name="T2" fmla="*/ 0 w 54"/>
                  <a:gd name="T3" fmla="*/ 28 h 61"/>
                  <a:gd name="T4" fmla="*/ 11 w 54"/>
                  <a:gd name="T5" fmla="*/ 8 h 61"/>
                  <a:gd name="T6" fmla="*/ 41 w 54"/>
                  <a:gd name="T7" fmla="*/ 7 h 61"/>
                  <a:gd name="T8" fmla="*/ 54 w 54"/>
                  <a:gd name="T9" fmla="*/ 28 h 61"/>
                  <a:gd name="T10" fmla="*/ 54 w 54"/>
                  <a:gd name="T11" fmla="*/ 41 h 61"/>
                  <a:gd name="T12" fmla="*/ 43 w 54"/>
                  <a:gd name="T13" fmla="*/ 41 h 61"/>
                  <a:gd name="T14" fmla="*/ 43 w 54"/>
                  <a:gd name="T15" fmla="*/ 28 h 61"/>
                  <a:gd name="T16" fmla="*/ 27 w 54"/>
                  <a:gd name="T17" fmla="*/ 14 h 61"/>
                  <a:gd name="T18" fmla="*/ 11 w 54"/>
                  <a:gd name="T19" fmla="*/ 29 h 61"/>
                  <a:gd name="T20" fmla="*/ 11 w 54"/>
                  <a:gd name="T21" fmla="*/ 59 h 61"/>
                  <a:gd name="T22" fmla="*/ 0 w 54"/>
                  <a:gd name="T23"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1">
                    <a:moveTo>
                      <a:pt x="0" y="61"/>
                    </a:moveTo>
                    <a:cubicBezTo>
                      <a:pt x="0" y="57"/>
                      <a:pt x="0" y="32"/>
                      <a:pt x="0" y="28"/>
                    </a:cubicBezTo>
                    <a:cubicBezTo>
                      <a:pt x="0" y="18"/>
                      <a:pt x="7" y="12"/>
                      <a:pt x="11" y="8"/>
                    </a:cubicBezTo>
                    <a:cubicBezTo>
                      <a:pt x="16" y="4"/>
                      <a:pt x="31" y="0"/>
                      <a:pt x="41" y="7"/>
                    </a:cubicBezTo>
                    <a:cubicBezTo>
                      <a:pt x="48" y="13"/>
                      <a:pt x="54" y="19"/>
                      <a:pt x="54" y="28"/>
                    </a:cubicBezTo>
                    <a:cubicBezTo>
                      <a:pt x="54" y="33"/>
                      <a:pt x="54" y="37"/>
                      <a:pt x="54" y="41"/>
                    </a:cubicBezTo>
                    <a:cubicBezTo>
                      <a:pt x="43" y="41"/>
                      <a:pt x="43" y="41"/>
                      <a:pt x="43" y="41"/>
                    </a:cubicBezTo>
                    <a:cubicBezTo>
                      <a:pt x="43" y="28"/>
                      <a:pt x="43" y="28"/>
                      <a:pt x="43" y="28"/>
                    </a:cubicBezTo>
                    <a:cubicBezTo>
                      <a:pt x="43" y="21"/>
                      <a:pt x="34" y="14"/>
                      <a:pt x="27" y="14"/>
                    </a:cubicBezTo>
                    <a:cubicBezTo>
                      <a:pt x="21" y="14"/>
                      <a:pt x="11" y="19"/>
                      <a:pt x="11" y="29"/>
                    </a:cubicBezTo>
                    <a:cubicBezTo>
                      <a:pt x="11" y="59"/>
                      <a:pt x="11" y="59"/>
                      <a:pt x="11" y="59"/>
                    </a:cubicBezTo>
                    <a:lnTo>
                      <a:pt x="0" y="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201">
                <a:extLst>
                  <a:ext uri="{FF2B5EF4-FFF2-40B4-BE49-F238E27FC236}">
                    <a16:creationId xmlns:a16="http://schemas.microsoft.com/office/drawing/2014/main" id="{2F3854E5-76D7-4F00-A527-2D71BA9D59E8}"/>
                  </a:ext>
                </a:extLst>
              </p:cNvPr>
              <p:cNvSpPr>
                <a:spLocks/>
              </p:cNvSpPr>
              <p:nvPr/>
            </p:nvSpPr>
            <p:spPr bwMode="auto">
              <a:xfrm>
                <a:off x="8478839" y="3971925"/>
                <a:ext cx="266700" cy="222250"/>
              </a:xfrm>
              <a:custGeom>
                <a:avLst/>
                <a:gdLst>
                  <a:gd name="T0" fmla="*/ 58 w 71"/>
                  <a:gd name="T1" fmla="*/ 59 h 59"/>
                  <a:gd name="T2" fmla="*/ 0 w 71"/>
                  <a:gd name="T3" fmla="*/ 59 h 59"/>
                  <a:gd name="T4" fmla="*/ 0 w 71"/>
                  <a:gd name="T5" fmla="*/ 0 h 59"/>
                  <a:gd name="T6" fmla="*/ 71 w 71"/>
                  <a:gd name="T7" fmla="*/ 0 h 59"/>
                  <a:gd name="T8" fmla="*/ 71 w 71"/>
                  <a:gd name="T9" fmla="*/ 47 h 59"/>
                  <a:gd name="T10" fmla="*/ 58 w 71"/>
                  <a:gd name="T11" fmla="*/ 59 h 59"/>
                </a:gdLst>
                <a:ahLst/>
                <a:cxnLst>
                  <a:cxn ang="0">
                    <a:pos x="T0" y="T1"/>
                  </a:cxn>
                  <a:cxn ang="0">
                    <a:pos x="T2" y="T3"/>
                  </a:cxn>
                  <a:cxn ang="0">
                    <a:pos x="T4" y="T5"/>
                  </a:cxn>
                  <a:cxn ang="0">
                    <a:pos x="T6" y="T7"/>
                  </a:cxn>
                  <a:cxn ang="0">
                    <a:pos x="T8" y="T9"/>
                  </a:cxn>
                  <a:cxn ang="0">
                    <a:pos x="T10" y="T11"/>
                  </a:cxn>
                </a:cxnLst>
                <a:rect l="0" t="0" r="r" b="b"/>
                <a:pathLst>
                  <a:path w="71" h="59">
                    <a:moveTo>
                      <a:pt x="58" y="59"/>
                    </a:moveTo>
                    <a:cubicBezTo>
                      <a:pt x="58" y="59"/>
                      <a:pt x="3" y="58"/>
                      <a:pt x="0" y="59"/>
                    </a:cubicBezTo>
                    <a:cubicBezTo>
                      <a:pt x="0" y="58"/>
                      <a:pt x="0" y="0"/>
                      <a:pt x="0" y="0"/>
                    </a:cubicBezTo>
                    <a:cubicBezTo>
                      <a:pt x="71" y="0"/>
                      <a:pt x="71" y="0"/>
                      <a:pt x="71" y="0"/>
                    </a:cubicBezTo>
                    <a:cubicBezTo>
                      <a:pt x="71" y="47"/>
                      <a:pt x="71" y="47"/>
                      <a:pt x="71" y="47"/>
                    </a:cubicBezTo>
                    <a:cubicBezTo>
                      <a:pt x="71" y="54"/>
                      <a:pt x="65" y="59"/>
                      <a:pt x="58" y="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Rectangle 204">
                <a:extLst>
                  <a:ext uri="{FF2B5EF4-FFF2-40B4-BE49-F238E27FC236}">
                    <a16:creationId xmlns:a16="http://schemas.microsoft.com/office/drawing/2014/main" id="{E1BFA7BB-8E1E-4144-AF42-F97A693D2ADF}"/>
                  </a:ext>
                </a:extLst>
              </p:cNvPr>
              <p:cNvSpPr>
                <a:spLocks noChangeArrowheads="1"/>
              </p:cNvSpPr>
              <p:nvPr/>
            </p:nvSpPr>
            <p:spPr bwMode="auto">
              <a:xfrm>
                <a:off x="8618539" y="4137025"/>
                <a:ext cx="17463" cy="11113"/>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Rectangle 205">
                <a:extLst>
                  <a:ext uri="{FF2B5EF4-FFF2-40B4-BE49-F238E27FC236}">
                    <a16:creationId xmlns:a16="http://schemas.microsoft.com/office/drawing/2014/main" id="{89E10735-8616-41C5-98FF-2C292625E753}"/>
                  </a:ext>
                </a:extLst>
              </p:cNvPr>
              <p:cNvSpPr>
                <a:spLocks noChangeArrowheads="1"/>
              </p:cNvSpPr>
              <p:nvPr/>
            </p:nvSpPr>
            <p:spPr bwMode="auto">
              <a:xfrm>
                <a:off x="8618539" y="4133850"/>
                <a:ext cx="11113" cy="3175"/>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75" name="Groupe 595">
            <a:extLst>
              <a:ext uri="{FF2B5EF4-FFF2-40B4-BE49-F238E27FC236}">
                <a16:creationId xmlns:a16="http://schemas.microsoft.com/office/drawing/2014/main" id="{6D5DA18F-3F1E-4BFB-AA0A-153EA983B4D8}"/>
              </a:ext>
              <a:ext uri="{C183D7F6-B498-43B3-948B-1728B52AA6E4}">
                <adec:decorative xmlns:adec="http://schemas.microsoft.com/office/drawing/2017/decorative" val="1"/>
              </a:ext>
            </a:extLst>
          </p:cNvPr>
          <p:cNvGrpSpPr>
            <a:grpSpLocks noChangeAspect="1"/>
          </p:cNvGrpSpPr>
          <p:nvPr/>
        </p:nvGrpSpPr>
        <p:grpSpPr>
          <a:xfrm>
            <a:off x="9225075" y="2027873"/>
            <a:ext cx="679210" cy="633600"/>
            <a:chOff x="6088064" y="3576637"/>
            <a:chExt cx="874713" cy="815975"/>
          </a:xfrm>
        </p:grpSpPr>
        <p:sp>
          <p:nvSpPr>
            <p:cNvPr id="676" name="Freeform 199">
              <a:extLst>
                <a:ext uri="{FF2B5EF4-FFF2-40B4-BE49-F238E27FC236}">
                  <a16:creationId xmlns:a16="http://schemas.microsoft.com/office/drawing/2014/main" id="{8429ECDB-7FC7-4278-9F80-009C40B9D08E}"/>
                </a:ext>
              </a:extLst>
            </p:cNvPr>
            <p:cNvSpPr>
              <a:spLocks/>
            </p:cNvSpPr>
            <p:nvPr/>
          </p:nvSpPr>
          <p:spPr bwMode="auto">
            <a:xfrm>
              <a:off x="6088064" y="3576637"/>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7"/>
                    <a:pt x="10" y="65"/>
                    <a:pt x="56" y="33"/>
                  </a:cubicBezTo>
                  <a:cubicBezTo>
                    <a:pt x="102" y="0"/>
                    <a:pt x="166" y="10"/>
                    <a:pt x="199" y="53"/>
                  </a:cubicBezTo>
                  <a:cubicBezTo>
                    <a:pt x="233" y="96"/>
                    <a:pt x="219" y="153"/>
                    <a:pt x="173" y="185"/>
                  </a:cubicBezTo>
                  <a:cubicBezTo>
                    <a:pt x="128" y="217"/>
                    <a:pt x="67" y="214"/>
                    <a:pt x="34" y="17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7" name="Groupe 597">
              <a:extLst>
                <a:ext uri="{FF2B5EF4-FFF2-40B4-BE49-F238E27FC236}">
                  <a16:creationId xmlns:a16="http://schemas.microsoft.com/office/drawing/2014/main" id="{AEF683EC-08F9-4CBF-9524-0CDAD85AEA55}"/>
                </a:ext>
              </a:extLst>
            </p:cNvPr>
            <p:cNvGrpSpPr/>
            <p:nvPr/>
          </p:nvGrpSpPr>
          <p:grpSpPr>
            <a:xfrm>
              <a:off x="6335714" y="3798887"/>
              <a:ext cx="379413" cy="382588"/>
              <a:chOff x="6335714" y="3798887"/>
              <a:chExt cx="379413" cy="382588"/>
            </a:xfrm>
          </p:grpSpPr>
          <p:sp>
            <p:nvSpPr>
              <p:cNvPr id="678" name="Freeform 230">
                <a:extLst>
                  <a:ext uri="{FF2B5EF4-FFF2-40B4-BE49-F238E27FC236}">
                    <a16:creationId xmlns:a16="http://schemas.microsoft.com/office/drawing/2014/main" id="{52C9D436-1993-4D3A-9E03-5082D9774B45}"/>
                  </a:ext>
                </a:extLst>
              </p:cNvPr>
              <p:cNvSpPr>
                <a:spLocks/>
              </p:cNvSpPr>
              <p:nvPr/>
            </p:nvSpPr>
            <p:spPr bwMode="auto">
              <a:xfrm>
                <a:off x="6335714" y="3832225"/>
                <a:ext cx="379413" cy="349250"/>
              </a:xfrm>
              <a:custGeom>
                <a:avLst/>
                <a:gdLst>
                  <a:gd name="T0" fmla="*/ 91 w 101"/>
                  <a:gd name="T1" fmla="*/ 18 h 93"/>
                  <a:gd name="T2" fmla="*/ 63 w 101"/>
                  <a:gd name="T3" fmla="*/ 0 h 93"/>
                  <a:gd name="T4" fmla="*/ 63 w 101"/>
                  <a:gd name="T5" fmla="*/ 9 h 93"/>
                  <a:gd name="T6" fmla="*/ 83 w 101"/>
                  <a:gd name="T7" fmla="*/ 23 h 93"/>
                  <a:gd name="T8" fmla="*/ 90 w 101"/>
                  <a:gd name="T9" fmla="*/ 49 h 93"/>
                  <a:gd name="T10" fmla="*/ 73 w 101"/>
                  <a:gd name="T11" fmla="*/ 76 h 93"/>
                  <a:gd name="T12" fmla="*/ 17 w 101"/>
                  <a:gd name="T13" fmla="*/ 70 h 93"/>
                  <a:gd name="T14" fmla="*/ 10 w 101"/>
                  <a:gd name="T15" fmla="*/ 41 h 93"/>
                  <a:gd name="T16" fmla="*/ 26 w 101"/>
                  <a:gd name="T17" fmla="*/ 15 h 93"/>
                  <a:gd name="T18" fmla="*/ 37 w 101"/>
                  <a:gd name="T19" fmla="*/ 10 h 93"/>
                  <a:gd name="T20" fmla="*/ 37 w 101"/>
                  <a:gd name="T21" fmla="*/ 0 h 93"/>
                  <a:gd name="T22" fmla="*/ 21 w 101"/>
                  <a:gd name="T23" fmla="*/ 8 h 93"/>
                  <a:gd name="T24" fmla="*/ 1 w 101"/>
                  <a:gd name="T25" fmla="*/ 40 h 93"/>
                  <a:gd name="T26" fmla="*/ 0 w 101"/>
                  <a:gd name="T27" fmla="*/ 47 h 93"/>
                  <a:gd name="T28" fmla="*/ 10 w 101"/>
                  <a:gd name="T29" fmla="*/ 75 h 93"/>
                  <a:gd name="T30" fmla="*/ 47 w 101"/>
                  <a:gd name="T31" fmla="*/ 93 h 93"/>
                  <a:gd name="T32" fmla="*/ 78 w 101"/>
                  <a:gd name="T33" fmla="*/ 83 h 93"/>
                  <a:gd name="T34" fmla="*/ 99 w 101"/>
                  <a:gd name="T35" fmla="*/ 50 h 93"/>
                  <a:gd name="T36" fmla="*/ 91 w 101"/>
                  <a:gd name="T37" fmla="*/ 1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93">
                    <a:moveTo>
                      <a:pt x="91" y="18"/>
                    </a:moveTo>
                    <a:cubicBezTo>
                      <a:pt x="83" y="9"/>
                      <a:pt x="74" y="3"/>
                      <a:pt x="63" y="0"/>
                    </a:cubicBezTo>
                    <a:cubicBezTo>
                      <a:pt x="63" y="9"/>
                      <a:pt x="63" y="9"/>
                      <a:pt x="63" y="9"/>
                    </a:cubicBezTo>
                    <a:cubicBezTo>
                      <a:pt x="71" y="12"/>
                      <a:pt x="78" y="17"/>
                      <a:pt x="83" y="23"/>
                    </a:cubicBezTo>
                    <a:cubicBezTo>
                      <a:pt x="89" y="31"/>
                      <a:pt x="92" y="40"/>
                      <a:pt x="90" y="49"/>
                    </a:cubicBezTo>
                    <a:cubicBezTo>
                      <a:pt x="89" y="59"/>
                      <a:pt x="83" y="69"/>
                      <a:pt x="73" y="76"/>
                    </a:cubicBezTo>
                    <a:cubicBezTo>
                      <a:pt x="54" y="89"/>
                      <a:pt x="30" y="87"/>
                      <a:pt x="17" y="70"/>
                    </a:cubicBezTo>
                    <a:cubicBezTo>
                      <a:pt x="11" y="62"/>
                      <a:pt x="8" y="52"/>
                      <a:pt x="10" y="41"/>
                    </a:cubicBezTo>
                    <a:cubicBezTo>
                      <a:pt x="11" y="31"/>
                      <a:pt x="17" y="22"/>
                      <a:pt x="26" y="15"/>
                    </a:cubicBezTo>
                    <a:cubicBezTo>
                      <a:pt x="29" y="13"/>
                      <a:pt x="33" y="11"/>
                      <a:pt x="37" y="10"/>
                    </a:cubicBezTo>
                    <a:cubicBezTo>
                      <a:pt x="37" y="0"/>
                      <a:pt x="37" y="0"/>
                      <a:pt x="37" y="0"/>
                    </a:cubicBezTo>
                    <a:cubicBezTo>
                      <a:pt x="31" y="2"/>
                      <a:pt x="26" y="5"/>
                      <a:pt x="21" y="8"/>
                    </a:cubicBezTo>
                    <a:cubicBezTo>
                      <a:pt x="10" y="16"/>
                      <a:pt x="3" y="27"/>
                      <a:pt x="1" y="40"/>
                    </a:cubicBezTo>
                    <a:cubicBezTo>
                      <a:pt x="0" y="42"/>
                      <a:pt x="0" y="45"/>
                      <a:pt x="0" y="47"/>
                    </a:cubicBezTo>
                    <a:cubicBezTo>
                      <a:pt x="0" y="57"/>
                      <a:pt x="4" y="67"/>
                      <a:pt x="10" y="75"/>
                    </a:cubicBezTo>
                    <a:cubicBezTo>
                      <a:pt x="19" y="87"/>
                      <a:pt x="32" y="93"/>
                      <a:pt x="47" y="93"/>
                    </a:cubicBezTo>
                    <a:cubicBezTo>
                      <a:pt x="57" y="93"/>
                      <a:pt x="68" y="90"/>
                      <a:pt x="78" y="83"/>
                    </a:cubicBezTo>
                    <a:cubicBezTo>
                      <a:pt x="90" y="75"/>
                      <a:pt x="97" y="63"/>
                      <a:pt x="99" y="50"/>
                    </a:cubicBezTo>
                    <a:cubicBezTo>
                      <a:pt x="101" y="39"/>
                      <a:pt x="98" y="27"/>
                      <a:pt x="91"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231">
                <a:extLst>
                  <a:ext uri="{FF2B5EF4-FFF2-40B4-BE49-F238E27FC236}">
                    <a16:creationId xmlns:a16="http://schemas.microsoft.com/office/drawing/2014/main" id="{4729BC1B-9CA6-4A9C-9158-943D2139102E}"/>
                  </a:ext>
                </a:extLst>
              </p:cNvPr>
              <p:cNvSpPr>
                <a:spLocks/>
              </p:cNvSpPr>
              <p:nvPr/>
            </p:nvSpPr>
            <p:spPr bwMode="auto">
              <a:xfrm>
                <a:off x="6500814" y="3798887"/>
                <a:ext cx="44450" cy="131763"/>
              </a:xfrm>
              <a:custGeom>
                <a:avLst/>
                <a:gdLst>
                  <a:gd name="T0" fmla="*/ 6 w 12"/>
                  <a:gd name="T1" fmla="*/ 35 h 35"/>
                  <a:gd name="T2" fmla="*/ 6 w 12"/>
                  <a:gd name="T3" fmla="*/ 35 h 35"/>
                  <a:gd name="T4" fmla="*/ 0 w 12"/>
                  <a:gd name="T5" fmla="*/ 30 h 35"/>
                  <a:gd name="T6" fmla="*/ 0 w 12"/>
                  <a:gd name="T7" fmla="*/ 5 h 35"/>
                  <a:gd name="T8" fmla="*/ 6 w 12"/>
                  <a:gd name="T9" fmla="*/ 0 h 35"/>
                  <a:gd name="T10" fmla="*/ 6 w 12"/>
                  <a:gd name="T11" fmla="*/ 0 h 35"/>
                  <a:gd name="T12" fmla="*/ 12 w 12"/>
                  <a:gd name="T13" fmla="*/ 5 h 35"/>
                  <a:gd name="T14" fmla="*/ 12 w 12"/>
                  <a:gd name="T15" fmla="*/ 30 h 35"/>
                  <a:gd name="T16" fmla="*/ 6 w 12"/>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5">
                    <a:moveTo>
                      <a:pt x="6" y="35"/>
                    </a:moveTo>
                    <a:cubicBezTo>
                      <a:pt x="6" y="35"/>
                      <a:pt x="6" y="35"/>
                      <a:pt x="6" y="35"/>
                    </a:cubicBezTo>
                    <a:cubicBezTo>
                      <a:pt x="3" y="35"/>
                      <a:pt x="0" y="33"/>
                      <a:pt x="0" y="30"/>
                    </a:cubicBezTo>
                    <a:cubicBezTo>
                      <a:pt x="0" y="5"/>
                      <a:pt x="0" y="5"/>
                      <a:pt x="0" y="5"/>
                    </a:cubicBezTo>
                    <a:cubicBezTo>
                      <a:pt x="0" y="2"/>
                      <a:pt x="3" y="0"/>
                      <a:pt x="6" y="0"/>
                    </a:cubicBezTo>
                    <a:cubicBezTo>
                      <a:pt x="6" y="0"/>
                      <a:pt x="6" y="0"/>
                      <a:pt x="6" y="0"/>
                    </a:cubicBezTo>
                    <a:cubicBezTo>
                      <a:pt x="9" y="0"/>
                      <a:pt x="12" y="2"/>
                      <a:pt x="12" y="5"/>
                    </a:cubicBezTo>
                    <a:cubicBezTo>
                      <a:pt x="12" y="30"/>
                      <a:pt x="12" y="30"/>
                      <a:pt x="12" y="30"/>
                    </a:cubicBezTo>
                    <a:cubicBezTo>
                      <a:pt x="12" y="33"/>
                      <a:pt x="9" y="35"/>
                      <a:pt x="6" y="3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80" name="Groupe 645">
            <a:extLst>
              <a:ext uri="{FF2B5EF4-FFF2-40B4-BE49-F238E27FC236}">
                <a16:creationId xmlns:a16="http://schemas.microsoft.com/office/drawing/2014/main" id="{E4E617A5-1E7C-4AEC-9674-837439ED0155}"/>
              </a:ext>
              <a:ext uri="{C183D7F6-B498-43B3-948B-1728B52AA6E4}">
                <adec:decorative xmlns:adec="http://schemas.microsoft.com/office/drawing/2017/decorative" val="1"/>
              </a:ext>
            </a:extLst>
          </p:cNvPr>
          <p:cNvGrpSpPr>
            <a:grpSpLocks noChangeAspect="1"/>
          </p:cNvGrpSpPr>
          <p:nvPr/>
        </p:nvGrpSpPr>
        <p:grpSpPr>
          <a:xfrm>
            <a:off x="6817416" y="2995439"/>
            <a:ext cx="678312" cy="633600"/>
            <a:chOff x="6269038" y="2919413"/>
            <a:chExt cx="987425" cy="922338"/>
          </a:xfrm>
        </p:grpSpPr>
        <p:sp>
          <p:nvSpPr>
            <p:cNvPr id="681" name="Freeform 208">
              <a:extLst>
                <a:ext uri="{FF2B5EF4-FFF2-40B4-BE49-F238E27FC236}">
                  <a16:creationId xmlns:a16="http://schemas.microsoft.com/office/drawing/2014/main" id="{C48EA307-384D-4669-8B47-293E896B8847}"/>
                </a:ext>
              </a:extLst>
            </p:cNvPr>
            <p:cNvSpPr>
              <a:spLocks/>
            </p:cNvSpPr>
            <p:nvPr/>
          </p:nvSpPr>
          <p:spPr bwMode="auto">
            <a:xfrm>
              <a:off x="6269038" y="2919413"/>
              <a:ext cx="987425" cy="922338"/>
            </a:xfrm>
            <a:custGeom>
              <a:avLst/>
              <a:gdLst>
                <a:gd name="T0" fmla="*/ 42 w 292"/>
                <a:gd name="T1" fmla="*/ 213 h 272"/>
                <a:gd name="T2" fmla="*/ 70 w 292"/>
                <a:gd name="T3" fmla="*/ 41 h 272"/>
                <a:gd name="T4" fmla="*/ 250 w 292"/>
                <a:gd name="T5" fmla="*/ 66 h 272"/>
                <a:gd name="T6" fmla="*/ 217 w 292"/>
                <a:gd name="T7" fmla="*/ 231 h 272"/>
                <a:gd name="T8" fmla="*/ 42 w 292"/>
                <a:gd name="T9" fmla="*/ 213 h 272"/>
              </a:gdLst>
              <a:ahLst/>
              <a:cxnLst>
                <a:cxn ang="0">
                  <a:pos x="T0" y="T1"/>
                </a:cxn>
                <a:cxn ang="0">
                  <a:pos x="T2" y="T3"/>
                </a:cxn>
                <a:cxn ang="0">
                  <a:pos x="T4" y="T5"/>
                </a:cxn>
                <a:cxn ang="0">
                  <a:pos x="T6" y="T7"/>
                </a:cxn>
                <a:cxn ang="0">
                  <a:pos x="T8" y="T9"/>
                </a:cxn>
              </a:cxnLst>
              <a:rect l="0" t="0" r="r" b="b"/>
              <a:pathLst>
                <a:path w="292" h="272">
                  <a:moveTo>
                    <a:pt x="42" y="213"/>
                  </a:moveTo>
                  <a:cubicBezTo>
                    <a:pt x="0" y="158"/>
                    <a:pt x="12" y="81"/>
                    <a:pt x="70" y="41"/>
                  </a:cubicBezTo>
                  <a:cubicBezTo>
                    <a:pt x="127" y="0"/>
                    <a:pt x="208" y="12"/>
                    <a:pt x="250" y="66"/>
                  </a:cubicBezTo>
                  <a:cubicBezTo>
                    <a:pt x="292" y="120"/>
                    <a:pt x="274" y="191"/>
                    <a:pt x="217" y="231"/>
                  </a:cubicBezTo>
                  <a:cubicBezTo>
                    <a:pt x="160" y="272"/>
                    <a:pt x="84" y="267"/>
                    <a:pt x="42" y="21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2" name="Groupe 647">
              <a:extLst>
                <a:ext uri="{FF2B5EF4-FFF2-40B4-BE49-F238E27FC236}">
                  <a16:creationId xmlns:a16="http://schemas.microsoft.com/office/drawing/2014/main" id="{DE7944AE-6267-4719-84F1-63222C95A24D}"/>
                </a:ext>
              </a:extLst>
            </p:cNvPr>
            <p:cNvGrpSpPr/>
            <p:nvPr/>
          </p:nvGrpSpPr>
          <p:grpSpPr>
            <a:xfrm>
              <a:off x="6553201" y="3146426"/>
              <a:ext cx="385763" cy="454025"/>
              <a:chOff x="6553201" y="3146426"/>
              <a:chExt cx="385763" cy="454025"/>
            </a:xfrm>
          </p:grpSpPr>
          <p:sp>
            <p:nvSpPr>
              <p:cNvPr id="683" name="Freeform 209">
                <a:extLst>
                  <a:ext uri="{FF2B5EF4-FFF2-40B4-BE49-F238E27FC236}">
                    <a16:creationId xmlns:a16="http://schemas.microsoft.com/office/drawing/2014/main" id="{868CEC4B-352F-484E-BF4E-78878F811902}"/>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210">
                <a:extLst>
                  <a:ext uri="{FF2B5EF4-FFF2-40B4-BE49-F238E27FC236}">
                    <a16:creationId xmlns:a16="http://schemas.microsoft.com/office/drawing/2014/main" id="{36693EC7-B95A-4957-A9C2-502123B30149}"/>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noFill/>
              <a:ln w="95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5" name="Freeform 211">
                <a:extLst>
                  <a:ext uri="{FF2B5EF4-FFF2-40B4-BE49-F238E27FC236}">
                    <a16:creationId xmlns:a16="http://schemas.microsoft.com/office/drawing/2014/main" id="{C61CB6CF-4788-4DB5-8760-FDF5D7F4C1E0}"/>
                  </a:ext>
                </a:extLst>
              </p:cNvPr>
              <p:cNvSpPr>
                <a:spLocks/>
              </p:cNvSpPr>
              <p:nvPr/>
            </p:nvSpPr>
            <p:spPr bwMode="auto">
              <a:xfrm>
                <a:off x="6553201" y="3349626"/>
                <a:ext cx="385763" cy="250825"/>
              </a:xfrm>
              <a:custGeom>
                <a:avLst/>
                <a:gdLst>
                  <a:gd name="T0" fmla="*/ 21 w 114"/>
                  <a:gd name="T1" fmla="*/ 73 h 74"/>
                  <a:gd name="T2" fmla="*/ 93 w 114"/>
                  <a:gd name="T3" fmla="*/ 73 h 74"/>
                  <a:gd name="T4" fmla="*/ 113 w 114"/>
                  <a:gd name="T5" fmla="*/ 49 h 74"/>
                  <a:gd name="T6" fmla="*/ 113 w 114"/>
                  <a:gd name="T7" fmla="*/ 3 h 74"/>
                  <a:gd name="T8" fmla="*/ 21 w 114"/>
                  <a:gd name="T9" fmla="*/ 1 h 74"/>
                  <a:gd name="T10" fmla="*/ 0 w 114"/>
                  <a:gd name="T11" fmla="*/ 26 h 74"/>
                  <a:gd name="T12" fmla="*/ 0 w 114"/>
                  <a:gd name="T13" fmla="*/ 55 h 74"/>
                  <a:gd name="T14" fmla="*/ 21 w 114"/>
                  <a:gd name="T15" fmla="*/ 73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74">
                    <a:moveTo>
                      <a:pt x="21" y="73"/>
                    </a:moveTo>
                    <a:cubicBezTo>
                      <a:pt x="33" y="74"/>
                      <a:pt x="84" y="74"/>
                      <a:pt x="93" y="73"/>
                    </a:cubicBezTo>
                    <a:cubicBezTo>
                      <a:pt x="109" y="72"/>
                      <a:pt x="114" y="69"/>
                      <a:pt x="113" y="49"/>
                    </a:cubicBezTo>
                    <a:cubicBezTo>
                      <a:pt x="113" y="49"/>
                      <a:pt x="113" y="21"/>
                      <a:pt x="113" y="3"/>
                    </a:cubicBezTo>
                    <a:cubicBezTo>
                      <a:pt x="86" y="1"/>
                      <a:pt x="37" y="0"/>
                      <a:pt x="21" y="1"/>
                    </a:cubicBezTo>
                    <a:cubicBezTo>
                      <a:pt x="6" y="3"/>
                      <a:pt x="0" y="7"/>
                      <a:pt x="0" y="26"/>
                    </a:cubicBezTo>
                    <a:cubicBezTo>
                      <a:pt x="0" y="55"/>
                      <a:pt x="0" y="55"/>
                      <a:pt x="0" y="55"/>
                    </a:cubicBezTo>
                    <a:cubicBezTo>
                      <a:pt x="0" y="70"/>
                      <a:pt x="5" y="73"/>
                      <a:pt x="21" y="7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90" name="Groupe 2">
            <a:extLst>
              <a:ext uri="{FF2B5EF4-FFF2-40B4-BE49-F238E27FC236}">
                <a16:creationId xmlns:a16="http://schemas.microsoft.com/office/drawing/2014/main" id="{CF6FE08A-3A14-460D-B1CE-D2870EE1FB48}"/>
              </a:ext>
              <a:ext uri="{C183D7F6-B498-43B3-948B-1728B52AA6E4}">
                <adec:decorative xmlns:adec="http://schemas.microsoft.com/office/drawing/2017/decorative" val="1"/>
              </a:ext>
            </a:extLst>
          </p:cNvPr>
          <p:cNvGrpSpPr>
            <a:grpSpLocks noChangeAspect="1"/>
          </p:cNvGrpSpPr>
          <p:nvPr/>
        </p:nvGrpSpPr>
        <p:grpSpPr>
          <a:xfrm>
            <a:off x="8440589" y="4941168"/>
            <a:ext cx="673601" cy="633600"/>
            <a:chOff x="8569828" y="5273"/>
            <a:chExt cx="914547" cy="860237"/>
          </a:xfrm>
        </p:grpSpPr>
        <p:sp>
          <p:nvSpPr>
            <p:cNvPr id="691" name="Freeform 209">
              <a:extLst>
                <a:ext uri="{FF2B5EF4-FFF2-40B4-BE49-F238E27FC236}">
                  <a16:creationId xmlns:a16="http://schemas.microsoft.com/office/drawing/2014/main" id="{7F6E6EFA-B53F-44DC-8ECE-E5809C60396A}"/>
                </a:ext>
              </a:extLst>
            </p:cNvPr>
            <p:cNvSpPr>
              <a:spLocks/>
            </p:cNvSpPr>
            <p:nvPr/>
          </p:nvSpPr>
          <p:spPr bwMode="auto">
            <a:xfrm>
              <a:off x="8569828" y="5273"/>
              <a:ext cx="914547" cy="860237"/>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6" y="282"/>
                    <a:pt x="321" y="342"/>
                  </a:cubicBezTo>
                  <a:cubicBezTo>
                    <a:pt x="236" y="402"/>
                    <a:pt x="124" y="395"/>
                    <a:pt x="62" y="315"/>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692" name="Freeform 62">
              <a:extLst>
                <a:ext uri="{FF2B5EF4-FFF2-40B4-BE49-F238E27FC236}">
                  <a16:creationId xmlns:a16="http://schemas.microsoft.com/office/drawing/2014/main" id="{4A40AE1F-D9F7-4DC0-9D3E-8845188A8EC2}"/>
                </a:ext>
              </a:extLst>
            </p:cNvPr>
            <p:cNvSpPr>
              <a:spLocks/>
            </p:cNvSpPr>
            <p:nvPr/>
          </p:nvSpPr>
          <p:spPr bwMode="auto">
            <a:xfrm rot="1173377">
              <a:off x="8775762" y="160774"/>
              <a:ext cx="416238" cy="551108"/>
            </a:xfrm>
            <a:custGeom>
              <a:avLst/>
              <a:gdLst>
                <a:gd name="T0" fmla="*/ 192 w 218"/>
                <a:gd name="T1" fmla="*/ 174 h 288"/>
                <a:gd name="T2" fmla="*/ 159 w 218"/>
                <a:gd name="T3" fmla="*/ 142 h 288"/>
                <a:gd name="T4" fmla="*/ 192 w 218"/>
                <a:gd name="T5" fmla="*/ 109 h 288"/>
                <a:gd name="T6" fmla="*/ 218 w 218"/>
                <a:gd name="T7" fmla="*/ 117 h 288"/>
                <a:gd name="T8" fmla="*/ 218 w 218"/>
                <a:gd name="T9" fmla="*/ 109 h 288"/>
                <a:gd name="T10" fmla="*/ 218 w 218"/>
                <a:gd name="T11" fmla="*/ 79 h 288"/>
                <a:gd name="T12" fmla="*/ 208 w 218"/>
                <a:gd name="T13" fmla="*/ 69 h 288"/>
                <a:gd name="T14" fmla="*/ 163 w 218"/>
                <a:gd name="T15" fmla="*/ 69 h 288"/>
                <a:gd name="T16" fmla="*/ 173 w 218"/>
                <a:gd name="T17" fmla="*/ 32 h 288"/>
                <a:gd name="T18" fmla="*/ 140 w 218"/>
                <a:gd name="T19" fmla="*/ 0 h 288"/>
                <a:gd name="T20" fmla="*/ 107 w 218"/>
                <a:gd name="T21" fmla="*/ 32 h 288"/>
                <a:gd name="T22" fmla="*/ 117 w 218"/>
                <a:gd name="T23" fmla="*/ 69 h 288"/>
                <a:gd name="T24" fmla="*/ 72 w 218"/>
                <a:gd name="T25" fmla="*/ 69 h 288"/>
                <a:gd name="T26" fmla="*/ 62 w 218"/>
                <a:gd name="T27" fmla="*/ 79 h 288"/>
                <a:gd name="T28" fmla="*/ 62 w 218"/>
                <a:gd name="T29" fmla="*/ 119 h 288"/>
                <a:gd name="T30" fmla="*/ 33 w 218"/>
                <a:gd name="T31" fmla="*/ 112 h 288"/>
                <a:gd name="T32" fmla="*/ 0 w 218"/>
                <a:gd name="T33" fmla="*/ 144 h 288"/>
                <a:gd name="T34" fmla="*/ 33 w 218"/>
                <a:gd name="T35" fmla="*/ 177 h 288"/>
                <a:gd name="T36" fmla="*/ 62 w 218"/>
                <a:gd name="T37" fmla="*/ 170 h 288"/>
                <a:gd name="T38" fmla="*/ 62 w 218"/>
                <a:gd name="T39" fmla="*/ 215 h 288"/>
                <a:gd name="T40" fmla="*/ 72 w 218"/>
                <a:gd name="T41" fmla="*/ 225 h 288"/>
                <a:gd name="T42" fmla="*/ 116 w 218"/>
                <a:gd name="T43" fmla="*/ 225 h 288"/>
                <a:gd name="T44" fmla="*/ 107 w 218"/>
                <a:gd name="T45" fmla="*/ 256 h 288"/>
                <a:gd name="T46" fmla="*/ 140 w 218"/>
                <a:gd name="T47" fmla="*/ 288 h 288"/>
                <a:gd name="T48" fmla="*/ 173 w 218"/>
                <a:gd name="T49" fmla="*/ 256 h 288"/>
                <a:gd name="T50" fmla="*/ 164 w 218"/>
                <a:gd name="T51" fmla="*/ 225 h 288"/>
                <a:gd name="T52" fmla="*/ 208 w 218"/>
                <a:gd name="T53" fmla="*/ 225 h 288"/>
                <a:gd name="T54" fmla="*/ 218 w 218"/>
                <a:gd name="T55" fmla="*/ 215 h 288"/>
                <a:gd name="T56" fmla="*/ 218 w 218"/>
                <a:gd name="T57" fmla="*/ 180 h 288"/>
                <a:gd name="T58" fmla="*/ 218 w 218"/>
                <a:gd name="T59" fmla="*/ 165 h 288"/>
                <a:gd name="T60" fmla="*/ 192 w 218"/>
                <a:gd name="T6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8" h="288">
                  <a:moveTo>
                    <a:pt x="192" y="174"/>
                  </a:moveTo>
                  <a:cubicBezTo>
                    <a:pt x="174" y="174"/>
                    <a:pt x="159" y="160"/>
                    <a:pt x="159" y="142"/>
                  </a:cubicBezTo>
                  <a:cubicBezTo>
                    <a:pt x="159" y="123"/>
                    <a:pt x="174" y="109"/>
                    <a:pt x="192" y="109"/>
                  </a:cubicBezTo>
                  <a:cubicBezTo>
                    <a:pt x="199" y="109"/>
                    <a:pt x="211" y="119"/>
                    <a:pt x="218" y="117"/>
                  </a:cubicBezTo>
                  <a:cubicBezTo>
                    <a:pt x="218" y="109"/>
                    <a:pt x="218" y="109"/>
                    <a:pt x="218" y="109"/>
                  </a:cubicBezTo>
                  <a:cubicBezTo>
                    <a:pt x="218" y="79"/>
                    <a:pt x="218" y="79"/>
                    <a:pt x="218" y="79"/>
                  </a:cubicBezTo>
                  <a:cubicBezTo>
                    <a:pt x="218" y="73"/>
                    <a:pt x="213" y="69"/>
                    <a:pt x="208" y="69"/>
                  </a:cubicBezTo>
                  <a:cubicBezTo>
                    <a:pt x="208" y="69"/>
                    <a:pt x="169" y="76"/>
                    <a:pt x="163" y="69"/>
                  </a:cubicBezTo>
                  <a:cubicBezTo>
                    <a:pt x="156" y="62"/>
                    <a:pt x="173" y="41"/>
                    <a:pt x="173" y="32"/>
                  </a:cubicBezTo>
                  <a:cubicBezTo>
                    <a:pt x="173" y="14"/>
                    <a:pt x="158" y="0"/>
                    <a:pt x="140" y="0"/>
                  </a:cubicBezTo>
                  <a:cubicBezTo>
                    <a:pt x="122" y="0"/>
                    <a:pt x="107" y="14"/>
                    <a:pt x="107" y="32"/>
                  </a:cubicBezTo>
                  <a:cubicBezTo>
                    <a:pt x="107" y="41"/>
                    <a:pt x="125" y="61"/>
                    <a:pt x="117" y="69"/>
                  </a:cubicBezTo>
                  <a:cubicBezTo>
                    <a:pt x="109" y="77"/>
                    <a:pt x="72" y="69"/>
                    <a:pt x="72" y="69"/>
                  </a:cubicBezTo>
                  <a:cubicBezTo>
                    <a:pt x="66" y="69"/>
                    <a:pt x="62" y="73"/>
                    <a:pt x="62" y="79"/>
                  </a:cubicBezTo>
                  <a:cubicBezTo>
                    <a:pt x="62" y="79"/>
                    <a:pt x="69" y="112"/>
                    <a:pt x="62" y="119"/>
                  </a:cubicBezTo>
                  <a:cubicBezTo>
                    <a:pt x="55" y="125"/>
                    <a:pt x="41" y="112"/>
                    <a:pt x="33" y="112"/>
                  </a:cubicBezTo>
                  <a:cubicBezTo>
                    <a:pt x="15" y="112"/>
                    <a:pt x="0" y="126"/>
                    <a:pt x="0" y="144"/>
                  </a:cubicBezTo>
                  <a:cubicBezTo>
                    <a:pt x="0" y="162"/>
                    <a:pt x="15" y="177"/>
                    <a:pt x="33" y="177"/>
                  </a:cubicBezTo>
                  <a:cubicBezTo>
                    <a:pt x="41" y="177"/>
                    <a:pt x="54" y="162"/>
                    <a:pt x="62" y="170"/>
                  </a:cubicBezTo>
                  <a:cubicBezTo>
                    <a:pt x="70" y="178"/>
                    <a:pt x="62" y="215"/>
                    <a:pt x="62" y="215"/>
                  </a:cubicBezTo>
                  <a:cubicBezTo>
                    <a:pt x="62" y="220"/>
                    <a:pt x="66" y="225"/>
                    <a:pt x="72" y="225"/>
                  </a:cubicBezTo>
                  <a:cubicBezTo>
                    <a:pt x="72" y="225"/>
                    <a:pt x="109" y="218"/>
                    <a:pt x="116" y="225"/>
                  </a:cubicBezTo>
                  <a:cubicBezTo>
                    <a:pt x="123" y="232"/>
                    <a:pt x="107" y="247"/>
                    <a:pt x="107" y="256"/>
                  </a:cubicBezTo>
                  <a:cubicBezTo>
                    <a:pt x="107" y="274"/>
                    <a:pt x="122" y="288"/>
                    <a:pt x="140" y="288"/>
                  </a:cubicBezTo>
                  <a:cubicBezTo>
                    <a:pt x="158" y="288"/>
                    <a:pt x="173" y="274"/>
                    <a:pt x="173" y="256"/>
                  </a:cubicBezTo>
                  <a:cubicBezTo>
                    <a:pt x="173" y="247"/>
                    <a:pt x="155" y="233"/>
                    <a:pt x="164" y="225"/>
                  </a:cubicBezTo>
                  <a:cubicBezTo>
                    <a:pt x="173" y="216"/>
                    <a:pt x="208" y="225"/>
                    <a:pt x="208" y="225"/>
                  </a:cubicBezTo>
                  <a:cubicBezTo>
                    <a:pt x="213" y="225"/>
                    <a:pt x="218" y="220"/>
                    <a:pt x="218" y="215"/>
                  </a:cubicBezTo>
                  <a:cubicBezTo>
                    <a:pt x="218" y="180"/>
                    <a:pt x="218" y="180"/>
                    <a:pt x="218" y="180"/>
                  </a:cubicBezTo>
                  <a:cubicBezTo>
                    <a:pt x="218" y="165"/>
                    <a:pt x="218" y="165"/>
                    <a:pt x="218" y="165"/>
                  </a:cubicBezTo>
                  <a:cubicBezTo>
                    <a:pt x="210" y="162"/>
                    <a:pt x="199" y="174"/>
                    <a:pt x="192" y="17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 name="Group 1">
            <a:extLst>
              <a:ext uri="{FF2B5EF4-FFF2-40B4-BE49-F238E27FC236}">
                <a16:creationId xmlns:a16="http://schemas.microsoft.com/office/drawing/2014/main" id="{F71F5128-D9F4-4575-A5C5-F090094F616A}"/>
              </a:ext>
              <a:ext uri="{C183D7F6-B498-43B3-948B-1728B52AA6E4}">
                <adec:decorative xmlns:adec="http://schemas.microsoft.com/office/drawing/2017/decorative" val="1"/>
              </a:ext>
            </a:extLst>
          </p:cNvPr>
          <p:cNvGrpSpPr>
            <a:grpSpLocks noChangeAspect="1"/>
          </p:cNvGrpSpPr>
          <p:nvPr/>
        </p:nvGrpSpPr>
        <p:grpSpPr>
          <a:xfrm>
            <a:off x="10031599" y="1101944"/>
            <a:ext cx="678938" cy="633600"/>
            <a:chOff x="6613838" y="2637000"/>
            <a:chExt cx="771521" cy="720000"/>
          </a:xfrm>
        </p:grpSpPr>
        <p:sp>
          <p:nvSpPr>
            <p:cNvPr id="637" name="Freeform 211">
              <a:extLst>
                <a:ext uri="{FF2B5EF4-FFF2-40B4-BE49-F238E27FC236}">
                  <a16:creationId xmlns:a16="http://schemas.microsoft.com/office/drawing/2014/main" id="{CB68BC99-C207-4AEE-AD89-FFD36A4E04A8}"/>
                </a:ext>
              </a:extLst>
            </p:cNvPr>
            <p:cNvSpPr>
              <a:spLocks noChangeAspect="1"/>
            </p:cNvSpPr>
            <p:nvPr/>
          </p:nvSpPr>
          <p:spPr bwMode="auto">
            <a:xfrm>
              <a:off x="6613838" y="2637000"/>
              <a:ext cx="771521" cy="720000"/>
            </a:xfrm>
            <a:custGeom>
              <a:avLst/>
              <a:gdLst>
                <a:gd name="T0" fmla="*/ 30 w 253"/>
                <a:gd name="T1" fmla="*/ 172 h 236"/>
                <a:gd name="T2" fmla="*/ 74 w 253"/>
                <a:gd name="T3" fmla="*/ 28 h 236"/>
                <a:gd name="T4" fmla="*/ 224 w 253"/>
                <a:gd name="T5" fmla="*/ 71 h 236"/>
                <a:gd name="T6" fmla="*/ 176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4" y="20"/>
                    <a:pt x="224" y="71"/>
                  </a:cubicBezTo>
                  <a:cubicBezTo>
                    <a:pt x="253" y="122"/>
                    <a:pt x="230" y="181"/>
                    <a:pt x="176" y="208"/>
                  </a:cubicBezTo>
                  <a:cubicBezTo>
                    <a:pt x="123" y="236"/>
                    <a:pt x="59" y="223"/>
                    <a:pt x="30" y="172"/>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638" name="Group 637">
              <a:extLst>
                <a:ext uri="{FF2B5EF4-FFF2-40B4-BE49-F238E27FC236}">
                  <a16:creationId xmlns:a16="http://schemas.microsoft.com/office/drawing/2014/main" id="{62D37E8B-2BBB-49F4-AD25-223707A6CFF8}"/>
                </a:ext>
              </a:extLst>
            </p:cNvPr>
            <p:cNvGrpSpPr/>
            <p:nvPr/>
          </p:nvGrpSpPr>
          <p:grpSpPr>
            <a:xfrm>
              <a:off x="6818632" y="2795425"/>
              <a:ext cx="359356" cy="409589"/>
              <a:chOff x="6818632" y="2795425"/>
              <a:chExt cx="359356" cy="409589"/>
            </a:xfrm>
          </p:grpSpPr>
          <p:sp>
            <p:nvSpPr>
              <p:cNvPr id="639" name="Freeform 212">
                <a:extLst>
                  <a:ext uri="{FF2B5EF4-FFF2-40B4-BE49-F238E27FC236}">
                    <a16:creationId xmlns:a16="http://schemas.microsoft.com/office/drawing/2014/main" id="{A0A1A543-651E-4069-9A69-8367310CA2A0}"/>
                  </a:ext>
                </a:extLst>
              </p:cNvPr>
              <p:cNvSpPr>
                <a:spLocks noChangeAspect="1"/>
              </p:cNvSpPr>
              <p:nvPr/>
            </p:nvSpPr>
            <p:spPr bwMode="auto">
              <a:xfrm>
                <a:off x="6921673" y="2795425"/>
                <a:ext cx="158426" cy="409589"/>
              </a:xfrm>
              <a:custGeom>
                <a:avLst/>
                <a:gdLst>
                  <a:gd name="T0" fmla="*/ 34 w 52"/>
                  <a:gd name="T1" fmla="*/ 134 h 134"/>
                  <a:gd name="T2" fmla="*/ 30 w 52"/>
                  <a:gd name="T3" fmla="*/ 133 h 134"/>
                  <a:gd name="T4" fmla="*/ 30 w 52"/>
                  <a:gd name="T5" fmla="*/ 126 h 134"/>
                  <a:gd name="T6" fmla="*/ 33 w 52"/>
                  <a:gd name="T7" fmla="*/ 98 h 134"/>
                  <a:gd name="T8" fmla="*/ 17 w 52"/>
                  <a:gd name="T9" fmla="*/ 64 h 134"/>
                  <a:gd name="T10" fmla="*/ 3 w 52"/>
                  <a:gd name="T11" fmla="*/ 30 h 134"/>
                  <a:gd name="T12" fmla="*/ 11 w 52"/>
                  <a:gd name="T13" fmla="*/ 2 h 134"/>
                  <a:gd name="T14" fmla="*/ 18 w 52"/>
                  <a:gd name="T15" fmla="*/ 2 h 134"/>
                  <a:gd name="T16" fmla="*/ 18 w 52"/>
                  <a:gd name="T17" fmla="*/ 9 h 134"/>
                  <a:gd name="T18" fmla="*/ 13 w 52"/>
                  <a:gd name="T19" fmla="*/ 27 h 134"/>
                  <a:gd name="T20" fmla="*/ 13 w 52"/>
                  <a:gd name="T21" fmla="*/ 28 h 134"/>
                  <a:gd name="T22" fmla="*/ 26 w 52"/>
                  <a:gd name="T23" fmla="*/ 60 h 134"/>
                  <a:gd name="T24" fmla="*/ 42 w 52"/>
                  <a:gd name="T25" fmla="*/ 94 h 134"/>
                  <a:gd name="T26" fmla="*/ 37 w 52"/>
                  <a:gd name="T27" fmla="*/ 133 h 134"/>
                  <a:gd name="T28" fmla="*/ 34 w 52"/>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134">
                    <a:moveTo>
                      <a:pt x="34" y="134"/>
                    </a:moveTo>
                    <a:cubicBezTo>
                      <a:pt x="32" y="134"/>
                      <a:pt x="31" y="134"/>
                      <a:pt x="30" y="133"/>
                    </a:cubicBezTo>
                    <a:cubicBezTo>
                      <a:pt x="28" y="131"/>
                      <a:pt x="28" y="127"/>
                      <a:pt x="30" y="126"/>
                    </a:cubicBezTo>
                    <a:cubicBezTo>
                      <a:pt x="31" y="125"/>
                      <a:pt x="40" y="116"/>
                      <a:pt x="33" y="98"/>
                    </a:cubicBezTo>
                    <a:cubicBezTo>
                      <a:pt x="28" y="84"/>
                      <a:pt x="22" y="74"/>
                      <a:pt x="17" y="64"/>
                    </a:cubicBezTo>
                    <a:cubicBezTo>
                      <a:pt x="11" y="52"/>
                      <a:pt x="5" y="41"/>
                      <a:pt x="3" y="30"/>
                    </a:cubicBezTo>
                    <a:cubicBezTo>
                      <a:pt x="0" y="15"/>
                      <a:pt x="10" y="3"/>
                      <a:pt x="11" y="2"/>
                    </a:cubicBezTo>
                    <a:cubicBezTo>
                      <a:pt x="12" y="0"/>
                      <a:pt x="16" y="0"/>
                      <a:pt x="18" y="2"/>
                    </a:cubicBezTo>
                    <a:cubicBezTo>
                      <a:pt x="20" y="3"/>
                      <a:pt x="20" y="7"/>
                      <a:pt x="18" y="9"/>
                    </a:cubicBezTo>
                    <a:cubicBezTo>
                      <a:pt x="18" y="9"/>
                      <a:pt x="11" y="18"/>
                      <a:pt x="13" y="27"/>
                    </a:cubicBezTo>
                    <a:cubicBezTo>
                      <a:pt x="13" y="28"/>
                      <a:pt x="13" y="28"/>
                      <a:pt x="13" y="28"/>
                    </a:cubicBezTo>
                    <a:cubicBezTo>
                      <a:pt x="15" y="38"/>
                      <a:pt x="19" y="48"/>
                      <a:pt x="26" y="60"/>
                    </a:cubicBezTo>
                    <a:cubicBezTo>
                      <a:pt x="31" y="69"/>
                      <a:pt x="37" y="80"/>
                      <a:pt x="42" y="94"/>
                    </a:cubicBezTo>
                    <a:cubicBezTo>
                      <a:pt x="52" y="120"/>
                      <a:pt x="38" y="133"/>
                      <a:pt x="37" y="133"/>
                    </a:cubicBezTo>
                    <a:cubicBezTo>
                      <a:pt x="36" y="134"/>
                      <a:pt x="35" y="134"/>
                      <a:pt x="34" y="13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0" name="Freeform 213">
                <a:extLst>
                  <a:ext uri="{FF2B5EF4-FFF2-40B4-BE49-F238E27FC236}">
                    <a16:creationId xmlns:a16="http://schemas.microsoft.com/office/drawing/2014/main" id="{E7239641-D676-4F5A-8E50-FE7E26F116CF}"/>
                  </a:ext>
                </a:extLst>
              </p:cNvPr>
              <p:cNvSpPr>
                <a:spLocks noChangeAspect="1"/>
              </p:cNvSpPr>
              <p:nvPr/>
            </p:nvSpPr>
            <p:spPr bwMode="auto">
              <a:xfrm>
                <a:off x="6988650" y="2823762"/>
                <a:ext cx="109482" cy="45080"/>
              </a:xfrm>
              <a:custGeom>
                <a:avLst/>
                <a:gdLst>
                  <a:gd name="T0" fmla="*/ 31 w 36"/>
                  <a:gd name="T1" fmla="*/ 15 h 15"/>
                  <a:gd name="T2" fmla="*/ 30 w 36"/>
                  <a:gd name="T3" fmla="*/ 15 h 15"/>
                  <a:gd name="T4" fmla="*/ 5 w 36"/>
                  <a:gd name="T5" fmla="*/ 11 h 15"/>
                  <a:gd name="T6" fmla="*/ 1 w 36"/>
                  <a:gd name="T7" fmla="*/ 5 h 15"/>
                  <a:gd name="T8" fmla="*/ 7 w 36"/>
                  <a:gd name="T9" fmla="*/ 1 h 15"/>
                  <a:gd name="T10" fmla="*/ 32 w 36"/>
                  <a:gd name="T11" fmla="*/ 6 h 15"/>
                  <a:gd name="T12" fmla="*/ 36 w 36"/>
                  <a:gd name="T13" fmla="*/ 12 h 15"/>
                  <a:gd name="T14" fmla="*/ 31 w 3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5">
                    <a:moveTo>
                      <a:pt x="31" y="15"/>
                    </a:moveTo>
                    <a:cubicBezTo>
                      <a:pt x="30" y="15"/>
                      <a:pt x="30" y="15"/>
                      <a:pt x="30" y="15"/>
                    </a:cubicBezTo>
                    <a:cubicBezTo>
                      <a:pt x="5" y="11"/>
                      <a:pt x="5" y="11"/>
                      <a:pt x="5" y="11"/>
                    </a:cubicBezTo>
                    <a:cubicBezTo>
                      <a:pt x="2" y="10"/>
                      <a:pt x="0" y="7"/>
                      <a:pt x="1" y="5"/>
                    </a:cubicBezTo>
                    <a:cubicBezTo>
                      <a:pt x="1" y="2"/>
                      <a:pt x="4" y="0"/>
                      <a:pt x="7" y="1"/>
                    </a:cubicBezTo>
                    <a:cubicBezTo>
                      <a:pt x="32" y="6"/>
                      <a:pt x="32" y="6"/>
                      <a:pt x="32" y="6"/>
                    </a:cubicBezTo>
                    <a:cubicBezTo>
                      <a:pt x="34" y="6"/>
                      <a:pt x="36" y="9"/>
                      <a:pt x="36" y="12"/>
                    </a:cubicBezTo>
                    <a:cubicBezTo>
                      <a:pt x="35" y="14"/>
                      <a:pt x="33" y="15"/>
                      <a:pt x="31" y="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1" name="Freeform 214">
                <a:extLst>
                  <a:ext uri="{FF2B5EF4-FFF2-40B4-BE49-F238E27FC236}">
                    <a16:creationId xmlns:a16="http://schemas.microsoft.com/office/drawing/2014/main" id="{8A4CC6CD-8A5A-48B2-B152-9BDE7083A82C}"/>
                  </a:ext>
                </a:extLst>
              </p:cNvPr>
              <p:cNvSpPr>
                <a:spLocks noChangeAspect="1"/>
              </p:cNvSpPr>
              <p:nvPr/>
            </p:nvSpPr>
            <p:spPr bwMode="auto">
              <a:xfrm>
                <a:off x="6973194" y="2862402"/>
                <a:ext cx="131377" cy="57960"/>
              </a:xfrm>
              <a:custGeom>
                <a:avLst/>
                <a:gdLst>
                  <a:gd name="T0" fmla="*/ 38 w 43"/>
                  <a:gd name="T1" fmla="*/ 19 h 19"/>
                  <a:gd name="T2" fmla="*/ 36 w 43"/>
                  <a:gd name="T3" fmla="*/ 19 h 19"/>
                  <a:gd name="T4" fmla="*/ 5 w 43"/>
                  <a:gd name="T5" fmla="*/ 10 h 19"/>
                  <a:gd name="T6" fmla="*/ 1 w 43"/>
                  <a:gd name="T7" fmla="*/ 4 h 19"/>
                  <a:gd name="T8" fmla="*/ 7 w 43"/>
                  <a:gd name="T9" fmla="*/ 1 h 19"/>
                  <a:gd name="T10" fmla="*/ 39 w 43"/>
                  <a:gd name="T11" fmla="*/ 9 h 19"/>
                  <a:gd name="T12" fmla="*/ 42 w 43"/>
                  <a:gd name="T13" fmla="*/ 16 h 19"/>
                  <a:gd name="T14" fmla="*/ 38 w 4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9">
                    <a:moveTo>
                      <a:pt x="38" y="19"/>
                    </a:moveTo>
                    <a:cubicBezTo>
                      <a:pt x="37" y="19"/>
                      <a:pt x="37" y="19"/>
                      <a:pt x="36" y="19"/>
                    </a:cubicBezTo>
                    <a:cubicBezTo>
                      <a:pt x="5" y="10"/>
                      <a:pt x="5" y="10"/>
                      <a:pt x="5" y="10"/>
                    </a:cubicBezTo>
                    <a:cubicBezTo>
                      <a:pt x="2" y="10"/>
                      <a:pt x="0" y="7"/>
                      <a:pt x="1" y="4"/>
                    </a:cubicBezTo>
                    <a:cubicBezTo>
                      <a:pt x="2" y="1"/>
                      <a:pt x="5" y="0"/>
                      <a:pt x="7" y="1"/>
                    </a:cubicBezTo>
                    <a:cubicBezTo>
                      <a:pt x="39" y="9"/>
                      <a:pt x="39" y="9"/>
                      <a:pt x="39" y="9"/>
                    </a:cubicBezTo>
                    <a:cubicBezTo>
                      <a:pt x="42" y="10"/>
                      <a:pt x="43" y="13"/>
                      <a:pt x="42" y="16"/>
                    </a:cubicBezTo>
                    <a:cubicBezTo>
                      <a:pt x="42" y="18"/>
                      <a:pt x="40" y="19"/>
                      <a:pt x="38" y="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2" name="Freeform 215">
                <a:extLst>
                  <a:ext uri="{FF2B5EF4-FFF2-40B4-BE49-F238E27FC236}">
                    <a16:creationId xmlns:a16="http://schemas.microsoft.com/office/drawing/2014/main" id="{82C33894-2883-406B-ADDD-8C6A40EAAA15}"/>
                  </a:ext>
                </a:extLst>
              </p:cNvPr>
              <p:cNvSpPr>
                <a:spLocks noChangeAspect="1"/>
              </p:cNvSpPr>
              <p:nvPr/>
            </p:nvSpPr>
            <p:spPr bwMode="auto">
              <a:xfrm>
                <a:off x="6988650" y="2902331"/>
                <a:ext cx="79857" cy="55384"/>
              </a:xfrm>
              <a:custGeom>
                <a:avLst/>
                <a:gdLst>
                  <a:gd name="T0" fmla="*/ 21 w 26"/>
                  <a:gd name="T1" fmla="*/ 18 h 18"/>
                  <a:gd name="T2" fmla="*/ 19 w 26"/>
                  <a:gd name="T3" fmla="*/ 17 h 18"/>
                  <a:gd name="T4" fmla="*/ 3 w 26"/>
                  <a:gd name="T5" fmla="*/ 11 h 18"/>
                  <a:gd name="T6" fmla="*/ 1 w 26"/>
                  <a:gd name="T7" fmla="*/ 4 h 18"/>
                  <a:gd name="T8" fmla="*/ 8 w 26"/>
                  <a:gd name="T9" fmla="*/ 1 h 18"/>
                  <a:gd name="T10" fmla="*/ 23 w 26"/>
                  <a:gd name="T11" fmla="*/ 8 h 18"/>
                  <a:gd name="T12" fmla="*/ 25 w 26"/>
                  <a:gd name="T13" fmla="*/ 15 h 18"/>
                  <a:gd name="T14" fmla="*/ 21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1" y="18"/>
                    </a:moveTo>
                    <a:cubicBezTo>
                      <a:pt x="20" y="18"/>
                      <a:pt x="19" y="18"/>
                      <a:pt x="19" y="17"/>
                    </a:cubicBezTo>
                    <a:cubicBezTo>
                      <a:pt x="3" y="11"/>
                      <a:pt x="3" y="11"/>
                      <a:pt x="3" y="11"/>
                    </a:cubicBezTo>
                    <a:cubicBezTo>
                      <a:pt x="1" y="9"/>
                      <a:pt x="0" y="6"/>
                      <a:pt x="1" y="4"/>
                    </a:cubicBezTo>
                    <a:cubicBezTo>
                      <a:pt x="2" y="1"/>
                      <a:pt x="5" y="0"/>
                      <a:pt x="8" y="1"/>
                    </a:cubicBezTo>
                    <a:cubicBezTo>
                      <a:pt x="23" y="8"/>
                      <a:pt x="23" y="8"/>
                      <a:pt x="23" y="8"/>
                    </a:cubicBezTo>
                    <a:cubicBezTo>
                      <a:pt x="25" y="9"/>
                      <a:pt x="26" y="12"/>
                      <a:pt x="25" y="15"/>
                    </a:cubicBezTo>
                    <a:cubicBezTo>
                      <a:pt x="24" y="17"/>
                      <a:pt x="22" y="18"/>
                      <a:pt x="21"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3" name="Freeform 216">
                <a:extLst>
                  <a:ext uri="{FF2B5EF4-FFF2-40B4-BE49-F238E27FC236}">
                    <a16:creationId xmlns:a16="http://schemas.microsoft.com/office/drawing/2014/main" id="{965DAC6D-801E-40C4-8939-D8FE72645C71}"/>
                  </a:ext>
                </a:extLst>
              </p:cNvPr>
              <p:cNvSpPr>
                <a:spLocks noChangeAspect="1"/>
              </p:cNvSpPr>
              <p:nvPr/>
            </p:nvSpPr>
            <p:spPr bwMode="auto">
              <a:xfrm>
                <a:off x="6912657" y="3049165"/>
                <a:ext cx="85009" cy="48945"/>
              </a:xfrm>
              <a:custGeom>
                <a:avLst/>
                <a:gdLst>
                  <a:gd name="T0" fmla="*/ 22 w 28"/>
                  <a:gd name="T1" fmla="*/ 16 h 16"/>
                  <a:gd name="T2" fmla="*/ 21 w 28"/>
                  <a:gd name="T3" fmla="*/ 15 h 16"/>
                  <a:gd name="T4" fmla="*/ 4 w 28"/>
                  <a:gd name="T5" fmla="*/ 10 h 16"/>
                  <a:gd name="T6" fmla="*/ 1 w 28"/>
                  <a:gd name="T7" fmla="*/ 4 h 16"/>
                  <a:gd name="T8" fmla="*/ 7 w 28"/>
                  <a:gd name="T9" fmla="*/ 1 h 16"/>
                  <a:gd name="T10" fmla="*/ 24 w 28"/>
                  <a:gd name="T11" fmla="*/ 6 h 16"/>
                  <a:gd name="T12" fmla="*/ 27 w 28"/>
                  <a:gd name="T13" fmla="*/ 12 h 16"/>
                  <a:gd name="T14" fmla="*/ 22 w 28"/>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22" y="16"/>
                    </a:moveTo>
                    <a:cubicBezTo>
                      <a:pt x="22" y="16"/>
                      <a:pt x="22" y="16"/>
                      <a:pt x="21" y="15"/>
                    </a:cubicBezTo>
                    <a:cubicBezTo>
                      <a:pt x="4" y="10"/>
                      <a:pt x="4" y="10"/>
                      <a:pt x="4" y="10"/>
                    </a:cubicBezTo>
                    <a:cubicBezTo>
                      <a:pt x="1" y="9"/>
                      <a:pt x="0" y="7"/>
                      <a:pt x="1" y="4"/>
                    </a:cubicBezTo>
                    <a:cubicBezTo>
                      <a:pt x="2" y="1"/>
                      <a:pt x="4" y="0"/>
                      <a:pt x="7" y="1"/>
                    </a:cubicBezTo>
                    <a:cubicBezTo>
                      <a:pt x="24" y="6"/>
                      <a:pt x="24" y="6"/>
                      <a:pt x="24" y="6"/>
                    </a:cubicBezTo>
                    <a:cubicBezTo>
                      <a:pt x="27" y="7"/>
                      <a:pt x="28" y="9"/>
                      <a:pt x="27" y="12"/>
                    </a:cubicBezTo>
                    <a:cubicBezTo>
                      <a:pt x="27" y="14"/>
                      <a:pt x="25" y="16"/>
                      <a:pt x="22" y="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4" name="Freeform 217">
                <a:extLst>
                  <a:ext uri="{FF2B5EF4-FFF2-40B4-BE49-F238E27FC236}">
                    <a16:creationId xmlns:a16="http://schemas.microsoft.com/office/drawing/2014/main" id="{768B28F3-02FE-4D6C-84B6-79FFAB7C5134}"/>
                  </a:ext>
                </a:extLst>
              </p:cNvPr>
              <p:cNvSpPr>
                <a:spLocks noChangeAspect="1"/>
              </p:cNvSpPr>
              <p:nvPr/>
            </p:nvSpPr>
            <p:spPr bwMode="auto">
              <a:xfrm>
                <a:off x="6872728" y="3085229"/>
                <a:ext cx="140394" cy="55384"/>
              </a:xfrm>
              <a:custGeom>
                <a:avLst/>
                <a:gdLst>
                  <a:gd name="T0" fmla="*/ 40 w 46"/>
                  <a:gd name="T1" fmla="*/ 18 h 18"/>
                  <a:gd name="T2" fmla="*/ 39 w 46"/>
                  <a:gd name="T3" fmla="*/ 18 h 18"/>
                  <a:gd name="T4" fmla="*/ 4 w 46"/>
                  <a:gd name="T5" fmla="*/ 10 h 18"/>
                  <a:gd name="T6" fmla="*/ 1 w 46"/>
                  <a:gd name="T7" fmla="*/ 4 h 18"/>
                  <a:gd name="T8" fmla="*/ 7 w 46"/>
                  <a:gd name="T9" fmla="*/ 0 h 18"/>
                  <a:gd name="T10" fmla="*/ 41 w 46"/>
                  <a:gd name="T11" fmla="*/ 8 h 18"/>
                  <a:gd name="T12" fmla="*/ 45 w 46"/>
                  <a:gd name="T13" fmla="*/ 14 h 18"/>
                  <a:gd name="T14" fmla="*/ 40 w 4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18">
                    <a:moveTo>
                      <a:pt x="40" y="18"/>
                    </a:moveTo>
                    <a:cubicBezTo>
                      <a:pt x="40" y="18"/>
                      <a:pt x="40" y="18"/>
                      <a:pt x="39" y="18"/>
                    </a:cubicBezTo>
                    <a:cubicBezTo>
                      <a:pt x="4" y="10"/>
                      <a:pt x="4" y="10"/>
                      <a:pt x="4" y="10"/>
                    </a:cubicBezTo>
                    <a:cubicBezTo>
                      <a:pt x="2" y="10"/>
                      <a:pt x="0" y="7"/>
                      <a:pt x="1" y="4"/>
                    </a:cubicBezTo>
                    <a:cubicBezTo>
                      <a:pt x="1" y="2"/>
                      <a:pt x="4" y="0"/>
                      <a:pt x="7" y="0"/>
                    </a:cubicBezTo>
                    <a:cubicBezTo>
                      <a:pt x="41" y="8"/>
                      <a:pt x="41" y="8"/>
                      <a:pt x="41" y="8"/>
                    </a:cubicBezTo>
                    <a:cubicBezTo>
                      <a:pt x="44" y="9"/>
                      <a:pt x="46" y="11"/>
                      <a:pt x="45" y="14"/>
                    </a:cubicBezTo>
                    <a:cubicBezTo>
                      <a:pt x="45" y="17"/>
                      <a:pt x="43" y="18"/>
                      <a:pt x="40"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5" name="Freeform 218">
                <a:extLst>
                  <a:ext uri="{FF2B5EF4-FFF2-40B4-BE49-F238E27FC236}">
                    <a16:creationId xmlns:a16="http://schemas.microsoft.com/office/drawing/2014/main" id="{33F0774C-1B03-46A5-9071-83D264B85E81}"/>
                  </a:ext>
                </a:extLst>
              </p:cNvPr>
              <p:cNvSpPr>
                <a:spLocks noChangeAspect="1"/>
              </p:cNvSpPr>
              <p:nvPr/>
            </p:nvSpPr>
            <p:spPr bwMode="auto">
              <a:xfrm>
                <a:off x="6881745" y="3131598"/>
                <a:ext cx="113345" cy="48945"/>
              </a:xfrm>
              <a:custGeom>
                <a:avLst/>
                <a:gdLst>
                  <a:gd name="T0" fmla="*/ 32 w 37"/>
                  <a:gd name="T1" fmla="*/ 16 h 16"/>
                  <a:gd name="T2" fmla="*/ 30 w 37"/>
                  <a:gd name="T3" fmla="*/ 16 h 16"/>
                  <a:gd name="T4" fmla="*/ 4 w 37"/>
                  <a:gd name="T5" fmla="*/ 10 h 16"/>
                  <a:gd name="T6" fmla="*/ 1 w 37"/>
                  <a:gd name="T7" fmla="*/ 4 h 16"/>
                  <a:gd name="T8" fmla="*/ 7 w 37"/>
                  <a:gd name="T9" fmla="*/ 1 h 16"/>
                  <a:gd name="T10" fmla="*/ 33 w 37"/>
                  <a:gd name="T11" fmla="*/ 7 h 16"/>
                  <a:gd name="T12" fmla="*/ 36 w 37"/>
                  <a:gd name="T13" fmla="*/ 13 h 16"/>
                  <a:gd name="T14" fmla="*/ 32 w 3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6">
                    <a:moveTo>
                      <a:pt x="32" y="16"/>
                    </a:moveTo>
                    <a:cubicBezTo>
                      <a:pt x="31" y="16"/>
                      <a:pt x="31" y="16"/>
                      <a:pt x="30" y="16"/>
                    </a:cubicBezTo>
                    <a:cubicBezTo>
                      <a:pt x="4" y="10"/>
                      <a:pt x="4" y="10"/>
                      <a:pt x="4" y="10"/>
                    </a:cubicBezTo>
                    <a:cubicBezTo>
                      <a:pt x="2" y="10"/>
                      <a:pt x="0" y="7"/>
                      <a:pt x="1" y="4"/>
                    </a:cubicBezTo>
                    <a:cubicBezTo>
                      <a:pt x="1" y="2"/>
                      <a:pt x="4" y="0"/>
                      <a:pt x="7" y="1"/>
                    </a:cubicBezTo>
                    <a:cubicBezTo>
                      <a:pt x="33" y="7"/>
                      <a:pt x="33" y="7"/>
                      <a:pt x="33" y="7"/>
                    </a:cubicBezTo>
                    <a:cubicBezTo>
                      <a:pt x="35" y="7"/>
                      <a:pt x="37" y="10"/>
                      <a:pt x="36" y="13"/>
                    </a:cubicBezTo>
                    <a:cubicBezTo>
                      <a:pt x="36" y="15"/>
                      <a:pt x="34" y="16"/>
                      <a:pt x="32" y="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6" name="Freeform 219">
                <a:extLst>
                  <a:ext uri="{FF2B5EF4-FFF2-40B4-BE49-F238E27FC236}">
                    <a16:creationId xmlns:a16="http://schemas.microsoft.com/office/drawing/2014/main" id="{84795FDB-3711-46D3-B8DD-F03C832B33DE}"/>
                  </a:ext>
                </a:extLst>
              </p:cNvPr>
              <p:cNvSpPr>
                <a:spLocks noChangeAspect="1"/>
              </p:cNvSpPr>
              <p:nvPr/>
            </p:nvSpPr>
            <p:spPr bwMode="auto">
              <a:xfrm>
                <a:off x="6818632" y="2997644"/>
                <a:ext cx="151986" cy="189338"/>
              </a:xfrm>
              <a:custGeom>
                <a:avLst/>
                <a:gdLst>
                  <a:gd name="T0" fmla="*/ 13 w 50"/>
                  <a:gd name="T1" fmla="*/ 62 h 62"/>
                  <a:gd name="T2" fmla="*/ 8 w 50"/>
                  <a:gd name="T3" fmla="*/ 58 h 62"/>
                  <a:gd name="T4" fmla="*/ 10 w 50"/>
                  <a:gd name="T5" fmla="*/ 19 h 62"/>
                  <a:gd name="T6" fmla="*/ 44 w 50"/>
                  <a:gd name="T7" fmla="*/ 1 h 62"/>
                  <a:gd name="T8" fmla="*/ 50 w 50"/>
                  <a:gd name="T9" fmla="*/ 5 h 62"/>
                  <a:gd name="T10" fmla="*/ 46 w 50"/>
                  <a:gd name="T11" fmla="*/ 10 h 62"/>
                  <a:gd name="T12" fmla="*/ 46 w 50"/>
                  <a:gd name="T13" fmla="*/ 10 h 62"/>
                  <a:gd name="T14" fmla="*/ 18 w 50"/>
                  <a:gd name="T15" fmla="*/ 25 h 62"/>
                  <a:gd name="T16" fmla="*/ 17 w 50"/>
                  <a:gd name="T17" fmla="*/ 55 h 62"/>
                  <a:gd name="T18" fmla="*/ 14 w 50"/>
                  <a:gd name="T19" fmla="*/ 61 h 62"/>
                  <a:gd name="T20" fmla="*/ 13 w 50"/>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62">
                    <a:moveTo>
                      <a:pt x="13" y="62"/>
                    </a:moveTo>
                    <a:cubicBezTo>
                      <a:pt x="11" y="62"/>
                      <a:pt x="9" y="60"/>
                      <a:pt x="8" y="58"/>
                    </a:cubicBezTo>
                    <a:cubicBezTo>
                      <a:pt x="8" y="57"/>
                      <a:pt x="0" y="34"/>
                      <a:pt x="10" y="19"/>
                    </a:cubicBezTo>
                    <a:cubicBezTo>
                      <a:pt x="20" y="5"/>
                      <a:pt x="43" y="1"/>
                      <a:pt x="44" y="1"/>
                    </a:cubicBezTo>
                    <a:cubicBezTo>
                      <a:pt x="47" y="0"/>
                      <a:pt x="50" y="2"/>
                      <a:pt x="50" y="5"/>
                    </a:cubicBezTo>
                    <a:cubicBezTo>
                      <a:pt x="50" y="7"/>
                      <a:pt x="49" y="10"/>
                      <a:pt x="46" y="10"/>
                    </a:cubicBezTo>
                    <a:cubicBezTo>
                      <a:pt x="46" y="10"/>
                      <a:pt x="46" y="10"/>
                      <a:pt x="46" y="10"/>
                    </a:cubicBezTo>
                    <a:cubicBezTo>
                      <a:pt x="46" y="10"/>
                      <a:pt x="26" y="14"/>
                      <a:pt x="18" y="25"/>
                    </a:cubicBezTo>
                    <a:cubicBezTo>
                      <a:pt x="12" y="34"/>
                      <a:pt x="16" y="49"/>
                      <a:pt x="17" y="55"/>
                    </a:cubicBezTo>
                    <a:cubicBezTo>
                      <a:pt x="18" y="57"/>
                      <a:pt x="17" y="60"/>
                      <a:pt x="14" y="61"/>
                    </a:cubicBezTo>
                    <a:cubicBezTo>
                      <a:pt x="14" y="61"/>
                      <a:pt x="14" y="62"/>
                      <a:pt x="13" y="6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7" name="Freeform 220">
                <a:extLst>
                  <a:ext uri="{FF2B5EF4-FFF2-40B4-BE49-F238E27FC236}">
                    <a16:creationId xmlns:a16="http://schemas.microsoft.com/office/drawing/2014/main" id="{9992617C-EB80-4B61-9D6E-5169A651D211}"/>
                  </a:ext>
                </a:extLst>
              </p:cNvPr>
              <p:cNvSpPr>
                <a:spLocks noChangeAspect="1"/>
              </p:cNvSpPr>
              <p:nvPr/>
            </p:nvSpPr>
            <p:spPr bwMode="auto">
              <a:xfrm>
                <a:off x="7019562" y="2817322"/>
                <a:ext cx="158426" cy="189338"/>
              </a:xfrm>
              <a:custGeom>
                <a:avLst/>
                <a:gdLst>
                  <a:gd name="T0" fmla="*/ 5 w 52"/>
                  <a:gd name="T1" fmla="*/ 62 h 62"/>
                  <a:gd name="T2" fmla="*/ 0 w 52"/>
                  <a:gd name="T3" fmla="*/ 57 h 62"/>
                  <a:gd name="T4" fmla="*/ 4 w 52"/>
                  <a:gd name="T5" fmla="*/ 52 h 62"/>
                  <a:gd name="T6" fmla="*/ 32 w 52"/>
                  <a:gd name="T7" fmla="*/ 37 h 62"/>
                  <a:gd name="T8" fmla="*/ 32 w 52"/>
                  <a:gd name="T9" fmla="*/ 8 h 62"/>
                  <a:gd name="T10" fmla="*/ 35 w 52"/>
                  <a:gd name="T11" fmla="*/ 1 h 62"/>
                  <a:gd name="T12" fmla="*/ 41 w 52"/>
                  <a:gd name="T13" fmla="*/ 3 h 62"/>
                  <a:gd name="T14" fmla="*/ 40 w 52"/>
                  <a:gd name="T15" fmla="*/ 42 h 62"/>
                  <a:gd name="T16" fmla="*/ 5 w 52"/>
                  <a:gd name="T17" fmla="*/ 62 h 62"/>
                  <a:gd name="T18" fmla="*/ 5 w 5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62">
                    <a:moveTo>
                      <a:pt x="5" y="62"/>
                    </a:moveTo>
                    <a:cubicBezTo>
                      <a:pt x="2" y="62"/>
                      <a:pt x="0" y="60"/>
                      <a:pt x="0" y="57"/>
                    </a:cubicBezTo>
                    <a:cubicBezTo>
                      <a:pt x="0" y="54"/>
                      <a:pt x="2" y="52"/>
                      <a:pt x="4" y="52"/>
                    </a:cubicBezTo>
                    <a:cubicBezTo>
                      <a:pt x="5" y="52"/>
                      <a:pt x="22" y="51"/>
                      <a:pt x="32" y="37"/>
                    </a:cubicBezTo>
                    <a:cubicBezTo>
                      <a:pt x="41" y="23"/>
                      <a:pt x="32" y="8"/>
                      <a:pt x="32" y="8"/>
                    </a:cubicBezTo>
                    <a:cubicBezTo>
                      <a:pt x="31" y="6"/>
                      <a:pt x="32" y="3"/>
                      <a:pt x="35" y="1"/>
                    </a:cubicBezTo>
                    <a:cubicBezTo>
                      <a:pt x="37" y="0"/>
                      <a:pt x="40" y="1"/>
                      <a:pt x="41" y="3"/>
                    </a:cubicBezTo>
                    <a:cubicBezTo>
                      <a:pt x="42" y="4"/>
                      <a:pt x="52" y="24"/>
                      <a:pt x="40" y="42"/>
                    </a:cubicBezTo>
                    <a:cubicBezTo>
                      <a:pt x="28" y="61"/>
                      <a:pt x="6" y="62"/>
                      <a:pt x="5" y="62"/>
                    </a:cubicBezTo>
                    <a:cubicBezTo>
                      <a:pt x="5" y="62"/>
                      <a:pt x="5" y="62"/>
                      <a:pt x="5" y="6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649" name="Group 648">
            <a:extLst>
              <a:ext uri="{FF2B5EF4-FFF2-40B4-BE49-F238E27FC236}">
                <a16:creationId xmlns:a16="http://schemas.microsoft.com/office/drawing/2014/main" id="{9278E156-2128-46E1-887F-AADD83920205}"/>
              </a:ext>
              <a:ext uri="{C183D7F6-B498-43B3-948B-1728B52AA6E4}">
                <adec:decorative xmlns:adec="http://schemas.microsoft.com/office/drawing/2017/decorative" val="1"/>
              </a:ext>
            </a:extLst>
          </p:cNvPr>
          <p:cNvGrpSpPr>
            <a:grpSpLocks noChangeAspect="1"/>
          </p:cNvGrpSpPr>
          <p:nvPr/>
        </p:nvGrpSpPr>
        <p:grpSpPr>
          <a:xfrm>
            <a:off x="461364" y="1101944"/>
            <a:ext cx="672805" cy="633600"/>
            <a:chOff x="1497011" y="961646"/>
            <a:chExt cx="764551" cy="720000"/>
          </a:xfrm>
        </p:grpSpPr>
        <p:sp>
          <p:nvSpPr>
            <p:cNvPr id="650" name="Freeform 201">
              <a:extLst>
                <a:ext uri="{FF2B5EF4-FFF2-40B4-BE49-F238E27FC236}">
                  <a16:creationId xmlns:a16="http://schemas.microsoft.com/office/drawing/2014/main" id="{7C8A2FA7-4E0D-44C0-BD75-E6EEDD1A146E}"/>
                </a:ext>
              </a:extLst>
            </p:cNvPr>
            <p:cNvSpPr>
              <a:spLocks/>
            </p:cNvSpPr>
            <p:nvPr/>
          </p:nvSpPr>
          <p:spPr bwMode="auto">
            <a:xfrm>
              <a:off x="1497011" y="961646"/>
              <a:ext cx="764551" cy="72000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651" name="Group 2">
              <a:extLst>
                <a:ext uri="{FF2B5EF4-FFF2-40B4-BE49-F238E27FC236}">
                  <a16:creationId xmlns:a16="http://schemas.microsoft.com/office/drawing/2014/main" id="{493E6AA1-37C7-49E3-B62F-F54790797808}"/>
                </a:ext>
              </a:extLst>
            </p:cNvPr>
            <p:cNvGrpSpPr>
              <a:grpSpLocks noChangeAspect="1"/>
            </p:cNvGrpSpPr>
            <p:nvPr/>
          </p:nvGrpSpPr>
          <p:grpSpPr>
            <a:xfrm>
              <a:off x="1657705" y="1103414"/>
              <a:ext cx="443162" cy="396000"/>
              <a:chOff x="7870278" y="3992832"/>
              <a:chExt cx="828466" cy="740302"/>
            </a:xfrm>
            <a:solidFill>
              <a:schemeClr val="bg1"/>
            </a:solidFill>
          </p:grpSpPr>
          <p:sp>
            <p:nvSpPr>
              <p:cNvPr id="652" name="Freeform 28">
                <a:extLst>
                  <a:ext uri="{FF2B5EF4-FFF2-40B4-BE49-F238E27FC236}">
                    <a16:creationId xmlns:a16="http://schemas.microsoft.com/office/drawing/2014/main" id="{B5937FF1-8D76-4339-A5AE-9310F403B06D}"/>
                  </a:ext>
                </a:extLst>
              </p:cNvPr>
              <p:cNvSpPr>
                <a:spLocks/>
              </p:cNvSpPr>
              <p:nvPr/>
            </p:nvSpPr>
            <p:spPr bwMode="auto">
              <a:xfrm>
                <a:off x="8011621" y="4177558"/>
                <a:ext cx="547180" cy="555576"/>
              </a:xfrm>
              <a:custGeom>
                <a:avLst/>
                <a:gdLst>
                  <a:gd name="T0" fmla="*/ 745 w 898"/>
                  <a:gd name="T1" fmla="*/ 263 h 912"/>
                  <a:gd name="T2" fmla="*/ 449 w 898"/>
                  <a:gd name="T3" fmla="*/ 0 h 912"/>
                  <a:gd name="T4" fmla="*/ 153 w 898"/>
                  <a:gd name="T5" fmla="*/ 263 h 912"/>
                  <a:gd name="T6" fmla="*/ 77 w 898"/>
                  <a:gd name="T7" fmla="*/ 331 h 912"/>
                  <a:gd name="T8" fmla="*/ 0 w 898"/>
                  <a:gd name="T9" fmla="*/ 399 h 912"/>
                  <a:gd name="T10" fmla="*/ 0 w 898"/>
                  <a:gd name="T11" fmla="*/ 835 h 912"/>
                  <a:gd name="T12" fmla="*/ 77 w 898"/>
                  <a:gd name="T13" fmla="*/ 912 h 912"/>
                  <a:gd name="T14" fmla="*/ 287 w 898"/>
                  <a:gd name="T15" fmla="*/ 912 h 912"/>
                  <a:gd name="T16" fmla="*/ 287 w 898"/>
                  <a:gd name="T17" fmla="*/ 835 h 912"/>
                  <a:gd name="T18" fmla="*/ 287 w 898"/>
                  <a:gd name="T19" fmla="*/ 758 h 912"/>
                  <a:gd name="T20" fmla="*/ 287 w 898"/>
                  <a:gd name="T21" fmla="*/ 537 h 912"/>
                  <a:gd name="T22" fmla="*/ 611 w 898"/>
                  <a:gd name="T23" fmla="*/ 537 h 912"/>
                  <a:gd name="T24" fmla="*/ 611 w 898"/>
                  <a:gd name="T25" fmla="*/ 758 h 912"/>
                  <a:gd name="T26" fmla="*/ 611 w 898"/>
                  <a:gd name="T27" fmla="*/ 835 h 912"/>
                  <a:gd name="T28" fmla="*/ 611 w 898"/>
                  <a:gd name="T29" fmla="*/ 912 h 912"/>
                  <a:gd name="T30" fmla="*/ 821 w 898"/>
                  <a:gd name="T31" fmla="*/ 912 h 912"/>
                  <a:gd name="T32" fmla="*/ 898 w 898"/>
                  <a:gd name="T33" fmla="*/ 835 h 912"/>
                  <a:gd name="T34" fmla="*/ 898 w 898"/>
                  <a:gd name="T35" fmla="*/ 399 h 912"/>
                  <a:gd name="T36" fmla="*/ 821 w 898"/>
                  <a:gd name="T37" fmla="*/ 331 h 912"/>
                  <a:gd name="T38" fmla="*/ 745 w 898"/>
                  <a:gd name="T39" fmla="*/ 263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8" h="912">
                    <a:moveTo>
                      <a:pt x="745" y="263"/>
                    </a:moveTo>
                    <a:cubicBezTo>
                      <a:pt x="449" y="0"/>
                      <a:pt x="449" y="0"/>
                      <a:pt x="449" y="0"/>
                    </a:cubicBezTo>
                    <a:cubicBezTo>
                      <a:pt x="153" y="263"/>
                      <a:pt x="153" y="263"/>
                      <a:pt x="153" y="263"/>
                    </a:cubicBezTo>
                    <a:cubicBezTo>
                      <a:pt x="77" y="331"/>
                      <a:pt x="77" y="331"/>
                      <a:pt x="77" y="331"/>
                    </a:cubicBezTo>
                    <a:cubicBezTo>
                      <a:pt x="0" y="399"/>
                      <a:pt x="0" y="399"/>
                      <a:pt x="0" y="399"/>
                    </a:cubicBezTo>
                    <a:cubicBezTo>
                      <a:pt x="0" y="835"/>
                      <a:pt x="0" y="835"/>
                      <a:pt x="0" y="835"/>
                    </a:cubicBezTo>
                    <a:cubicBezTo>
                      <a:pt x="0" y="877"/>
                      <a:pt x="34" y="912"/>
                      <a:pt x="77" y="912"/>
                    </a:cubicBezTo>
                    <a:cubicBezTo>
                      <a:pt x="287" y="912"/>
                      <a:pt x="287" y="912"/>
                      <a:pt x="287" y="912"/>
                    </a:cubicBezTo>
                    <a:cubicBezTo>
                      <a:pt x="287" y="835"/>
                      <a:pt x="287" y="835"/>
                      <a:pt x="287" y="835"/>
                    </a:cubicBezTo>
                    <a:cubicBezTo>
                      <a:pt x="287" y="758"/>
                      <a:pt x="287" y="758"/>
                      <a:pt x="287" y="758"/>
                    </a:cubicBezTo>
                    <a:cubicBezTo>
                      <a:pt x="287" y="537"/>
                      <a:pt x="287" y="537"/>
                      <a:pt x="287" y="537"/>
                    </a:cubicBezTo>
                    <a:cubicBezTo>
                      <a:pt x="611" y="537"/>
                      <a:pt x="611" y="537"/>
                      <a:pt x="611" y="537"/>
                    </a:cubicBezTo>
                    <a:cubicBezTo>
                      <a:pt x="611" y="758"/>
                      <a:pt x="611" y="758"/>
                      <a:pt x="611" y="758"/>
                    </a:cubicBezTo>
                    <a:cubicBezTo>
                      <a:pt x="611" y="835"/>
                      <a:pt x="611" y="835"/>
                      <a:pt x="611" y="835"/>
                    </a:cubicBezTo>
                    <a:cubicBezTo>
                      <a:pt x="611" y="912"/>
                      <a:pt x="611" y="912"/>
                      <a:pt x="611" y="912"/>
                    </a:cubicBezTo>
                    <a:cubicBezTo>
                      <a:pt x="821" y="912"/>
                      <a:pt x="821" y="912"/>
                      <a:pt x="821" y="912"/>
                    </a:cubicBezTo>
                    <a:cubicBezTo>
                      <a:pt x="864" y="912"/>
                      <a:pt x="898" y="877"/>
                      <a:pt x="898" y="835"/>
                    </a:cubicBezTo>
                    <a:cubicBezTo>
                      <a:pt x="898" y="399"/>
                      <a:pt x="898" y="399"/>
                      <a:pt x="898" y="399"/>
                    </a:cubicBezTo>
                    <a:cubicBezTo>
                      <a:pt x="821" y="331"/>
                      <a:pt x="821" y="331"/>
                      <a:pt x="821" y="331"/>
                    </a:cubicBezTo>
                    <a:lnTo>
                      <a:pt x="745"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653" name="Freeform 29">
                <a:extLst>
                  <a:ext uri="{FF2B5EF4-FFF2-40B4-BE49-F238E27FC236}">
                    <a16:creationId xmlns:a16="http://schemas.microsoft.com/office/drawing/2014/main" id="{C27C7A92-5904-4D29-B99A-D0D793714759}"/>
                  </a:ext>
                </a:extLst>
              </p:cNvPr>
              <p:cNvSpPr>
                <a:spLocks/>
              </p:cNvSpPr>
              <p:nvPr/>
            </p:nvSpPr>
            <p:spPr bwMode="auto">
              <a:xfrm>
                <a:off x="7870278" y="3992832"/>
                <a:ext cx="828466" cy="425429"/>
              </a:xfrm>
              <a:custGeom>
                <a:avLst/>
                <a:gdLst>
                  <a:gd name="T0" fmla="*/ 1324 w 1358"/>
                  <a:gd name="T1" fmla="*/ 554 h 697"/>
                  <a:gd name="T2" fmla="*/ 730 w 1358"/>
                  <a:gd name="T3" fmla="*/ 26 h 697"/>
                  <a:gd name="T4" fmla="*/ 628 w 1358"/>
                  <a:gd name="T5" fmla="*/ 26 h 697"/>
                  <a:gd name="T6" fmla="*/ 34 w 1358"/>
                  <a:gd name="T7" fmla="*/ 554 h 697"/>
                  <a:gd name="T8" fmla="*/ 28 w 1358"/>
                  <a:gd name="T9" fmla="*/ 662 h 697"/>
                  <a:gd name="T10" fmla="*/ 85 w 1358"/>
                  <a:gd name="T11" fmla="*/ 688 h 697"/>
                  <a:gd name="T12" fmla="*/ 136 w 1358"/>
                  <a:gd name="T13" fmla="*/ 669 h 697"/>
                  <a:gd name="T14" fmla="*/ 230 w 1358"/>
                  <a:gd name="T15" fmla="*/ 586 h 697"/>
                  <a:gd name="T16" fmla="*/ 307 w 1358"/>
                  <a:gd name="T17" fmla="*/ 517 h 697"/>
                  <a:gd name="T18" fmla="*/ 679 w 1358"/>
                  <a:gd name="T19" fmla="*/ 186 h 697"/>
                  <a:gd name="T20" fmla="*/ 1051 w 1358"/>
                  <a:gd name="T21" fmla="*/ 517 h 697"/>
                  <a:gd name="T22" fmla="*/ 1128 w 1358"/>
                  <a:gd name="T23" fmla="*/ 586 h 697"/>
                  <a:gd name="T24" fmla="*/ 1222 w 1358"/>
                  <a:gd name="T25" fmla="*/ 669 h 697"/>
                  <a:gd name="T26" fmla="*/ 1330 w 1358"/>
                  <a:gd name="T27" fmla="*/ 662 h 697"/>
                  <a:gd name="T28" fmla="*/ 1324 w 1358"/>
                  <a:gd name="T29" fmla="*/ 554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8" h="697">
                    <a:moveTo>
                      <a:pt x="1324" y="554"/>
                    </a:moveTo>
                    <a:cubicBezTo>
                      <a:pt x="730" y="26"/>
                      <a:pt x="730" y="26"/>
                      <a:pt x="730" y="26"/>
                    </a:cubicBezTo>
                    <a:cubicBezTo>
                      <a:pt x="701" y="0"/>
                      <a:pt x="657" y="0"/>
                      <a:pt x="628" y="26"/>
                    </a:cubicBezTo>
                    <a:cubicBezTo>
                      <a:pt x="34" y="554"/>
                      <a:pt x="34" y="554"/>
                      <a:pt x="34" y="554"/>
                    </a:cubicBezTo>
                    <a:cubicBezTo>
                      <a:pt x="3" y="582"/>
                      <a:pt x="0" y="631"/>
                      <a:pt x="28" y="662"/>
                    </a:cubicBezTo>
                    <a:cubicBezTo>
                      <a:pt x="43" y="679"/>
                      <a:pt x="64" y="688"/>
                      <a:pt x="85" y="688"/>
                    </a:cubicBezTo>
                    <a:cubicBezTo>
                      <a:pt x="104" y="688"/>
                      <a:pt x="122" y="682"/>
                      <a:pt x="136" y="669"/>
                    </a:cubicBezTo>
                    <a:cubicBezTo>
                      <a:pt x="230" y="586"/>
                      <a:pt x="230" y="586"/>
                      <a:pt x="230" y="586"/>
                    </a:cubicBezTo>
                    <a:cubicBezTo>
                      <a:pt x="307" y="517"/>
                      <a:pt x="307" y="517"/>
                      <a:pt x="307" y="517"/>
                    </a:cubicBezTo>
                    <a:cubicBezTo>
                      <a:pt x="679" y="186"/>
                      <a:pt x="679" y="186"/>
                      <a:pt x="679" y="186"/>
                    </a:cubicBezTo>
                    <a:cubicBezTo>
                      <a:pt x="1051" y="517"/>
                      <a:pt x="1051" y="517"/>
                      <a:pt x="1051" y="517"/>
                    </a:cubicBezTo>
                    <a:cubicBezTo>
                      <a:pt x="1128" y="586"/>
                      <a:pt x="1128" y="586"/>
                      <a:pt x="1128" y="586"/>
                    </a:cubicBezTo>
                    <a:cubicBezTo>
                      <a:pt x="1222" y="669"/>
                      <a:pt x="1222" y="669"/>
                      <a:pt x="1222" y="669"/>
                    </a:cubicBezTo>
                    <a:cubicBezTo>
                      <a:pt x="1253" y="697"/>
                      <a:pt x="1302" y="694"/>
                      <a:pt x="1330" y="662"/>
                    </a:cubicBezTo>
                    <a:cubicBezTo>
                      <a:pt x="1358" y="631"/>
                      <a:pt x="1355" y="582"/>
                      <a:pt x="1324" y="5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654" name="Group 653">
            <a:extLst>
              <a:ext uri="{FF2B5EF4-FFF2-40B4-BE49-F238E27FC236}">
                <a16:creationId xmlns:a16="http://schemas.microsoft.com/office/drawing/2014/main" id="{D2F5B60A-0651-4753-811F-8C7E939655A0}"/>
              </a:ext>
              <a:ext uri="{C183D7F6-B498-43B3-948B-1728B52AA6E4}">
                <adec:decorative xmlns:adec="http://schemas.microsoft.com/office/drawing/2017/decorative" val="1"/>
              </a:ext>
            </a:extLst>
          </p:cNvPr>
          <p:cNvGrpSpPr>
            <a:grpSpLocks noChangeAspect="1"/>
          </p:cNvGrpSpPr>
          <p:nvPr/>
        </p:nvGrpSpPr>
        <p:grpSpPr>
          <a:xfrm>
            <a:off x="10023311" y="2995439"/>
            <a:ext cx="676738" cy="633600"/>
            <a:chOff x="476507" y="961646"/>
            <a:chExt cx="769021" cy="720000"/>
          </a:xfrm>
        </p:grpSpPr>
        <p:sp>
          <p:nvSpPr>
            <p:cNvPr id="655" name="Freeform 157">
              <a:extLst>
                <a:ext uri="{FF2B5EF4-FFF2-40B4-BE49-F238E27FC236}">
                  <a16:creationId xmlns:a16="http://schemas.microsoft.com/office/drawing/2014/main" id="{6E07D695-CF25-430A-8F7E-5DF360473F31}"/>
                </a:ext>
              </a:extLst>
            </p:cNvPr>
            <p:cNvSpPr>
              <a:spLocks noChangeAspect="1"/>
            </p:cNvSpPr>
            <p:nvPr/>
          </p:nvSpPr>
          <p:spPr bwMode="auto">
            <a:xfrm>
              <a:off x="476507" y="961646"/>
              <a:ext cx="769021" cy="720000"/>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656" name="Freeform 12">
              <a:extLst>
                <a:ext uri="{FF2B5EF4-FFF2-40B4-BE49-F238E27FC236}">
                  <a16:creationId xmlns:a16="http://schemas.microsoft.com/office/drawing/2014/main" id="{FC3F2F75-F216-4759-9AFE-7E587CD97D59}"/>
                </a:ext>
              </a:extLst>
            </p:cNvPr>
            <p:cNvSpPr>
              <a:spLocks/>
            </p:cNvSpPr>
            <p:nvPr/>
          </p:nvSpPr>
          <p:spPr bwMode="auto">
            <a:xfrm>
              <a:off x="694808" y="1303852"/>
              <a:ext cx="192404" cy="217070"/>
            </a:xfrm>
            <a:custGeom>
              <a:avLst/>
              <a:gdLst>
                <a:gd name="T0" fmla="*/ 40 w 147"/>
                <a:gd name="T1" fmla="*/ 165 h 165"/>
                <a:gd name="T2" fmla="*/ 48 w 147"/>
                <a:gd name="T3" fmla="*/ 162 h 165"/>
                <a:gd name="T4" fmla="*/ 71 w 147"/>
                <a:gd name="T5" fmla="*/ 143 h 165"/>
                <a:gd name="T6" fmla="*/ 87 w 147"/>
                <a:gd name="T7" fmla="*/ 118 h 165"/>
                <a:gd name="T8" fmla="*/ 118 w 147"/>
                <a:gd name="T9" fmla="*/ 62 h 165"/>
                <a:gd name="T10" fmla="*/ 146 w 147"/>
                <a:gd name="T11" fmla="*/ 12 h 165"/>
                <a:gd name="T12" fmla="*/ 144 w 147"/>
                <a:gd name="T13" fmla="*/ 7 h 165"/>
                <a:gd name="T14" fmla="*/ 134 w 147"/>
                <a:gd name="T15" fmla="*/ 2 h 165"/>
                <a:gd name="T16" fmla="*/ 130 w 147"/>
                <a:gd name="T17" fmla="*/ 3 h 165"/>
                <a:gd name="T18" fmla="*/ 108 w 147"/>
                <a:gd name="T19" fmla="*/ 42 h 165"/>
                <a:gd name="T20" fmla="*/ 81 w 147"/>
                <a:gd name="T21" fmla="*/ 91 h 165"/>
                <a:gd name="T22" fmla="*/ 66 w 147"/>
                <a:gd name="T23" fmla="*/ 118 h 165"/>
                <a:gd name="T24" fmla="*/ 54 w 147"/>
                <a:gd name="T25" fmla="*/ 136 h 165"/>
                <a:gd name="T26" fmla="*/ 27 w 147"/>
                <a:gd name="T27" fmla="*/ 141 h 165"/>
                <a:gd name="T28" fmla="*/ 21 w 147"/>
                <a:gd name="T29" fmla="*/ 123 h 165"/>
                <a:gd name="T30" fmla="*/ 34 w 147"/>
                <a:gd name="T31" fmla="*/ 91 h 165"/>
                <a:gd name="T32" fmla="*/ 35 w 147"/>
                <a:gd name="T33" fmla="*/ 77 h 165"/>
                <a:gd name="T34" fmla="*/ 27 w 147"/>
                <a:gd name="T35" fmla="*/ 76 h 165"/>
                <a:gd name="T36" fmla="*/ 21 w 147"/>
                <a:gd name="T37" fmla="*/ 80 h 165"/>
                <a:gd name="T38" fmla="*/ 2 w 147"/>
                <a:gd name="T39" fmla="*/ 125 h 165"/>
                <a:gd name="T40" fmla="*/ 21 w 147"/>
                <a:gd name="T41" fmla="*/ 161 h 165"/>
                <a:gd name="T42" fmla="*/ 30 w 147"/>
                <a:gd name="T43" fmla="*/ 165 h 165"/>
                <a:gd name="T44" fmla="*/ 40 w 147"/>
                <a:gd name="T4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65">
                  <a:moveTo>
                    <a:pt x="40" y="165"/>
                  </a:moveTo>
                  <a:cubicBezTo>
                    <a:pt x="43" y="164"/>
                    <a:pt x="46" y="163"/>
                    <a:pt x="48" y="162"/>
                  </a:cubicBezTo>
                  <a:cubicBezTo>
                    <a:pt x="58" y="158"/>
                    <a:pt x="65" y="151"/>
                    <a:pt x="71" y="143"/>
                  </a:cubicBezTo>
                  <a:cubicBezTo>
                    <a:pt x="77" y="135"/>
                    <a:pt x="82" y="126"/>
                    <a:pt x="87" y="118"/>
                  </a:cubicBezTo>
                  <a:cubicBezTo>
                    <a:pt x="97" y="99"/>
                    <a:pt x="108" y="80"/>
                    <a:pt x="118" y="62"/>
                  </a:cubicBezTo>
                  <a:cubicBezTo>
                    <a:pt x="127" y="45"/>
                    <a:pt x="137" y="29"/>
                    <a:pt x="146" y="12"/>
                  </a:cubicBezTo>
                  <a:cubicBezTo>
                    <a:pt x="147" y="10"/>
                    <a:pt x="147" y="9"/>
                    <a:pt x="144" y="7"/>
                  </a:cubicBezTo>
                  <a:cubicBezTo>
                    <a:pt x="141" y="6"/>
                    <a:pt x="137" y="4"/>
                    <a:pt x="134" y="2"/>
                  </a:cubicBezTo>
                  <a:cubicBezTo>
                    <a:pt x="132" y="0"/>
                    <a:pt x="131" y="1"/>
                    <a:pt x="130" y="3"/>
                  </a:cubicBezTo>
                  <a:cubicBezTo>
                    <a:pt x="122" y="16"/>
                    <a:pt x="115" y="29"/>
                    <a:pt x="108" y="42"/>
                  </a:cubicBezTo>
                  <a:cubicBezTo>
                    <a:pt x="99" y="58"/>
                    <a:pt x="90" y="75"/>
                    <a:pt x="81" y="91"/>
                  </a:cubicBezTo>
                  <a:cubicBezTo>
                    <a:pt x="76" y="100"/>
                    <a:pt x="71" y="109"/>
                    <a:pt x="66" y="118"/>
                  </a:cubicBezTo>
                  <a:cubicBezTo>
                    <a:pt x="62" y="124"/>
                    <a:pt x="58" y="131"/>
                    <a:pt x="54" y="136"/>
                  </a:cubicBezTo>
                  <a:cubicBezTo>
                    <a:pt x="45" y="146"/>
                    <a:pt x="38" y="148"/>
                    <a:pt x="27" y="141"/>
                  </a:cubicBezTo>
                  <a:cubicBezTo>
                    <a:pt x="21" y="137"/>
                    <a:pt x="20" y="130"/>
                    <a:pt x="21" y="123"/>
                  </a:cubicBezTo>
                  <a:cubicBezTo>
                    <a:pt x="22" y="112"/>
                    <a:pt x="28" y="101"/>
                    <a:pt x="34" y="91"/>
                  </a:cubicBezTo>
                  <a:cubicBezTo>
                    <a:pt x="36" y="87"/>
                    <a:pt x="38" y="80"/>
                    <a:pt x="35" y="77"/>
                  </a:cubicBezTo>
                  <a:cubicBezTo>
                    <a:pt x="33" y="75"/>
                    <a:pt x="30" y="75"/>
                    <a:pt x="27" y="76"/>
                  </a:cubicBezTo>
                  <a:cubicBezTo>
                    <a:pt x="25" y="76"/>
                    <a:pt x="23" y="79"/>
                    <a:pt x="21" y="80"/>
                  </a:cubicBezTo>
                  <a:cubicBezTo>
                    <a:pt x="12" y="94"/>
                    <a:pt x="4" y="108"/>
                    <a:pt x="2" y="125"/>
                  </a:cubicBezTo>
                  <a:cubicBezTo>
                    <a:pt x="0" y="141"/>
                    <a:pt x="6" y="155"/>
                    <a:pt x="21" y="161"/>
                  </a:cubicBezTo>
                  <a:cubicBezTo>
                    <a:pt x="24" y="163"/>
                    <a:pt x="27" y="164"/>
                    <a:pt x="30" y="165"/>
                  </a:cubicBezTo>
                  <a:lnTo>
                    <a:pt x="40" y="16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57" name="Groupe 6">
              <a:extLst>
                <a:ext uri="{FF2B5EF4-FFF2-40B4-BE49-F238E27FC236}">
                  <a16:creationId xmlns:a16="http://schemas.microsoft.com/office/drawing/2014/main" id="{479A939E-DC29-40B1-952E-7E8D1CF19669}"/>
                </a:ext>
              </a:extLst>
            </p:cNvPr>
            <p:cNvGrpSpPr/>
            <p:nvPr/>
          </p:nvGrpSpPr>
          <p:grpSpPr>
            <a:xfrm>
              <a:off x="619574" y="1116382"/>
              <a:ext cx="500742" cy="345339"/>
              <a:chOff x="619574" y="1116382"/>
              <a:chExt cx="500742" cy="345339"/>
            </a:xfrm>
            <a:solidFill>
              <a:schemeClr val="bg1"/>
            </a:solidFill>
          </p:grpSpPr>
          <p:sp>
            <p:nvSpPr>
              <p:cNvPr id="658" name="Freeform 9">
                <a:extLst>
                  <a:ext uri="{FF2B5EF4-FFF2-40B4-BE49-F238E27FC236}">
                    <a16:creationId xmlns:a16="http://schemas.microsoft.com/office/drawing/2014/main" id="{461144A0-41B4-491E-8626-50045101684A}"/>
                  </a:ext>
                </a:extLst>
              </p:cNvPr>
              <p:cNvSpPr>
                <a:spLocks/>
              </p:cNvSpPr>
              <p:nvPr/>
            </p:nvSpPr>
            <p:spPr bwMode="auto">
              <a:xfrm>
                <a:off x="787310" y="1134882"/>
                <a:ext cx="203503" cy="233104"/>
              </a:xfrm>
              <a:custGeom>
                <a:avLst/>
                <a:gdLst>
                  <a:gd name="T0" fmla="*/ 73 w 155"/>
                  <a:gd name="T1" fmla="*/ 123 h 178"/>
                  <a:gd name="T2" fmla="*/ 125 w 155"/>
                  <a:gd name="T3" fmla="*/ 178 h 178"/>
                  <a:gd name="T4" fmla="*/ 127 w 155"/>
                  <a:gd name="T5" fmla="*/ 175 h 178"/>
                  <a:gd name="T6" fmla="*/ 148 w 155"/>
                  <a:gd name="T7" fmla="*/ 121 h 178"/>
                  <a:gd name="T8" fmla="*/ 154 w 155"/>
                  <a:gd name="T9" fmla="*/ 79 h 178"/>
                  <a:gd name="T10" fmla="*/ 155 w 155"/>
                  <a:gd name="T11" fmla="*/ 62 h 178"/>
                  <a:gd name="T12" fmla="*/ 154 w 155"/>
                  <a:gd name="T13" fmla="*/ 44 h 178"/>
                  <a:gd name="T14" fmla="*/ 151 w 155"/>
                  <a:gd name="T15" fmla="*/ 27 h 178"/>
                  <a:gd name="T16" fmla="*/ 143 w 155"/>
                  <a:gd name="T17" fmla="*/ 2 h 178"/>
                  <a:gd name="T18" fmla="*/ 139 w 155"/>
                  <a:gd name="T19" fmla="*/ 0 h 178"/>
                  <a:gd name="T20" fmla="*/ 98 w 155"/>
                  <a:gd name="T21" fmla="*/ 8 h 178"/>
                  <a:gd name="T22" fmla="*/ 55 w 155"/>
                  <a:gd name="T23" fmla="*/ 37 h 178"/>
                  <a:gd name="T24" fmla="*/ 11 w 155"/>
                  <a:gd name="T25" fmla="*/ 90 h 178"/>
                  <a:gd name="T26" fmla="*/ 2 w 155"/>
                  <a:gd name="T27" fmla="*/ 104 h 178"/>
                  <a:gd name="T28" fmla="*/ 0 w 155"/>
                  <a:gd name="T29" fmla="*/ 107 h 178"/>
                  <a:gd name="T30" fmla="*/ 73 w 155"/>
                  <a:gd name="T31" fmla="*/ 1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178">
                    <a:moveTo>
                      <a:pt x="73" y="123"/>
                    </a:moveTo>
                    <a:cubicBezTo>
                      <a:pt x="96" y="136"/>
                      <a:pt x="113" y="155"/>
                      <a:pt x="125" y="178"/>
                    </a:cubicBezTo>
                    <a:cubicBezTo>
                      <a:pt x="126" y="177"/>
                      <a:pt x="127" y="176"/>
                      <a:pt x="127" y="175"/>
                    </a:cubicBezTo>
                    <a:cubicBezTo>
                      <a:pt x="137" y="158"/>
                      <a:pt x="143" y="140"/>
                      <a:pt x="148" y="121"/>
                    </a:cubicBezTo>
                    <a:cubicBezTo>
                      <a:pt x="151" y="107"/>
                      <a:pt x="153" y="93"/>
                      <a:pt x="154" y="79"/>
                    </a:cubicBezTo>
                    <a:cubicBezTo>
                      <a:pt x="154" y="73"/>
                      <a:pt x="155" y="68"/>
                      <a:pt x="155" y="62"/>
                    </a:cubicBezTo>
                    <a:cubicBezTo>
                      <a:pt x="155" y="56"/>
                      <a:pt x="154" y="50"/>
                      <a:pt x="154" y="44"/>
                    </a:cubicBezTo>
                    <a:cubicBezTo>
                      <a:pt x="153" y="38"/>
                      <a:pt x="152" y="32"/>
                      <a:pt x="151" y="27"/>
                    </a:cubicBezTo>
                    <a:cubicBezTo>
                      <a:pt x="150" y="18"/>
                      <a:pt x="147" y="10"/>
                      <a:pt x="143" y="2"/>
                    </a:cubicBezTo>
                    <a:cubicBezTo>
                      <a:pt x="143" y="0"/>
                      <a:pt x="141" y="0"/>
                      <a:pt x="139" y="0"/>
                    </a:cubicBezTo>
                    <a:cubicBezTo>
                      <a:pt x="125" y="0"/>
                      <a:pt x="111" y="3"/>
                      <a:pt x="98" y="8"/>
                    </a:cubicBezTo>
                    <a:cubicBezTo>
                      <a:pt x="82" y="15"/>
                      <a:pt x="68" y="25"/>
                      <a:pt x="55" y="37"/>
                    </a:cubicBezTo>
                    <a:cubicBezTo>
                      <a:pt x="38" y="53"/>
                      <a:pt x="24" y="71"/>
                      <a:pt x="11" y="90"/>
                    </a:cubicBezTo>
                    <a:cubicBezTo>
                      <a:pt x="8" y="95"/>
                      <a:pt x="5" y="99"/>
                      <a:pt x="2" y="104"/>
                    </a:cubicBezTo>
                    <a:cubicBezTo>
                      <a:pt x="1" y="105"/>
                      <a:pt x="1" y="106"/>
                      <a:pt x="0" y="107"/>
                    </a:cubicBezTo>
                    <a:cubicBezTo>
                      <a:pt x="27" y="104"/>
                      <a:pt x="51" y="111"/>
                      <a:pt x="73" y="123"/>
                    </a:cubicBezTo>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671" name="Freeform 10">
                <a:extLst>
                  <a:ext uri="{FF2B5EF4-FFF2-40B4-BE49-F238E27FC236}">
                    <a16:creationId xmlns:a16="http://schemas.microsoft.com/office/drawing/2014/main" id="{ADDB76D5-70C6-4855-8978-B509426A2951}"/>
                  </a:ext>
                </a:extLst>
              </p:cNvPr>
              <p:cNvSpPr>
                <a:spLocks/>
              </p:cNvSpPr>
              <p:nvPr/>
            </p:nvSpPr>
            <p:spPr bwMode="auto">
              <a:xfrm>
                <a:off x="961213" y="1141049"/>
                <a:ext cx="159103" cy="320672"/>
              </a:xfrm>
              <a:custGeom>
                <a:avLst/>
                <a:gdLst>
                  <a:gd name="T0" fmla="*/ 121 w 121"/>
                  <a:gd name="T1" fmla="*/ 240 h 244"/>
                  <a:gd name="T2" fmla="*/ 119 w 121"/>
                  <a:gd name="T3" fmla="*/ 225 h 244"/>
                  <a:gd name="T4" fmla="*/ 104 w 121"/>
                  <a:gd name="T5" fmla="*/ 150 h 244"/>
                  <a:gd name="T6" fmla="*/ 80 w 121"/>
                  <a:gd name="T7" fmla="*/ 87 h 244"/>
                  <a:gd name="T8" fmla="*/ 41 w 121"/>
                  <a:gd name="T9" fmla="*/ 28 h 244"/>
                  <a:gd name="T10" fmla="*/ 14 w 121"/>
                  <a:gd name="T11" fmla="*/ 1 h 244"/>
                  <a:gd name="T12" fmla="*/ 13 w 121"/>
                  <a:gd name="T13" fmla="*/ 0 h 244"/>
                  <a:gd name="T14" fmla="*/ 16 w 121"/>
                  <a:gd name="T15" fmla="*/ 6 h 244"/>
                  <a:gd name="T16" fmla="*/ 28 w 121"/>
                  <a:gd name="T17" fmla="*/ 35 h 244"/>
                  <a:gd name="T18" fmla="*/ 31 w 121"/>
                  <a:gd name="T19" fmla="*/ 54 h 244"/>
                  <a:gd name="T20" fmla="*/ 27 w 121"/>
                  <a:gd name="T21" fmla="*/ 106 h 244"/>
                  <a:gd name="T22" fmla="*/ 11 w 121"/>
                  <a:gd name="T23" fmla="*/ 158 h 244"/>
                  <a:gd name="T24" fmla="*/ 3 w 121"/>
                  <a:gd name="T25" fmla="*/ 174 h 244"/>
                  <a:gd name="T26" fmla="*/ 0 w 121"/>
                  <a:gd name="T27" fmla="*/ 178 h 244"/>
                  <a:gd name="T28" fmla="*/ 13 w 121"/>
                  <a:gd name="T29" fmla="*/ 177 h 244"/>
                  <a:gd name="T30" fmla="*/ 89 w 121"/>
                  <a:gd name="T31" fmla="*/ 203 h 244"/>
                  <a:gd name="T32" fmla="*/ 118 w 121"/>
                  <a:gd name="T33" fmla="*/ 238 h 244"/>
                  <a:gd name="T34" fmla="*/ 121 w 121"/>
                  <a:gd name="T35" fmla="*/ 244 h 244"/>
                  <a:gd name="T36" fmla="*/ 121 w 121"/>
                  <a:gd name="T37" fmla="*/ 24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244">
                    <a:moveTo>
                      <a:pt x="121" y="240"/>
                    </a:moveTo>
                    <a:cubicBezTo>
                      <a:pt x="120" y="235"/>
                      <a:pt x="120" y="230"/>
                      <a:pt x="119" y="225"/>
                    </a:cubicBezTo>
                    <a:cubicBezTo>
                      <a:pt x="117" y="200"/>
                      <a:pt x="111" y="175"/>
                      <a:pt x="104" y="150"/>
                    </a:cubicBezTo>
                    <a:cubicBezTo>
                      <a:pt x="98" y="129"/>
                      <a:pt x="90" y="107"/>
                      <a:pt x="80" y="87"/>
                    </a:cubicBezTo>
                    <a:cubicBezTo>
                      <a:pt x="69" y="66"/>
                      <a:pt x="56" y="46"/>
                      <a:pt x="41" y="28"/>
                    </a:cubicBezTo>
                    <a:cubicBezTo>
                      <a:pt x="33" y="19"/>
                      <a:pt x="23" y="10"/>
                      <a:pt x="14" y="1"/>
                    </a:cubicBezTo>
                    <a:cubicBezTo>
                      <a:pt x="14" y="0"/>
                      <a:pt x="13" y="0"/>
                      <a:pt x="13" y="0"/>
                    </a:cubicBezTo>
                    <a:cubicBezTo>
                      <a:pt x="14" y="2"/>
                      <a:pt x="15" y="4"/>
                      <a:pt x="16" y="6"/>
                    </a:cubicBezTo>
                    <a:cubicBezTo>
                      <a:pt x="23" y="14"/>
                      <a:pt x="26" y="25"/>
                      <a:pt x="28" y="35"/>
                    </a:cubicBezTo>
                    <a:cubicBezTo>
                      <a:pt x="30" y="41"/>
                      <a:pt x="30" y="48"/>
                      <a:pt x="31" y="54"/>
                    </a:cubicBezTo>
                    <a:cubicBezTo>
                      <a:pt x="32" y="72"/>
                      <a:pt x="31" y="89"/>
                      <a:pt x="27" y="106"/>
                    </a:cubicBezTo>
                    <a:cubicBezTo>
                      <a:pt x="24" y="124"/>
                      <a:pt x="19" y="141"/>
                      <a:pt x="11" y="158"/>
                    </a:cubicBezTo>
                    <a:cubicBezTo>
                      <a:pt x="9" y="163"/>
                      <a:pt x="5" y="168"/>
                      <a:pt x="3" y="174"/>
                    </a:cubicBezTo>
                    <a:cubicBezTo>
                      <a:pt x="2" y="175"/>
                      <a:pt x="1" y="176"/>
                      <a:pt x="0" y="178"/>
                    </a:cubicBezTo>
                    <a:cubicBezTo>
                      <a:pt x="5" y="178"/>
                      <a:pt x="9" y="178"/>
                      <a:pt x="13" y="177"/>
                    </a:cubicBezTo>
                    <a:cubicBezTo>
                      <a:pt x="41" y="177"/>
                      <a:pt x="66" y="185"/>
                      <a:pt x="89" y="203"/>
                    </a:cubicBezTo>
                    <a:cubicBezTo>
                      <a:pt x="101" y="213"/>
                      <a:pt x="110" y="224"/>
                      <a:pt x="118" y="238"/>
                    </a:cubicBezTo>
                    <a:cubicBezTo>
                      <a:pt x="119" y="240"/>
                      <a:pt x="120" y="242"/>
                      <a:pt x="121" y="244"/>
                    </a:cubicBezTo>
                    <a:lnTo>
                      <a:pt x="121" y="240"/>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672" name="Freeform 11">
                <a:extLst>
                  <a:ext uri="{FF2B5EF4-FFF2-40B4-BE49-F238E27FC236}">
                    <a16:creationId xmlns:a16="http://schemas.microsoft.com/office/drawing/2014/main" id="{43C2F2B4-783E-4689-AF70-81EE5882EC13}"/>
                  </a:ext>
                </a:extLst>
              </p:cNvPr>
              <p:cNvSpPr>
                <a:spLocks/>
              </p:cNvSpPr>
              <p:nvPr/>
            </p:nvSpPr>
            <p:spPr bwMode="auto">
              <a:xfrm>
                <a:off x="619574" y="1118849"/>
                <a:ext cx="342872" cy="151702"/>
              </a:xfrm>
              <a:custGeom>
                <a:avLst/>
                <a:gdLst>
                  <a:gd name="T0" fmla="*/ 161 w 262"/>
                  <a:gd name="T1" fmla="*/ 0 h 115"/>
                  <a:gd name="T2" fmla="*/ 154 w 262"/>
                  <a:gd name="T3" fmla="*/ 1 h 115"/>
                  <a:gd name="T4" fmla="*/ 86 w 262"/>
                  <a:gd name="T5" fmla="*/ 15 h 115"/>
                  <a:gd name="T6" fmla="*/ 4 w 262"/>
                  <a:gd name="T7" fmla="*/ 49 h 115"/>
                  <a:gd name="T8" fmla="*/ 0 w 262"/>
                  <a:gd name="T9" fmla="*/ 51 h 115"/>
                  <a:gd name="T10" fmla="*/ 119 w 262"/>
                  <a:gd name="T11" fmla="*/ 115 h 115"/>
                  <a:gd name="T12" fmla="*/ 121 w 262"/>
                  <a:gd name="T13" fmla="*/ 112 h 115"/>
                  <a:gd name="T14" fmla="*/ 151 w 262"/>
                  <a:gd name="T15" fmla="*/ 70 h 115"/>
                  <a:gd name="T16" fmla="*/ 203 w 262"/>
                  <a:gd name="T17" fmla="*/ 27 h 115"/>
                  <a:gd name="T18" fmla="*/ 247 w 262"/>
                  <a:gd name="T19" fmla="*/ 11 h 115"/>
                  <a:gd name="T20" fmla="*/ 262 w 262"/>
                  <a:gd name="T21" fmla="*/ 10 h 115"/>
                  <a:gd name="T22" fmla="*/ 237 w 262"/>
                  <a:gd name="T23" fmla="*/ 4 h 115"/>
                  <a:gd name="T24" fmla="*/ 210 w 262"/>
                  <a:gd name="T25" fmla="*/ 0 h 115"/>
                  <a:gd name="T26" fmla="*/ 208 w 262"/>
                  <a:gd name="T27" fmla="*/ 0 h 115"/>
                  <a:gd name="T28" fmla="*/ 161 w 262"/>
                  <a:gd name="T2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5">
                    <a:moveTo>
                      <a:pt x="161" y="0"/>
                    </a:moveTo>
                    <a:cubicBezTo>
                      <a:pt x="159" y="0"/>
                      <a:pt x="156" y="1"/>
                      <a:pt x="154" y="1"/>
                    </a:cubicBezTo>
                    <a:cubicBezTo>
                      <a:pt x="131" y="4"/>
                      <a:pt x="108" y="8"/>
                      <a:pt x="86" y="15"/>
                    </a:cubicBezTo>
                    <a:cubicBezTo>
                      <a:pt x="58" y="25"/>
                      <a:pt x="30" y="36"/>
                      <a:pt x="4" y="49"/>
                    </a:cubicBezTo>
                    <a:cubicBezTo>
                      <a:pt x="2" y="50"/>
                      <a:pt x="1" y="51"/>
                      <a:pt x="0" y="51"/>
                    </a:cubicBezTo>
                    <a:cubicBezTo>
                      <a:pt x="52" y="50"/>
                      <a:pt x="94" y="66"/>
                      <a:pt x="119" y="115"/>
                    </a:cubicBezTo>
                    <a:cubicBezTo>
                      <a:pt x="120" y="114"/>
                      <a:pt x="120" y="113"/>
                      <a:pt x="121" y="112"/>
                    </a:cubicBezTo>
                    <a:cubicBezTo>
                      <a:pt x="128" y="97"/>
                      <a:pt x="139" y="83"/>
                      <a:pt x="151" y="70"/>
                    </a:cubicBezTo>
                    <a:cubicBezTo>
                      <a:pt x="166" y="53"/>
                      <a:pt x="184" y="39"/>
                      <a:pt x="203" y="27"/>
                    </a:cubicBezTo>
                    <a:cubicBezTo>
                      <a:pt x="216" y="19"/>
                      <a:pt x="231" y="13"/>
                      <a:pt x="247" y="11"/>
                    </a:cubicBezTo>
                    <a:cubicBezTo>
                      <a:pt x="252" y="10"/>
                      <a:pt x="257" y="11"/>
                      <a:pt x="262" y="10"/>
                    </a:cubicBezTo>
                    <a:cubicBezTo>
                      <a:pt x="254" y="8"/>
                      <a:pt x="246" y="6"/>
                      <a:pt x="237" y="4"/>
                    </a:cubicBezTo>
                    <a:cubicBezTo>
                      <a:pt x="228" y="3"/>
                      <a:pt x="219" y="2"/>
                      <a:pt x="210" y="0"/>
                    </a:cubicBezTo>
                    <a:cubicBezTo>
                      <a:pt x="209" y="0"/>
                      <a:pt x="209" y="0"/>
                      <a:pt x="208" y="0"/>
                    </a:cubicBezTo>
                    <a:lnTo>
                      <a:pt x="161" y="0"/>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686" name="Freeform 14">
                <a:extLst>
                  <a:ext uri="{FF2B5EF4-FFF2-40B4-BE49-F238E27FC236}">
                    <a16:creationId xmlns:a16="http://schemas.microsoft.com/office/drawing/2014/main" id="{D362938E-2CDA-4B36-8412-99665C5B8F46}"/>
                  </a:ext>
                </a:extLst>
              </p:cNvPr>
              <p:cNvSpPr>
                <a:spLocks/>
              </p:cNvSpPr>
              <p:nvPr/>
            </p:nvSpPr>
            <p:spPr bwMode="auto">
              <a:xfrm>
                <a:off x="951347" y="1116382"/>
                <a:ext cx="34534" cy="50568"/>
              </a:xfrm>
              <a:custGeom>
                <a:avLst/>
                <a:gdLst>
                  <a:gd name="T0" fmla="*/ 10 w 26"/>
                  <a:gd name="T1" fmla="*/ 17 h 39"/>
                  <a:gd name="T2" fmla="*/ 2 w 26"/>
                  <a:gd name="T3" fmla="*/ 38 h 39"/>
                  <a:gd name="T4" fmla="*/ 17 w 26"/>
                  <a:gd name="T5" fmla="*/ 22 h 39"/>
                  <a:gd name="T6" fmla="*/ 24 w 26"/>
                  <a:gd name="T7" fmla="*/ 1 h 39"/>
                  <a:gd name="T8" fmla="*/ 10 w 26"/>
                  <a:gd name="T9" fmla="*/ 17 h 39"/>
                </a:gdLst>
                <a:ahLst/>
                <a:cxnLst>
                  <a:cxn ang="0">
                    <a:pos x="T0" y="T1"/>
                  </a:cxn>
                  <a:cxn ang="0">
                    <a:pos x="T2" y="T3"/>
                  </a:cxn>
                  <a:cxn ang="0">
                    <a:pos x="T4" y="T5"/>
                  </a:cxn>
                  <a:cxn ang="0">
                    <a:pos x="T6" y="T7"/>
                  </a:cxn>
                  <a:cxn ang="0">
                    <a:pos x="T8" y="T9"/>
                  </a:cxn>
                </a:cxnLst>
                <a:rect l="0" t="0" r="r" b="b"/>
                <a:pathLst>
                  <a:path w="26" h="39">
                    <a:moveTo>
                      <a:pt x="10" y="17"/>
                    </a:moveTo>
                    <a:cubicBezTo>
                      <a:pt x="3" y="27"/>
                      <a:pt x="0" y="37"/>
                      <a:pt x="2" y="38"/>
                    </a:cubicBezTo>
                    <a:cubicBezTo>
                      <a:pt x="4" y="39"/>
                      <a:pt x="10" y="32"/>
                      <a:pt x="17" y="22"/>
                    </a:cubicBezTo>
                    <a:cubicBezTo>
                      <a:pt x="23" y="11"/>
                      <a:pt x="26" y="2"/>
                      <a:pt x="24" y="1"/>
                    </a:cubicBezTo>
                    <a:cubicBezTo>
                      <a:pt x="23" y="0"/>
                      <a:pt x="16" y="7"/>
                      <a:pt x="10" y="17"/>
                    </a:cubicBezTo>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687" name="Groupe 311">
            <a:extLst>
              <a:ext uri="{FF2B5EF4-FFF2-40B4-BE49-F238E27FC236}">
                <a16:creationId xmlns:a16="http://schemas.microsoft.com/office/drawing/2014/main" id="{486D1A81-14C2-42A7-8668-8AA02CF7C071}"/>
              </a:ext>
              <a:ext uri="{C183D7F6-B498-43B3-948B-1728B52AA6E4}">
                <adec:decorative xmlns:adec="http://schemas.microsoft.com/office/drawing/2017/decorative" val="1"/>
              </a:ext>
            </a:extLst>
          </p:cNvPr>
          <p:cNvGrpSpPr>
            <a:grpSpLocks noChangeAspect="1"/>
          </p:cNvGrpSpPr>
          <p:nvPr/>
        </p:nvGrpSpPr>
        <p:grpSpPr>
          <a:xfrm>
            <a:off x="7608962" y="3946128"/>
            <a:ext cx="676745" cy="633600"/>
            <a:chOff x="10333039" y="2103437"/>
            <a:chExt cx="871538" cy="815975"/>
          </a:xfrm>
        </p:grpSpPr>
        <p:sp>
          <p:nvSpPr>
            <p:cNvPr id="688" name="Freeform 102">
              <a:extLst>
                <a:ext uri="{FF2B5EF4-FFF2-40B4-BE49-F238E27FC236}">
                  <a16:creationId xmlns:a16="http://schemas.microsoft.com/office/drawing/2014/main" id="{707FCDEE-3187-4215-8DA9-7F30671942F4}"/>
                </a:ext>
              </a:extLst>
            </p:cNvPr>
            <p:cNvSpPr>
              <a:spLocks/>
            </p:cNvSpPr>
            <p:nvPr/>
          </p:nvSpPr>
          <p:spPr bwMode="auto">
            <a:xfrm>
              <a:off x="10333039" y="2103437"/>
              <a:ext cx="871538" cy="815975"/>
            </a:xfrm>
            <a:custGeom>
              <a:avLst/>
              <a:gdLst>
                <a:gd name="T0" fmla="*/ 33 w 232"/>
                <a:gd name="T1" fmla="*/ 170 h 217"/>
                <a:gd name="T2" fmla="*/ 56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3"/>
                  </a:cubicBezTo>
                  <a:cubicBezTo>
                    <a:pt x="101" y="0"/>
                    <a:pt x="166" y="9"/>
                    <a:pt x="199" y="53"/>
                  </a:cubicBezTo>
                  <a:cubicBezTo>
                    <a:pt x="232" y="96"/>
                    <a:pt x="219" y="152"/>
                    <a:pt x="173" y="185"/>
                  </a:cubicBezTo>
                  <a:cubicBezTo>
                    <a:pt x="127" y="217"/>
                    <a:pt x="67" y="213"/>
                    <a:pt x="33"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9" name="Groupe 313">
              <a:extLst>
                <a:ext uri="{FF2B5EF4-FFF2-40B4-BE49-F238E27FC236}">
                  <a16:creationId xmlns:a16="http://schemas.microsoft.com/office/drawing/2014/main" id="{7377AE9D-6A7B-4D16-8B61-7C1E7B9C2A54}"/>
                </a:ext>
              </a:extLst>
            </p:cNvPr>
            <p:cNvGrpSpPr/>
            <p:nvPr/>
          </p:nvGrpSpPr>
          <p:grpSpPr>
            <a:xfrm>
              <a:off x="10566401" y="2306638"/>
              <a:ext cx="438150" cy="425450"/>
              <a:chOff x="10566401" y="2306638"/>
              <a:chExt cx="438150" cy="425450"/>
            </a:xfrm>
          </p:grpSpPr>
          <p:sp>
            <p:nvSpPr>
              <p:cNvPr id="693" name="Freeform 276">
                <a:extLst>
                  <a:ext uri="{FF2B5EF4-FFF2-40B4-BE49-F238E27FC236}">
                    <a16:creationId xmlns:a16="http://schemas.microsoft.com/office/drawing/2014/main" id="{C0D4DCC3-BA6F-444A-9C64-CB4D7B6AE7FB}"/>
                  </a:ext>
                </a:extLst>
              </p:cNvPr>
              <p:cNvSpPr>
                <a:spLocks/>
              </p:cNvSpPr>
              <p:nvPr/>
            </p:nvSpPr>
            <p:spPr bwMode="auto">
              <a:xfrm>
                <a:off x="10712451" y="2306638"/>
                <a:ext cx="292100" cy="288925"/>
              </a:xfrm>
              <a:custGeom>
                <a:avLst/>
                <a:gdLst>
                  <a:gd name="T0" fmla="*/ 6 w 78"/>
                  <a:gd name="T1" fmla="*/ 58 h 77"/>
                  <a:gd name="T2" fmla="*/ 0 w 78"/>
                  <a:gd name="T3" fmla="*/ 67 h 77"/>
                  <a:gd name="T4" fmla="*/ 8 w 78"/>
                  <a:gd name="T5" fmla="*/ 77 h 77"/>
                  <a:gd name="T6" fmla="*/ 18 w 78"/>
                  <a:gd name="T7" fmla="*/ 71 h 77"/>
                  <a:gd name="T8" fmla="*/ 77 w 78"/>
                  <a:gd name="T9" fmla="*/ 2 h 77"/>
                  <a:gd name="T10" fmla="*/ 6 w 78"/>
                  <a:gd name="T11" fmla="*/ 58 h 77"/>
                </a:gdLst>
                <a:ahLst/>
                <a:cxnLst>
                  <a:cxn ang="0">
                    <a:pos x="T0" y="T1"/>
                  </a:cxn>
                  <a:cxn ang="0">
                    <a:pos x="T2" y="T3"/>
                  </a:cxn>
                  <a:cxn ang="0">
                    <a:pos x="T4" y="T5"/>
                  </a:cxn>
                  <a:cxn ang="0">
                    <a:pos x="T6" y="T7"/>
                  </a:cxn>
                  <a:cxn ang="0">
                    <a:pos x="T8" y="T9"/>
                  </a:cxn>
                  <a:cxn ang="0">
                    <a:pos x="T10" y="T11"/>
                  </a:cxn>
                </a:cxnLst>
                <a:rect l="0" t="0" r="r" b="b"/>
                <a:pathLst>
                  <a:path w="78" h="77">
                    <a:moveTo>
                      <a:pt x="6" y="58"/>
                    </a:moveTo>
                    <a:cubicBezTo>
                      <a:pt x="3" y="61"/>
                      <a:pt x="3" y="62"/>
                      <a:pt x="0" y="67"/>
                    </a:cubicBezTo>
                    <a:cubicBezTo>
                      <a:pt x="2" y="68"/>
                      <a:pt x="5" y="71"/>
                      <a:pt x="8" y="77"/>
                    </a:cubicBezTo>
                    <a:cubicBezTo>
                      <a:pt x="13" y="74"/>
                      <a:pt x="15" y="73"/>
                      <a:pt x="18" y="71"/>
                    </a:cubicBezTo>
                    <a:cubicBezTo>
                      <a:pt x="35" y="56"/>
                      <a:pt x="78" y="4"/>
                      <a:pt x="77" y="2"/>
                    </a:cubicBezTo>
                    <a:cubicBezTo>
                      <a:pt x="75" y="0"/>
                      <a:pt x="21" y="41"/>
                      <a:pt x="6" y="5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277">
                <a:extLst>
                  <a:ext uri="{FF2B5EF4-FFF2-40B4-BE49-F238E27FC236}">
                    <a16:creationId xmlns:a16="http://schemas.microsoft.com/office/drawing/2014/main" id="{3680A00D-2264-46CC-9196-F7B521A890B1}"/>
                  </a:ext>
                </a:extLst>
              </p:cNvPr>
              <p:cNvSpPr>
                <a:spLocks/>
              </p:cNvSpPr>
              <p:nvPr/>
            </p:nvSpPr>
            <p:spPr bwMode="auto">
              <a:xfrm>
                <a:off x="10566401" y="2559050"/>
                <a:ext cx="168275" cy="173038"/>
              </a:xfrm>
              <a:custGeom>
                <a:avLst/>
                <a:gdLst>
                  <a:gd name="T0" fmla="*/ 36 w 45"/>
                  <a:gd name="T1" fmla="*/ 2 h 46"/>
                  <a:gd name="T2" fmla="*/ 16 w 45"/>
                  <a:gd name="T3" fmla="*/ 17 h 46"/>
                  <a:gd name="T4" fmla="*/ 0 w 45"/>
                  <a:gd name="T5" fmla="*/ 34 h 46"/>
                  <a:gd name="T6" fmla="*/ 45 w 45"/>
                  <a:gd name="T7" fmla="*/ 13 h 46"/>
                  <a:gd name="T8" fmla="*/ 36 w 45"/>
                  <a:gd name="T9" fmla="*/ 2 h 46"/>
                </a:gdLst>
                <a:ahLst/>
                <a:cxnLst>
                  <a:cxn ang="0">
                    <a:pos x="T0" y="T1"/>
                  </a:cxn>
                  <a:cxn ang="0">
                    <a:pos x="T2" y="T3"/>
                  </a:cxn>
                  <a:cxn ang="0">
                    <a:pos x="T4" y="T5"/>
                  </a:cxn>
                  <a:cxn ang="0">
                    <a:pos x="T6" y="T7"/>
                  </a:cxn>
                  <a:cxn ang="0">
                    <a:pos x="T8" y="T9"/>
                  </a:cxn>
                </a:cxnLst>
                <a:rect l="0" t="0" r="r" b="b"/>
                <a:pathLst>
                  <a:path w="45" h="46">
                    <a:moveTo>
                      <a:pt x="36" y="2"/>
                    </a:moveTo>
                    <a:cubicBezTo>
                      <a:pt x="28" y="0"/>
                      <a:pt x="21" y="5"/>
                      <a:pt x="16" y="17"/>
                    </a:cubicBezTo>
                    <a:cubicBezTo>
                      <a:pt x="11" y="29"/>
                      <a:pt x="2" y="34"/>
                      <a:pt x="0" y="34"/>
                    </a:cubicBezTo>
                    <a:cubicBezTo>
                      <a:pt x="9" y="37"/>
                      <a:pt x="38" y="46"/>
                      <a:pt x="45" y="13"/>
                    </a:cubicBezTo>
                    <a:cubicBezTo>
                      <a:pt x="42" y="5"/>
                      <a:pt x="36" y="2"/>
                      <a:pt x="3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Line 346">
                <a:extLst>
                  <a:ext uri="{FF2B5EF4-FFF2-40B4-BE49-F238E27FC236}">
                    <a16:creationId xmlns:a16="http://schemas.microsoft.com/office/drawing/2014/main" id="{4CF06648-903E-49CF-B0C9-3F8726C65D2A}"/>
                  </a:ext>
                </a:extLst>
              </p:cNvPr>
              <p:cNvSpPr>
                <a:spLocks noChangeShapeType="1"/>
              </p:cNvSpPr>
              <p:nvPr/>
            </p:nvSpPr>
            <p:spPr bwMode="auto">
              <a:xfrm>
                <a:off x="10674351" y="2589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Line 347">
                <a:extLst>
                  <a:ext uri="{FF2B5EF4-FFF2-40B4-BE49-F238E27FC236}">
                    <a16:creationId xmlns:a16="http://schemas.microsoft.com/office/drawing/2014/main" id="{1F13EA2B-DB44-418C-9306-D06467CA6D48}"/>
                  </a:ext>
                </a:extLst>
              </p:cNvPr>
              <p:cNvSpPr>
                <a:spLocks noChangeShapeType="1"/>
              </p:cNvSpPr>
              <p:nvPr/>
            </p:nvSpPr>
            <p:spPr bwMode="auto">
              <a:xfrm>
                <a:off x="10674351" y="2589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a:extLst>
              <a:ext uri="{FF2B5EF4-FFF2-40B4-BE49-F238E27FC236}">
                <a16:creationId xmlns:a16="http://schemas.microsoft.com/office/drawing/2014/main" id="{95351BAB-EE5E-4B3F-9CEC-89A4A2742650}"/>
              </a:ext>
              <a:ext uri="{C183D7F6-B498-43B3-948B-1728B52AA6E4}">
                <adec:decorative xmlns:adec="http://schemas.microsoft.com/office/drawing/2017/decorative" val="1"/>
              </a:ext>
            </a:extLst>
          </p:cNvPr>
          <p:cNvGrpSpPr>
            <a:grpSpLocks noChangeAspect="1"/>
          </p:cNvGrpSpPr>
          <p:nvPr/>
        </p:nvGrpSpPr>
        <p:grpSpPr>
          <a:xfrm>
            <a:off x="8412069" y="3946128"/>
            <a:ext cx="665982" cy="633600"/>
            <a:chOff x="8061641" y="3817087"/>
            <a:chExt cx="756798" cy="720000"/>
          </a:xfrm>
        </p:grpSpPr>
        <p:sp>
          <p:nvSpPr>
            <p:cNvPr id="698" name="Freeform 113">
              <a:extLst>
                <a:ext uri="{FF2B5EF4-FFF2-40B4-BE49-F238E27FC236}">
                  <a16:creationId xmlns:a16="http://schemas.microsoft.com/office/drawing/2014/main" id="{BB1EC233-C12C-471E-B312-F863F2601BC6}"/>
                </a:ext>
              </a:extLst>
            </p:cNvPr>
            <p:cNvSpPr>
              <a:spLocks/>
            </p:cNvSpPr>
            <p:nvPr/>
          </p:nvSpPr>
          <p:spPr bwMode="auto">
            <a:xfrm>
              <a:off x="8061641" y="3817087"/>
              <a:ext cx="756798" cy="720000"/>
            </a:xfrm>
            <a:custGeom>
              <a:avLst/>
              <a:gdLst>
                <a:gd name="T0" fmla="*/ 42 w 290"/>
                <a:gd name="T1" fmla="*/ 212 h 272"/>
                <a:gd name="T2" fmla="*/ 70 w 290"/>
                <a:gd name="T3" fmla="*/ 41 h 272"/>
                <a:gd name="T4" fmla="*/ 249 w 290"/>
                <a:gd name="T5" fmla="*/ 66 h 272"/>
                <a:gd name="T6" fmla="*/ 216 w 290"/>
                <a:gd name="T7" fmla="*/ 231 h 272"/>
                <a:gd name="T8" fmla="*/ 42 w 290"/>
                <a:gd name="T9" fmla="*/ 212 h 272"/>
              </a:gdLst>
              <a:ahLst/>
              <a:cxnLst>
                <a:cxn ang="0">
                  <a:pos x="T0" y="T1"/>
                </a:cxn>
                <a:cxn ang="0">
                  <a:pos x="T2" y="T3"/>
                </a:cxn>
                <a:cxn ang="0">
                  <a:pos x="T4" y="T5"/>
                </a:cxn>
                <a:cxn ang="0">
                  <a:pos x="T6" y="T7"/>
                </a:cxn>
                <a:cxn ang="0">
                  <a:pos x="T8" y="T9"/>
                </a:cxn>
              </a:cxnLst>
              <a:rect l="0" t="0" r="r" b="b"/>
              <a:pathLst>
                <a:path w="290" h="272">
                  <a:moveTo>
                    <a:pt x="42" y="212"/>
                  </a:moveTo>
                  <a:cubicBezTo>
                    <a:pt x="0" y="158"/>
                    <a:pt x="12" y="81"/>
                    <a:pt x="70" y="41"/>
                  </a:cubicBezTo>
                  <a:cubicBezTo>
                    <a:pt x="127" y="0"/>
                    <a:pt x="207" y="11"/>
                    <a:pt x="249" y="66"/>
                  </a:cubicBezTo>
                  <a:cubicBezTo>
                    <a:pt x="290" y="120"/>
                    <a:pt x="273" y="191"/>
                    <a:pt x="216" y="231"/>
                  </a:cubicBezTo>
                  <a:cubicBezTo>
                    <a:pt x="159" y="272"/>
                    <a:pt x="83" y="267"/>
                    <a:pt x="42" y="21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99" name="Groupe 495">
              <a:extLst>
                <a:ext uri="{FF2B5EF4-FFF2-40B4-BE49-F238E27FC236}">
                  <a16:creationId xmlns:a16="http://schemas.microsoft.com/office/drawing/2014/main" id="{F9F3C084-D5C8-40C8-923B-DC1E75084B76}"/>
                </a:ext>
              </a:extLst>
            </p:cNvPr>
            <p:cNvGrpSpPr/>
            <p:nvPr/>
          </p:nvGrpSpPr>
          <p:grpSpPr>
            <a:xfrm>
              <a:off x="8244390" y="4004753"/>
              <a:ext cx="363372" cy="370426"/>
              <a:chOff x="9178925" y="1682750"/>
              <a:chExt cx="470296" cy="479425"/>
            </a:xfrm>
            <a:solidFill>
              <a:schemeClr val="bg1"/>
            </a:solidFill>
          </p:grpSpPr>
          <p:sp>
            <p:nvSpPr>
              <p:cNvPr id="700" name="Freeform 114">
                <a:extLst>
                  <a:ext uri="{FF2B5EF4-FFF2-40B4-BE49-F238E27FC236}">
                    <a16:creationId xmlns:a16="http://schemas.microsoft.com/office/drawing/2014/main" id="{179C5F2F-03BA-41B1-B941-C90B6E593F43}"/>
                  </a:ext>
                </a:extLst>
              </p:cNvPr>
              <p:cNvSpPr>
                <a:spLocks/>
              </p:cNvSpPr>
              <p:nvPr/>
            </p:nvSpPr>
            <p:spPr bwMode="auto">
              <a:xfrm>
                <a:off x="9490470" y="1682750"/>
                <a:ext cx="158751" cy="150812"/>
              </a:xfrm>
              <a:custGeom>
                <a:avLst/>
                <a:gdLst>
                  <a:gd name="T0" fmla="*/ 24 w 47"/>
                  <a:gd name="T1" fmla="*/ 0 h 44"/>
                  <a:gd name="T2" fmla="*/ 43 w 47"/>
                  <a:gd name="T3" fmla="*/ 17 h 44"/>
                  <a:gd name="T4" fmla="*/ 42 w 47"/>
                  <a:gd name="T5" fmla="*/ 31 h 44"/>
                  <a:gd name="T6" fmla="*/ 29 w 47"/>
                  <a:gd name="T7" fmla="*/ 44 h 44"/>
                  <a:gd name="T8" fmla="*/ 2 w 47"/>
                  <a:gd name="T9" fmla="*/ 18 h 44"/>
                  <a:gd name="T10" fmla="*/ 2 w 47"/>
                  <a:gd name="T11" fmla="*/ 14 h 44"/>
                  <a:gd name="T12" fmla="*/ 19 w 47"/>
                  <a:gd name="T13" fmla="*/ 0 h 44"/>
                  <a:gd name="T14" fmla="*/ 24 w 47"/>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4">
                    <a:moveTo>
                      <a:pt x="24" y="0"/>
                    </a:moveTo>
                    <a:cubicBezTo>
                      <a:pt x="32" y="4"/>
                      <a:pt x="37" y="11"/>
                      <a:pt x="43" y="17"/>
                    </a:cubicBezTo>
                    <a:cubicBezTo>
                      <a:pt x="47" y="21"/>
                      <a:pt x="46" y="26"/>
                      <a:pt x="42" y="31"/>
                    </a:cubicBezTo>
                    <a:cubicBezTo>
                      <a:pt x="38" y="35"/>
                      <a:pt x="33" y="40"/>
                      <a:pt x="29" y="44"/>
                    </a:cubicBezTo>
                    <a:cubicBezTo>
                      <a:pt x="20" y="35"/>
                      <a:pt x="11" y="27"/>
                      <a:pt x="2" y="18"/>
                    </a:cubicBezTo>
                    <a:cubicBezTo>
                      <a:pt x="1" y="17"/>
                      <a:pt x="0" y="16"/>
                      <a:pt x="2" y="14"/>
                    </a:cubicBezTo>
                    <a:cubicBezTo>
                      <a:pt x="7" y="9"/>
                      <a:pt x="12" y="3"/>
                      <a:pt x="19"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15">
                <a:extLst>
                  <a:ext uri="{FF2B5EF4-FFF2-40B4-BE49-F238E27FC236}">
                    <a16:creationId xmlns:a16="http://schemas.microsoft.com/office/drawing/2014/main" id="{1CD70241-A9C2-4E75-98C9-3C9B53B6A917}"/>
                  </a:ext>
                </a:extLst>
              </p:cNvPr>
              <p:cNvSpPr>
                <a:spLocks/>
              </p:cNvSpPr>
              <p:nvPr/>
            </p:nvSpPr>
            <p:spPr bwMode="auto">
              <a:xfrm>
                <a:off x="9178925" y="2038350"/>
                <a:ext cx="122238" cy="123825"/>
              </a:xfrm>
              <a:custGeom>
                <a:avLst/>
                <a:gdLst>
                  <a:gd name="T0" fmla="*/ 2 w 36"/>
                  <a:gd name="T1" fmla="*/ 26 h 36"/>
                  <a:gd name="T2" fmla="*/ 9 w 36"/>
                  <a:gd name="T3" fmla="*/ 0 h 36"/>
                  <a:gd name="T4" fmla="*/ 36 w 36"/>
                  <a:gd name="T5" fmla="*/ 26 h 36"/>
                  <a:gd name="T6" fmla="*/ 8 w 36"/>
                  <a:gd name="T7" fmla="*/ 34 h 36"/>
                  <a:gd name="T8" fmla="*/ 2 w 36"/>
                  <a:gd name="T9" fmla="*/ 26 h 36"/>
                </a:gdLst>
                <a:ahLst/>
                <a:cxnLst>
                  <a:cxn ang="0">
                    <a:pos x="T0" y="T1"/>
                  </a:cxn>
                  <a:cxn ang="0">
                    <a:pos x="T2" y="T3"/>
                  </a:cxn>
                  <a:cxn ang="0">
                    <a:pos x="T4" y="T5"/>
                  </a:cxn>
                  <a:cxn ang="0">
                    <a:pos x="T6" y="T7"/>
                  </a:cxn>
                  <a:cxn ang="0">
                    <a:pos x="T8" y="T9"/>
                  </a:cxn>
                </a:cxnLst>
                <a:rect l="0" t="0" r="r" b="b"/>
                <a:pathLst>
                  <a:path w="36" h="36">
                    <a:moveTo>
                      <a:pt x="2" y="26"/>
                    </a:moveTo>
                    <a:cubicBezTo>
                      <a:pt x="6" y="18"/>
                      <a:pt x="6" y="8"/>
                      <a:pt x="9" y="0"/>
                    </a:cubicBezTo>
                    <a:cubicBezTo>
                      <a:pt x="18" y="8"/>
                      <a:pt x="27" y="17"/>
                      <a:pt x="36" y="26"/>
                    </a:cubicBezTo>
                    <a:cubicBezTo>
                      <a:pt x="27" y="29"/>
                      <a:pt x="17" y="30"/>
                      <a:pt x="8" y="34"/>
                    </a:cubicBezTo>
                    <a:cubicBezTo>
                      <a:pt x="0" y="36"/>
                      <a:pt x="3" y="30"/>
                      <a:pt x="2"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16">
                <a:extLst>
                  <a:ext uri="{FF2B5EF4-FFF2-40B4-BE49-F238E27FC236}">
                    <a16:creationId xmlns:a16="http://schemas.microsoft.com/office/drawing/2014/main" id="{44F1B767-FC5C-43E0-AF95-932384B973FB}"/>
                  </a:ext>
                </a:extLst>
              </p:cNvPr>
              <p:cNvSpPr>
                <a:spLocks/>
              </p:cNvSpPr>
              <p:nvPr/>
            </p:nvSpPr>
            <p:spPr bwMode="auto">
              <a:xfrm>
                <a:off x="9236075" y="1762125"/>
                <a:ext cx="334963" cy="338137"/>
              </a:xfrm>
              <a:custGeom>
                <a:avLst/>
                <a:gdLst>
                  <a:gd name="T0" fmla="*/ 99 w 99"/>
                  <a:gd name="T1" fmla="*/ 28 h 99"/>
                  <a:gd name="T2" fmla="*/ 97 w 99"/>
                  <a:gd name="T3" fmla="*/ 31 h 99"/>
                  <a:gd name="T4" fmla="*/ 31 w 99"/>
                  <a:gd name="T5" fmla="*/ 97 h 99"/>
                  <a:gd name="T6" fmla="*/ 26 w 99"/>
                  <a:gd name="T7" fmla="*/ 97 h 99"/>
                  <a:gd name="T8" fmla="*/ 2 w 99"/>
                  <a:gd name="T9" fmla="*/ 74 h 99"/>
                  <a:gd name="T10" fmla="*/ 2 w 99"/>
                  <a:gd name="T11" fmla="*/ 69 h 99"/>
                  <a:gd name="T12" fmla="*/ 69 w 99"/>
                  <a:gd name="T13" fmla="*/ 3 h 99"/>
                  <a:gd name="T14" fmla="*/ 73 w 99"/>
                  <a:gd name="T15" fmla="*/ 2 h 99"/>
                  <a:gd name="T16" fmla="*/ 98 w 99"/>
                  <a:gd name="T17" fmla="*/ 27 h 99"/>
                  <a:gd name="T18" fmla="*/ 99 w 99"/>
                  <a:gd name="T1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99" y="28"/>
                    </a:moveTo>
                    <a:cubicBezTo>
                      <a:pt x="98" y="29"/>
                      <a:pt x="98" y="30"/>
                      <a:pt x="97" y="31"/>
                    </a:cubicBezTo>
                    <a:cubicBezTo>
                      <a:pt x="75" y="53"/>
                      <a:pt x="53" y="75"/>
                      <a:pt x="31" y="97"/>
                    </a:cubicBezTo>
                    <a:cubicBezTo>
                      <a:pt x="29" y="99"/>
                      <a:pt x="28" y="99"/>
                      <a:pt x="26" y="97"/>
                    </a:cubicBezTo>
                    <a:cubicBezTo>
                      <a:pt x="18" y="89"/>
                      <a:pt x="10" y="82"/>
                      <a:pt x="2" y="74"/>
                    </a:cubicBezTo>
                    <a:cubicBezTo>
                      <a:pt x="1" y="72"/>
                      <a:pt x="0" y="71"/>
                      <a:pt x="2" y="69"/>
                    </a:cubicBezTo>
                    <a:cubicBezTo>
                      <a:pt x="25" y="47"/>
                      <a:pt x="47" y="25"/>
                      <a:pt x="69" y="3"/>
                    </a:cubicBezTo>
                    <a:cubicBezTo>
                      <a:pt x="70" y="1"/>
                      <a:pt x="71" y="0"/>
                      <a:pt x="73" y="2"/>
                    </a:cubicBezTo>
                    <a:cubicBezTo>
                      <a:pt x="81" y="10"/>
                      <a:pt x="89" y="18"/>
                      <a:pt x="98" y="27"/>
                    </a:cubicBezTo>
                    <a:cubicBezTo>
                      <a:pt x="98" y="27"/>
                      <a:pt x="99" y="28"/>
                      <a:pt x="99"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1" name="Group 40">
            <a:extLst>
              <a:ext uri="{FF2B5EF4-FFF2-40B4-BE49-F238E27FC236}">
                <a16:creationId xmlns:a16="http://schemas.microsoft.com/office/drawing/2014/main" id="{4D3335C3-0174-4362-9430-4EB1EA8DFD1C}"/>
              </a:ext>
              <a:ext uri="{C183D7F6-B498-43B3-948B-1728B52AA6E4}">
                <adec:decorative xmlns:adec="http://schemas.microsoft.com/office/drawing/2017/decorative" val="1"/>
              </a:ext>
            </a:extLst>
          </p:cNvPr>
          <p:cNvGrpSpPr/>
          <p:nvPr/>
        </p:nvGrpSpPr>
        <p:grpSpPr>
          <a:xfrm>
            <a:off x="10829557" y="1101944"/>
            <a:ext cx="667043" cy="628652"/>
            <a:chOff x="9630181" y="1126385"/>
            <a:chExt cx="667043" cy="628652"/>
          </a:xfrm>
        </p:grpSpPr>
        <p:sp>
          <p:nvSpPr>
            <p:cNvPr id="727" name="Freeform 520">
              <a:extLst>
                <a:ext uri="{FF2B5EF4-FFF2-40B4-BE49-F238E27FC236}">
                  <a16:creationId xmlns:a16="http://schemas.microsoft.com/office/drawing/2014/main" id="{E5F285BE-CDA9-4AE7-902D-D36D7AB0D8A0}"/>
                </a:ext>
              </a:extLst>
            </p:cNvPr>
            <p:cNvSpPr>
              <a:spLocks/>
            </p:cNvSpPr>
            <p:nvPr/>
          </p:nvSpPr>
          <p:spPr bwMode="auto">
            <a:xfrm>
              <a:off x="9630181" y="1126385"/>
              <a:ext cx="667043" cy="628652"/>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711" name="Freeform 56">
              <a:extLst>
                <a:ext uri="{FF2B5EF4-FFF2-40B4-BE49-F238E27FC236}">
                  <a16:creationId xmlns:a16="http://schemas.microsoft.com/office/drawing/2014/main" id="{E0C0FCEF-ACE4-4827-BF61-2F9DE2105D99}"/>
                </a:ext>
              </a:extLst>
            </p:cNvPr>
            <p:cNvSpPr>
              <a:spLocks noChangeAspect="1"/>
            </p:cNvSpPr>
            <p:nvPr/>
          </p:nvSpPr>
          <p:spPr>
            <a:xfrm>
              <a:off x="9826751" y="1262915"/>
              <a:ext cx="288000" cy="348938"/>
            </a:xfrm>
            <a:custGeom>
              <a:avLst/>
              <a:gdLst>
                <a:gd name="connsiteX0" fmla="*/ 296550 w 320399"/>
                <a:gd name="connsiteY0" fmla="*/ 210975 h 386254"/>
                <a:gd name="connsiteX1" fmla="*/ 294264 w 320399"/>
                <a:gd name="connsiteY1" fmla="*/ 210975 h 386254"/>
                <a:gd name="connsiteX2" fmla="*/ 284739 w 320399"/>
                <a:gd name="connsiteY2" fmla="*/ 207260 h 386254"/>
                <a:gd name="connsiteX3" fmla="*/ 271975 w 320399"/>
                <a:gd name="connsiteY3" fmla="*/ 199736 h 386254"/>
                <a:gd name="connsiteX4" fmla="*/ 264736 w 320399"/>
                <a:gd name="connsiteY4" fmla="*/ 185258 h 386254"/>
                <a:gd name="connsiteX5" fmla="*/ 257783 w 320399"/>
                <a:gd name="connsiteY5" fmla="*/ 128679 h 386254"/>
                <a:gd name="connsiteX6" fmla="*/ 228256 w 320399"/>
                <a:gd name="connsiteY6" fmla="*/ 78863 h 386254"/>
                <a:gd name="connsiteX7" fmla="*/ 143483 w 320399"/>
                <a:gd name="connsiteY7" fmla="*/ 58004 h 386254"/>
                <a:gd name="connsiteX8" fmla="*/ 74617 w 320399"/>
                <a:gd name="connsiteY8" fmla="*/ 108677 h 386254"/>
                <a:gd name="connsiteX9" fmla="*/ 70807 w 320399"/>
                <a:gd name="connsiteY9" fmla="*/ 154397 h 386254"/>
                <a:gd name="connsiteX10" fmla="*/ 83857 w 320399"/>
                <a:gd name="connsiteY10" fmla="*/ 157159 h 386254"/>
                <a:gd name="connsiteX11" fmla="*/ 97192 w 320399"/>
                <a:gd name="connsiteY11" fmla="*/ 138109 h 386254"/>
                <a:gd name="connsiteX12" fmla="*/ 98335 w 320399"/>
                <a:gd name="connsiteY12" fmla="*/ 134680 h 386254"/>
                <a:gd name="connsiteX13" fmla="*/ 183708 w 320399"/>
                <a:gd name="connsiteY13" fmla="*/ 88661 h 386254"/>
                <a:gd name="connsiteX14" fmla="*/ 224350 w 320399"/>
                <a:gd name="connsiteY14" fmla="*/ 121726 h 386254"/>
                <a:gd name="connsiteX15" fmla="*/ 231208 w 320399"/>
                <a:gd name="connsiteY15" fmla="*/ 149825 h 386254"/>
                <a:gd name="connsiteX16" fmla="*/ 231208 w 320399"/>
                <a:gd name="connsiteY16" fmla="*/ 153254 h 386254"/>
                <a:gd name="connsiteX17" fmla="*/ 232351 w 320399"/>
                <a:gd name="connsiteY17" fmla="*/ 164588 h 386254"/>
                <a:gd name="connsiteX18" fmla="*/ 232351 w 320399"/>
                <a:gd name="connsiteY18" fmla="*/ 207546 h 386254"/>
                <a:gd name="connsiteX19" fmla="*/ 295026 w 320399"/>
                <a:gd name="connsiteY19" fmla="*/ 240407 h 386254"/>
                <a:gd name="connsiteX20" fmla="*/ 295883 w 320399"/>
                <a:gd name="connsiteY20" fmla="*/ 240407 h 386254"/>
                <a:gd name="connsiteX21" fmla="*/ 307504 w 320399"/>
                <a:gd name="connsiteY21" fmla="*/ 234883 h 386254"/>
                <a:gd name="connsiteX22" fmla="*/ 310075 w 320399"/>
                <a:gd name="connsiteY22" fmla="*/ 221738 h 386254"/>
                <a:gd name="connsiteX23" fmla="*/ 296550 w 320399"/>
                <a:gd name="connsiteY23" fmla="*/ 210975 h 386254"/>
                <a:gd name="connsiteX24" fmla="*/ 313504 w 320399"/>
                <a:gd name="connsiteY24" fmla="*/ 121154 h 386254"/>
                <a:gd name="connsiteX25" fmla="*/ 313504 w 320399"/>
                <a:gd name="connsiteY25" fmla="*/ 120011 h 386254"/>
                <a:gd name="connsiteX26" fmla="*/ 274071 w 320399"/>
                <a:gd name="connsiteY26" fmla="*/ 45050 h 386254"/>
                <a:gd name="connsiteX27" fmla="*/ 64997 w 320399"/>
                <a:gd name="connsiteY27" fmla="*/ 35525 h 386254"/>
                <a:gd name="connsiteX28" fmla="*/ 11562 w 320399"/>
                <a:gd name="connsiteY28" fmla="*/ 122012 h 386254"/>
                <a:gd name="connsiteX29" fmla="*/ 14800 w 320399"/>
                <a:gd name="connsiteY29" fmla="*/ 150015 h 386254"/>
                <a:gd name="connsiteX30" fmla="*/ 29564 w 320399"/>
                <a:gd name="connsiteY30" fmla="*/ 152777 h 386254"/>
                <a:gd name="connsiteX31" fmla="*/ 43566 w 320399"/>
                <a:gd name="connsiteY31" fmla="*/ 124202 h 386254"/>
                <a:gd name="connsiteX32" fmla="*/ 44518 w 320399"/>
                <a:gd name="connsiteY32" fmla="*/ 119059 h 386254"/>
                <a:gd name="connsiteX33" fmla="*/ 101668 w 320399"/>
                <a:gd name="connsiteY33" fmla="*/ 47240 h 386254"/>
                <a:gd name="connsiteX34" fmla="*/ 198633 w 320399"/>
                <a:gd name="connsiteY34" fmla="*/ 34477 h 386254"/>
                <a:gd name="connsiteX35" fmla="*/ 278452 w 320399"/>
                <a:gd name="connsiteY35" fmla="*/ 103724 h 386254"/>
                <a:gd name="connsiteX36" fmla="*/ 287977 w 320399"/>
                <a:gd name="connsiteY36" fmla="*/ 151349 h 386254"/>
                <a:gd name="connsiteX37" fmla="*/ 287977 w 320399"/>
                <a:gd name="connsiteY37" fmla="*/ 155063 h 386254"/>
                <a:gd name="connsiteX38" fmla="*/ 301693 w 320399"/>
                <a:gd name="connsiteY38" fmla="*/ 185734 h 386254"/>
                <a:gd name="connsiteX39" fmla="*/ 303789 w 320399"/>
                <a:gd name="connsiteY39" fmla="*/ 185734 h 386254"/>
                <a:gd name="connsiteX40" fmla="*/ 315505 w 320399"/>
                <a:gd name="connsiteY40" fmla="*/ 180400 h 386254"/>
                <a:gd name="connsiteX41" fmla="*/ 313504 w 320399"/>
                <a:gd name="connsiteY41" fmla="*/ 121154 h 386254"/>
                <a:gd name="connsiteX42" fmla="*/ 231875 w 320399"/>
                <a:gd name="connsiteY42" fmla="*/ 335276 h 386254"/>
                <a:gd name="connsiteX43" fmla="*/ 227494 w 320399"/>
                <a:gd name="connsiteY43" fmla="*/ 333371 h 386254"/>
                <a:gd name="connsiteX44" fmla="*/ 224827 w 320399"/>
                <a:gd name="connsiteY44" fmla="*/ 331752 h 386254"/>
                <a:gd name="connsiteX45" fmla="*/ 191299 w 320399"/>
                <a:gd name="connsiteY45" fmla="*/ 323656 h 386254"/>
                <a:gd name="connsiteX46" fmla="*/ 152151 w 320399"/>
                <a:gd name="connsiteY46" fmla="*/ 341277 h 386254"/>
                <a:gd name="connsiteX47" fmla="*/ 139292 w 320399"/>
                <a:gd name="connsiteY47" fmla="*/ 347468 h 386254"/>
                <a:gd name="connsiteX48" fmla="*/ 125290 w 320399"/>
                <a:gd name="connsiteY48" fmla="*/ 349469 h 386254"/>
                <a:gd name="connsiteX49" fmla="*/ 103192 w 320399"/>
                <a:gd name="connsiteY49" fmla="*/ 353850 h 386254"/>
                <a:gd name="connsiteX50" fmla="*/ 85952 w 320399"/>
                <a:gd name="connsiteY50" fmla="*/ 375377 h 386254"/>
                <a:gd name="connsiteX51" fmla="*/ 98906 w 320399"/>
                <a:gd name="connsiteY51" fmla="*/ 385759 h 386254"/>
                <a:gd name="connsiteX52" fmla="*/ 107383 w 320399"/>
                <a:gd name="connsiteY52" fmla="*/ 386235 h 386254"/>
                <a:gd name="connsiteX53" fmla="*/ 179297 w 320399"/>
                <a:gd name="connsiteY53" fmla="*/ 364137 h 386254"/>
                <a:gd name="connsiteX54" fmla="*/ 181393 w 320399"/>
                <a:gd name="connsiteY54" fmla="*/ 363185 h 386254"/>
                <a:gd name="connsiteX55" fmla="*/ 199395 w 320399"/>
                <a:gd name="connsiteY55" fmla="*/ 353660 h 386254"/>
                <a:gd name="connsiteX56" fmla="*/ 234733 w 320399"/>
                <a:gd name="connsiteY56" fmla="*/ 369566 h 386254"/>
                <a:gd name="connsiteX57" fmla="*/ 248830 w 320399"/>
                <a:gd name="connsiteY57" fmla="*/ 363280 h 386254"/>
                <a:gd name="connsiteX58" fmla="*/ 246067 w 320399"/>
                <a:gd name="connsiteY58" fmla="*/ 343373 h 386254"/>
                <a:gd name="connsiteX59" fmla="*/ 231875 w 320399"/>
                <a:gd name="connsiteY59" fmla="*/ 335276 h 386254"/>
                <a:gd name="connsiteX60" fmla="*/ 294645 w 320399"/>
                <a:gd name="connsiteY60" fmla="*/ 283460 h 386254"/>
                <a:gd name="connsiteX61" fmla="*/ 294645 w 320399"/>
                <a:gd name="connsiteY61" fmla="*/ 283460 h 386254"/>
                <a:gd name="connsiteX62" fmla="*/ 275023 w 320399"/>
                <a:gd name="connsiteY62" fmla="*/ 276793 h 386254"/>
                <a:gd name="connsiteX63" fmla="*/ 263689 w 320399"/>
                <a:gd name="connsiteY63" fmla="*/ 273745 h 386254"/>
                <a:gd name="connsiteX64" fmla="*/ 250830 w 320399"/>
                <a:gd name="connsiteY64" fmla="*/ 264220 h 386254"/>
                <a:gd name="connsiteX65" fmla="*/ 205300 w 320399"/>
                <a:gd name="connsiteY65" fmla="*/ 243455 h 386254"/>
                <a:gd name="connsiteX66" fmla="*/ 163390 w 320399"/>
                <a:gd name="connsiteY66" fmla="*/ 274697 h 386254"/>
                <a:gd name="connsiteX67" fmla="*/ 119575 w 320399"/>
                <a:gd name="connsiteY67" fmla="*/ 294986 h 386254"/>
                <a:gd name="connsiteX68" fmla="*/ 78618 w 320399"/>
                <a:gd name="connsiteY68" fmla="*/ 299367 h 386254"/>
                <a:gd name="connsiteX69" fmla="*/ 35089 w 320399"/>
                <a:gd name="connsiteY69" fmla="*/ 294795 h 386254"/>
                <a:gd name="connsiteX70" fmla="*/ 21658 w 320399"/>
                <a:gd name="connsiteY70" fmla="*/ 303368 h 386254"/>
                <a:gd name="connsiteX71" fmla="*/ 20325 w 320399"/>
                <a:gd name="connsiteY71" fmla="*/ 315750 h 386254"/>
                <a:gd name="connsiteX72" fmla="*/ 56044 w 320399"/>
                <a:gd name="connsiteY72" fmla="*/ 329847 h 386254"/>
                <a:gd name="connsiteX73" fmla="*/ 77189 w 320399"/>
                <a:gd name="connsiteY73" fmla="*/ 331085 h 386254"/>
                <a:gd name="connsiteX74" fmla="*/ 178154 w 320399"/>
                <a:gd name="connsiteY74" fmla="*/ 301558 h 386254"/>
                <a:gd name="connsiteX75" fmla="*/ 213016 w 320399"/>
                <a:gd name="connsiteY75" fmla="*/ 274221 h 386254"/>
                <a:gd name="connsiteX76" fmla="*/ 225398 w 320399"/>
                <a:gd name="connsiteY76" fmla="*/ 284699 h 386254"/>
                <a:gd name="connsiteX77" fmla="*/ 226446 w 320399"/>
                <a:gd name="connsiteY77" fmla="*/ 285556 h 386254"/>
                <a:gd name="connsiteX78" fmla="*/ 290740 w 320399"/>
                <a:gd name="connsiteY78" fmla="*/ 314131 h 386254"/>
                <a:gd name="connsiteX79" fmla="*/ 305789 w 320399"/>
                <a:gd name="connsiteY79" fmla="*/ 306987 h 386254"/>
                <a:gd name="connsiteX80" fmla="*/ 294645 w 320399"/>
                <a:gd name="connsiteY80" fmla="*/ 283460 h 386254"/>
                <a:gd name="connsiteX81" fmla="*/ 76237 w 320399"/>
                <a:gd name="connsiteY81" fmla="*/ 274983 h 386254"/>
                <a:gd name="connsiteX82" fmla="*/ 176725 w 320399"/>
                <a:gd name="connsiteY82" fmla="*/ 228787 h 386254"/>
                <a:gd name="connsiteX83" fmla="*/ 201586 w 320399"/>
                <a:gd name="connsiteY83" fmla="*/ 133537 h 386254"/>
                <a:gd name="connsiteX84" fmla="*/ 147293 w 320399"/>
                <a:gd name="connsiteY84" fmla="*/ 115344 h 386254"/>
                <a:gd name="connsiteX85" fmla="*/ 121671 w 320399"/>
                <a:gd name="connsiteY85" fmla="*/ 150110 h 386254"/>
                <a:gd name="connsiteX86" fmla="*/ 121671 w 320399"/>
                <a:gd name="connsiteY86" fmla="*/ 151730 h 386254"/>
                <a:gd name="connsiteX87" fmla="*/ 64521 w 320399"/>
                <a:gd name="connsiteY87" fmla="*/ 187925 h 386254"/>
                <a:gd name="connsiteX88" fmla="*/ 58425 w 320399"/>
                <a:gd name="connsiteY88" fmla="*/ 186782 h 386254"/>
                <a:gd name="connsiteX89" fmla="*/ 8800 w 320399"/>
                <a:gd name="connsiteY89" fmla="*/ 187544 h 386254"/>
                <a:gd name="connsiteX90" fmla="*/ 4228 w 320399"/>
                <a:gd name="connsiteY90" fmla="*/ 198783 h 386254"/>
                <a:gd name="connsiteX91" fmla="*/ 59854 w 320399"/>
                <a:gd name="connsiteY91" fmla="*/ 217833 h 386254"/>
                <a:gd name="connsiteX92" fmla="*/ 64330 w 320399"/>
                <a:gd name="connsiteY92" fmla="*/ 217833 h 386254"/>
                <a:gd name="connsiteX93" fmla="*/ 145388 w 320399"/>
                <a:gd name="connsiteY93" fmla="*/ 174399 h 386254"/>
                <a:gd name="connsiteX94" fmla="*/ 148150 w 320399"/>
                <a:gd name="connsiteY94" fmla="*/ 162874 h 386254"/>
                <a:gd name="connsiteX95" fmla="*/ 161771 w 320399"/>
                <a:gd name="connsiteY95" fmla="*/ 141347 h 386254"/>
                <a:gd name="connsiteX96" fmla="*/ 169963 w 320399"/>
                <a:gd name="connsiteY96" fmla="*/ 143252 h 386254"/>
                <a:gd name="connsiteX97" fmla="*/ 176725 w 320399"/>
                <a:gd name="connsiteY97" fmla="*/ 160112 h 386254"/>
                <a:gd name="connsiteX98" fmla="*/ 124243 w 320399"/>
                <a:gd name="connsiteY98" fmla="*/ 233264 h 386254"/>
                <a:gd name="connsiteX99" fmla="*/ 79761 w 320399"/>
                <a:gd name="connsiteY99" fmla="*/ 244408 h 386254"/>
                <a:gd name="connsiteX100" fmla="*/ 46423 w 320399"/>
                <a:gd name="connsiteY100" fmla="*/ 240693 h 386254"/>
                <a:gd name="connsiteX101" fmla="*/ 14800 w 320399"/>
                <a:gd name="connsiteY101" fmla="*/ 238502 h 386254"/>
                <a:gd name="connsiteX102" fmla="*/ 37 w 320399"/>
                <a:gd name="connsiteY102" fmla="*/ 252218 h 386254"/>
                <a:gd name="connsiteX103" fmla="*/ 61663 w 320399"/>
                <a:gd name="connsiteY103" fmla="*/ 274221 h 386254"/>
                <a:gd name="connsiteX104" fmla="*/ 76237 w 320399"/>
                <a:gd name="connsiteY104" fmla="*/ 274983 h 38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20399" h="386254">
                  <a:moveTo>
                    <a:pt x="296550" y="210975"/>
                  </a:moveTo>
                  <a:cubicBezTo>
                    <a:pt x="295794" y="211109"/>
                    <a:pt x="295020" y="211109"/>
                    <a:pt x="294264" y="210975"/>
                  </a:cubicBezTo>
                  <a:cubicBezTo>
                    <a:pt x="291121" y="209642"/>
                    <a:pt x="287977" y="208403"/>
                    <a:pt x="284739" y="207260"/>
                  </a:cubicBezTo>
                  <a:cubicBezTo>
                    <a:pt x="279694" y="206433"/>
                    <a:pt x="275142" y="203749"/>
                    <a:pt x="271975" y="199736"/>
                  </a:cubicBezTo>
                  <a:cubicBezTo>
                    <a:pt x="268888" y="195278"/>
                    <a:pt x="266450" y="190403"/>
                    <a:pt x="264736" y="185258"/>
                  </a:cubicBezTo>
                  <a:cubicBezTo>
                    <a:pt x="263403" y="178876"/>
                    <a:pt x="261307" y="140300"/>
                    <a:pt x="257783" y="128679"/>
                  </a:cubicBezTo>
                  <a:cubicBezTo>
                    <a:pt x="252985" y="109560"/>
                    <a:pt x="242725" y="92250"/>
                    <a:pt x="228256" y="78863"/>
                  </a:cubicBezTo>
                  <a:cubicBezTo>
                    <a:pt x="204607" y="59447"/>
                    <a:pt x="173441" y="51778"/>
                    <a:pt x="143483" y="58004"/>
                  </a:cubicBezTo>
                  <a:cubicBezTo>
                    <a:pt x="113959" y="63411"/>
                    <a:pt x="88563" y="82098"/>
                    <a:pt x="74617" y="108677"/>
                  </a:cubicBezTo>
                  <a:cubicBezTo>
                    <a:pt x="63378" y="132489"/>
                    <a:pt x="62140" y="147824"/>
                    <a:pt x="70807" y="154397"/>
                  </a:cubicBezTo>
                  <a:cubicBezTo>
                    <a:pt x="74378" y="157530"/>
                    <a:pt x="79323" y="158577"/>
                    <a:pt x="83857" y="157159"/>
                  </a:cubicBezTo>
                  <a:cubicBezTo>
                    <a:pt x="91953" y="154492"/>
                    <a:pt x="95001" y="144776"/>
                    <a:pt x="97192" y="138109"/>
                  </a:cubicBezTo>
                  <a:cubicBezTo>
                    <a:pt x="97350" y="136903"/>
                    <a:pt x="97738" y="135739"/>
                    <a:pt x="98335" y="134680"/>
                  </a:cubicBezTo>
                  <a:cubicBezTo>
                    <a:pt x="109202" y="98397"/>
                    <a:pt x="147425" y="77793"/>
                    <a:pt x="183708" y="88661"/>
                  </a:cubicBezTo>
                  <a:cubicBezTo>
                    <a:pt x="201098" y="93869"/>
                    <a:pt x="215713" y="105760"/>
                    <a:pt x="224350" y="121726"/>
                  </a:cubicBezTo>
                  <a:cubicBezTo>
                    <a:pt x="228738" y="130451"/>
                    <a:pt x="231083" y="140059"/>
                    <a:pt x="231208" y="149825"/>
                  </a:cubicBezTo>
                  <a:lnTo>
                    <a:pt x="231208" y="153254"/>
                  </a:lnTo>
                  <a:cubicBezTo>
                    <a:pt x="231195" y="157061"/>
                    <a:pt x="231578" y="160860"/>
                    <a:pt x="232351" y="164588"/>
                  </a:cubicBezTo>
                  <a:cubicBezTo>
                    <a:pt x="229302" y="178745"/>
                    <a:pt x="229302" y="193389"/>
                    <a:pt x="232351" y="207546"/>
                  </a:cubicBezTo>
                  <a:cubicBezTo>
                    <a:pt x="244543" y="235073"/>
                    <a:pt x="282262" y="239074"/>
                    <a:pt x="295026" y="240407"/>
                  </a:cubicBezTo>
                  <a:lnTo>
                    <a:pt x="295883" y="240407"/>
                  </a:lnTo>
                  <a:cubicBezTo>
                    <a:pt x="300391" y="240412"/>
                    <a:pt x="304661" y="238382"/>
                    <a:pt x="307504" y="234883"/>
                  </a:cubicBezTo>
                  <a:cubicBezTo>
                    <a:pt x="310473" y="231192"/>
                    <a:pt x="311435" y="226276"/>
                    <a:pt x="310075" y="221738"/>
                  </a:cubicBezTo>
                  <a:cubicBezTo>
                    <a:pt x="308144" y="215756"/>
                    <a:pt x="302813" y="211514"/>
                    <a:pt x="296550" y="210975"/>
                  </a:cubicBezTo>
                  <a:close/>
                  <a:moveTo>
                    <a:pt x="313504" y="121154"/>
                  </a:moveTo>
                  <a:lnTo>
                    <a:pt x="313504" y="120011"/>
                  </a:lnTo>
                  <a:cubicBezTo>
                    <a:pt x="307449" y="91893"/>
                    <a:pt x="293812" y="65969"/>
                    <a:pt x="274071" y="45050"/>
                  </a:cubicBezTo>
                  <a:cubicBezTo>
                    <a:pt x="217084" y="-11157"/>
                    <a:pt x="126858" y="-15267"/>
                    <a:pt x="64997" y="35525"/>
                  </a:cubicBezTo>
                  <a:cubicBezTo>
                    <a:pt x="38419" y="57919"/>
                    <a:pt x="19696" y="88222"/>
                    <a:pt x="11562" y="122012"/>
                  </a:cubicBezTo>
                  <a:cubicBezTo>
                    <a:pt x="8419" y="136013"/>
                    <a:pt x="9562" y="145538"/>
                    <a:pt x="14800" y="150015"/>
                  </a:cubicBezTo>
                  <a:cubicBezTo>
                    <a:pt x="18770" y="153721"/>
                    <a:pt x="24524" y="154797"/>
                    <a:pt x="29564" y="152777"/>
                  </a:cubicBezTo>
                  <a:cubicBezTo>
                    <a:pt x="39756" y="149729"/>
                    <a:pt x="41851" y="135632"/>
                    <a:pt x="43566" y="124202"/>
                  </a:cubicBezTo>
                  <a:cubicBezTo>
                    <a:pt x="43645" y="122452"/>
                    <a:pt x="43966" y="120721"/>
                    <a:pt x="44518" y="119059"/>
                  </a:cubicBezTo>
                  <a:cubicBezTo>
                    <a:pt x="53078" y="88379"/>
                    <a:pt x="73694" y="62471"/>
                    <a:pt x="101668" y="47240"/>
                  </a:cubicBezTo>
                  <a:cubicBezTo>
                    <a:pt x="131017" y="30290"/>
                    <a:pt x="165898" y="25699"/>
                    <a:pt x="198633" y="34477"/>
                  </a:cubicBezTo>
                  <a:cubicBezTo>
                    <a:pt x="234106" y="44739"/>
                    <a:pt x="263287" y="70054"/>
                    <a:pt x="278452" y="103724"/>
                  </a:cubicBezTo>
                  <a:cubicBezTo>
                    <a:pt x="284916" y="118760"/>
                    <a:pt x="288161" y="134983"/>
                    <a:pt x="287977" y="151349"/>
                  </a:cubicBezTo>
                  <a:lnTo>
                    <a:pt x="287977" y="155063"/>
                  </a:lnTo>
                  <a:cubicBezTo>
                    <a:pt x="287977" y="164588"/>
                    <a:pt x="286453" y="183638"/>
                    <a:pt x="301693" y="185734"/>
                  </a:cubicBezTo>
                  <a:lnTo>
                    <a:pt x="303789" y="185734"/>
                  </a:lnTo>
                  <a:cubicBezTo>
                    <a:pt x="308304" y="185842"/>
                    <a:pt x="312621" y="183876"/>
                    <a:pt x="315505" y="180400"/>
                  </a:cubicBezTo>
                  <a:cubicBezTo>
                    <a:pt x="322553" y="171256"/>
                    <a:pt x="322077" y="153158"/>
                    <a:pt x="313504" y="121154"/>
                  </a:cubicBezTo>
                  <a:close/>
                  <a:moveTo>
                    <a:pt x="231875" y="335276"/>
                  </a:moveTo>
                  <a:lnTo>
                    <a:pt x="227494" y="333371"/>
                  </a:lnTo>
                  <a:lnTo>
                    <a:pt x="224827" y="331752"/>
                  </a:lnTo>
                  <a:cubicBezTo>
                    <a:pt x="215873" y="326132"/>
                    <a:pt x="201205" y="316893"/>
                    <a:pt x="191299" y="323656"/>
                  </a:cubicBezTo>
                  <a:cubicBezTo>
                    <a:pt x="177854" y="328609"/>
                    <a:pt x="164773" y="334498"/>
                    <a:pt x="152151" y="341277"/>
                  </a:cubicBezTo>
                  <a:cubicBezTo>
                    <a:pt x="146817" y="343944"/>
                    <a:pt x="140721" y="346992"/>
                    <a:pt x="139292" y="347468"/>
                  </a:cubicBezTo>
                  <a:cubicBezTo>
                    <a:pt x="134704" y="348607"/>
                    <a:pt x="130013" y="349277"/>
                    <a:pt x="125290" y="349469"/>
                  </a:cubicBezTo>
                  <a:cubicBezTo>
                    <a:pt x="117748" y="349826"/>
                    <a:pt x="110301" y="351303"/>
                    <a:pt x="103192" y="353850"/>
                  </a:cubicBezTo>
                  <a:cubicBezTo>
                    <a:pt x="100716" y="354803"/>
                    <a:pt x="84142" y="364137"/>
                    <a:pt x="85952" y="375377"/>
                  </a:cubicBezTo>
                  <a:cubicBezTo>
                    <a:pt x="85952" y="378139"/>
                    <a:pt x="88333" y="384902"/>
                    <a:pt x="98906" y="385759"/>
                  </a:cubicBezTo>
                  <a:cubicBezTo>
                    <a:pt x="101714" y="386155"/>
                    <a:pt x="104549" y="386314"/>
                    <a:pt x="107383" y="386235"/>
                  </a:cubicBezTo>
                  <a:cubicBezTo>
                    <a:pt x="131291" y="386235"/>
                    <a:pt x="155961" y="375472"/>
                    <a:pt x="179297" y="364137"/>
                  </a:cubicBezTo>
                  <a:lnTo>
                    <a:pt x="181393" y="363185"/>
                  </a:lnTo>
                  <a:cubicBezTo>
                    <a:pt x="187623" y="360465"/>
                    <a:pt x="193641" y="357281"/>
                    <a:pt x="199395" y="353660"/>
                  </a:cubicBezTo>
                  <a:cubicBezTo>
                    <a:pt x="210094" y="361094"/>
                    <a:pt x="222074" y="366487"/>
                    <a:pt x="234733" y="369566"/>
                  </a:cubicBezTo>
                  <a:cubicBezTo>
                    <a:pt x="240297" y="370741"/>
                    <a:pt x="245985" y="368204"/>
                    <a:pt x="248830" y="363280"/>
                  </a:cubicBezTo>
                  <a:cubicBezTo>
                    <a:pt x="251769" y="356659"/>
                    <a:pt x="250698" y="348943"/>
                    <a:pt x="246067" y="343373"/>
                  </a:cubicBezTo>
                  <a:cubicBezTo>
                    <a:pt x="241936" y="339737"/>
                    <a:pt x="237107" y="336982"/>
                    <a:pt x="231875" y="335276"/>
                  </a:cubicBezTo>
                  <a:close/>
                  <a:moveTo>
                    <a:pt x="294645" y="283460"/>
                  </a:moveTo>
                  <a:lnTo>
                    <a:pt x="294645" y="283460"/>
                  </a:lnTo>
                  <a:cubicBezTo>
                    <a:pt x="288591" y="280003"/>
                    <a:pt x="281930" y="277740"/>
                    <a:pt x="275023" y="276793"/>
                  </a:cubicBezTo>
                  <a:cubicBezTo>
                    <a:pt x="271141" y="276216"/>
                    <a:pt x="267337" y="275193"/>
                    <a:pt x="263689" y="273745"/>
                  </a:cubicBezTo>
                  <a:cubicBezTo>
                    <a:pt x="259203" y="270849"/>
                    <a:pt x="254908" y="267667"/>
                    <a:pt x="250830" y="264220"/>
                  </a:cubicBezTo>
                  <a:cubicBezTo>
                    <a:pt x="228637" y="246313"/>
                    <a:pt x="214540" y="235645"/>
                    <a:pt x="205300" y="243455"/>
                  </a:cubicBezTo>
                  <a:lnTo>
                    <a:pt x="163390" y="274697"/>
                  </a:lnTo>
                  <a:cubicBezTo>
                    <a:pt x="150164" y="284110"/>
                    <a:pt x="135309" y="290988"/>
                    <a:pt x="119575" y="294986"/>
                  </a:cubicBezTo>
                  <a:cubicBezTo>
                    <a:pt x="106121" y="297922"/>
                    <a:pt x="92389" y="299391"/>
                    <a:pt x="78618" y="299367"/>
                  </a:cubicBezTo>
                  <a:cubicBezTo>
                    <a:pt x="56044" y="300891"/>
                    <a:pt x="42804" y="293557"/>
                    <a:pt x="35089" y="294795"/>
                  </a:cubicBezTo>
                  <a:cubicBezTo>
                    <a:pt x="29634" y="295712"/>
                    <a:pt x="24787" y="298806"/>
                    <a:pt x="21658" y="303368"/>
                  </a:cubicBezTo>
                  <a:cubicBezTo>
                    <a:pt x="19019" y="306955"/>
                    <a:pt x="18510" y="311683"/>
                    <a:pt x="20325" y="315750"/>
                  </a:cubicBezTo>
                  <a:cubicBezTo>
                    <a:pt x="23849" y="323275"/>
                    <a:pt x="34136" y="327371"/>
                    <a:pt x="56044" y="329847"/>
                  </a:cubicBezTo>
                  <a:cubicBezTo>
                    <a:pt x="63061" y="330687"/>
                    <a:pt x="70122" y="331100"/>
                    <a:pt x="77189" y="331085"/>
                  </a:cubicBezTo>
                  <a:cubicBezTo>
                    <a:pt x="112985" y="331167"/>
                    <a:pt x="148043" y="320914"/>
                    <a:pt x="178154" y="301558"/>
                  </a:cubicBezTo>
                  <a:cubicBezTo>
                    <a:pt x="190390" y="293258"/>
                    <a:pt x="202038" y="284124"/>
                    <a:pt x="213016" y="274221"/>
                  </a:cubicBezTo>
                  <a:cubicBezTo>
                    <a:pt x="217683" y="278603"/>
                    <a:pt x="222541" y="282508"/>
                    <a:pt x="225398" y="284699"/>
                  </a:cubicBezTo>
                  <a:lnTo>
                    <a:pt x="226446" y="285556"/>
                  </a:lnTo>
                  <a:cubicBezTo>
                    <a:pt x="244823" y="300843"/>
                    <a:pt x="267078" y="310734"/>
                    <a:pt x="290740" y="314131"/>
                  </a:cubicBezTo>
                  <a:cubicBezTo>
                    <a:pt x="301408" y="315369"/>
                    <a:pt x="304837" y="309559"/>
                    <a:pt x="305789" y="306987"/>
                  </a:cubicBezTo>
                  <a:cubicBezTo>
                    <a:pt x="309028" y="297938"/>
                    <a:pt x="298741" y="286413"/>
                    <a:pt x="294645" y="283460"/>
                  </a:cubicBezTo>
                  <a:close/>
                  <a:moveTo>
                    <a:pt x="76237" y="274983"/>
                  </a:moveTo>
                  <a:cubicBezTo>
                    <a:pt x="114891" y="275085"/>
                    <a:pt x="151637" y="258193"/>
                    <a:pt x="176725" y="228787"/>
                  </a:cubicBezTo>
                  <a:cubicBezTo>
                    <a:pt x="199585" y="201736"/>
                    <a:pt x="218159" y="162112"/>
                    <a:pt x="201586" y="133537"/>
                  </a:cubicBezTo>
                  <a:cubicBezTo>
                    <a:pt x="190585" y="114748"/>
                    <a:pt x="167394" y="106977"/>
                    <a:pt x="147293" y="115344"/>
                  </a:cubicBezTo>
                  <a:cubicBezTo>
                    <a:pt x="130243" y="122678"/>
                    <a:pt x="125957" y="136585"/>
                    <a:pt x="121671" y="150110"/>
                  </a:cubicBezTo>
                  <a:lnTo>
                    <a:pt x="121671" y="151730"/>
                  </a:lnTo>
                  <a:cubicBezTo>
                    <a:pt x="115445" y="177194"/>
                    <a:pt x="90203" y="193180"/>
                    <a:pt x="64521" y="187925"/>
                  </a:cubicBezTo>
                  <a:cubicBezTo>
                    <a:pt x="62466" y="187679"/>
                    <a:pt x="60429" y="187297"/>
                    <a:pt x="58425" y="186782"/>
                  </a:cubicBezTo>
                  <a:cubicBezTo>
                    <a:pt x="33184" y="181829"/>
                    <a:pt x="16991" y="180305"/>
                    <a:pt x="8800" y="187544"/>
                  </a:cubicBezTo>
                  <a:cubicBezTo>
                    <a:pt x="5574" y="190349"/>
                    <a:pt x="3876" y="194523"/>
                    <a:pt x="4228" y="198783"/>
                  </a:cubicBezTo>
                  <a:cubicBezTo>
                    <a:pt x="5466" y="216119"/>
                    <a:pt x="33565" y="217833"/>
                    <a:pt x="59854" y="217833"/>
                  </a:cubicBezTo>
                  <a:lnTo>
                    <a:pt x="64330" y="217833"/>
                  </a:lnTo>
                  <a:cubicBezTo>
                    <a:pt x="104907" y="219262"/>
                    <a:pt x="133768" y="203927"/>
                    <a:pt x="145388" y="174399"/>
                  </a:cubicBezTo>
                  <a:cubicBezTo>
                    <a:pt x="146563" y="170623"/>
                    <a:pt x="147486" y="166773"/>
                    <a:pt x="148150" y="162874"/>
                  </a:cubicBezTo>
                  <a:cubicBezTo>
                    <a:pt x="151389" y="150491"/>
                    <a:pt x="153961" y="142871"/>
                    <a:pt x="161771" y="141347"/>
                  </a:cubicBezTo>
                  <a:cubicBezTo>
                    <a:pt x="164649" y="140677"/>
                    <a:pt x="167675" y="141381"/>
                    <a:pt x="169963" y="143252"/>
                  </a:cubicBezTo>
                  <a:cubicBezTo>
                    <a:pt x="174439" y="147703"/>
                    <a:pt x="176885" y="153801"/>
                    <a:pt x="176725" y="160112"/>
                  </a:cubicBezTo>
                  <a:cubicBezTo>
                    <a:pt x="176725" y="189639"/>
                    <a:pt x="149674" y="219833"/>
                    <a:pt x="124243" y="233264"/>
                  </a:cubicBezTo>
                  <a:cubicBezTo>
                    <a:pt x="110577" y="240631"/>
                    <a:pt x="95286" y="244462"/>
                    <a:pt x="79761" y="244408"/>
                  </a:cubicBezTo>
                  <a:cubicBezTo>
                    <a:pt x="68542" y="244459"/>
                    <a:pt x="57355" y="243213"/>
                    <a:pt x="46423" y="240693"/>
                  </a:cubicBezTo>
                  <a:cubicBezTo>
                    <a:pt x="36156" y="237734"/>
                    <a:pt x="25378" y="236988"/>
                    <a:pt x="14800" y="238502"/>
                  </a:cubicBezTo>
                  <a:cubicBezTo>
                    <a:pt x="10609" y="239645"/>
                    <a:pt x="-725" y="242789"/>
                    <a:pt x="37" y="252218"/>
                  </a:cubicBezTo>
                  <a:cubicBezTo>
                    <a:pt x="37" y="256314"/>
                    <a:pt x="1180" y="267268"/>
                    <a:pt x="61663" y="274221"/>
                  </a:cubicBezTo>
                  <a:cubicBezTo>
                    <a:pt x="66807" y="274697"/>
                    <a:pt x="71950" y="274983"/>
                    <a:pt x="76237" y="274983"/>
                  </a:cubicBezTo>
                  <a:close/>
                </a:path>
              </a:pathLst>
            </a:custGeom>
            <a:solidFill>
              <a:schemeClr val="bg1"/>
            </a:solidFill>
            <a:ln w="9525" cap="flat">
              <a:noFill/>
              <a:prstDash val="solid"/>
              <a:miter/>
            </a:ln>
          </p:spPr>
          <p:txBody>
            <a:bodyPr rtlCol="0" anchor="ctr"/>
            <a:lstStyle/>
            <a:p>
              <a:endParaRPr lang="fr-FR"/>
            </a:p>
          </p:txBody>
        </p:sp>
      </p:grpSp>
      <p:grpSp>
        <p:nvGrpSpPr>
          <p:cNvPr id="4" name="Group 3">
            <a:extLst>
              <a:ext uri="{FF2B5EF4-FFF2-40B4-BE49-F238E27FC236}">
                <a16:creationId xmlns:a16="http://schemas.microsoft.com/office/drawing/2014/main" id="{6A683E8E-ABAA-4A53-8CAB-7F6CD8767237}"/>
              </a:ext>
              <a:ext uri="{C183D7F6-B498-43B3-948B-1728B52AA6E4}">
                <adec:decorative xmlns:adec="http://schemas.microsoft.com/office/drawing/2017/decorative" val="1"/>
              </a:ext>
            </a:extLst>
          </p:cNvPr>
          <p:cNvGrpSpPr/>
          <p:nvPr/>
        </p:nvGrpSpPr>
        <p:grpSpPr>
          <a:xfrm>
            <a:off x="10039552" y="4941168"/>
            <a:ext cx="667043" cy="628652"/>
            <a:chOff x="10462335" y="2454081"/>
            <a:chExt cx="667043" cy="628652"/>
          </a:xfrm>
        </p:grpSpPr>
        <p:sp>
          <p:nvSpPr>
            <p:cNvPr id="743" name="Freeform 520">
              <a:extLst>
                <a:ext uri="{FF2B5EF4-FFF2-40B4-BE49-F238E27FC236}">
                  <a16:creationId xmlns:a16="http://schemas.microsoft.com/office/drawing/2014/main" id="{93A5EFE2-6863-498A-9DB1-CD7B664CB3FF}"/>
                </a:ext>
              </a:extLst>
            </p:cNvPr>
            <p:cNvSpPr>
              <a:spLocks/>
            </p:cNvSpPr>
            <p:nvPr/>
          </p:nvSpPr>
          <p:spPr bwMode="auto">
            <a:xfrm>
              <a:off x="10462335" y="2454081"/>
              <a:ext cx="667043" cy="628652"/>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nvGrpSpPr>
            <p:cNvPr id="5" name="Group 4">
              <a:extLst>
                <a:ext uri="{FF2B5EF4-FFF2-40B4-BE49-F238E27FC236}">
                  <a16:creationId xmlns:a16="http://schemas.microsoft.com/office/drawing/2014/main" id="{AB3092DF-4439-42F8-86DD-FA4F53BC856D}"/>
                </a:ext>
              </a:extLst>
            </p:cNvPr>
            <p:cNvGrpSpPr>
              <a:grpSpLocks noChangeAspect="1"/>
            </p:cNvGrpSpPr>
            <p:nvPr/>
          </p:nvGrpSpPr>
          <p:grpSpPr>
            <a:xfrm>
              <a:off x="10623550" y="2621208"/>
              <a:ext cx="323999" cy="329969"/>
              <a:chOff x="5633736" y="2217824"/>
              <a:chExt cx="410361" cy="417921"/>
            </a:xfrm>
          </p:grpSpPr>
          <p:sp>
            <p:nvSpPr>
              <p:cNvPr id="730" name="Freeform 29">
                <a:extLst>
                  <a:ext uri="{FF2B5EF4-FFF2-40B4-BE49-F238E27FC236}">
                    <a16:creationId xmlns:a16="http://schemas.microsoft.com/office/drawing/2014/main" id="{714E8944-E7BA-4CC8-9A66-09FF87A35C32}"/>
                  </a:ext>
                </a:extLst>
              </p:cNvPr>
              <p:cNvSpPr/>
              <p:nvPr/>
            </p:nvSpPr>
            <p:spPr>
              <a:xfrm>
                <a:off x="5705320" y="2369549"/>
                <a:ext cx="92918" cy="119439"/>
              </a:xfrm>
              <a:custGeom>
                <a:avLst/>
                <a:gdLst>
                  <a:gd name="connsiteX0" fmla="*/ 75001 w 89834"/>
                  <a:gd name="connsiteY0" fmla="*/ 18612 h 114897"/>
                  <a:gd name="connsiteX1" fmla="*/ 12898 w 89834"/>
                  <a:gd name="connsiteY1" fmla="*/ 15469 h 114897"/>
                  <a:gd name="connsiteX2" fmla="*/ 13756 w 89834"/>
                  <a:gd name="connsiteY2" fmla="*/ 97575 h 114897"/>
                  <a:gd name="connsiteX3" fmla="*/ 67497 w 89834"/>
                  <a:gd name="connsiteY3" fmla="*/ 108419 h 114897"/>
                  <a:gd name="connsiteX4" fmla="*/ 77954 w 89834"/>
                  <a:gd name="connsiteY4" fmla="*/ 98146 h 114897"/>
                  <a:gd name="connsiteX5" fmla="*/ 75001 w 89834"/>
                  <a:gd name="connsiteY5" fmla="*/ 18612 h 114897"/>
                  <a:gd name="connsiteX6" fmla="*/ 65476 w 89834"/>
                  <a:gd name="connsiteY6" fmla="*/ 83287 h 114897"/>
                  <a:gd name="connsiteX7" fmla="*/ 37421 w 89834"/>
                  <a:gd name="connsiteY7" fmla="*/ 91962 h 114897"/>
                  <a:gd name="connsiteX8" fmla="*/ 30424 w 89834"/>
                  <a:gd name="connsiteY8" fmla="*/ 85954 h 114897"/>
                  <a:gd name="connsiteX9" fmla="*/ 25281 w 89834"/>
                  <a:gd name="connsiteY9" fmla="*/ 41091 h 114897"/>
                  <a:gd name="connsiteX10" fmla="*/ 63381 w 89834"/>
                  <a:gd name="connsiteY10" fmla="*/ 33186 h 114897"/>
                  <a:gd name="connsiteX11" fmla="*/ 65191 w 89834"/>
                  <a:gd name="connsiteY11" fmla="*/ 83287 h 11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834" h="114897">
                    <a:moveTo>
                      <a:pt x="75001" y="18612"/>
                    </a:moveTo>
                    <a:cubicBezTo>
                      <a:pt x="56999" y="-4152"/>
                      <a:pt x="30329" y="-7010"/>
                      <a:pt x="12898" y="15469"/>
                    </a:cubicBezTo>
                    <a:cubicBezTo>
                      <a:pt x="-4610" y="40141"/>
                      <a:pt x="-4264" y="73274"/>
                      <a:pt x="13756" y="97575"/>
                    </a:cubicBezTo>
                    <a:cubicBezTo>
                      <a:pt x="25601" y="115409"/>
                      <a:pt x="49662" y="120265"/>
                      <a:pt x="67497" y="108419"/>
                    </a:cubicBezTo>
                    <a:cubicBezTo>
                      <a:pt x="71604" y="105691"/>
                      <a:pt x="75153" y="102204"/>
                      <a:pt x="77954" y="98146"/>
                    </a:cubicBezTo>
                    <a:cubicBezTo>
                      <a:pt x="94828" y="73946"/>
                      <a:pt x="93623" y="41494"/>
                      <a:pt x="75001" y="18612"/>
                    </a:cubicBezTo>
                    <a:moveTo>
                      <a:pt x="65476" y="83287"/>
                    </a:moveTo>
                    <a:cubicBezTo>
                      <a:pt x="60125" y="93430"/>
                      <a:pt x="47564" y="97314"/>
                      <a:pt x="37421" y="91962"/>
                    </a:cubicBezTo>
                    <a:cubicBezTo>
                      <a:pt x="34668" y="90509"/>
                      <a:pt x="32277" y="88456"/>
                      <a:pt x="30424" y="85954"/>
                    </a:cubicBezTo>
                    <a:cubicBezTo>
                      <a:pt x="20042" y="73310"/>
                      <a:pt x="18030" y="55757"/>
                      <a:pt x="25281" y="41091"/>
                    </a:cubicBezTo>
                    <a:cubicBezTo>
                      <a:pt x="34806" y="18136"/>
                      <a:pt x="52618" y="22041"/>
                      <a:pt x="63381" y="33186"/>
                    </a:cubicBezTo>
                    <a:cubicBezTo>
                      <a:pt x="74144" y="44330"/>
                      <a:pt x="74049" y="69285"/>
                      <a:pt x="65191" y="83287"/>
                    </a:cubicBezTo>
                  </a:path>
                </a:pathLst>
              </a:custGeom>
              <a:solidFill>
                <a:srgbClr val="FFFFFF"/>
              </a:solidFill>
              <a:ln w="9525" cap="flat">
                <a:noFill/>
                <a:prstDash val="solid"/>
                <a:miter/>
              </a:ln>
            </p:spPr>
            <p:txBody>
              <a:bodyPr rtlCol="0" anchor="ctr"/>
              <a:lstStyle/>
              <a:p>
                <a:endParaRPr lang="fr-FR"/>
              </a:p>
            </p:txBody>
          </p:sp>
          <p:sp>
            <p:nvSpPr>
              <p:cNvPr id="731" name="Freeform 30">
                <a:extLst>
                  <a:ext uri="{FF2B5EF4-FFF2-40B4-BE49-F238E27FC236}">
                    <a16:creationId xmlns:a16="http://schemas.microsoft.com/office/drawing/2014/main" id="{4F69EC6F-FC18-4813-BABA-0CF03DB5565D}"/>
                  </a:ext>
                </a:extLst>
              </p:cNvPr>
              <p:cNvSpPr/>
              <p:nvPr/>
            </p:nvSpPr>
            <p:spPr>
              <a:xfrm>
                <a:off x="5951227" y="2369549"/>
                <a:ext cx="92870" cy="119433"/>
              </a:xfrm>
              <a:custGeom>
                <a:avLst/>
                <a:gdLst>
                  <a:gd name="connsiteX0" fmla="*/ 75097 w 89787"/>
                  <a:gd name="connsiteY0" fmla="*/ 18612 h 114892"/>
                  <a:gd name="connsiteX1" fmla="*/ 12898 w 89787"/>
                  <a:gd name="connsiteY1" fmla="*/ 15469 h 114892"/>
                  <a:gd name="connsiteX2" fmla="*/ 13756 w 89787"/>
                  <a:gd name="connsiteY2" fmla="*/ 97575 h 114892"/>
                  <a:gd name="connsiteX3" fmla="*/ 67645 w 89787"/>
                  <a:gd name="connsiteY3" fmla="*/ 108368 h 114892"/>
                  <a:gd name="connsiteX4" fmla="*/ 78049 w 89787"/>
                  <a:gd name="connsiteY4" fmla="*/ 98146 h 114892"/>
                  <a:gd name="connsiteX5" fmla="*/ 75097 w 89787"/>
                  <a:gd name="connsiteY5" fmla="*/ 18612 h 114892"/>
                  <a:gd name="connsiteX6" fmla="*/ 65572 w 89787"/>
                  <a:gd name="connsiteY6" fmla="*/ 83287 h 114892"/>
                  <a:gd name="connsiteX7" fmla="*/ 37517 w 89787"/>
                  <a:gd name="connsiteY7" fmla="*/ 91962 h 114892"/>
                  <a:gd name="connsiteX8" fmla="*/ 30520 w 89787"/>
                  <a:gd name="connsiteY8" fmla="*/ 85954 h 114892"/>
                  <a:gd name="connsiteX9" fmla="*/ 25376 w 89787"/>
                  <a:gd name="connsiteY9" fmla="*/ 41091 h 114892"/>
                  <a:gd name="connsiteX10" fmla="*/ 63476 w 89787"/>
                  <a:gd name="connsiteY10" fmla="*/ 33186 h 114892"/>
                  <a:gd name="connsiteX11" fmla="*/ 65191 w 89787"/>
                  <a:gd name="connsiteY11" fmla="*/ 83287 h 11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787" h="114892">
                    <a:moveTo>
                      <a:pt x="75097" y="18612"/>
                    </a:moveTo>
                    <a:cubicBezTo>
                      <a:pt x="57094" y="-4152"/>
                      <a:pt x="30424" y="-7010"/>
                      <a:pt x="12898" y="15469"/>
                    </a:cubicBezTo>
                    <a:cubicBezTo>
                      <a:pt x="-4610" y="40141"/>
                      <a:pt x="-4264" y="73274"/>
                      <a:pt x="13756" y="97575"/>
                    </a:cubicBezTo>
                    <a:cubicBezTo>
                      <a:pt x="25656" y="115436"/>
                      <a:pt x="49783" y="120268"/>
                      <a:pt x="67645" y="108368"/>
                    </a:cubicBezTo>
                    <a:cubicBezTo>
                      <a:pt x="71727" y="105648"/>
                      <a:pt x="75257" y="102179"/>
                      <a:pt x="78049" y="98146"/>
                    </a:cubicBezTo>
                    <a:cubicBezTo>
                      <a:pt x="94731" y="73890"/>
                      <a:pt x="93531" y="41565"/>
                      <a:pt x="75097" y="18612"/>
                    </a:cubicBezTo>
                    <a:moveTo>
                      <a:pt x="65572" y="83287"/>
                    </a:moveTo>
                    <a:cubicBezTo>
                      <a:pt x="60220" y="93430"/>
                      <a:pt x="47659" y="97314"/>
                      <a:pt x="37517" y="91962"/>
                    </a:cubicBezTo>
                    <a:cubicBezTo>
                      <a:pt x="34763" y="90509"/>
                      <a:pt x="32372" y="88456"/>
                      <a:pt x="30520" y="85954"/>
                    </a:cubicBezTo>
                    <a:cubicBezTo>
                      <a:pt x="20184" y="73291"/>
                      <a:pt x="18174" y="55766"/>
                      <a:pt x="25376" y="41091"/>
                    </a:cubicBezTo>
                    <a:cubicBezTo>
                      <a:pt x="34901" y="18136"/>
                      <a:pt x="52713" y="22041"/>
                      <a:pt x="63476" y="33186"/>
                    </a:cubicBezTo>
                    <a:cubicBezTo>
                      <a:pt x="74239" y="44330"/>
                      <a:pt x="74049" y="69285"/>
                      <a:pt x="65191" y="83287"/>
                    </a:cubicBezTo>
                  </a:path>
                </a:pathLst>
              </a:custGeom>
              <a:solidFill>
                <a:srgbClr val="FFFFFF"/>
              </a:solidFill>
              <a:ln w="9525" cap="flat">
                <a:noFill/>
                <a:prstDash val="solid"/>
                <a:miter/>
              </a:ln>
            </p:spPr>
            <p:txBody>
              <a:bodyPr rtlCol="0" anchor="ctr"/>
              <a:lstStyle/>
              <a:p>
                <a:endParaRPr lang="fr-FR"/>
              </a:p>
            </p:txBody>
          </p:sp>
          <p:sp>
            <p:nvSpPr>
              <p:cNvPr id="732" name="Freeform 31">
                <a:extLst>
                  <a:ext uri="{FF2B5EF4-FFF2-40B4-BE49-F238E27FC236}">
                    <a16:creationId xmlns:a16="http://schemas.microsoft.com/office/drawing/2014/main" id="{B46FA84B-48F2-498A-9855-706B4538F818}"/>
                  </a:ext>
                </a:extLst>
              </p:cNvPr>
              <p:cNvSpPr/>
              <p:nvPr/>
            </p:nvSpPr>
            <p:spPr>
              <a:xfrm>
                <a:off x="5633736" y="2370898"/>
                <a:ext cx="45352" cy="114911"/>
              </a:xfrm>
              <a:custGeom>
                <a:avLst/>
                <a:gdLst>
                  <a:gd name="connsiteX0" fmla="*/ 41816 w 43847"/>
                  <a:gd name="connsiteY0" fmla="*/ 108088 h 110542"/>
                  <a:gd name="connsiteX1" fmla="*/ 20956 w 43847"/>
                  <a:gd name="connsiteY1" fmla="*/ 108088 h 110542"/>
                  <a:gd name="connsiteX2" fmla="*/ 19146 w 43847"/>
                  <a:gd name="connsiteY2" fmla="*/ 22839 h 110542"/>
                  <a:gd name="connsiteX3" fmla="*/ 96 w 43847"/>
                  <a:gd name="connsiteY3" fmla="*/ 22839 h 110542"/>
                  <a:gd name="connsiteX4" fmla="*/ 1811 w 43847"/>
                  <a:gd name="connsiteY4" fmla="*/ 2836 h 110542"/>
                  <a:gd name="connsiteX5" fmla="*/ 41816 w 43847"/>
                  <a:gd name="connsiteY5" fmla="*/ 2836 h 110542"/>
                  <a:gd name="connsiteX6" fmla="*/ 41816 w 43847"/>
                  <a:gd name="connsiteY6" fmla="*/ 107611 h 11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47" h="110542">
                    <a:moveTo>
                      <a:pt x="41816" y="108088"/>
                    </a:moveTo>
                    <a:cubicBezTo>
                      <a:pt x="37244" y="113612"/>
                      <a:pt x="20956" y="108088"/>
                      <a:pt x="20956" y="108088"/>
                    </a:cubicBezTo>
                    <a:cubicBezTo>
                      <a:pt x="20956" y="108088"/>
                      <a:pt x="18956" y="54081"/>
                      <a:pt x="19146" y="22839"/>
                    </a:cubicBezTo>
                    <a:cubicBezTo>
                      <a:pt x="19146" y="20553"/>
                      <a:pt x="96" y="24934"/>
                      <a:pt x="96" y="22839"/>
                    </a:cubicBezTo>
                    <a:cubicBezTo>
                      <a:pt x="-247" y="16124"/>
                      <a:pt x="330" y="9394"/>
                      <a:pt x="1811" y="2836"/>
                    </a:cubicBezTo>
                    <a:cubicBezTo>
                      <a:pt x="5906" y="-3545"/>
                      <a:pt x="41816" y="2836"/>
                      <a:pt x="41816" y="2836"/>
                    </a:cubicBezTo>
                    <a:cubicBezTo>
                      <a:pt x="41816" y="2836"/>
                      <a:pt x="46388" y="102563"/>
                      <a:pt x="41816" y="107611"/>
                    </a:cubicBezTo>
                  </a:path>
                </a:pathLst>
              </a:custGeom>
              <a:solidFill>
                <a:srgbClr val="FFFFFF"/>
              </a:solidFill>
              <a:ln w="9525" cap="flat">
                <a:noFill/>
                <a:prstDash val="solid"/>
                <a:miter/>
              </a:ln>
            </p:spPr>
            <p:txBody>
              <a:bodyPr rtlCol="0" anchor="ctr"/>
              <a:lstStyle/>
              <a:p>
                <a:endParaRPr lang="fr-FR"/>
              </a:p>
            </p:txBody>
          </p:sp>
          <p:sp>
            <p:nvSpPr>
              <p:cNvPr id="733" name="Freeform 32">
                <a:extLst>
                  <a:ext uri="{FF2B5EF4-FFF2-40B4-BE49-F238E27FC236}">
                    <a16:creationId xmlns:a16="http://schemas.microsoft.com/office/drawing/2014/main" id="{42823B6E-ADD3-4D8E-BA60-A868F81F0F5F}"/>
                  </a:ext>
                </a:extLst>
              </p:cNvPr>
              <p:cNvSpPr/>
              <p:nvPr/>
            </p:nvSpPr>
            <p:spPr>
              <a:xfrm>
                <a:off x="5809496" y="2370898"/>
                <a:ext cx="45407" cy="114911"/>
              </a:xfrm>
              <a:custGeom>
                <a:avLst/>
                <a:gdLst>
                  <a:gd name="connsiteX0" fmla="*/ 41911 w 43900"/>
                  <a:gd name="connsiteY0" fmla="*/ 108088 h 110542"/>
                  <a:gd name="connsiteX1" fmla="*/ 20956 w 43900"/>
                  <a:gd name="connsiteY1" fmla="*/ 108088 h 110542"/>
                  <a:gd name="connsiteX2" fmla="*/ 19146 w 43900"/>
                  <a:gd name="connsiteY2" fmla="*/ 22839 h 110542"/>
                  <a:gd name="connsiteX3" fmla="*/ 96 w 43900"/>
                  <a:gd name="connsiteY3" fmla="*/ 22839 h 110542"/>
                  <a:gd name="connsiteX4" fmla="*/ 1811 w 43900"/>
                  <a:gd name="connsiteY4" fmla="*/ 2836 h 110542"/>
                  <a:gd name="connsiteX5" fmla="*/ 41911 w 43900"/>
                  <a:gd name="connsiteY5" fmla="*/ 2836 h 110542"/>
                  <a:gd name="connsiteX6" fmla="*/ 41911 w 43900"/>
                  <a:gd name="connsiteY6" fmla="*/ 107611 h 11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00" h="110542">
                    <a:moveTo>
                      <a:pt x="41911" y="108088"/>
                    </a:moveTo>
                    <a:cubicBezTo>
                      <a:pt x="37339" y="113612"/>
                      <a:pt x="20956" y="108088"/>
                      <a:pt x="20956" y="108088"/>
                    </a:cubicBezTo>
                    <a:cubicBezTo>
                      <a:pt x="20956" y="108088"/>
                      <a:pt x="19051" y="54081"/>
                      <a:pt x="19146" y="22839"/>
                    </a:cubicBezTo>
                    <a:cubicBezTo>
                      <a:pt x="19146" y="20553"/>
                      <a:pt x="96" y="24934"/>
                      <a:pt x="96" y="22839"/>
                    </a:cubicBezTo>
                    <a:cubicBezTo>
                      <a:pt x="-247" y="16124"/>
                      <a:pt x="330" y="9394"/>
                      <a:pt x="1811" y="2836"/>
                    </a:cubicBezTo>
                    <a:cubicBezTo>
                      <a:pt x="5906" y="-3545"/>
                      <a:pt x="41911" y="2836"/>
                      <a:pt x="41911" y="2836"/>
                    </a:cubicBezTo>
                    <a:cubicBezTo>
                      <a:pt x="41911" y="2836"/>
                      <a:pt x="46388" y="102563"/>
                      <a:pt x="41911" y="107611"/>
                    </a:cubicBezTo>
                  </a:path>
                </a:pathLst>
              </a:custGeom>
              <a:solidFill>
                <a:srgbClr val="FFFFFF"/>
              </a:solidFill>
              <a:ln w="9525" cap="flat">
                <a:noFill/>
                <a:prstDash val="solid"/>
                <a:miter/>
              </a:ln>
            </p:spPr>
            <p:txBody>
              <a:bodyPr rtlCol="0" anchor="ctr"/>
              <a:lstStyle/>
              <a:p>
                <a:endParaRPr lang="fr-FR"/>
              </a:p>
            </p:txBody>
          </p:sp>
          <p:sp>
            <p:nvSpPr>
              <p:cNvPr id="734" name="Freeform 33">
                <a:extLst>
                  <a:ext uri="{FF2B5EF4-FFF2-40B4-BE49-F238E27FC236}">
                    <a16:creationId xmlns:a16="http://schemas.microsoft.com/office/drawing/2014/main" id="{78F3138A-B71B-442A-8CB8-359F8B11B676}"/>
                  </a:ext>
                </a:extLst>
              </p:cNvPr>
              <p:cNvSpPr/>
              <p:nvPr/>
            </p:nvSpPr>
            <p:spPr>
              <a:xfrm>
                <a:off x="5876786" y="2370898"/>
                <a:ext cx="45407" cy="114911"/>
              </a:xfrm>
              <a:custGeom>
                <a:avLst/>
                <a:gdLst>
                  <a:gd name="connsiteX0" fmla="*/ 41816 w 43900"/>
                  <a:gd name="connsiteY0" fmla="*/ 108088 h 110542"/>
                  <a:gd name="connsiteX1" fmla="*/ 20956 w 43900"/>
                  <a:gd name="connsiteY1" fmla="*/ 108088 h 110542"/>
                  <a:gd name="connsiteX2" fmla="*/ 19146 w 43900"/>
                  <a:gd name="connsiteY2" fmla="*/ 22839 h 110542"/>
                  <a:gd name="connsiteX3" fmla="*/ 96 w 43900"/>
                  <a:gd name="connsiteY3" fmla="*/ 22839 h 110542"/>
                  <a:gd name="connsiteX4" fmla="*/ 1811 w 43900"/>
                  <a:gd name="connsiteY4" fmla="*/ 2836 h 110542"/>
                  <a:gd name="connsiteX5" fmla="*/ 41911 w 43900"/>
                  <a:gd name="connsiteY5" fmla="*/ 2836 h 110542"/>
                  <a:gd name="connsiteX6" fmla="*/ 41911 w 43900"/>
                  <a:gd name="connsiteY6" fmla="*/ 107611 h 11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00" h="110542">
                    <a:moveTo>
                      <a:pt x="41816" y="108088"/>
                    </a:moveTo>
                    <a:cubicBezTo>
                      <a:pt x="37244" y="113612"/>
                      <a:pt x="20956" y="108088"/>
                      <a:pt x="20956" y="108088"/>
                    </a:cubicBezTo>
                    <a:cubicBezTo>
                      <a:pt x="20956" y="108088"/>
                      <a:pt x="18956" y="54081"/>
                      <a:pt x="19146" y="22839"/>
                    </a:cubicBezTo>
                    <a:cubicBezTo>
                      <a:pt x="19146" y="20553"/>
                      <a:pt x="96" y="24934"/>
                      <a:pt x="96" y="22839"/>
                    </a:cubicBezTo>
                    <a:cubicBezTo>
                      <a:pt x="-247" y="16124"/>
                      <a:pt x="330" y="9394"/>
                      <a:pt x="1811" y="2836"/>
                    </a:cubicBezTo>
                    <a:cubicBezTo>
                      <a:pt x="5906" y="-3545"/>
                      <a:pt x="41911" y="2836"/>
                      <a:pt x="41911" y="2836"/>
                    </a:cubicBezTo>
                    <a:cubicBezTo>
                      <a:pt x="41911" y="2836"/>
                      <a:pt x="46388" y="102563"/>
                      <a:pt x="41911" y="107611"/>
                    </a:cubicBezTo>
                  </a:path>
                </a:pathLst>
              </a:custGeom>
              <a:solidFill>
                <a:srgbClr val="FFFFFF"/>
              </a:solidFill>
              <a:ln w="9525" cap="flat">
                <a:noFill/>
                <a:prstDash val="solid"/>
                <a:miter/>
              </a:ln>
            </p:spPr>
            <p:txBody>
              <a:bodyPr rtlCol="0" anchor="ctr"/>
              <a:lstStyle/>
              <a:p>
                <a:endParaRPr lang="fr-FR"/>
              </a:p>
            </p:txBody>
          </p:sp>
          <p:sp>
            <p:nvSpPr>
              <p:cNvPr id="735" name="Freeform 34">
                <a:extLst>
                  <a:ext uri="{FF2B5EF4-FFF2-40B4-BE49-F238E27FC236}">
                    <a16:creationId xmlns:a16="http://schemas.microsoft.com/office/drawing/2014/main" id="{6A748707-63F6-4EAA-8A32-87EFFB45730C}"/>
                  </a:ext>
                </a:extLst>
              </p:cNvPr>
              <p:cNvSpPr/>
              <p:nvPr/>
            </p:nvSpPr>
            <p:spPr>
              <a:xfrm>
                <a:off x="5701622" y="2217824"/>
                <a:ext cx="92823" cy="119469"/>
              </a:xfrm>
              <a:custGeom>
                <a:avLst/>
                <a:gdLst>
                  <a:gd name="connsiteX0" fmla="*/ 75052 w 89742"/>
                  <a:gd name="connsiteY0" fmla="*/ 18646 h 114926"/>
                  <a:gd name="connsiteX1" fmla="*/ 12854 w 89742"/>
                  <a:gd name="connsiteY1" fmla="*/ 15502 h 114926"/>
                  <a:gd name="connsiteX2" fmla="*/ 13711 w 89742"/>
                  <a:gd name="connsiteY2" fmla="*/ 97608 h 114926"/>
                  <a:gd name="connsiteX3" fmla="*/ 67600 w 89742"/>
                  <a:gd name="connsiteY3" fmla="*/ 108401 h 114926"/>
                  <a:gd name="connsiteX4" fmla="*/ 78005 w 89742"/>
                  <a:gd name="connsiteY4" fmla="*/ 98179 h 114926"/>
                  <a:gd name="connsiteX5" fmla="*/ 75052 w 89742"/>
                  <a:gd name="connsiteY5" fmla="*/ 18646 h 114926"/>
                  <a:gd name="connsiteX6" fmla="*/ 65527 w 89742"/>
                  <a:gd name="connsiteY6" fmla="*/ 83320 h 114926"/>
                  <a:gd name="connsiteX7" fmla="*/ 37629 w 89742"/>
                  <a:gd name="connsiteY7" fmla="*/ 92045 h 114926"/>
                  <a:gd name="connsiteX8" fmla="*/ 30570 w 89742"/>
                  <a:gd name="connsiteY8" fmla="*/ 85987 h 114926"/>
                  <a:gd name="connsiteX9" fmla="*/ 25427 w 89742"/>
                  <a:gd name="connsiteY9" fmla="*/ 41125 h 114926"/>
                  <a:gd name="connsiteX10" fmla="*/ 63527 w 89742"/>
                  <a:gd name="connsiteY10" fmla="*/ 33124 h 114926"/>
                  <a:gd name="connsiteX11" fmla="*/ 65241 w 89742"/>
                  <a:gd name="connsiteY11" fmla="*/ 83320 h 11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742" h="114926">
                    <a:moveTo>
                      <a:pt x="75052" y="18646"/>
                    </a:moveTo>
                    <a:cubicBezTo>
                      <a:pt x="57050" y="-4214"/>
                      <a:pt x="30380" y="-6977"/>
                      <a:pt x="12854" y="15502"/>
                    </a:cubicBezTo>
                    <a:cubicBezTo>
                      <a:pt x="-4595" y="40193"/>
                      <a:pt x="-4250" y="73288"/>
                      <a:pt x="13711" y="97608"/>
                    </a:cubicBezTo>
                    <a:cubicBezTo>
                      <a:pt x="25612" y="115469"/>
                      <a:pt x="49739" y="120302"/>
                      <a:pt x="67600" y="108401"/>
                    </a:cubicBezTo>
                    <a:cubicBezTo>
                      <a:pt x="71682" y="105681"/>
                      <a:pt x="75213" y="102213"/>
                      <a:pt x="78005" y="98179"/>
                    </a:cubicBezTo>
                    <a:cubicBezTo>
                      <a:pt x="94686" y="73923"/>
                      <a:pt x="93486" y="41598"/>
                      <a:pt x="75052" y="18646"/>
                    </a:cubicBezTo>
                    <a:moveTo>
                      <a:pt x="65527" y="83320"/>
                    </a:moveTo>
                    <a:cubicBezTo>
                      <a:pt x="60232" y="93434"/>
                      <a:pt x="47742" y="97340"/>
                      <a:pt x="37629" y="92045"/>
                    </a:cubicBezTo>
                    <a:cubicBezTo>
                      <a:pt x="34846" y="90588"/>
                      <a:pt x="32432" y="88517"/>
                      <a:pt x="30570" y="85987"/>
                    </a:cubicBezTo>
                    <a:cubicBezTo>
                      <a:pt x="20188" y="73344"/>
                      <a:pt x="18176" y="55790"/>
                      <a:pt x="25427" y="41125"/>
                    </a:cubicBezTo>
                    <a:cubicBezTo>
                      <a:pt x="34952" y="18169"/>
                      <a:pt x="52668" y="21598"/>
                      <a:pt x="63527" y="33124"/>
                    </a:cubicBezTo>
                    <a:cubicBezTo>
                      <a:pt x="74385" y="44649"/>
                      <a:pt x="74195" y="69319"/>
                      <a:pt x="65241" y="83320"/>
                    </a:cubicBezTo>
                  </a:path>
                </a:pathLst>
              </a:custGeom>
              <a:solidFill>
                <a:srgbClr val="FFFFFF"/>
              </a:solidFill>
              <a:ln w="9525" cap="flat">
                <a:noFill/>
                <a:prstDash val="solid"/>
                <a:miter/>
              </a:ln>
            </p:spPr>
            <p:txBody>
              <a:bodyPr rtlCol="0" anchor="ctr"/>
              <a:lstStyle/>
              <a:p>
                <a:endParaRPr lang="fr-FR"/>
              </a:p>
            </p:txBody>
          </p:sp>
          <p:sp>
            <p:nvSpPr>
              <p:cNvPr id="736" name="Freeform 35">
                <a:extLst>
                  <a:ext uri="{FF2B5EF4-FFF2-40B4-BE49-F238E27FC236}">
                    <a16:creationId xmlns:a16="http://schemas.microsoft.com/office/drawing/2014/main" id="{BA7A3405-F351-463B-A098-088E8867B89B}"/>
                  </a:ext>
                </a:extLst>
              </p:cNvPr>
              <p:cNvSpPr/>
              <p:nvPr/>
            </p:nvSpPr>
            <p:spPr>
              <a:xfrm>
                <a:off x="5876354" y="2217824"/>
                <a:ext cx="92818" cy="119473"/>
              </a:xfrm>
              <a:custGeom>
                <a:avLst/>
                <a:gdLst>
                  <a:gd name="connsiteX0" fmla="*/ 75095 w 89737"/>
                  <a:gd name="connsiteY0" fmla="*/ 18646 h 114930"/>
                  <a:gd name="connsiteX1" fmla="*/ 12992 w 89737"/>
                  <a:gd name="connsiteY1" fmla="*/ 15502 h 114930"/>
                  <a:gd name="connsiteX2" fmla="*/ 13658 w 89737"/>
                  <a:gd name="connsiteY2" fmla="*/ 97608 h 114930"/>
                  <a:gd name="connsiteX3" fmla="*/ 67400 w 89737"/>
                  <a:gd name="connsiteY3" fmla="*/ 108452 h 114930"/>
                  <a:gd name="connsiteX4" fmla="*/ 77857 w 89737"/>
                  <a:gd name="connsiteY4" fmla="*/ 98179 h 114930"/>
                  <a:gd name="connsiteX5" fmla="*/ 74904 w 89737"/>
                  <a:gd name="connsiteY5" fmla="*/ 18646 h 114930"/>
                  <a:gd name="connsiteX6" fmla="*/ 65379 w 89737"/>
                  <a:gd name="connsiteY6" fmla="*/ 83320 h 114930"/>
                  <a:gd name="connsiteX7" fmla="*/ 37324 w 89737"/>
                  <a:gd name="connsiteY7" fmla="*/ 91995 h 114930"/>
                  <a:gd name="connsiteX8" fmla="*/ 30327 w 89737"/>
                  <a:gd name="connsiteY8" fmla="*/ 85987 h 114930"/>
                  <a:gd name="connsiteX9" fmla="*/ 25184 w 89737"/>
                  <a:gd name="connsiteY9" fmla="*/ 41125 h 114930"/>
                  <a:gd name="connsiteX10" fmla="*/ 63284 w 89737"/>
                  <a:gd name="connsiteY10" fmla="*/ 33124 h 114930"/>
                  <a:gd name="connsiteX11" fmla="*/ 65093 w 89737"/>
                  <a:gd name="connsiteY11" fmla="*/ 83320 h 11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737" h="114930">
                    <a:moveTo>
                      <a:pt x="75095" y="18646"/>
                    </a:moveTo>
                    <a:cubicBezTo>
                      <a:pt x="57092" y="-4214"/>
                      <a:pt x="30422" y="-6977"/>
                      <a:pt x="12992" y="15502"/>
                    </a:cubicBezTo>
                    <a:cubicBezTo>
                      <a:pt x="-4573" y="40133"/>
                      <a:pt x="-4304" y="73266"/>
                      <a:pt x="13658" y="97608"/>
                    </a:cubicBezTo>
                    <a:cubicBezTo>
                      <a:pt x="25504" y="115443"/>
                      <a:pt x="49565" y="120298"/>
                      <a:pt x="67400" y="108452"/>
                    </a:cubicBezTo>
                    <a:cubicBezTo>
                      <a:pt x="71507" y="105724"/>
                      <a:pt x="75056" y="102238"/>
                      <a:pt x="77857" y="98179"/>
                    </a:cubicBezTo>
                    <a:cubicBezTo>
                      <a:pt x="94731" y="73980"/>
                      <a:pt x="93526" y="41528"/>
                      <a:pt x="74904" y="18646"/>
                    </a:cubicBezTo>
                    <a:moveTo>
                      <a:pt x="65379" y="83320"/>
                    </a:moveTo>
                    <a:cubicBezTo>
                      <a:pt x="60027" y="93463"/>
                      <a:pt x="47467" y="97347"/>
                      <a:pt x="37324" y="91995"/>
                    </a:cubicBezTo>
                    <a:cubicBezTo>
                      <a:pt x="34571" y="90542"/>
                      <a:pt x="32180" y="88489"/>
                      <a:pt x="30327" y="85987"/>
                    </a:cubicBezTo>
                    <a:cubicBezTo>
                      <a:pt x="19945" y="73344"/>
                      <a:pt x="17933" y="55790"/>
                      <a:pt x="25184" y="41125"/>
                    </a:cubicBezTo>
                    <a:cubicBezTo>
                      <a:pt x="34709" y="18169"/>
                      <a:pt x="52520" y="21598"/>
                      <a:pt x="63284" y="33124"/>
                    </a:cubicBezTo>
                    <a:cubicBezTo>
                      <a:pt x="74047" y="44649"/>
                      <a:pt x="73952" y="69319"/>
                      <a:pt x="65093" y="83320"/>
                    </a:cubicBezTo>
                  </a:path>
                </a:pathLst>
              </a:custGeom>
              <a:solidFill>
                <a:srgbClr val="FFFFFF"/>
              </a:solidFill>
              <a:ln w="9525" cap="flat">
                <a:noFill/>
                <a:prstDash val="solid"/>
                <a:miter/>
              </a:ln>
            </p:spPr>
            <p:txBody>
              <a:bodyPr rtlCol="0" anchor="ctr"/>
              <a:lstStyle/>
              <a:p>
                <a:endParaRPr lang="fr-FR"/>
              </a:p>
            </p:txBody>
          </p:sp>
          <p:sp>
            <p:nvSpPr>
              <p:cNvPr id="737" name="Freeform 36">
                <a:extLst>
                  <a:ext uri="{FF2B5EF4-FFF2-40B4-BE49-F238E27FC236}">
                    <a16:creationId xmlns:a16="http://schemas.microsoft.com/office/drawing/2014/main" id="{3E6B59C2-FF25-4914-A943-85CDF6DAA6A9}"/>
                  </a:ext>
                </a:extLst>
              </p:cNvPr>
              <p:cNvSpPr/>
              <p:nvPr/>
            </p:nvSpPr>
            <p:spPr>
              <a:xfrm>
                <a:off x="5891802" y="2516453"/>
                <a:ext cx="92814" cy="119292"/>
              </a:xfrm>
              <a:custGeom>
                <a:avLst/>
                <a:gdLst>
                  <a:gd name="connsiteX0" fmla="*/ 74923 w 89733"/>
                  <a:gd name="connsiteY0" fmla="*/ 18646 h 114756"/>
                  <a:gd name="connsiteX1" fmla="*/ 12725 w 89733"/>
                  <a:gd name="connsiteY1" fmla="*/ 15502 h 114756"/>
                  <a:gd name="connsiteX2" fmla="*/ 13868 w 89733"/>
                  <a:gd name="connsiteY2" fmla="*/ 97513 h 114756"/>
                  <a:gd name="connsiteX3" fmla="*/ 67927 w 89733"/>
                  <a:gd name="connsiteY3" fmla="*/ 108138 h 114756"/>
                  <a:gd name="connsiteX4" fmla="*/ 78161 w 89733"/>
                  <a:gd name="connsiteY4" fmla="*/ 98084 h 114756"/>
                  <a:gd name="connsiteX5" fmla="*/ 74923 w 89733"/>
                  <a:gd name="connsiteY5" fmla="*/ 18646 h 114756"/>
                  <a:gd name="connsiteX6" fmla="*/ 65398 w 89733"/>
                  <a:gd name="connsiteY6" fmla="*/ 83320 h 114756"/>
                  <a:gd name="connsiteX7" fmla="*/ 37152 w 89733"/>
                  <a:gd name="connsiteY7" fmla="*/ 91831 h 114756"/>
                  <a:gd name="connsiteX8" fmla="*/ 30346 w 89733"/>
                  <a:gd name="connsiteY8" fmla="*/ 85987 h 114756"/>
                  <a:gd name="connsiteX9" fmla="*/ 25202 w 89733"/>
                  <a:gd name="connsiteY9" fmla="*/ 41029 h 114756"/>
                  <a:gd name="connsiteX10" fmla="*/ 63302 w 89733"/>
                  <a:gd name="connsiteY10" fmla="*/ 33124 h 114756"/>
                  <a:gd name="connsiteX11" fmla="*/ 65112 w 89733"/>
                  <a:gd name="connsiteY11" fmla="*/ 83320 h 11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733" h="114756">
                    <a:moveTo>
                      <a:pt x="74923" y="18646"/>
                    </a:moveTo>
                    <a:cubicBezTo>
                      <a:pt x="56921" y="-4214"/>
                      <a:pt x="30155" y="-6977"/>
                      <a:pt x="12725" y="15502"/>
                    </a:cubicBezTo>
                    <a:cubicBezTo>
                      <a:pt x="-4653" y="40215"/>
                      <a:pt x="-4192" y="73294"/>
                      <a:pt x="13868" y="97513"/>
                    </a:cubicBezTo>
                    <a:cubicBezTo>
                      <a:pt x="25862" y="115375"/>
                      <a:pt x="50065" y="120132"/>
                      <a:pt x="67927" y="108138"/>
                    </a:cubicBezTo>
                    <a:cubicBezTo>
                      <a:pt x="71932" y="105449"/>
                      <a:pt x="75402" y="102040"/>
                      <a:pt x="78161" y="98084"/>
                    </a:cubicBezTo>
                    <a:cubicBezTo>
                      <a:pt x="94714" y="73787"/>
                      <a:pt x="93398" y="41515"/>
                      <a:pt x="74923" y="18646"/>
                    </a:cubicBezTo>
                    <a:moveTo>
                      <a:pt x="65398" y="83320"/>
                    </a:moveTo>
                    <a:cubicBezTo>
                      <a:pt x="59948" y="93470"/>
                      <a:pt x="47302" y="97281"/>
                      <a:pt x="37152" y="91831"/>
                    </a:cubicBezTo>
                    <a:cubicBezTo>
                      <a:pt x="34486" y="90400"/>
                      <a:pt x="32164" y="88406"/>
                      <a:pt x="30346" y="85987"/>
                    </a:cubicBezTo>
                    <a:cubicBezTo>
                      <a:pt x="20016" y="73285"/>
                      <a:pt x="18008" y="55737"/>
                      <a:pt x="25202" y="41029"/>
                    </a:cubicBezTo>
                    <a:cubicBezTo>
                      <a:pt x="34727" y="18169"/>
                      <a:pt x="52539" y="21979"/>
                      <a:pt x="63302" y="33124"/>
                    </a:cubicBezTo>
                    <a:cubicBezTo>
                      <a:pt x="74066" y="44268"/>
                      <a:pt x="73970" y="69319"/>
                      <a:pt x="65112" y="83320"/>
                    </a:cubicBezTo>
                  </a:path>
                </a:pathLst>
              </a:custGeom>
              <a:solidFill>
                <a:srgbClr val="FFFFFF"/>
              </a:solidFill>
              <a:ln w="9525" cap="flat">
                <a:noFill/>
                <a:prstDash val="solid"/>
                <a:miter/>
              </a:ln>
            </p:spPr>
            <p:txBody>
              <a:bodyPr rtlCol="0" anchor="ctr"/>
              <a:lstStyle/>
              <a:p>
                <a:endParaRPr lang="fr-FR"/>
              </a:p>
            </p:txBody>
          </p:sp>
          <p:sp>
            <p:nvSpPr>
              <p:cNvPr id="738" name="Freeform 37">
                <a:extLst>
                  <a:ext uri="{FF2B5EF4-FFF2-40B4-BE49-F238E27FC236}">
                    <a16:creationId xmlns:a16="http://schemas.microsoft.com/office/drawing/2014/main" id="{599AB80A-F4F7-4EB8-8464-1F4D80EA8343}"/>
                  </a:ext>
                </a:extLst>
              </p:cNvPr>
              <p:cNvSpPr/>
              <p:nvPr/>
            </p:nvSpPr>
            <p:spPr>
              <a:xfrm>
                <a:off x="5810045" y="2218811"/>
                <a:ext cx="45100" cy="115264"/>
              </a:xfrm>
              <a:custGeom>
                <a:avLst/>
                <a:gdLst>
                  <a:gd name="connsiteX0" fmla="*/ 41952 w 43603"/>
                  <a:gd name="connsiteY0" fmla="*/ 108469 h 110881"/>
                  <a:gd name="connsiteX1" fmla="*/ 21092 w 43603"/>
                  <a:gd name="connsiteY1" fmla="*/ 108469 h 110881"/>
                  <a:gd name="connsiteX2" fmla="*/ 19283 w 43603"/>
                  <a:gd name="connsiteY2" fmla="*/ 23220 h 110881"/>
                  <a:gd name="connsiteX3" fmla="*/ 233 w 43603"/>
                  <a:gd name="connsiteY3" fmla="*/ 23220 h 110881"/>
                  <a:gd name="connsiteX4" fmla="*/ 1566 w 43603"/>
                  <a:gd name="connsiteY4" fmla="*/ 2836 h 110881"/>
                  <a:gd name="connsiteX5" fmla="*/ 41571 w 43603"/>
                  <a:gd name="connsiteY5" fmla="*/ 2836 h 110881"/>
                  <a:gd name="connsiteX6" fmla="*/ 41571 w 43603"/>
                  <a:gd name="connsiteY6" fmla="*/ 108088 h 110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03" h="110881">
                    <a:moveTo>
                      <a:pt x="41952" y="108469"/>
                    </a:moveTo>
                    <a:cubicBezTo>
                      <a:pt x="37380" y="113898"/>
                      <a:pt x="21092" y="108469"/>
                      <a:pt x="21092" y="108469"/>
                    </a:cubicBezTo>
                    <a:cubicBezTo>
                      <a:pt x="21092" y="108469"/>
                      <a:pt x="19092" y="54462"/>
                      <a:pt x="19283" y="23220"/>
                    </a:cubicBezTo>
                    <a:cubicBezTo>
                      <a:pt x="19283" y="20934"/>
                      <a:pt x="233" y="25220"/>
                      <a:pt x="233" y="23220"/>
                    </a:cubicBezTo>
                    <a:cubicBezTo>
                      <a:pt x="-326" y="16397"/>
                      <a:pt x="123" y="9529"/>
                      <a:pt x="1566" y="2836"/>
                    </a:cubicBezTo>
                    <a:cubicBezTo>
                      <a:pt x="5662" y="-3545"/>
                      <a:pt x="41571" y="2836"/>
                      <a:pt x="41571" y="2836"/>
                    </a:cubicBezTo>
                    <a:cubicBezTo>
                      <a:pt x="41571" y="2836"/>
                      <a:pt x="46143" y="102563"/>
                      <a:pt x="41571" y="108088"/>
                    </a:cubicBezTo>
                  </a:path>
                </a:pathLst>
              </a:custGeom>
              <a:solidFill>
                <a:srgbClr val="FFFFFF"/>
              </a:solidFill>
              <a:ln w="9525" cap="flat">
                <a:noFill/>
                <a:prstDash val="solid"/>
                <a:miter/>
              </a:ln>
            </p:spPr>
            <p:txBody>
              <a:bodyPr rtlCol="0" anchor="ctr"/>
              <a:lstStyle/>
              <a:p>
                <a:endParaRPr lang="fr-FR"/>
              </a:p>
            </p:txBody>
          </p:sp>
          <p:sp>
            <p:nvSpPr>
              <p:cNvPr id="739" name="Freeform 38">
                <a:extLst>
                  <a:ext uri="{FF2B5EF4-FFF2-40B4-BE49-F238E27FC236}">
                    <a16:creationId xmlns:a16="http://schemas.microsoft.com/office/drawing/2014/main" id="{C6AA7001-7736-4BA4-B8AF-D382B5A2F201}"/>
                  </a:ext>
                </a:extLst>
              </p:cNvPr>
              <p:cNvSpPr/>
              <p:nvPr/>
            </p:nvSpPr>
            <p:spPr>
              <a:xfrm>
                <a:off x="5825657" y="2517243"/>
                <a:ext cx="45349" cy="115407"/>
              </a:xfrm>
              <a:custGeom>
                <a:avLst/>
                <a:gdLst>
                  <a:gd name="connsiteX0" fmla="*/ 41812 w 43844"/>
                  <a:gd name="connsiteY0" fmla="*/ 108564 h 111019"/>
                  <a:gd name="connsiteX1" fmla="*/ 20953 w 43844"/>
                  <a:gd name="connsiteY1" fmla="*/ 108564 h 111019"/>
                  <a:gd name="connsiteX2" fmla="*/ 19143 w 43844"/>
                  <a:gd name="connsiteY2" fmla="*/ 22839 h 111019"/>
                  <a:gd name="connsiteX3" fmla="*/ 93 w 43844"/>
                  <a:gd name="connsiteY3" fmla="*/ 22839 h 111019"/>
                  <a:gd name="connsiteX4" fmla="*/ 1807 w 43844"/>
                  <a:gd name="connsiteY4" fmla="*/ 2836 h 111019"/>
                  <a:gd name="connsiteX5" fmla="*/ 41812 w 43844"/>
                  <a:gd name="connsiteY5" fmla="*/ 2836 h 111019"/>
                  <a:gd name="connsiteX6" fmla="*/ 41812 w 43844"/>
                  <a:gd name="connsiteY6" fmla="*/ 108088 h 11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44" h="111019">
                    <a:moveTo>
                      <a:pt x="41812" y="108564"/>
                    </a:moveTo>
                    <a:cubicBezTo>
                      <a:pt x="37336" y="114088"/>
                      <a:pt x="20953" y="108564"/>
                      <a:pt x="20953" y="108564"/>
                    </a:cubicBezTo>
                    <a:cubicBezTo>
                      <a:pt x="20953" y="108564"/>
                      <a:pt x="19048" y="54652"/>
                      <a:pt x="19143" y="22839"/>
                    </a:cubicBezTo>
                    <a:cubicBezTo>
                      <a:pt x="19143" y="20553"/>
                      <a:pt x="93" y="24934"/>
                      <a:pt x="93" y="22839"/>
                    </a:cubicBezTo>
                    <a:cubicBezTo>
                      <a:pt x="-243" y="16124"/>
                      <a:pt x="334" y="9396"/>
                      <a:pt x="1807" y="2836"/>
                    </a:cubicBezTo>
                    <a:cubicBezTo>
                      <a:pt x="5903" y="-3545"/>
                      <a:pt x="41812" y="2836"/>
                      <a:pt x="41812" y="2836"/>
                    </a:cubicBezTo>
                    <a:cubicBezTo>
                      <a:pt x="41812" y="2836"/>
                      <a:pt x="46384" y="102658"/>
                      <a:pt x="41812" y="108088"/>
                    </a:cubicBezTo>
                  </a:path>
                </a:pathLst>
              </a:custGeom>
              <a:solidFill>
                <a:srgbClr val="FFFFFF"/>
              </a:solidFill>
              <a:ln w="9525" cap="flat">
                <a:noFill/>
                <a:prstDash val="solid"/>
                <a:miter/>
              </a:ln>
            </p:spPr>
            <p:txBody>
              <a:bodyPr rtlCol="0" anchor="ctr"/>
              <a:lstStyle/>
              <a:p>
                <a:endParaRPr lang="fr-FR"/>
              </a:p>
            </p:txBody>
          </p:sp>
          <p:sp>
            <p:nvSpPr>
              <p:cNvPr id="740" name="Freeform 39">
                <a:extLst>
                  <a:ext uri="{FF2B5EF4-FFF2-40B4-BE49-F238E27FC236}">
                    <a16:creationId xmlns:a16="http://schemas.microsoft.com/office/drawing/2014/main" id="{AE5B7DEF-8199-47BD-8ABA-DCFF3D3F90CF}"/>
                  </a:ext>
                </a:extLst>
              </p:cNvPr>
              <p:cNvSpPr/>
              <p:nvPr/>
            </p:nvSpPr>
            <p:spPr>
              <a:xfrm>
                <a:off x="5759254" y="2517243"/>
                <a:ext cx="45349" cy="115407"/>
              </a:xfrm>
              <a:custGeom>
                <a:avLst/>
                <a:gdLst>
                  <a:gd name="connsiteX0" fmla="*/ 41812 w 43844"/>
                  <a:gd name="connsiteY0" fmla="*/ 108564 h 111019"/>
                  <a:gd name="connsiteX1" fmla="*/ 20953 w 43844"/>
                  <a:gd name="connsiteY1" fmla="*/ 108564 h 111019"/>
                  <a:gd name="connsiteX2" fmla="*/ 19143 w 43844"/>
                  <a:gd name="connsiteY2" fmla="*/ 22839 h 111019"/>
                  <a:gd name="connsiteX3" fmla="*/ 93 w 43844"/>
                  <a:gd name="connsiteY3" fmla="*/ 22839 h 111019"/>
                  <a:gd name="connsiteX4" fmla="*/ 1807 w 43844"/>
                  <a:gd name="connsiteY4" fmla="*/ 2836 h 111019"/>
                  <a:gd name="connsiteX5" fmla="*/ 41812 w 43844"/>
                  <a:gd name="connsiteY5" fmla="*/ 2836 h 111019"/>
                  <a:gd name="connsiteX6" fmla="*/ 41812 w 43844"/>
                  <a:gd name="connsiteY6" fmla="*/ 108088 h 11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44" h="111019">
                    <a:moveTo>
                      <a:pt x="41812" y="108564"/>
                    </a:moveTo>
                    <a:cubicBezTo>
                      <a:pt x="37240" y="114088"/>
                      <a:pt x="20953" y="108564"/>
                      <a:pt x="20953" y="108564"/>
                    </a:cubicBezTo>
                    <a:cubicBezTo>
                      <a:pt x="20953" y="108564"/>
                      <a:pt x="18952" y="54652"/>
                      <a:pt x="19143" y="22839"/>
                    </a:cubicBezTo>
                    <a:cubicBezTo>
                      <a:pt x="19143" y="20553"/>
                      <a:pt x="93" y="24934"/>
                      <a:pt x="93" y="22839"/>
                    </a:cubicBezTo>
                    <a:cubicBezTo>
                      <a:pt x="-243" y="16124"/>
                      <a:pt x="334" y="9396"/>
                      <a:pt x="1807" y="2836"/>
                    </a:cubicBezTo>
                    <a:cubicBezTo>
                      <a:pt x="5903" y="-3545"/>
                      <a:pt x="41812" y="2836"/>
                      <a:pt x="41812" y="2836"/>
                    </a:cubicBezTo>
                    <a:cubicBezTo>
                      <a:pt x="41812" y="2836"/>
                      <a:pt x="46384" y="102658"/>
                      <a:pt x="41812" y="108088"/>
                    </a:cubicBezTo>
                  </a:path>
                </a:pathLst>
              </a:custGeom>
              <a:solidFill>
                <a:srgbClr val="FFFFFF"/>
              </a:solidFill>
              <a:ln w="9525" cap="flat">
                <a:noFill/>
                <a:prstDash val="solid"/>
                <a:miter/>
              </a:ln>
            </p:spPr>
            <p:txBody>
              <a:bodyPr rtlCol="0" anchor="ctr"/>
              <a:lstStyle/>
              <a:p>
                <a:endParaRPr lang="fr-FR"/>
              </a:p>
            </p:txBody>
          </p:sp>
          <p:sp>
            <p:nvSpPr>
              <p:cNvPr id="741" name="Freeform 40">
                <a:extLst>
                  <a:ext uri="{FF2B5EF4-FFF2-40B4-BE49-F238E27FC236}">
                    <a16:creationId xmlns:a16="http://schemas.microsoft.com/office/drawing/2014/main" id="{46182CA5-E72E-409D-AE31-EA8D01B1FB2F}"/>
                  </a:ext>
                </a:extLst>
              </p:cNvPr>
              <p:cNvSpPr/>
              <p:nvPr/>
            </p:nvSpPr>
            <p:spPr>
              <a:xfrm>
                <a:off x="5692859" y="2517243"/>
                <a:ext cx="45440" cy="115407"/>
              </a:xfrm>
              <a:custGeom>
                <a:avLst/>
                <a:gdLst>
                  <a:gd name="connsiteX0" fmla="*/ 41805 w 43932"/>
                  <a:gd name="connsiteY0" fmla="*/ 108564 h 111019"/>
                  <a:gd name="connsiteX1" fmla="*/ 20945 w 43932"/>
                  <a:gd name="connsiteY1" fmla="*/ 108564 h 111019"/>
                  <a:gd name="connsiteX2" fmla="*/ 19136 w 43932"/>
                  <a:gd name="connsiteY2" fmla="*/ 22839 h 111019"/>
                  <a:gd name="connsiteX3" fmla="*/ 86 w 43932"/>
                  <a:gd name="connsiteY3" fmla="*/ 22839 h 111019"/>
                  <a:gd name="connsiteX4" fmla="*/ 1895 w 43932"/>
                  <a:gd name="connsiteY4" fmla="*/ 2836 h 111019"/>
                  <a:gd name="connsiteX5" fmla="*/ 41900 w 43932"/>
                  <a:gd name="connsiteY5" fmla="*/ 2836 h 111019"/>
                  <a:gd name="connsiteX6" fmla="*/ 41900 w 43932"/>
                  <a:gd name="connsiteY6" fmla="*/ 108088 h 11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32" h="111019">
                    <a:moveTo>
                      <a:pt x="41805" y="108564"/>
                    </a:moveTo>
                    <a:cubicBezTo>
                      <a:pt x="37233" y="114088"/>
                      <a:pt x="20945" y="108564"/>
                      <a:pt x="20945" y="108564"/>
                    </a:cubicBezTo>
                    <a:cubicBezTo>
                      <a:pt x="20945" y="108564"/>
                      <a:pt x="18945" y="54652"/>
                      <a:pt x="19136" y="22839"/>
                    </a:cubicBezTo>
                    <a:cubicBezTo>
                      <a:pt x="19136" y="20553"/>
                      <a:pt x="86" y="24934"/>
                      <a:pt x="86" y="22839"/>
                    </a:cubicBezTo>
                    <a:cubicBezTo>
                      <a:pt x="-241" y="16120"/>
                      <a:pt x="368" y="9388"/>
                      <a:pt x="1895" y="2836"/>
                    </a:cubicBezTo>
                    <a:cubicBezTo>
                      <a:pt x="5991" y="-3545"/>
                      <a:pt x="41900" y="2836"/>
                      <a:pt x="41900" y="2836"/>
                    </a:cubicBezTo>
                    <a:cubicBezTo>
                      <a:pt x="41900" y="2836"/>
                      <a:pt x="46472" y="102658"/>
                      <a:pt x="41900" y="108088"/>
                    </a:cubicBezTo>
                  </a:path>
                </a:pathLst>
              </a:custGeom>
              <a:solidFill>
                <a:srgbClr val="FFFFFF"/>
              </a:solidFill>
              <a:ln w="9525" cap="flat">
                <a:noFill/>
                <a:prstDash val="solid"/>
                <a:miter/>
              </a:ln>
            </p:spPr>
            <p:txBody>
              <a:bodyPr rtlCol="0" anchor="ctr"/>
              <a:lstStyle/>
              <a:p>
                <a:endParaRPr lang="fr-FR"/>
              </a:p>
            </p:txBody>
          </p:sp>
        </p:grpSp>
      </p:grpSp>
      <p:grpSp>
        <p:nvGrpSpPr>
          <p:cNvPr id="126" name="Group 125">
            <a:extLst>
              <a:ext uri="{FF2B5EF4-FFF2-40B4-BE49-F238E27FC236}">
                <a16:creationId xmlns:a16="http://schemas.microsoft.com/office/drawing/2014/main" id="{4E6BD6F3-2842-425B-80BE-0192810B7DF8}"/>
              </a:ext>
              <a:ext uri="{C183D7F6-B498-43B3-948B-1728B52AA6E4}">
                <adec:decorative xmlns:adec="http://schemas.microsoft.com/office/drawing/2017/decorative" val="1"/>
              </a:ext>
            </a:extLst>
          </p:cNvPr>
          <p:cNvGrpSpPr/>
          <p:nvPr/>
        </p:nvGrpSpPr>
        <p:grpSpPr>
          <a:xfrm>
            <a:off x="10824405" y="2995439"/>
            <a:ext cx="672195" cy="633600"/>
            <a:chOff x="10622043" y="3012810"/>
            <a:chExt cx="672195" cy="633600"/>
          </a:xfrm>
        </p:grpSpPr>
        <p:sp>
          <p:nvSpPr>
            <p:cNvPr id="794" name="Freeform 30">
              <a:extLst>
                <a:ext uri="{FF2B5EF4-FFF2-40B4-BE49-F238E27FC236}">
                  <a16:creationId xmlns:a16="http://schemas.microsoft.com/office/drawing/2014/main" id="{26CE1FF9-3236-4BE6-90EF-06932EDB7618}"/>
                </a:ext>
              </a:extLst>
            </p:cNvPr>
            <p:cNvSpPr>
              <a:spLocks/>
            </p:cNvSpPr>
            <p:nvPr/>
          </p:nvSpPr>
          <p:spPr bwMode="auto">
            <a:xfrm>
              <a:off x="10622043" y="3012810"/>
              <a:ext cx="672195" cy="6336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56" name="Groupe 265">
              <a:extLst>
                <a:ext uri="{FF2B5EF4-FFF2-40B4-BE49-F238E27FC236}">
                  <a16:creationId xmlns:a16="http://schemas.microsoft.com/office/drawing/2014/main" id="{9E71F84A-E380-46DD-A284-339A81A18C57}"/>
                </a:ext>
              </a:extLst>
            </p:cNvPr>
            <p:cNvGrpSpPr>
              <a:grpSpLocks noChangeAspect="1"/>
            </p:cNvGrpSpPr>
            <p:nvPr/>
          </p:nvGrpSpPr>
          <p:grpSpPr>
            <a:xfrm>
              <a:off x="10778733" y="3117294"/>
              <a:ext cx="360000" cy="382384"/>
              <a:chOff x="2646363" y="250825"/>
              <a:chExt cx="612775" cy="650875"/>
            </a:xfrm>
          </p:grpSpPr>
          <p:sp>
            <p:nvSpPr>
              <p:cNvPr id="757" name="Freeform 15">
                <a:extLst>
                  <a:ext uri="{FF2B5EF4-FFF2-40B4-BE49-F238E27FC236}">
                    <a16:creationId xmlns:a16="http://schemas.microsoft.com/office/drawing/2014/main" id="{FED82B1C-3028-4351-ABFF-1879E7FE2B2D}"/>
                  </a:ext>
                </a:extLst>
              </p:cNvPr>
              <p:cNvSpPr>
                <a:spLocks/>
              </p:cNvSpPr>
              <p:nvPr/>
            </p:nvSpPr>
            <p:spPr bwMode="auto">
              <a:xfrm>
                <a:off x="2646363" y="531813"/>
                <a:ext cx="612775" cy="369887"/>
              </a:xfrm>
              <a:custGeom>
                <a:avLst/>
                <a:gdLst>
                  <a:gd name="T0" fmla="*/ 149 w 181"/>
                  <a:gd name="T1" fmla="*/ 108 h 108"/>
                  <a:gd name="T2" fmla="*/ 90 w 181"/>
                  <a:gd name="T3" fmla="*/ 108 h 108"/>
                  <a:gd name="T4" fmla="*/ 32 w 181"/>
                  <a:gd name="T5" fmla="*/ 108 h 108"/>
                  <a:gd name="T6" fmla="*/ 6 w 181"/>
                  <a:gd name="T7" fmla="*/ 71 h 108"/>
                  <a:gd name="T8" fmla="*/ 19 w 181"/>
                  <a:gd name="T9" fmla="*/ 28 h 108"/>
                  <a:gd name="T10" fmla="*/ 45 w 181"/>
                  <a:gd name="T11" fmla="*/ 0 h 108"/>
                  <a:gd name="T12" fmla="*/ 136 w 181"/>
                  <a:gd name="T13" fmla="*/ 0 h 108"/>
                  <a:gd name="T14" fmla="*/ 162 w 181"/>
                  <a:gd name="T15" fmla="*/ 28 h 108"/>
                  <a:gd name="T16" fmla="*/ 175 w 181"/>
                  <a:gd name="T17" fmla="*/ 71 h 108"/>
                  <a:gd name="T18" fmla="*/ 149 w 181"/>
                  <a:gd name="T1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108">
                    <a:moveTo>
                      <a:pt x="149" y="108"/>
                    </a:moveTo>
                    <a:cubicBezTo>
                      <a:pt x="104" y="108"/>
                      <a:pt x="118" y="108"/>
                      <a:pt x="90" y="108"/>
                    </a:cubicBezTo>
                    <a:cubicBezTo>
                      <a:pt x="32" y="108"/>
                      <a:pt x="32" y="108"/>
                      <a:pt x="32" y="108"/>
                    </a:cubicBezTo>
                    <a:cubicBezTo>
                      <a:pt x="13" y="108"/>
                      <a:pt x="0" y="89"/>
                      <a:pt x="6" y="71"/>
                    </a:cubicBezTo>
                    <a:cubicBezTo>
                      <a:pt x="19" y="28"/>
                      <a:pt x="19" y="28"/>
                      <a:pt x="19" y="28"/>
                    </a:cubicBezTo>
                    <a:cubicBezTo>
                      <a:pt x="23" y="16"/>
                      <a:pt x="33" y="5"/>
                      <a:pt x="45" y="0"/>
                    </a:cubicBezTo>
                    <a:cubicBezTo>
                      <a:pt x="136" y="0"/>
                      <a:pt x="136" y="0"/>
                      <a:pt x="136" y="0"/>
                    </a:cubicBezTo>
                    <a:cubicBezTo>
                      <a:pt x="148" y="5"/>
                      <a:pt x="158" y="16"/>
                      <a:pt x="162" y="28"/>
                    </a:cubicBezTo>
                    <a:cubicBezTo>
                      <a:pt x="175" y="71"/>
                      <a:pt x="175" y="71"/>
                      <a:pt x="175" y="71"/>
                    </a:cubicBezTo>
                    <a:cubicBezTo>
                      <a:pt x="181" y="89"/>
                      <a:pt x="168" y="108"/>
                      <a:pt x="149" y="108"/>
                    </a:cubicBezTo>
                    <a:close/>
                  </a:path>
                </a:pathLst>
              </a:cu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8" name="Freeform 16">
                <a:extLst>
                  <a:ext uri="{FF2B5EF4-FFF2-40B4-BE49-F238E27FC236}">
                    <a16:creationId xmlns:a16="http://schemas.microsoft.com/office/drawing/2014/main" id="{25270BD8-4D24-4B43-9E1C-BA91A3C04FEC}"/>
                  </a:ext>
                </a:extLst>
              </p:cNvPr>
              <p:cNvSpPr>
                <a:spLocks/>
              </p:cNvSpPr>
              <p:nvPr/>
            </p:nvSpPr>
            <p:spPr bwMode="auto">
              <a:xfrm>
                <a:off x="2951163" y="531813"/>
                <a:ext cx="307975" cy="369887"/>
              </a:xfrm>
              <a:custGeom>
                <a:avLst/>
                <a:gdLst>
                  <a:gd name="T0" fmla="*/ 59 w 91"/>
                  <a:gd name="T1" fmla="*/ 108 h 108"/>
                  <a:gd name="T2" fmla="*/ 0 w 91"/>
                  <a:gd name="T3" fmla="*/ 108 h 108"/>
                  <a:gd name="T4" fmla="*/ 0 w 91"/>
                  <a:gd name="T5" fmla="*/ 0 h 108"/>
                  <a:gd name="T6" fmla="*/ 46 w 91"/>
                  <a:gd name="T7" fmla="*/ 0 h 108"/>
                  <a:gd name="T8" fmla="*/ 72 w 91"/>
                  <a:gd name="T9" fmla="*/ 28 h 108"/>
                  <a:gd name="T10" fmla="*/ 85 w 91"/>
                  <a:gd name="T11" fmla="*/ 71 h 108"/>
                  <a:gd name="T12" fmla="*/ 59 w 91"/>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91" h="108">
                    <a:moveTo>
                      <a:pt x="59" y="108"/>
                    </a:moveTo>
                    <a:cubicBezTo>
                      <a:pt x="14" y="108"/>
                      <a:pt x="28" y="108"/>
                      <a:pt x="0" y="108"/>
                    </a:cubicBezTo>
                    <a:cubicBezTo>
                      <a:pt x="0" y="0"/>
                      <a:pt x="0" y="0"/>
                      <a:pt x="0" y="0"/>
                    </a:cubicBezTo>
                    <a:cubicBezTo>
                      <a:pt x="46" y="0"/>
                      <a:pt x="46" y="0"/>
                      <a:pt x="46" y="0"/>
                    </a:cubicBezTo>
                    <a:cubicBezTo>
                      <a:pt x="58" y="5"/>
                      <a:pt x="68" y="16"/>
                      <a:pt x="72" y="28"/>
                    </a:cubicBezTo>
                    <a:cubicBezTo>
                      <a:pt x="85" y="71"/>
                      <a:pt x="85" y="71"/>
                      <a:pt x="85" y="71"/>
                    </a:cubicBezTo>
                    <a:cubicBezTo>
                      <a:pt x="91" y="89"/>
                      <a:pt x="78" y="108"/>
                      <a:pt x="59" y="108"/>
                    </a:cubicBezTo>
                    <a:close/>
                  </a:path>
                </a:pathLst>
              </a:cu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9" name="Freeform 17">
                <a:extLst>
                  <a:ext uri="{FF2B5EF4-FFF2-40B4-BE49-F238E27FC236}">
                    <a16:creationId xmlns:a16="http://schemas.microsoft.com/office/drawing/2014/main" id="{41405201-D371-49F9-A938-93A9678D1F47}"/>
                  </a:ext>
                </a:extLst>
              </p:cNvPr>
              <p:cNvSpPr>
                <a:spLocks/>
              </p:cNvSpPr>
              <p:nvPr/>
            </p:nvSpPr>
            <p:spPr bwMode="auto">
              <a:xfrm>
                <a:off x="2759075" y="250825"/>
                <a:ext cx="392113" cy="212725"/>
              </a:xfrm>
              <a:custGeom>
                <a:avLst/>
                <a:gdLst>
                  <a:gd name="T0" fmla="*/ 116 w 116"/>
                  <a:gd name="T1" fmla="*/ 62 h 62"/>
                  <a:gd name="T2" fmla="*/ 57 w 116"/>
                  <a:gd name="T3" fmla="*/ 62 h 62"/>
                  <a:gd name="T4" fmla="*/ 0 w 116"/>
                  <a:gd name="T5" fmla="*/ 62 h 62"/>
                  <a:gd name="T6" fmla="*/ 36 w 116"/>
                  <a:gd name="T7" fmla="*/ 11 h 62"/>
                  <a:gd name="T8" fmla="*/ 57 w 116"/>
                  <a:gd name="T9" fmla="*/ 0 h 62"/>
                  <a:gd name="T10" fmla="*/ 58 w 116"/>
                  <a:gd name="T11" fmla="*/ 0 h 62"/>
                  <a:gd name="T12" fmla="*/ 81 w 116"/>
                  <a:gd name="T13" fmla="*/ 11 h 62"/>
                  <a:gd name="T14" fmla="*/ 116 w 116"/>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2">
                    <a:moveTo>
                      <a:pt x="116" y="62"/>
                    </a:moveTo>
                    <a:cubicBezTo>
                      <a:pt x="57" y="62"/>
                      <a:pt x="57" y="62"/>
                      <a:pt x="57" y="62"/>
                    </a:cubicBezTo>
                    <a:cubicBezTo>
                      <a:pt x="0" y="62"/>
                      <a:pt x="0" y="62"/>
                      <a:pt x="0" y="62"/>
                    </a:cubicBezTo>
                    <a:cubicBezTo>
                      <a:pt x="36" y="11"/>
                      <a:pt x="36" y="11"/>
                      <a:pt x="36" y="11"/>
                    </a:cubicBezTo>
                    <a:cubicBezTo>
                      <a:pt x="41" y="4"/>
                      <a:pt x="49" y="0"/>
                      <a:pt x="57" y="0"/>
                    </a:cubicBezTo>
                    <a:cubicBezTo>
                      <a:pt x="58" y="0"/>
                      <a:pt x="58" y="0"/>
                      <a:pt x="58" y="0"/>
                    </a:cubicBezTo>
                    <a:cubicBezTo>
                      <a:pt x="67" y="0"/>
                      <a:pt x="75" y="4"/>
                      <a:pt x="81" y="11"/>
                    </a:cubicBezTo>
                    <a:lnTo>
                      <a:pt x="116" y="62"/>
                    </a:ln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0" name="Freeform 18">
                <a:extLst>
                  <a:ext uri="{FF2B5EF4-FFF2-40B4-BE49-F238E27FC236}">
                    <a16:creationId xmlns:a16="http://schemas.microsoft.com/office/drawing/2014/main" id="{F49216D1-B5F6-4AD0-84E9-87B86C07516F}"/>
                  </a:ext>
                </a:extLst>
              </p:cNvPr>
              <p:cNvSpPr>
                <a:spLocks/>
              </p:cNvSpPr>
              <p:nvPr/>
            </p:nvSpPr>
            <p:spPr bwMode="auto">
              <a:xfrm>
                <a:off x="2951163" y="250825"/>
                <a:ext cx="200025" cy="212725"/>
              </a:xfrm>
              <a:custGeom>
                <a:avLst/>
                <a:gdLst>
                  <a:gd name="T0" fmla="*/ 59 w 59"/>
                  <a:gd name="T1" fmla="*/ 62 h 62"/>
                  <a:gd name="T2" fmla="*/ 0 w 59"/>
                  <a:gd name="T3" fmla="*/ 62 h 62"/>
                  <a:gd name="T4" fmla="*/ 0 w 59"/>
                  <a:gd name="T5" fmla="*/ 0 h 62"/>
                  <a:gd name="T6" fmla="*/ 1 w 59"/>
                  <a:gd name="T7" fmla="*/ 0 h 62"/>
                  <a:gd name="T8" fmla="*/ 24 w 59"/>
                  <a:gd name="T9" fmla="*/ 11 h 62"/>
                  <a:gd name="T10" fmla="*/ 59 w 59"/>
                  <a:gd name="T11" fmla="*/ 62 h 62"/>
                </a:gdLst>
                <a:ahLst/>
                <a:cxnLst>
                  <a:cxn ang="0">
                    <a:pos x="T0" y="T1"/>
                  </a:cxn>
                  <a:cxn ang="0">
                    <a:pos x="T2" y="T3"/>
                  </a:cxn>
                  <a:cxn ang="0">
                    <a:pos x="T4" y="T5"/>
                  </a:cxn>
                  <a:cxn ang="0">
                    <a:pos x="T6" y="T7"/>
                  </a:cxn>
                  <a:cxn ang="0">
                    <a:pos x="T8" y="T9"/>
                  </a:cxn>
                  <a:cxn ang="0">
                    <a:pos x="T10" y="T11"/>
                  </a:cxn>
                </a:cxnLst>
                <a:rect l="0" t="0" r="r" b="b"/>
                <a:pathLst>
                  <a:path w="59" h="62">
                    <a:moveTo>
                      <a:pt x="59" y="62"/>
                    </a:moveTo>
                    <a:cubicBezTo>
                      <a:pt x="0" y="62"/>
                      <a:pt x="0" y="62"/>
                      <a:pt x="0" y="62"/>
                    </a:cubicBezTo>
                    <a:cubicBezTo>
                      <a:pt x="0" y="0"/>
                      <a:pt x="0" y="0"/>
                      <a:pt x="0" y="0"/>
                    </a:cubicBezTo>
                    <a:cubicBezTo>
                      <a:pt x="1" y="0"/>
                      <a:pt x="1" y="0"/>
                      <a:pt x="1" y="0"/>
                    </a:cubicBezTo>
                    <a:cubicBezTo>
                      <a:pt x="10" y="0"/>
                      <a:pt x="18" y="4"/>
                      <a:pt x="24" y="11"/>
                    </a:cubicBezTo>
                    <a:lnTo>
                      <a:pt x="59" y="62"/>
                    </a:ln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1" name="Freeform 19">
                <a:extLst>
                  <a:ext uri="{FF2B5EF4-FFF2-40B4-BE49-F238E27FC236}">
                    <a16:creationId xmlns:a16="http://schemas.microsoft.com/office/drawing/2014/main" id="{0398DFC0-D135-4583-BBC4-AB2B6B72A3EA}"/>
                  </a:ext>
                </a:extLst>
              </p:cNvPr>
              <p:cNvSpPr>
                <a:spLocks/>
              </p:cNvSpPr>
              <p:nvPr/>
            </p:nvSpPr>
            <p:spPr bwMode="auto">
              <a:xfrm>
                <a:off x="2744788" y="407988"/>
                <a:ext cx="415925" cy="274637"/>
              </a:xfrm>
              <a:custGeom>
                <a:avLst/>
                <a:gdLst>
                  <a:gd name="T0" fmla="*/ 123 w 123"/>
                  <a:gd name="T1" fmla="*/ 25 h 80"/>
                  <a:gd name="T2" fmla="*/ 114 w 123"/>
                  <a:gd name="T3" fmla="*/ 40 h 80"/>
                  <a:gd name="T4" fmla="*/ 114 w 123"/>
                  <a:gd name="T5" fmla="*/ 40 h 80"/>
                  <a:gd name="T6" fmla="*/ 66 w 123"/>
                  <a:gd name="T7" fmla="*/ 79 h 80"/>
                  <a:gd name="T8" fmla="*/ 62 w 123"/>
                  <a:gd name="T9" fmla="*/ 80 h 80"/>
                  <a:gd name="T10" fmla="*/ 61 w 123"/>
                  <a:gd name="T11" fmla="*/ 80 h 80"/>
                  <a:gd name="T12" fmla="*/ 59 w 123"/>
                  <a:gd name="T13" fmla="*/ 79 h 80"/>
                  <a:gd name="T14" fmla="*/ 9 w 123"/>
                  <a:gd name="T15" fmla="*/ 41 h 80"/>
                  <a:gd name="T16" fmla="*/ 9 w 123"/>
                  <a:gd name="T17" fmla="*/ 41 h 80"/>
                  <a:gd name="T18" fmla="*/ 9 w 123"/>
                  <a:gd name="T19" fmla="*/ 41 h 80"/>
                  <a:gd name="T20" fmla="*/ 9 w 123"/>
                  <a:gd name="T21" fmla="*/ 40 h 80"/>
                  <a:gd name="T22" fmla="*/ 0 w 123"/>
                  <a:gd name="T23" fmla="*/ 25 h 80"/>
                  <a:gd name="T24" fmla="*/ 4 w 123"/>
                  <a:gd name="T25" fmla="*/ 16 h 80"/>
                  <a:gd name="T26" fmla="*/ 34 w 123"/>
                  <a:gd name="T27" fmla="*/ 0 h 80"/>
                  <a:gd name="T28" fmla="*/ 34 w 123"/>
                  <a:gd name="T29" fmla="*/ 15 h 80"/>
                  <a:gd name="T30" fmla="*/ 61 w 123"/>
                  <a:gd name="T31" fmla="*/ 15 h 80"/>
                  <a:gd name="T32" fmla="*/ 89 w 123"/>
                  <a:gd name="T33" fmla="*/ 15 h 80"/>
                  <a:gd name="T34" fmla="*/ 89 w 123"/>
                  <a:gd name="T35" fmla="*/ 0 h 80"/>
                  <a:gd name="T36" fmla="*/ 120 w 123"/>
                  <a:gd name="T37" fmla="*/ 16 h 80"/>
                  <a:gd name="T38" fmla="*/ 123 w 123"/>
                  <a:gd name="T39" fmla="*/ 2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80">
                    <a:moveTo>
                      <a:pt x="123" y="25"/>
                    </a:moveTo>
                    <a:cubicBezTo>
                      <a:pt x="123" y="29"/>
                      <a:pt x="121" y="35"/>
                      <a:pt x="114" y="40"/>
                    </a:cubicBezTo>
                    <a:cubicBezTo>
                      <a:pt x="114" y="40"/>
                      <a:pt x="114" y="40"/>
                      <a:pt x="114" y="40"/>
                    </a:cubicBezTo>
                    <a:cubicBezTo>
                      <a:pt x="66" y="79"/>
                      <a:pt x="66" y="79"/>
                      <a:pt x="66" y="79"/>
                    </a:cubicBezTo>
                    <a:cubicBezTo>
                      <a:pt x="65" y="79"/>
                      <a:pt x="63" y="80"/>
                      <a:pt x="62" y="80"/>
                    </a:cubicBezTo>
                    <a:cubicBezTo>
                      <a:pt x="62" y="80"/>
                      <a:pt x="62" y="80"/>
                      <a:pt x="61" y="80"/>
                    </a:cubicBezTo>
                    <a:cubicBezTo>
                      <a:pt x="61" y="80"/>
                      <a:pt x="60" y="79"/>
                      <a:pt x="59" y="79"/>
                    </a:cubicBezTo>
                    <a:cubicBezTo>
                      <a:pt x="9" y="41"/>
                      <a:pt x="9" y="41"/>
                      <a:pt x="9" y="41"/>
                    </a:cubicBezTo>
                    <a:cubicBezTo>
                      <a:pt x="9" y="41"/>
                      <a:pt x="9" y="41"/>
                      <a:pt x="9" y="41"/>
                    </a:cubicBezTo>
                    <a:cubicBezTo>
                      <a:pt x="9" y="41"/>
                      <a:pt x="9" y="41"/>
                      <a:pt x="9" y="41"/>
                    </a:cubicBezTo>
                    <a:cubicBezTo>
                      <a:pt x="9" y="41"/>
                      <a:pt x="9" y="41"/>
                      <a:pt x="9" y="40"/>
                    </a:cubicBezTo>
                    <a:cubicBezTo>
                      <a:pt x="2" y="35"/>
                      <a:pt x="0" y="29"/>
                      <a:pt x="0" y="25"/>
                    </a:cubicBezTo>
                    <a:cubicBezTo>
                      <a:pt x="0" y="22"/>
                      <a:pt x="1" y="19"/>
                      <a:pt x="4" y="16"/>
                    </a:cubicBezTo>
                    <a:cubicBezTo>
                      <a:pt x="9" y="8"/>
                      <a:pt x="21" y="3"/>
                      <a:pt x="34" y="0"/>
                    </a:cubicBezTo>
                    <a:cubicBezTo>
                      <a:pt x="34" y="15"/>
                      <a:pt x="34" y="15"/>
                      <a:pt x="34" y="15"/>
                    </a:cubicBezTo>
                    <a:cubicBezTo>
                      <a:pt x="61" y="15"/>
                      <a:pt x="61" y="15"/>
                      <a:pt x="61" y="15"/>
                    </a:cubicBezTo>
                    <a:cubicBezTo>
                      <a:pt x="89" y="15"/>
                      <a:pt x="89" y="15"/>
                      <a:pt x="89" y="15"/>
                    </a:cubicBezTo>
                    <a:cubicBezTo>
                      <a:pt x="89" y="0"/>
                      <a:pt x="89" y="0"/>
                      <a:pt x="89" y="0"/>
                    </a:cubicBezTo>
                    <a:cubicBezTo>
                      <a:pt x="102" y="3"/>
                      <a:pt x="114" y="8"/>
                      <a:pt x="120" y="16"/>
                    </a:cubicBezTo>
                    <a:cubicBezTo>
                      <a:pt x="122" y="19"/>
                      <a:pt x="123" y="22"/>
                      <a:pt x="123" y="25"/>
                    </a:cubicBez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2" name="Freeform 20">
                <a:extLst>
                  <a:ext uri="{FF2B5EF4-FFF2-40B4-BE49-F238E27FC236}">
                    <a16:creationId xmlns:a16="http://schemas.microsoft.com/office/drawing/2014/main" id="{F5D58B15-BC3B-4A95-875C-A8DA365BCBF6}"/>
                  </a:ext>
                </a:extLst>
              </p:cNvPr>
              <p:cNvSpPr>
                <a:spLocks/>
              </p:cNvSpPr>
              <p:nvPr/>
            </p:nvSpPr>
            <p:spPr bwMode="auto">
              <a:xfrm>
                <a:off x="2951163" y="407988"/>
                <a:ext cx="209550" cy="274637"/>
              </a:xfrm>
              <a:custGeom>
                <a:avLst/>
                <a:gdLst>
                  <a:gd name="T0" fmla="*/ 62 w 62"/>
                  <a:gd name="T1" fmla="*/ 25 h 80"/>
                  <a:gd name="T2" fmla="*/ 53 w 62"/>
                  <a:gd name="T3" fmla="*/ 40 h 80"/>
                  <a:gd name="T4" fmla="*/ 53 w 62"/>
                  <a:gd name="T5" fmla="*/ 40 h 80"/>
                  <a:gd name="T6" fmla="*/ 5 w 62"/>
                  <a:gd name="T7" fmla="*/ 79 h 80"/>
                  <a:gd name="T8" fmla="*/ 1 w 62"/>
                  <a:gd name="T9" fmla="*/ 80 h 80"/>
                  <a:gd name="T10" fmla="*/ 0 w 62"/>
                  <a:gd name="T11" fmla="*/ 80 h 80"/>
                  <a:gd name="T12" fmla="*/ 0 w 62"/>
                  <a:gd name="T13" fmla="*/ 15 h 80"/>
                  <a:gd name="T14" fmla="*/ 28 w 62"/>
                  <a:gd name="T15" fmla="*/ 15 h 80"/>
                  <a:gd name="T16" fmla="*/ 28 w 62"/>
                  <a:gd name="T17" fmla="*/ 0 h 80"/>
                  <a:gd name="T18" fmla="*/ 59 w 62"/>
                  <a:gd name="T19" fmla="*/ 16 h 80"/>
                  <a:gd name="T20" fmla="*/ 62 w 62"/>
                  <a:gd name="T21" fmla="*/ 2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0">
                    <a:moveTo>
                      <a:pt x="62" y="25"/>
                    </a:moveTo>
                    <a:cubicBezTo>
                      <a:pt x="62" y="29"/>
                      <a:pt x="60" y="35"/>
                      <a:pt x="53" y="40"/>
                    </a:cubicBezTo>
                    <a:cubicBezTo>
                      <a:pt x="53" y="40"/>
                      <a:pt x="53" y="40"/>
                      <a:pt x="53" y="40"/>
                    </a:cubicBezTo>
                    <a:cubicBezTo>
                      <a:pt x="5" y="79"/>
                      <a:pt x="5" y="79"/>
                      <a:pt x="5" y="79"/>
                    </a:cubicBezTo>
                    <a:cubicBezTo>
                      <a:pt x="4" y="79"/>
                      <a:pt x="2" y="80"/>
                      <a:pt x="1" y="80"/>
                    </a:cubicBezTo>
                    <a:cubicBezTo>
                      <a:pt x="1" y="80"/>
                      <a:pt x="1" y="80"/>
                      <a:pt x="0" y="80"/>
                    </a:cubicBezTo>
                    <a:cubicBezTo>
                      <a:pt x="0" y="15"/>
                      <a:pt x="0" y="15"/>
                      <a:pt x="0" y="15"/>
                    </a:cubicBezTo>
                    <a:cubicBezTo>
                      <a:pt x="28" y="15"/>
                      <a:pt x="28" y="15"/>
                      <a:pt x="28" y="15"/>
                    </a:cubicBezTo>
                    <a:cubicBezTo>
                      <a:pt x="28" y="0"/>
                      <a:pt x="28" y="0"/>
                      <a:pt x="28" y="0"/>
                    </a:cubicBezTo>
                    <a:cubicBezTo>
                      <a:pt x="41" y="3"/>
                      <a:pt x="53" y="8"/>
                      <a:pt x="59" y="16"/>
                    </a:cubicBezTo>
                    <a:cubicBezTo>
                      <a:pt x="61" y="19"/>
                      <a:pt x="62" y="22"/>
                      <a:pt x="62" y="25"/>
                    </a:cubicBez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3" name="Freeform 21">
                <a:extLst>
                  <a:ext uri="{FF2B5EF4-FFF2-40B4-BE49-F238E27FC236}">
                    <a16:creationId xmlns:a16="http://schemas.microsoft.com/office/drawing/2014/main" id="{E78350C8-2AAF-4063-AC4F-093394347283}"/>
                  </a:ext>
                </a:extLst>
              </p:cNvPr>
              <p:cNvSpPr>
                <a:spLocks/>
              </p:cNvSpPr>
              <p:nvPr/>
            </p:nvSpPr>
            <p:spPr bwMode="auto">
              <a:xfrm>
                <a:off x="2860675" y="398463"/>
                <a:ext cx="185738" cy="153987"/>
              </a:xfrm>
              <a:custGeom>
                <a:avLst/>
                <a:gdLst>
                  <a:gd name="T0" fmla="*/ 55 w 55"/>
                  <a:gd name="T1" fmla="*/ 3 h 45"/>
                  <a:gd name="T2" fmla="*/ 55 w 55"/>
                  <a:gd name="T3" fmla="*/ 18 h 45"/>
                  <a:gd name="T4" fmla="*/ 27 w 55"/>
                  <a:gd name="T5" fmla="*/ 45 h 45"/>
                  <a:gd name="T6" fmla="*/ 0 w 55"/>
                  <a:gd name="T7" fmla="*/ 18 h 45"/>
                  <a:gd name="T8" fmla="*/ 0 w 55"/>
                  <a:gd name="T9" fmla="*/ 3 h 45"/>
                  <a:gd name="T10" fmla="*/ 27 w 55"/>
                  <a:gd name="T11" fmla="*/ 0 h 45"/>
                  <a:gd name="T12" fmla="*/ 55 w 55"/>
                  <a:gd name="T13" fmla="*/ 3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55" y="3"/>
                    </a:moveTo>
                    <a:cubicBezTo>
                      <a:pt x="55" y="18"/>
                      <a:pt x="55" y="18"/>
                      <a:pt x="55" y="18"/>
                    </a:cubicBezTo>
                    <a:cubicBezTo>
                      <a:pt x="55" y="33"/>
                      <a:pt x="43" y="45"/>
                      <a:pt x="27" y="45"/>
                    </a:cubicBezTo>
                    <a:cubicBezTo>
                      <a:pt x="12" y="45"/>
                      <a:pt x="0" y="33"/>
                      <a:pt x="0" y="18"/>
                    </a:cubicBezTo>
                    <a:cubicBezTo>
                      <a:pt x="0" y="3"/>
                      <a:pt x="0" y="3"/>
                      <a:pt x="0" y="3"/>
                    </a:cubicBezTo>
                    <a:cubicBezTo>
                      <a:pt x="9" y="1"/>
                      <a:pt x="19" y="0"/>
                      <a:pt x="27" y="0"/>
                    </a:cubicBezTo>
                    <a:cubicBezTo>
                      <a:pt x="35" y="0"/>
                      <a:pt x="46" y="1"/>
                      <a:pt x="55" y="3"/>
                    </a:cubicBez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5" name="Freeform 23">
                <a:extLst>
                  <a:ext uri="{FF2B5EF4-FFF2-40B4-BE49-F238E27FC236}">
                    <a16:creationId xmlns:a16="http://schemas.microsoft.com/office/drawing/2014/main" id="{569CA8D4-36A5-43DC-AAEA-2F6AF9E17F2D}"/>
                  </a:ext>
                </a:extLst>
              </p:cNvPr>
              <p:cNvSpPr>
                <a:spLocks/>
              </p:cNvSpPr>
              <p:nvPr/>
            </p:nvSpPr>
            <p:spPr bwMode="auto">
              <a:xfrm>
                <a:off x="2782888" y="644525"/>
                <a:ext cx="341313" cy="257175"/>
              </a:xfrm>
              <a:custGeom>
                <a:avLst/>
                <a:gdLst>
                  <a:gd name="T0" fmla="*/ 84 w 101"/>
                  <a:gd name="T1" fmla="*/ 0 h 75"/>
                  <a:gd name="T2" fmla="*/ 17 w 101"/>
                  <a:gd name="T3" fmla="*/ 0 h 75"/>
                  <a:gd name="T4" fmla="*/ 0 w 101"/>
                  <a:gd name="T5" fmla="*/ 17 h 75"/>
                  <a:gd name="T6" fmla="*/ 0 w 101"/>
                  <a:gd name="T7" fmla="*/ 75 h 75"/>
                  <a:gd name="T8" fmla="*/ 101 w 101"/>
                  <a:gd name="T9" fmla="*/ 75 h 75"/>
                  <a:gd name="T10" fmla="*/ 101 w 101"/>
                  <a:gd name="T11" fmla="*/ 17 h 75"/>
                  <a:gd name="T12" fmla="*/ 84 w 10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01" h="75">
                    <a:moveTo>
                      <a:pt x="84" y="0"/>
                    </a:moveTo>
                    <a:cubicBezTo>
                      <a:pt x="17" y="0"/>
                      <a:pt x="17" y="0"/>
                      <a:pt x="17" y="0"/>
                    </a:cubicBezTo>
                    <a:cubicBezTo>
                      <a:pt x="8" y="0"/>
                      <a:pt x="0" y="7"/>
                      <a:pt x="0" y="17"/>
                    </a:cubicBezTo>
                    <a:cubicBezTo>
                      <a:pt x="0" y="75"/>
                      <a:pt x="0" y="75"/>
                      <a:pt x="0" y="75"/>
                    </a:cubicBezTo>
                    <a:cubicBezTo>
                      <a:pt x="101" y="75"/>
                      <a:pt x="101" y="75"/>
                      <a:pt x="101" y="75"/>
                    </a:cubicBezTo>
                    <a:cubicBezTo>
                      <a:pt x="101" y="17"/>
                      <a:pt x="101" y="17"/>
                      <a:pt x="101" y="17"/>
                    </a:cubicBezTo>
                    <a:cubicBezTo>
                      <a:pt x="101" y="7"/>
                      <a:pt x="93" y="0"/>
                      <a:pt x="84" y="0"/>
                    </a:cubicBez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768" name="Groupe 291">
            <a:extLst>
              <a:ext uri="{FF2B5EF4-FFF2-40B4-BE49-F238E27FC236}">
                <a16:creationId xmlns:a16="http://schemas.microsoft.com/office/drawing/2014/main" id="{50A0704B-C9D7-4F77-B8E5-33570CB84BCE}"/>
              </a:ext>
              <a:ext uri="{C183D7F6-B498-43B3-948B-1728B52AA6E4}">
                <adec:decorative xmlns:adec="http://schemas.microsoft.com/office/drawing/2017/decorative" val="1"/>
              </a:ext>
            </a:extLst>
          </p:cNvPr>
          <p:cNvGrpSpPr>
            <a:grpSpLocks noChangeAspect="1"/>
          </p:cNvGrpSpPr>
          <p:nvPr/>
        </p:nvGrpSpPr>
        <p:grpSpPr>
          <a:xfrm>
            <a:off x="9222213" y="2995439"/>
            <a:ext cx="676745" cy="633600"/>
            <a:chOff x="10250489" y="5095875"/>
            <a:chExt cx="871538" cy="815975"/>
          </a:xfrm>
        </p:grpSpPr>
        <p:sp>
          <p:nvSpPr>
            <p:cNvPr id="769" name="Freeform 261">
              <a:extLst>
                <a:ext uri="{FF2B5EF4-FFF2-40B4-BE49-F238E27FC236}">
                  <a16:creationId xmlns:a16="http://schemas.microsoft.com/office/drawing/2014/main" id="{328F6A8E-D303-4DB0-A17E-D7CD42FA0A2F}"/>
                </a:ext>
              </a:extLst>
            </p:cNvPr>
            <p:cNvSpPr>
              <a:spLocks/>
            </p:cNvSpPr>
            <p:nvPr/>
          </p:nvSpPr>
          <p:spPr bwMode="auto">
            <a:xfrm>
              <a:off x="10250489" y="5095875"/>
              <a:ext cx="871538" cy="815975"/>
            </a:xfrm>
            <a:custGeom>
              <a:avLst/>
              <a:gdLst>
                <a:gd name="T0" fmla="*/ 33 w 232"/>
                <a:gd name="T1" fmla="*/ 170 h 217"/>
                <a:gd name="T2" fmla="*/ 56 w 232"/>
                <a:gd name="T3" fmla="*/ 32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3"/>
                  </a:cubicBezTo>
                  <a:cubicBezTo>
                    <a:pt x="232" y="96"/>
                    <a:pt x="218" y="152"/>
                    <a:pt x="173" y="185"/>
                  </a:cubicBezTo>
                  <a:cubicBezTo>
                    <a:pt x="127" y="217"/>
                    <a:pt x="67" y="213"/>
                    <a:pt x="33" y="17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340">
              <a:extLst>
                <a:ext uri="{FF2B5EF4-FFF2-40B4-BE49-F238E27FC236}">
                  <a16:creationId xmlns:a16="http://schemas.microsoft.com/office/drawing/2014/main" id="{C1795B55-FAFC-4133-B072-E578A14D604C}"/>
                </a:ext>
              </a:extLst>
            </p:cNvPr>
            <p:cNvSpPr>
              <a:spLocks noEditPoints="1"/>
            </p:cNvSpPr>
            <p:nvPr/>
          </p:nvSpPr>
          <p:spPr bwMode="auto">
            <a:xfrm>
              <a:off x="10483851" y="5348288"/>
              <a:ext cx="404813" cy="319088"/>
            </a:xfrm>
            <a:custGeom>
              <a:avLst/>
              <a:gdLst>
                <a:gd name="T0" fmla="*/ 104 w 108"/>
                <a:gd name="T1" fmla="*/ 18 h 85"/>
                <a:gd name="T2" fmla="*/ 84 w 108"/>
                <a:gd name="T3" fmla="*/ 12 h 85"/>
                <a:gd name="T4" fmla="*/ 68 w 108"/>
                <a:gd name="T5" fmla="*/ 22 h 85"/>
                <a:gd name="T6" fmla="*/ 78 w 108"/>
                <a:gd name="T7" fmla="*/ 28 h 85"/>
                <a:gd name="T8" fmla="*/ 90 w 108"/>
                <a:gd name="T9" fmla="*/ 21 h 85"/>
                <a:gd name="T10" fmla="*/ 94 w 108"/>
                <a:gd name="T11" fmla="*/ 30 h 85"/>
                <a:gd name="T12" fmla="*/ 85 w 108"/>
                <a:gd name="T13" fmla="*/ 26 h 85"/>
                <a:gd name="T14" fmla="*/ 79 w 108"/>
                <a:gd name="T15" fmla="*/ 29 h 85"/>
                <a:gd name="T16" fmla="*/ 82 w 108"/>
                <a:gd name="T17" fmla="*/ 41 h 85"/>
                <a:gd name="T18" fmla="*/ 54 w 108"/>
                <a:gd name="T19" fmla="*/ 58 h 85"/>
                <a:gd name="T20" fmla="*/ 28 w 108"/>
                <a:gd name="T21" fmla="*/ 72 h 85"/>
                <a:gd name="T22" fmla="*/ 28 w 108"/>
                <a:gd name="T23" fmla="*/ 69 h 85"/>
                <a:gd name="T24" fmla="*/ 27 w 108"/>
                <a:gd name="T25" fmla="*/ 64 h 85"/>
                <a:gd name="T26" fmla="*/ 15 w 108"/>
                <a:gd name="T27" fmla="*/ 55 h 85"/>
                <a:gd name="T28" fmla="*/ 19 w 108"/>
                <a:gd name="T29" fmla="*/ 51 h 85"/>
                <a:gd name="T30" fmla="*/ 25 w 108"/>
                <a:gd name="T31" fmla="*/ 45 h 85"/>
                <a:gd name="T32" fmla="*/ 37 w 108"/>
                <a:gd name="T33" fmla="*/ 33 h 85"/>
                <a:gd name="T34" fmla="*/ 70 w 108"/>
                <a:gd name="T35" fmla="*/ 1 h 85"/>
                <a:gd name="T36" fmla="*/ 70 w 108"/>
                <a:gd name="T37" fmla="*/ 0 h 85"/>
                <a:gd name="T38" fmla="*/ 70 w 108"/>
                <a:gd name="T39" fmla="*/ 0 h 85"/>
                <a:gd name="T40" fmla="*/ 33 w 108"/>
                <a:gd name="T41" fmla="*/ 28 h 85"/>
                <a:gd name="T42" fmla="*/ 15 w 108"/>
                <a:gd name="T43" fmla="*/ 47 h 85"/>
                <a:gd name="T44" fmla="*/ 7 w 108"/>
                <a:gd name="T45" fmla="*/ 56 h 85"/>
                <a:gd name="T46" fmla="*/ 1 w 108"/>
                <a:gd name="T47" fmla="*/ 65 h 85"/>
                <a:gd name="T48" fmla="*/ 0 w 108"/>
                <a:gd name="T49" fmla="*/ 70 h 85"/>
                <a:gd name="T50" fmla="*/ 9 w 108"/>
                <a:gd name="T51" fmla="*/ 83 h 85"/>
                <a:gd name="T52" fmla="*/ 25 w 108"/>
                <a:gd name="T53" fmla="*/ 81 h 85"/>
                <a:gd name="T54" fmla="*/ 65 w 108"/>
                <a:gd name="T55" fmla="*/ 58 h 85"/>
                <a:gd name="T56" fmla="*/ 83 w 108"/>
                <a:gd name="T57" fmla="*/ 48 h 85"/>
                <a:gd name="T58" fmla="*/ 99 w 108"/>
                <a:gd name="T59" fmla="*/ 39 h 85"/>
                <a:gd name="T60" fmla="*/ 104 w 108"/>
                <a:gd name="T61" fmla="*/ 18 h 85"/>
                <a:gd name="T62" fmla="*/ 18 w 108"/>
                <a:gd name="T63" fmla="*/ 77 h 85"/>
                <a:gd name="T64" fmla="*/ 16 w 108"/>
                <a:gd name="T65" fmla="*/ 78 h 85"/>
                <a:gd name="T66" fmla="*/ 12 w 108"/>
                <a:gd name="T67" fmla="*/ 78 h 85"/>
                <a:gd name="T68" fmla="*/ 6 w 108"/>
                <a:gd name="T69" fmla="*/ 66 h 85"/>
                <a:gd name="T70" fmla="*/ 17 w 108"/>
                <a:gd name="T71" fmla="*/ 62 h 85"/>
                <a:gd name="T72" fmla="*/ 22 w 108"/>
                <a:gd name="T73" fmla="*/ 70 h 85"/>
                <a:gd name="T74" fmla="*/ 18 w 108"/>
                <a:gd name="T75" fmla="*/ 7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85">
                  <a:moveTo>
                    <a:pt x="104" y="18"/>
                  </a:moveTo>
                  <a:cubicBezTo>
                    <a:pt x="100" y="11"/>
                    <a:pt x="91" y="8"/>
                    <a:pt x="84" y="12"/>
                  </a:cubicBezTo>
                  <a:cubicBezTo>
                    <a:pt x="84" y="12"/>
                    <a:pt x="84" y="12"/>
                    <a:pt x="68" y="22"/>
                  </a:cubicBezTo>
                  <a:cubicBezTo>
                    <a:pt x="68" y="22"/>
                    <a:pt x="68" y="22"/>
                    <a:pt x="78" y="28"/>
                  </a:cubicBezTo>
                  <a:cubicBezTo>
                    <a:pt x="78" y="28"/>
                    <a:pt x="78" y="28"/>
                    <a:pt x="90" y="21"/>
                  </a:cubicBezTo>
                  <a:cubicBezTo>
                    <a:pt x="97" y="18"/>
                    <a:pt x="99" y="27"/>
                    <a:pt x="94" y="30"/>
                  </a:cubicBezTo>
                  <a:cubicBezTo>
                    <a:pt x="94" y="30"/>
                    <a:pt x="94" y="30"/>
                    <a:pt x="85" y="26"/>
                  </a:cubicBezTo>
                  <a:cubicBezTo>
                    <a:pt x="85" y="26"/>
                    <a:pt x="85" y="26"/>
                    <a:pt x="79" y="29"/>
                  </a:cubicBezTo>
                  <a:cubicBezTo>
                    <a:pt x="79" y="29"/>
                    <a:pt x="79" y="29"/>
                    <a:pt x="82" y="41"/>
                  </a:cubicBezTo>
                  <a:cubicBezTo>
                    <a:pt x="73" y="47"/>
                    <a:pt x="63" y="53"/>
                    <a:pt x="54" y="58"/>
                  </a:cubicBezTo>
                  <a:cubicBezTo>
                    <a:pt x="46" y="63"/>
                    <a:pt x="37" y="68"/>
                    <a:pt x="28" y="72"/>
                  </a:cubicBezTo>
                  <a:cubicBezTo>
                    <a:pt x="29" y="72"/>
                    <a:pt x="28" y="69"/>
                    <a:pt x="28" y="69"/>
                  </a:cubicBezTo>
                  <a:cubicBezTo>
                    <a:pt x="28" y="67"/>
                    <a:pt x="27" y="65"/>
                    <a:pt x="27" y="64"/>
                  </a:cubicBezTo>
                  <a:cubicBezTo>
                    <a:pt x="25" y="60"/>
                    <a:pt x="20" y="56"/>
                    <a:pt x="15" y="55"/>
                  </a:cubicBezTo>
                  <a:cubicBezTo>
                    <a:pt x="17" y="54"/>
                    <a:pt x="18" y="52"/>
                    <a:pt x="19" y="51"/>
                  </a:cubicBezTo>
                  <a:cubicBezTo>
                    <a:pt x="21" y="49"/>
                    <a:pt x="23" y="47"/>
                    <a:pt x="25" y="45"/>
                  </a:cubicBezTo>
                  <a:cubicBezTo>
                    <a:pt x="29" y="41"/>
                    <a:pt x="33" y="37"/>
                    <a:pt x="37" y="33"/>
                  </a:cubicBezTo>
                  <a:cubicBezTo>
                    <a:pt x="47" y="22"/>
                    <a:pt x="63" y="8"/>
                    <a:pt x="70" y="1"/>
                  </a:cubicBezTo>
                  <a:cubicBezTo>
                    <a:pt x="70" y="0"/>
                    <a:pt x="70" y="0"/>
                    <a:pt x="70" y="0"/>
                  </a:cubicBezTo>
                  <a:cubicBezTo>
                    <a:pt x="70" y="0"/>
                    <a:pt x="70" y="0"/>
                    <a:pt x="70" y="0"/>
                  </a:cubicBezTo>
                  <a:cubicBezTo>
                    <a:pt x="58" y="5"/>
                    <a:pt x="44" y="18"/>
                    <a:pt x="33" y="28"/>
                  </a:cubicBezTo>
                  <a:cubicBezTo>
                    <a:pt x="27" y="34"/>
                    <a:pt x="21" y="40"/>
                    <a:pt x="15" y="47"/>
                  </a:cubicBezTo>
                  <a:cubicBezTo>
                    <a:pt x="12" y="50"/>
                    <a:pt x="10" y="53"/>
                    <a:pt x="7" y="56"/>
                  </a:cubicBezTo>
                  <a:cubicBezTo>
                    <a:pt x="5" y="59"/>
                    <a:pt x="2" y="62"/>
                    <a:pt x="1" y="65"/>
                  </a:cubicBezTo>
                  <a:cubicBezTo>
                    <a:pt x="0" y="67"/>
                    <a:pt x="0" y="68"/>
                    <a:pt x="0" y="70"/>
                  </a:cubicBezTo>
                  <a:cubicBezTo>
                    <a:pt x="0" y="76"/>
                    <a:pt x="4" y="81"/>
                    <a:pt x="9" y="83"/>
                  </a:cubicBezTo>
                  <a:cubicBezTo>
                    <a:pt x="14" y="85"/>
                    <a:pt x="20" y="83"/>
                    <a:pt x="25" y="81"/>
                  </a:cubicBezTo>
                  <a:cubicBezTo>
                    <a:pt x="39" y="74"/>
                    <a:pt x="52" y="66"/>
                    <a:pt x="65" y="58"/>
                  </a:cubicBezTo>
                  <a:cubicBezTo>
                    <a:pt x="71" y="55"/>
                    <a:pt x="77" y="52"/>
                    <a:pt x="83" y="48"/>
                  </a:cubicBezTo>
                  <a:cubicBezTo>
                    <a:pt x="83" y="48"/>
                    <a:pt x="83" y="48"/>
                    <a:pt x="99" y="39"/>
                  </a:cubicBezTo>
                  <a:cubicBezTo>
                    <a:pt x="106" y="35"/>
                    <a:pt x="108" y="26"/>
                    <a:pt x="104" y="18"/>
                  </a:cubicBezTo>
                  <a:close/>
                  <a:moveTo>
                    <a:pt x="18" y="77"/>
                  </a:moveTo>
                  <a:cubicBezTo>
                    <a:pt x="18" y="77"/>
                    <a:pt x="17" y="78"/>
                    <a:pt x="16" y="78"/>
                  </a:cubicBezTo>
                  <a:cubicBezTo>
                    <a:pt x="15" y="79"/>
                    <a:pt x="13" y="79"/>
                    <a:pt x="12" y="78"/>
                  </a:cubicBezTo>
                  <a:cubicBezTo>
                    <a:pt x="7" y="77"/>
                    <a:pt x="4" y="71"/>
                    <a:pt x="6" y="66"/>
                  </a:cubicBezTo>
                  <a:cubicBezTo>
                    <a:pt x="8" y="62"/>
                    <a:pt x="12" y="60"/>
                    <a:pt x="17" y="62"/>
                  </a:cubicBezTo>
                  <a:cubicBezTo>
                    <a:pt x="20" y="64"/>
                    <a:pt x="22" y="67"/>
                    <a:pt x="22" y="70"/>
                  </a:cubicBezTo>
                  <a:cubicBezTo>
                    <a:pt x="22" y="72"/>
                    <a:pt x="20" y="75"/>
                    <a:pt x="18" y="7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2" name="Groupe 9">
            <a:extLst>
              <a:ext uri="{FF2B5EF4-FFF2-40B4-BE49-F238E27FC236}">
                <a16:creationId xmlns:a16="http://schemas.microsoft.com/office/drawing/2014/main" id="{1A57C186-584F-4630-BF9F-24F354DBE490}"/>
              </a:ext>
              <a:ext uri="{C183D7F6-B498-43B3-948B-1728B52AA6E4}">
                <adec:decorative xmlns:adec="http://schemas.microsoft.com/office/drawing/2017/decorative" val="1"/>
              </a:ext>
            </a:extLst>
          </p:cNvPr>
          <p:cNvGrpSpPr>
            <a:grpSpLocks noChangeAspect="1"/>
          </p:cNvGrpSpPr>
          <p:nvPr/>
        </p:nvGrpSpPr>
        <p:grpSpPr>
          <a:xfrm>
            <a:off x="8421261" y="2995439"/>
            <a:ext cx="676599" cy="633600"/>
            <a:chOff x="531868" y="5070393"/>
            <a:chExt cx="768862" cy="720000"/>
          </a:xfrm>
        </p:grpSpPr>
        <p:sp>
          <p:nvSpPr>
            <p:cNvPr id="773" name="Freeform 251">
              <a:extLst>
                <a:ext uri="{FF2B5EF4-FFF2-40B4-BE49-F238E27FC236}">
                  <a16:creationId xmlns:a16="http://schemas.microsoft.com/office/drawing/2014/main" id="{64D61576-C778-4278-8713-AADF51FE0591}"/>
                </a:ext>
              </a:extLst>
            </p:cNvPr>
            <p:cNvSpPr>
              <a:spLocks/>
            </p:cNvSpPr>
            <p:nvPr/>
          </p:nvSpPr>
          <p:spPr bwMode="auto">
            <a:xfrm>
              <a:off x="531868" y="5070393"/>
              <a:ext cx="768862" cy="720000"/>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774" name="Freeform 33">
              <a:extLst>
                <a:ext uri="{FF2B5EF4-FFF2-40B4-BE49-F238E27FC236}">
                  <a16:creationId xmlns:a16="http://schemas.microsoft.com/office/drawing/2014/main" id="{1416FFAE-ADDE-465B-9D08-D80757EC3983}"/>
                </a:ext>
              </a:extLst>
            </p:cNvPr>
            <p:cNvSpPr>
              <a:spLocks noEditPoints="1"/>
            </p:cNvSpPr>
            <p:nvPr/>
          </p:nvSpPr>
          <p:spPr bwMode="auto">
            <a:xfrm>
              <a:off x="722766" y="5234362"/>
              <a:ext cx="369468" cy="392062"/>
            </a:xfrm>
            <a:custGeom>
              <a:avLst/>
              <a:gdLst>
                <a:gd name="T0" fmla="*/ 38 w 104"/>
                <a:gd name="T1" fmla="*/ 70 h 110"/>
                <a:gd name="T2" fmla="*/ 40 w 104"/>
                <a:gd name="T3" fmla="*/ 75 h 110"/>
                <a:gd name="T4" fmla="*/ 42 w 104"/>
                <a:gd name="T5" fmla="*/ 70 h 110"/>
                <a:gd name="T6" fmla="*/ 53 w 104"/>
                <a:gd name="T7" fmla="*/ 63 h 110"/>
                <a:gd name="T8" fmla="*/ 51 w 104"/>
                <a:gd name="T9" fmla="*/ 66 h 110"/>
                <a:gd name="T10" fmla="*/ 55 w 104"/>
                <a:gd name="T11" fmla="*/ 69 h 110"/>
                <a:gd name="T12" fmla="*/ 57 w 104"/>
                <a:gd name="T13" fmla="*/ 66 h 110"/>
                <a:gd name="T14" fmla="*/ 53 w 104"/>
                <a:gd name="T15" fmla="*/ 63 h 110"/>
                <a:gd name="T16" fmla="*/ 25 w 104"/>
                <a:gd name="T17" fmla="*/ 63 h 110"/>
                <a:gd name="T18" fmla="*/ 23 w 104"/>
                <a:gd name="T19" fmla="*/ 68 h 110"/>
                <a:gd name="T20" fmla="*/ 26 w 104"/>
                <a:gd name="T21" fmla="*/ 68 h 110"/>
                <a:gd name="T22" fmla="*/ 28 w 104"/>
                <a:gd name="T23" fmla="*/ 63 h 110"/>
                <a:gd name="T24" fmla="*/ 21 w 104"/>
                <a:gd name="T25" fmla="*/ 50 h 110"/>
                <a:gd name="T26" fmla="*/ 16 w 104"/>
                <a:gd name="T27" fmla="*/ 52 h 110"/>
                <a:gd name="T28" fmla="*/ 21 w 104"/>
                <a:gd name="T29" fmla="*/ 53 h 110"/>
                <a:gd name="T30" fmla="*/ 21 w 104"/>
                <a:gd name="T31" fmla="*/ 50 h 110"/>
                <a:gd name="T32" fmla="*/ 58 w 104"/>
                <a:gd name="T33" fmla="*/ 50 h 110"/>
                <a:gd name="T34" fmla="*/ 58 w 104"/>
                <a:gd name="T35" fmla="*/ 53 h 110"/>
                <a:gd name="T36" fmla="*/ 64 w 104"/>
                <a:gd name="T37" fmla="*/ 52 h 110"/>
                <a:gd name="T38" fmla="*/ 55 w 104"/>
                <a:gd name="T39" fmla="*/ 34 h 110"/>
                <a:gd name="T40" fmla="*/ 51 w 104"/>
                <a:gd name="T41" fmla="*/ 37 h 110"/>
                <a:gd name="T42" fmla="*/ 53 w 104"/>
                <a:gd name="T43" fmla="*/ 40 h 110"/>
                <a:gd name="T44" fmla="*/ 57 w 104"/>
                <a:gd name="T45" fmla="*/ 37 h 110"/>
                <a:gd name="T46" fmla="*/ 55 w 104"/>
                <a:gd name="T47" fmla="*/ 34 h 110"/>
                <a:gd name="T48" fmla="*/ 23 w 104"/>
                <a:gd name="T49" fmla="*/ 34 h 110"/>
                <a:gd name="T50" fmla="*/ 29 w 104"/>
                <a:gd name="T51" fmla="*/ 43 h 110"/>
                <a:gd name="T52" fmla="*/ 27 w 104"/>
                <a:gd name="T53" fmla="*/ 51 h 110"/>
                <a:gd name="T54" fmla="*/ 53 w 104"/>
                <a:gd name="T55" fmla="*/ 51 h 110"/>
                <a:gd name="T56" fmla="*/ 32 w 104"/>
                <a:gd name="T57" fmla="*/ 41 h 110"/>
                <a:gd name="T58" fmla="*/ 26 w 104"/>
                <a:gd name="T59" fmla="*/ 34 h 110"/>
                <a:gd name="T60" fmla="*/ 40 w 104"/>
                <a:gd name="T61" fmla="*/ 28 h 110"/>
                <a:gd name="T62" fmla="*/ 38 w 104"/>
                <a:gd name="T63" fmla="*/ 33 h 110"/>
                <a:gd name="T64" fmla="*/ 42 w 104"/>
                <a:gd name="T65" fmla="*/ 33 h 110"/>
                <a:gd name="T66" fmla="*/ 40 w 104"/>
                <a:gd name="T67" fmla="*/ 28 h 110"/>
                <a:gd name="T68" fmla="*/ 79 w 104"/>
                <a:gd name="T69" fmla="*/ 70 h 110"/>
                <a:gd name="T70" fmla="*/ 77 w 104"/>
                <a:gd name="T71" fmla="*/ 39 h 110"/>
                <a:gd name="T72" fmla="*/ 91 w 104"/>
                <a:gd name="T73" fmla="*/ 39 h 110"/>
                <a:gd name="T74" fmla="*/ 89 w 104"/>
                <a:gd name="T75" fmla="*/ 70 h 110"/>
                <a:gd name="T76" fmla="*/ 40 w 104"/>
                <a:gd name="T77" fmla="*/ 79 h 110"/>
                <a:gd name="T78" fmla="*/ 40 w 104"/>
                <a:gd name="T79" fmla="*/ 24 h 110"/>
                <a:gd name="T80" fmla="*/ 40 w 104"/>
                <a:gd name="T81" fmla="*/ 79 h 110"/>
                <a:gd name="T82" fmla="*/ 12 w 104"/>
                <a:gd name="T83" fmla="*/ 0 h 110"/>
                <a:gd name="T84" fmla="*/ 0 w 104"/>
                <a:gd name="T85" fmla="*/ 92 h 110"/>
                <a:gd name="T86" fmla="*/ 15 w 104"/>
                <a:gd name="T87" fmla="*/ 104 h 110"/>
                <a:gd name="T88" fmla="*/ 31 w 104"/>
                <a:gd name="T89" fmla="*/ 104 h 110"/>
                <a:gd name="T90" fmla="*/ 81 w 104"/>
                <a:gd name="T91" fmla="*/ 110 h 110"/>
                <a:gd name="T92" fmla="*/ 92 w 104"/>
                <a:gd name="T93" fmla="*/ 104 h 110"/>
                <a:gd name="T94" fmla="*/ 104 w 104"/>
                <a:gd name="T95" fmla="*/ 1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10">
                  <a:moveTo>
                    <a:pt x="40" y="68"/>
                  </a:moveTo>
                  <a:cubicBezTo>
                    <a:pt x="39" y="68"/>
                    <a:pt x="38" y="69"/>
                    <a:pt x="38" y="70"/>
                  </a:cubicBezTo>
                  <a:cubicBezTo>
                    <a:pt x="38" y="73"/>
                    <a:pt x="38" y="73"/>
                    <a:pt x="38" y="73"/>
                  </a:cubicBezTo>
                  <a:cubicBezTo>
                    <a:pt x="38" y="75"/>
                    <a:pt x="39" y="75"/>
                    <a:pt x="40" y="75"/>
                  </a:cubicBezTo>
                  <a:cubicBezTo>
                    <a:pt x="41" y="75"/>
                    <a:pt x="42" y="75"/>
                    <a:pt x="42" y="73"/>
                  </a:cubicBezTo>
                  <a:cubicBezTo>
                    <a:pt x="42" y="70"/>
                    <a:pt x="42" y="70"/>
                    <a:pt x="42" y="70"/>
                  </a:cubicBezTo>
                  <a:cubicBezTo>
                    <a:pt x="42" y="69"/>
                    <a:pt x="41" y="68"/>
                    <a:pt x="40" y="68"/>
                  </a:cubicBezTo>
                  <a:moveTo>
                    <a:pt x="53" y="63"/>
                  </a:moveTo>
                  <a:cubicBezTo>
                    <a:pt x="52" y="63"/>
                    <a:pt x="52" y="63"/>
                    <a:pt x="51" y="63"/>
                  </a:cubicBezTo>
                  <a:cubicBezTo>
                    <a:pt x="51" y="64"/>
                    <a:pt x="51" y="65"/>
                    <a:pt x="51" y="66"/>
                  </a:cubicBezTo>
                  <a:cubicBezTo>
                    <a:pt x="54" y="68"/>
                    <a:pt x="54" y="68"/>
                    <a:pt x="54" y="68"/>
                  </a:cubicBezTo>
                  <a:cubicBezTo>
                    <a:pt x="54" y="69"/>
                    <a:pt x="55" y="69"/>
                    <a:pt x="55" y="69"/>
                  </a:cubicBezTo>
                  <a:cubicBezTo>
                    <a:pt x="56" y="69"/>
                    <a:pt x="56" y="69"/>
                    <a:pt x="57" y="68"/>
                  </a:cubicBezTo>
                  <a:cubicBezTo>
                    <a:pt x="57" y="68"/>
                    <a:pt x="57" y="66"/>
                    <a:pt x="57" y="66"/>
                  </a:cubicBezTo>
                  <a:cubicBezTo>
                    <a:pt x="54" y="63"/>
                    <a:pt x="54" y="63"/>
                    <a:pt x="54" y="63"/>
                  </a:cubicBezTo>
                  <a:cubicBezTo>
                    <a:pt x="54" y="63"/>
                    <a:pt x="53" y="63"/>
                    <a:pt x="53" y="63"/>
                  </a:cubicBezTo>
                  <a:moveTo>
                    <a:pt x="27" y="63"/>
                  </a:moveTo>
                  <a:cubicBezTo>
                    <a:pt x="26" y="63"/>
                    <a:pt x="26" y="63"/>
                    <a:pt x="25" y="63"/>
                  </a:cubicBezTo>
                  <a:cubicBezTo>
                    <a:pt x="23" y="66"/>
                    <a:pt x="23" y="66"/>
                    <a:pt x="23" y="66"/>
                  </a:cubicBezTo>
                  <a:cubicBezTo>
                    <a:pt x="22" y="66"/>
                    <a:pt x="22" y="68"/>
                    <a:pt x="23" y="68"/>
                  </a:cubicBezTo>
                  <a:cubicBezTo>
                    <a:pt x="23" y="69"/>
                    <a:pt x="24" y="69"/>
                    <a:pt x="24" y="69"/>
                  </a:cubicBezTo>
                  <a:cubicBezTo>
                    <a:pt x="25" y="69"/>
                    <a:pt x="25" y="69"/>
                    <a:pt x="26" y="68"/>
                  </a:cubicBezTo>
                  <a:cubicBezTo>
                    <a:pt x="28" y="66"/>
                    <a:pt x="28" y="66"/>
                    <a:pt x="28" y="66"/>
                  </a:cubicBezTo>
                  <a:cubicBezTo>
                    <a:pt x="29" y="65"/>
                    <a:pt x="29" y="64"/>
                    <a:pt x="28" y="63"/>
                  </a:cubicBezTo>
                  <a:cubicBezTo>
                    <a:pt x="28" y="63"/>
                    <a:pt x="27" y="63"/>
                    <a:pt x="27" y="63"/>
                  </a:cubicBezTo>
                  <a:moveTo>
                    <a:pt x="21" y="50"/>
                  </a:moveTo>
                  <a:cubicBezTo>
                    <a:pt x="18" y="50"/>
                    <a:pt x="18" y="50"/>
                    <a:pt x="18" y="50"/>
                  </a:cubicBezTo>
                  <a:cubicBezTo>
                    <a:pt x="17" y="50"/>
                    <a:pt x="16" y="50"/>
                    <a:pt x="16" y="52"/>
                  </a:cubicBezTo>
                  <a:cubicBezTo>
                    <a:pt x="16" y="53"/>
                    <a:pt x="17" y="53"/>
                    <a:pt x="18" y="53"/>
                  </a:cubicBezTo>
                  <a:cubicBezTo>
                    <a:pt x="21" y="53"/>
                    <a:pt x="21" y="53"/>
                    <a:pt x="21" y="53"/>
                  </a:cubicBezTo>
                  <a:cubicBezTo>
                    <a:pt x="22" y="53"/>
                    <a:pt x="23" y="53"/>
                    <a:pt x="23" y="52"/>
                  </a:cubicBezTo>
                  <a:cubicBezTo>
                    <a:pt x="23" y="50"/>
                    <a:pt x="22" y="50"/>
                    <a:pt x="21" y="50"/>
                  </a:cubicBezTo>
                  <a:moveTo>
                    <a:pt x="62" y="50"/>
                  </a:moveTo>
                  <a:cubicBezTo>
                    <a:pt x="58" y="50"/>
                    <a:pt x="58" y="50"/>
                    <a:pt x="58" y="50"/>
                  </a:cubicBezTo>
                  <a:cubicBezTo>
                    <a:pt x="57" y="50"/>
                    <a:pt x="56" y="50"/>
                    <a:pt x="56" y="52"/>
                  </a:cubicBezTo>
                  <a:cubicBezTo>
                    <a:pt x="56" y="53"/>
                    <a:pt x="57" y="53"/>
                    <a:pt x="58" y="53"/>
                  </a:cubicBezTo>
                  <a:cubicBezTo>
                    <a:pt x="62" y="53"/>
                    <a:pt x="62" y="53"/>
                    <a:pt x="62" y="53"/>
                  </a:cubicBezTo>
                  <a:cubicBezTo>
                    <a:pt x="63" y="53"/>
                    <a:pt x="64" y="53"/>
                    <a:pt x="64" y="52"/>
                  </a:cubicBezTo>
                  <a:cubicBezTo>
                    <a:pt x="64" y="50"/>
                    <a:pt x="63" y="50"/>
                    <a:pt x="62" y="50"/>
                  </a:cubicBezTo>
                  <a:moveTo>
                    <a:pt x="55" y="34"/>
                  </a:moveTo>
                  <a:cubicBezTo>
                    <a:pt x="55" y="34"/>
                    <a:pt x="54" y="34"/>
                    <a:pt x="54" y="35"/>
                  </a:cubicBezTo>
                  <a:cubicBezTo>
                    <a:pt x="51" y="37"/>
                    <a:pt x="51" y="37"/>
                    <a:pt x="51" y="37"/>
                  </a:cubicBezTo>
                  <a:cubicBezTo>
                    <a:pt x="51" y="38"/>
                    <a:pt x="51" y="39"/>
                    <a:pt x="51" y="40"/>
                  </a:cubicBezTo>
                  <a:cubicBezTo>
                    <a:pt x="52" y="40"/>
                    <a:pt x="52" y="40"/>
                    <a:pt x="53" y="40"/>
                  </a:cubicBezTo>
                  <a:cubicBezTo>
                    <a:pt x="53" y="40"/>
                    <a:pt x="54" y="40"/>
                    <a:pt x="54" y="40"/>
                  </a:cubicBezTo>
                  <a:cubicBezTo>
                    <a:pt x="57" y="37"/>
                    <a:pt x="57" y="37"/>
                    <a:pt x="57" y="37"/>
                  </a:cubicBezTo>
                  <a:cubicBezTo>
                    <a:pt x="57" y="37"/>
                    <a:pt x="57" y="35"/>
                    <a:pt x="57" y="35"/>
                  </a:cubicBezTo>
                  <a:cubicBezTo>
                    <a:pt x="56" y="34"/>
                    <a:pt x="56" y="34"/>
                    <a:pt x="55" y="34"/>
                  </a:cubicBezTo>
                  <a:moveTo>
                    <a:pt x="24" y="34"/>
                  </a:moveTo>
                  <a:cubicBezTo>
                    <a:pt x="24" y="34"/>
                    <a:pt x="23" y="34"/>
                    <a:pt x="23" y="34"/>
                  </a:cubicBezTo>
                  <a:cubicBezTo>
                    <a:pt x="22" y="35"/>
                    <a:pt x="22" y="36"/>
                    <a:pt x="23" y="37"/>
                  </a:cubicBezTo>
                  <a:cubicBezTo>
                    <a:pt x="29" y="43"/>
                    <a:pt x="29" y="43"/>
                    <a:pt x="29" y="43"/>
                  </a:cubicBezTo>
                  <a:cubicBezTo>
                    <a:pt x="29" y="44"/>
                    <a:pt x="29" y="44"/>
                    <a:pt x="29" y="44"/>
                  </a:cubicBezTo>
                  <a:cubicBezTo>
                    <a:pt x="28" y="46"/>
                    <a:pt x="27" y="48"/>
                    <a:pt x="27" y="51"/>
                  </a:cubicBezTo>
                  <a:cubicBezTo>
                    <a:pt x="27" y="59"/>
                    <a:pt x="32" y="65"/>
                    <a:pt x="40" y="65"/>
                  </a:cubicBezTo>
                  <a:cubicBezTo>
                    <a:pt x="47" y="65"/>
                    <a:pt x="53" y="59"/>
                    <a:pt x="53" y="51"/>
                  </a:cubicBezTo>
                  <a:cubicBezTo>
                    <a:pt x="53" y="44"/>
                    <a:pt x="47" y="38"/>
                    <a:pt x="40" y="38"/>
                  </a:cubicBezTo>
                  <a:cubicBezTo>
                    <a:pt x="37" y="38"/>
                    <a:pt x="34" y="39"/>
                    <a:pt x="32" y="41"/>
                  </a:cubicBezTo>
                  <a:cubicBezTo>
                    <a:pt x="32" y="41"/>
                    <a:pt x="32" y="41"/>
                    <a:pt x="32" y="41"/>
                  </a:cubicBezTo>
                  <a:cubicBezTo>
                    <a:pt x="26" y="34"/>
                    <a:pt x="26" y="34"/>
                    <a:pt x="26" y="34"/>
                  </a:cubicBezTo>
                  <a:cubicBezTo>
                    <a:pt x="25" y="34"/>
                    <a:pt x="25" y="34"/>
                    <a:pt x="24" y="34"/>
                  </a:cubicBezTo>
                  <a:moveTo>
                    <a:pt x="40" y="28"/>
                  </a:moveTo>
                  <a:cubicBezTo>
                    <a:pt x="39" y="28"/>
                    <a:pt x="38" y="29"/>
                    <a:pt x="38" y="30"/>
                  </a:cubicBezTo>
                  <a:cubicBezTo>
                    <a:pt x="38" y="33"/>
                    <a:pt x="38" y="33"/>
                    <a:pt x="38" y="33"/>
                  </a:cubicBezTo>
                  <a:cubicBezTo>
                    <a:pt x="38" y="34"/>
                    <a:pt x="39" y="35"/>
                    <a:pt x="40" y="35"/>
                  </a:cubicBezTo>
                  <a:cubicBezTo>
                    <a:pt x="41" y="35"/>
                    <a:pt x="42" y="34"/>
                    <a:pt x="42" y="33"/>
                  </a:cubicBezTo>
                  <a:cubicBezTo>
                    <a:pt x="42" y="30"/>
                    <a:pt x="42" y="30"/>
                    <a:pt x="42" y="30"/>
                  </a:cubicBezTo>
                  <a:cubicBezTo>
                    <a:pt x="42" y="29"/>
                    <a:pt x="41" y="28"/>
                    <a:pt x="40" y="28"/>
                  </a:cubicBezTo>
                  <a:moveTo>
                    <a:pt x="84" y="74"/>
                  </a:moveTo>
                  <a:cubicBezTo>
                    <a:pt x="81" y="74"/>
                    <a:pt x="79" y="72"/>
                    <a:pt x="79" y="70"/>
                  </a:cubicBezTo>
                  <a:cubicBezTo>
                    <a:pt x="81" y="46"/>
                    <a:pt x="81" y="46"/>
                    <a:pt x="81" y="46"/>
                  </a:cubicBezTo>
                  <a:cubicBezTo>
                    <a:pt x="78" y="45"/>
                    <a:pt x="77" y="42"/>
                    <a:pt x="77" y="39"/>
                  </a:cubicBezTo>
                  <a:cubicBezTo>
                    <a:pt x="77" y="35"/>
                    <a:pt x="80" y="32"/>
                    <a:pt x="84" y="32"/>
                  </a:cubicBezTo>
                  <a:cubicBezTo>
                    <a:pt x="88" y="32"/>
                    <a:pt x="91" y="35"/>
                    <a:pt x="91" y="39"/>
                  </a:cubicBezTo>
                  <a:cubicBezTo>
                    <a:pt x="91" y="42"/>
                    <a:pt x="90" y="44"/>
                    <a:pt x="87" y="46"/>
                  </a:cubicBezTo>
                  <a:cubicBezTo>
                    <a:pt x="89" y="70"/>
                    <a:pt x="89" y="70"/>
                    <a:pt x="89" y="70"/>
                  </a:cubicBezTo>
                  <a:cubicBezTo>
                    <a:pt x="89" y="72"/>
                    <a:pt x="87" y="74"/>
                    <a:pt x="84" y="74"/>
                  </a:cubicBezTo>
                  <a:moveTo>
                    <a:pt x="40" y="79"/>
                  </a:moveTo>
                  <a:cubicBezTo>
                    <a:pt x="25" y="79"/>
                    <a:pt x="13" y="67"/>
                    <a:pt x="13" y="51"/>
                  </a:cubicBezTo>
                  <a:cubicBezTo>
                    <a:pt x="13" y="36"/>
                    <a:pt x="25" y="24"/>
                    <a:pt x="40" y="24"/>
                  </a:cubicBezTo>
                  <a:cubicBezTo>
                    <a:pt x="55" y="24"/>
                    <a:pt x="67" y="36"/>
                    <a:pt x="67" y="51"/>
                  </a:cubicBezTo>
                  <a:cubicBezTo>
                    <a:pt x="67" y="67"/>
                    <a:pt x="55" y="79"/>
                    <a:pt x="40" y="79"/>
                  </a:cubicBezTo>
                  <a:moveTo>
                    <a:pt x="92" y="0"/>
                  </a:moveTo>
                  <a:cubicBezTo>
                    <a:pt x="12" y="0"/>
                    <a:pt x="12" y="0"/>
                    <a:pt x="12" y="0"/>
                  </a:cubicBezTo>
                  <a:cubicBezTo>
                    <a:pt x="5" y="0"/>
                    <a:pt x="0" y="5"/>
                    <a:pt x="0" y="12"/>
                  </a:cubicBezTo>
                  <a:cubicBezTo>
                    <a:pt x="0" y="92"/>
                    <a:pt x="0" y="92"/>
                    <a:pt x="0" y="92"/>
                  </a:cubicBezTo>
                  <a:cubicBezTo>
                    <a:pt x="0" y="98"/>
                    <a:pt x="5" y="104"/>
                    <a:pt x="12" y="104"/>
                  </a:cubicBezTo>
                  <a:cubicBezTo>
                    <a:pt x="15" y="104"/>
                    <a:pt x="15" y="104"/>
                    <a:pt x="15" y="104"/>
                  </a:cubicBezTo>
                  <a:cubicBezTo>
                    <a:pt x="16" y="107"/>
                    <a:pt x="19" y="110"/>
                    <a:pt x="23" y="110"/>
                  </a:cubicBezTo>
                  <a:cubicBezTo>
                    <a:pt x="27" y="110"/>
                    <a:pt x="30" y="107"/>
                    <a:pt x="31" y="104"/>
                  </a:cubicBezTo>
                  <a:cubicBezTo>
                    <a:pt x="73" y="104"/>
                    <a:pt x="73" y="104"/>
                    <a:pt x="73" y="104"/>
                  </a:cubicBezTo>
                  <a:cubicBezTo>
                    <a:pt x="74" y="107"/>
                    <a:pt x="77" y="110"/>
                    <a:pt x="81" y="110"/>
                  </a:cubicBezTo>
                  <a:cubicBezTo>
                    <a:pt x="85" y="110"/>
                    <a:pt x="88" y="107"/>
                    <a:pt x="89" y="104"/>
                  </a:cubicBezTo>
                  <a:cubicBezTo>
                    <a:pt x="92" y="104"/>
                    <a:pt x="92" y="104"/>
                    <a:pt x="92" y="104"/>
                  </a:cubicBezTo>
                  <a:cubicBezTo>
                    <a:pt x="98" y="104"/>
                    <a:pt x="104" y="98"/>
                    <a:pt x="104" y="92"/>
                  </a:cubicBezTo>
                  <a:cubicBezTo>
                    <a:pt x="104" y="12"/>
                    <a:pt x="104" y="12"/>
                    <a:pt x="104" y="12"/>
                  </a:cubicBezTo>
                  <a:cubicBezTo>
                    <a:pt x="104" y="5"/>
                    <a:pt x="98" y="0"/>
                    <a:pt x="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398" name="Groupe 921">
            <a:extLst>
              <a:ext uri="{FF2B5EF4-FFF2-40B4-BE49-F238E27FC236}">
                <a16:creationId xmlns:a16="http://schemas.microsoft.com/office/drawing/2014/main" id="{DBACA43F-875F-459C-B578-EED9F298F820}"/>
              </a:ext>
              <a:ext uri="{C183D7F6-B498-43B3-948B-1728B52AA6E4}">
                <adec:decorative xmlns:adec="http://schemas.microsoft.com/office/drawing/2017/decorative" val="1"/>
              </a:ext>
            </a:extLst>
          </p:cNvPr>
          <p:cNvGrpSpPr>
            <a:grpSpLocks noChangeAspect="1"/>
          </p:cNvGrpSpPr>
          <p:nvPr/>
        </p:nvGrpSpPr>
        <p:grpSpPr>
          <a:xfrm>
            <a:off x="10010225" y="3946128"/>
            <a:ext cx="680005" cy="633600"/>
            <a:chOff x="2464607" y="7328725"/>
            <a:chExt cx="604838" cy="563562"/>
          </a:xfrm>
        </p:grpSpPr>
        <p:sp>
          <p:nvSpPr>
            <p:cNvPr id="399" name="Freeform 215">
              <a:extLst>
                <a:ext uri="{FF2B5EF4-FFF2-40B4-BE49-F238E27FC236}">
                  <a16:creationId xmlns:a16="http://schemas.microsoft.com/office/drawing/2014/main" id="{8F7D7C66-B636-40E3-B07C-6516B5DF75DF}"/>
                </a:ext>
              </a:extLst>
            </p:cNvPr>
            <p:cNvSpPr>
              <a:spLocks/>
            </p:cNvSpPr>
            <p:nvPr/>
          </p:nvSpPr>
          <p:spPr bwMode="auto">
            <a:xfrm>
              <a:off x="2464607" y="7328725"/>
              <a:ext cx="604838" cy="563562"/>
            </a:xfrm>
            <a:custGeom>
              <a:avLst/>
              <a:gdLst>
                <a:gd name="T0" fmla="*/ 51 w 440"/>
                <a:gd name="T1" fmla="*/ 299 h 411"/>
                <a:gd name="T2" fmla="*/ 128 w 440"/>
                <a:gd name="T3" fmla="*/ 49 h 411"/>
                <a:gd name="T4" fmla="*/ 389 w 440"/>
                <a:gd name="T5" fmla="*/ 123 h 411"/>
                <a:gd name="T6" fmla="*/ 307 w 440"/>
                <a:gd name="T7" fmla="*/ 363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8" y="49"/>
                  </a:cubicBezTo>
                  <a:cubicBezTo>
                    <a:pt x="221" y="0"/>
                    <a:pt x="338" y="34"/>
                    <a:pt x="389" y="123"/>
                  </a:cubicBezTo>
                  <a:cubicBezTo>
                    <a:pt x="440" y="213"/>
                    <a:pt x="400" y="314"/>
                    <a:pt x="307" y="363"/>
                  </a:cubicBezTo>
                  <a:cubicBezTo>
                    <a:pt x="214" y="411"/>
                    <a:pt x="102" y="389"/>
                    <a:pt x="51" y="29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216">
              <a:extLst>
                <a:ext uri="{FF2B5EF4-FFF2-40B4-BE49-F238E27FC236}">
                  <a16:creationId xmlns:a16="http://schemas.microsoft.com/office/drawing/2014/main" id="{9F9A68F0-91F3-4A7A-B356-96560F3CF5BF}"/>
                </a:ext>
              </a:extLst>
            </p:cNvPr>
            <p:cNvSpPr>
              <a:spLocks noEditPoints="1"/>
            </p:cNvSpPr>
            <p:nvPr/>
          </p:nvSpPr>
          <p:spPr bwMode="auto">
            <a:xfrm>
              <a:off x="2799569" y="7649400"/>
              <a:ext cx="128588" cy="128587"/>
            </a:xfrm>
            <a:custGeom>
              <a:avLst/>
              <a:gdLst>
                <a:gd name="T0" fmla="*/ 47 w 93"/>
                <a:gd name="T1" fmla="*/ 93 h 93"/>
                <a:gd name="T2" fmla="*/ 0 w 93"/>
                <a:gd name="T3" fmla="*/ 47 h 93"/>
                <a:gd name="T4" fmla="*/ 47 w 93"/>
                <a:gd name="T5" fmla="*/ 0 h 93"/>
                <a:gd name="T6" fmla="*/ 93 w 93"/>
                <a:gd name="T7" fmla="*/ 47 h 93"/>
                <a:gd name="T8" fmla="*/ 47 w 93"/>
                <a:gd name="T9" fmla="*/ 93 h 93"/>
                <a:gd name="T10" fmla="*/ 47 w 93"/>
                <a:gd name="T11" fmla="*/ 26 h 93"/>
                <a:gd name="T12" fmla="*/ 26 w 93"/>
                <a:gd name="T13" fmla="*/ 47 h 93"/>
                <a:gd name="T14" fmla="*/ 47 w 93"/>
                <a:gd name="T15" fmla="*/ 67 h 93"/>
                <a:gd name="T16" fmla="*/ 67 w 93"/>
                <a:gd name="T17" fmla="*/ 47 h 93"/>
                <a:gd name="T18" fmla="*/ 47 w 93"/>
                <a:gd name="T19"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93"/>
                  </a:moveTo>
                  <a:cubicBezTo>
                    <a:pt x="21" y="93"/>
                    <a:pt x="0" y="72"/>
                    <a:pt x="0" y="47"/>
                  </a:cubicBezTo>
                  <a:cubicBezTo>
                    <a:pt x="0" y="21"/>
                    <a:pt x="21" y="0"/>
                    <a:pt x="47" y="0"/>
                  </a:cubicBezTo>
                  <a:cubicBezTo>
                    <a:pt x="72" y="0"/>
                    <a:pt x="93" y="21"/>
                    <a:pt x="93" y="47"/>
                  </a:cubicBezTo>
                  <a:cubicBezTo>
                    <a:pt x="93" y="72"/>
                    <a:pt x="72" y="93"/>
                    <a:pt x="47" y="93"/>
                  </a:cubicBezTo>
                  <a:close/>
                  <a:moveTo>
                    <a:pt x="47" y="26"/>
                  </a:moveTo>
                  <a:cubicBezTo>
                    <a:pt x="35" y="26"/>
                    <a:pt x="26" y="35"/>
                    <a:pt x="26" y="47"/>
                  </a:cubicBezTo>
                  <a:cubicBezTo>
                    <a:pt x="26" y="58"/>
                    <a:pt x="35" y="67"/>
                    <a:pt x="47" y="67"/>
                  </a:cubicBezTo>
                  <a:cubicBezTo>
                    <a:pt x="58" y="67"/>
                    <a:pt x="67" y="58"/>
                    <a:pt x="67" y="47"/>
                  </a:cubicBezTo>
                  <a:cubicBezTo>
                    <a:pt x="67" y="35"/>
                    <a:pt x="58" y="26"/>
                    <a:pt x="47"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217">
              <a:extLst>
                <a:ext uri="{FF2B5EF4-FFF2-40B4-BE49-F238E27FC236}">
                  <a16:creationId xmlns:a16="http://schemas.microsoft.com/office/drawing/2014/main" id="{033F6446-4EED-4636-BE12-06582CF7A274}"/>
                </a:ext>
              </a:extLst>
            </p:cNvPr>
            <p:cNvSpPr>
              <a:spLocks/>
            </p:cNvSpPr>
            <p:nvPr/>
          </p:nvSpPr>
          <p:spPr bwMode="auto">
            <a:xfrm>
              <a:off x="2686857" y="7531925"/>
              <a:ext cx="222250" cy="193675"/>
            </a:xfrm>
            <a:custGeom>
              <a:avLst/>
              <a:gdLst>
                <a:gd name="T0" fmla="*/ 160 w 162"/>
                <a:gd name="T1" fmla="*/ 31 h 142"/>
                <a:gd name="T2" fmla="*/ 109 w 162"/>
                <a:gd name="T3" fmla="*/ 1 h 142"/>
                <a:gd name="T4" fmla="*/ 106 w 162"/>
                <a:gd name="T5" fmla="*/ 3 h 142"/>
                <a:gd name="T6" fmla="*/ 106 w 162"/>
                <a:gd name="T7" fmla="*/ 17 h 142"/>
                <a:gd name="T8" fmla="*/ 103 w 162"/>
                <a:gd name="T9" fmla="*/ 20 h 142"/>
                <a:gd name="T10" fmla="*/ 0 w 162"/>
                <a:gd name="T11" fmla="*/ 125 h 142"/>
                <a:gd name="T12" fmla="*/ 0 w 162"/>
                <a:gd name="T13" fmla="*/ 139 h 142"/>
                <a:gd name="T14" fmla="*/ 3 w 162"/>
                <a:gd name="T15" fmla="*/ 142 h 142"/>
                <a:gd name="T16" fmla="*/ 26 w 162"/>
                <a:gd name="T17" fmla="*/ 125 h 142"/>
                <a:gd name="T18" fmla="*/ 103 w 162"/>
                <a:gd name="T19" fmla="*/ 46 h 142"/>
                <a:gd name="T20" fmla="*/ 106 w 162"/>
                <a:gd name="T21" fmla="*/ 48 h 142"/>
                <a:gd name="T22" fmla="*/ 106 w 162"/>
                <a:gd name="T23" fmla="*/ 62 h 142"/>
                <a:gd name="T24" fmla="*/ 109 w 162"/>
                <a:gd name="T25" fmla="*/ 64 h 142"/>
                <a:gd name="T26" fmla="*/ 160 w 162"/>
                <a:gd name="T27" fmla="*/ 35 h 142"/>
                <a:gd name="T28" fmla="*/ 160 w 162"/>
                <a:gd name="T29" fmla="*/ 3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42">
                  <a:moveTo>
                    <a:pt x="160" y="31"/>
                  </a:moveTo>
                  <a:cubicBezTo>
                    <a:pt x="109" y="1"/>
                    <a:pt x="109" y="1"/>
                    <a:pt x="109" y="1"/>
                  </a:cubicBezTo>
                  <a:cubicBezTo>
                    <a:pt x="108" y="0"/>
                    <a:pt x="106" y="2"/>
                    <a:pt x="106" y="3"/>
                  </a:cubicBezTo>
                  <a:cubicBezTo>
                    <a:pt x="106" y="17"/>
                    <a:pt x="106" y="17"/>
                    <a:pt x="106" y="17"/>
                  </a:cubicBezTo>
                  <a:cubicBezTo>
                    <a:pt x="106" y="19"/>
                    <a:pt x="105" y="20"/>
                    <a:pt x="103" y="20"/>
                  </a:cubicBezTo>
                  <a:cubicBezTo>
                    <a:pt x="46" y="21"/>
                    <a:pt x="0" y="68"/>
                    <a:pt x="0" y="125"/>
                  </a:cubicBezTo>
                  <a:cubicBezTo>
                    <a:pt x="0" y="139"/>
                    <a:pt x="0" y="139"/>
                    <a:pt x="0" y="139"/>
                  </a:cubicBezTo>
                  <a:cubicBezTo>
                    <a:pt x="0" y="141"/>
                    <a:pt x="1" y="142"/>
                    <a:pt x="3" y="142"/>
                  </a:cubicBezTo>
                  <a:cubicBezTo>
                    <a:pt x="26" y="141"/>
                    <a:pt x="26" y="125"/>
                    <a:pt x="26" y="125"/>
                  </a:cubicBezTo>
                  <a:cubicBezTo>
                    <a:pt x="26" y="82"/>
                    <a:pt x="60" y="47"/>
                    <a:pt x="103" y="46"/>
                  </a:cubicBezTo>
                  <a:cubicBezTo>
                    <a:pt x="105" y="46"/>
                    <a:pt x="106" y="47"/>
                    <a:pt x="106" y="48"/>
                  </a:cubicBezTo>
                  <a:cubicBezTo>
                    <a:pt x="106" y="62"/>
                    <a:pt x="106" y="62"/>
                    <a:pt x="106" y="62"/>
                  </a:cubicBezTo>
                  <a:cubicBezTo>
                    <a:pt x="106" y="64"/>
                    <a:pt x="108" y="65"/>
                    <a:pt x="109" y="64"/>
                  </a:cubicBezTo>
                  <a:cubicBezTo>
                    <a:pt x="160" y="35"/>
                    <a:pt x="160" y="35"/>
                    <a:pt x="160" y="35"/>
                  </a:cubicBezTo>
                  <a:cubicBezTo>
                    <a:pt x="162" y="34"/>
                    <a:pt x="162" y="32"/>
                    <a:pt x="160" y="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218">
              <a:extLst>
                <a:ext uri="{FF2B5EF4-FFF2-40B4-BE49-F238E27FC236}">
                  <a16:creationId xmlns:a16="http://schemas.microsoft.com/office/drawing/2014/main" id="{EFEC2494-38AC-4D32-9E87-8AE5CF7A6467}"/>
                </a:ext>
              </a:extLst>
            </p:cNvPr>
            <p:cNvSpPr>
              <a:spLocks/>
            </p:cNvSpPr>
            <p:nvPr/>
          </p:nvSpPr>
          <p:spPr bwMode="auto">
            <a:xfrm>
              <a:off x="2612244" y="7474775"/>
              <a:ext cx="111125" cy="111125"/>
            </a:xfrm>
            <a:custGeom>
              <a:avLst/>
              <a:gdLst>
                <a:gd name="T0" fmla="*/ 80 w 81"/>
                <a:gd name="T1" fmla="*/ 15 h 81"/>
                <a:gd name="T2" fmla="*/ 66 w 81"/>
                <a:gd name="T3" fmla="*/ 1 h 81"/>
                <a:gd name="T4" fmla="*/ 61 w 81"/>
                <a:gd name="T5" fmla="*/ 1 h 81"/>
                <a:gd name="T6" fmla="*/ 42 w 81"/>
                <a:gd name="T7" fmla="*/ 20 h 81"/>
                <a:gd name="T8" fmla="*/ 38 w 81"/>
                <a:gd name="T9" fmla="*/ 20 h 81"/>
                <a:gd name="T10" fmla="*/ 19 w 81"/>
                <a:gd name="T11" fmla="*/ 1 h 81"/>
                <a:gd name="T12" fmla="*/ 15 w 81"/>
                <a:gd name="T13" fmla="*/ 1 h 81"/>
                <a:gd name="T14" fmla="*/ 1 w 81"/>
                <a:gd name="T15" fmla="*/ 15 h 81"/>
                <a:gd name="T16" fmla="*/ 1 w 81"/>
                <a:gd name="T17" fmla="*/ 19 h 81"/>
                <a:gd name="T18" fmla="*/ 20 w 81"/>
                <a:gd name="T19" fmla="*/ 38 h 81"/>
                <a:gd name="T20" fmla="*/ 20 w 81"/>
                <a:gd name="T21" fmla="*/ 43 h 81"/>
                <a:gd name="T22" fmla="*/ 11 w 81"/>
                <a:gd name="T23" fmla="*/ 51 h 81"/>
                <a:gd name="T24" fmla="*/ 13 w 81"/>
                <a:gd name="T25" fmla="*/ 78 h 81"/>
                <a:gd name="T26" fmla="*/ 15 w 81"/>
                <a:gd name="T27" fmla="*/ 80 h 81"/>
                <a:gd name="T28" fmla="*/ 19 w 81"/>
                <a:gd name="T29" fmla="*/ 80 h 81"/>
                <a:gd name="T30" fmla="*/ 38 w 81"/>
                <a:gd name="T31" fmla="*/ 61 h 81"/>
                <a:gd name="T32" fmla="*/ 42 w 81"/>
                <a:gd name="T33" fmla="*/ 61 h 81"/>
                <a:gd name="T34" fmla="*/ 61 w 81"/>
                <a:gd name="T35" fmla="*/ 80 h 81"/>
                <a:gd name="T36" fmla="*/ 66 w 81"/>
                <a:gd name="T37" fmla="*/ 80 h 81"/>
                <a:gd name="T38" fmla="*/ 80 w 81"/>
                <a:gd name="T39" fmla="*/ 66 h 81"/>
                <a:gd name="T40" fmla="*/ 80 w 81"/>
                <a:gd name="T41" fmla="*/ 62 h 81"/>
                <a:gd name="T42" fmla="*/ 61 w 81"/>
                <a:gd name="T43" fmla="*/ 43 h 81"/>
                <a:gd name="T44" fmla="*/ 61 w 81"/>
                <a:gd name="T45" fmla="*/ 38 h 81"/>
                <a:gd name="T46" fmla="*/ 80 w 81"/>
                <a:gd name="T47" fmla="*/ 19 h 81"/>
                <a:gd name="T48" fmla="*/ 80 w 81"/>
                <a:gd name="T49"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81">
                  <a:moveTo>
                    <a:pt x="80" y="15"/>
                  </a:moveTo>
                  <a:cubicBezTo>
                    <a:pt x="66" y="1"/>
                    <a:pt x="66" y="1"/>
                    <a:pt x="66" y="1"/>
                  </a:cubicBezTo>
                  <a:cubicBezTo>
                    <a:pt x="64" y="0"/>
                    <a:pt x="63" y="0"/>
                    <a:pt x="61" y="1"/>
                  </a:cubicBezTo>
                  <a:cubicBezTo>
                    <a:pt x="42" y="20"/>
                    <a:pt x="42" y="20"/>
                    <a:pt x="42" y="20"/>
                  </a:cubicBezTo>
                  <a:cubicBezTo>
                    <a:pt x="41" y="21"/>
                    <a:pt x="39" y="21"/>
                    <a:pt x="38" y="20"/>
                  </a:cubicBezTo>
                  <a:cubicBezTo>
                    <a:pt x="19" y="1"/>
                    <a:pt x="19" y="1"/>
                    <a:pt x="19" y="1"/>
                  </a:cubicBezTo>
                  <a:cubicBezTo>
                    <a:pt x="18" y="0"/>
                    <a:pt x="16" y="0"/>
                    <a:pt x="15" y="1"/>
                  </a:cubicBezTo>
                  <a:cubicBezTo>
                    <a:pt x="1" y="15"/>
                    <a:pt x="1" y="15"/>
                    <a:pt x="1" y="15"/>
                  </a:cubicBezTo>
                  <a:cubicBezTo>
                    <a:pt x="0" y="16"/>
                    <a:pt x="0" y="18"/>
                    <a:pt x="1" y="19"/>
                  </a:cubicBezTo>
                  <a:cubicBezTo>
                    <a:pt x="20" y="38"/>
                    <a:pt x="20" y="38"/>
                    <a:pt x="20" y="38"/>
                  </a:cubicBezTo>
                  <a:cubicBezTo>
                    <a:pt x="21" y="39"/>
                    <a:pt x="21" y="41"/>
                    <a:pt x="20" y="43"/>
                  </a:cubicBezTo>
                  <a:cubicBezTo>
                    <a:pt x="11" y="51"/>
                    <a:pt x="11" y="51"/>
                    <a:pt x="11" y="51"/>
                  </a:cubicBezTo>
                  <a:cubicBezTo>
                    <a:pt x="1" y="61"/>
                    <a:pt x="8" y="72"/>
                    <a:pt x="13" y="78"/>
                  </a:cubicBezTo>
                  <a:cubicBezTo>
                    <a:pt x="15" y="80"/>
                    <a:pt x="15" y="80"/>
                    <a:pt x="15" y="80"/>
                  </a:cubicBezTo>
                  <a:cubicBezTo>
                    <a:pt x="16" y="81"/>
                    <a:pt x="18" y="81"/>
                    <a:pt x="19" y="80"/>
                  </a:cubicBezTo>
                  <a:cubicBezTo>
                    <a:pt x="38" y="61"/>
                    <a:pt x="38" y="61"/>
                    <a:pt x="38" y="61"/>
                  </a:cubicBezTo>
                  <a:cubicBezTo>
                    <a:pt x="39" y="60"/>
                    <a:pt x="41" y="60"/>
                    <a:pt x="42" y="61"/>
                  </a:cubicBezTo>
                  <a:cubicBezTo>
                    <a:pt x="61" y="80"/>
                    <a:pt x="61" y="80"/>
                    <a:pt x="61" y="80"/>
                  </a:cubicBezTo>
                  <a:cubicBezTo>
                    <a:pt x="63" y="81"/>
                    <a:pt x="64" y="81"/>
                    <a:pt x="66" y="80"/>
                  </a:cubicBezTo>
                  <a:cubicBezTo>
                    <a:pt x="80" y="66"/>
                    <a:pt x="80" y="66"/>
                    <a:pt x="80" y="66"/>
                  </a:cubicBezTo>
                  <a:cubicBezTo>
                    <a:pt x="81" y="65"/>
                    <a:pt x="81" y="63"/>
                    <a:pt x="80" y="62"/>
                  </a:cubicBezTo>
                  <a:cubicBezTo>
                    <a:pt x="61" y="43"/>
                    <a:pt x="61" y="43"/>
                    <a:pt x="61" y="43"/>
                  </a:cubicBezTo>
                  <a:cubicBezTo>
                    <a:pt x="59" y="41"/>
                    <a:pt x="59" y="39"/>
                    <a:pt x="61" y="38"/>
                  </a:cubicBezTo>
                  <a:cubicBezTo>
                    <a:pt x="80" y="19"/>
                    <a:pt x="80" y="19"/>
                    <a:pt x="80" y="19"/>
                  </a:cubicBezTo>
                  <a:cubicBezTo>
                    <a:pt x="81" y="18"/>
                    <a:pt x="81" y="16"/>
                    <a:pt x="8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7">
            <a:extLst>
              <a:ext uri="{FF2B5EF4-FFF2-40B4-BE49-F238E27FC236}">
                <a16:creationId xmlns:a16="http://schemas.microsoft.com/office/drawing/2014/main" id="{BB3B5C8B-9CA1-454C-BCDC-BF2974D38D00}"/>
              </a:ext>
              <a:ext uri="{C183D7F6-B498-43B3-948B-1728B52AA6E4}">
                <adec:decorative xmlns:adec="http://schemas.microsoft.com/office/drawing/2017/decorative" val="1"/>
              </a:ext>
            </a:extLst>
          </p:cNvPr>
          <p:cNvGrpSpPr>
            <a:grpSpLocks noChangeAspect="1"/>
          </p:cNvGrpSpPr>
          <p:nvPr/>
        </p:nvGrpSpPr>
        <p:grpSpPr>
          <a:xfrm>
            <a:off x="461364" y="4941168"/>
            <a:ext cx="679123" cy="633600"/>
            <a:chOff x="264311" y="5028269"/>
            <a:chExt cx="771731" cy="719999"/>
          </a:xfrm>
        </p:grpSpPr>
        <p:sp>
          <p:nvSpPr>
            <p:cNvPr id="404" name="Freeform 246">
              <a:extLst>
                <a:ext uri="{FF2B5EF4-FFF2-40B4-BE49-F238E27FC236}">
                  <a16:creationId xmlns:a16="http://schemas.microsoft.com/office/drawing/2014/main" id="{0F86D6F8-C138-431D-BFBD-C5002027DBC0}"/>
                </a:ext>
              </a:extLst>
            </p:cNvPr>
            <p:cNvSpPr>
              <a:spLocks/>
            </p:cNvSpPr>
            <p:nvPr/>
          </p:nvSpPr>
          <p:spPr bwMode="auto">
            <a:xfrm>
              <a:off x="264311" y="5028273"/>
              <a:ext cx="771731" cy="720000"/>
            </a:xfrm>
            <a:custGeom>
              <a:avLst/>
              <a:gdLst>
                <a:gd name="T0" fmla="*/ 45 w 309"/>
                <a:gd name="T1" fmla="*/ 226 h 288"/>
                <a:gd name="T2" fmla="*/ 74 w 309"/>
                <a:gd name="T3" fmla="*/ 43 h 288"/>
                <a:gd name="T4" fmla="*/ 265 w 309"/>
                <a:gd name="T5" fmla="*/ 70 h 288"/>
                <a:gd name="T6" fmla="*/ 230 w 309"/>
                <a:gd name="T7" fmla="*/ 245 h 288"/>
                <a:gd name="T8" fmla="*/ 45 w 309"/>
                <a:gd name="T9" fmla="*/ 226 h 288"/>
              </a:gdLst>
              <a:ahLst/>
              <a:cxnLst>
                <a:cxn ang="0">
                  <a:pos x="T0" y="T1"/>
                </a:cxn>
                <a:cxn ang="0">
                  <a:pos x="T2" y="T3"/>
                </a:cxn>
                <a:cxn ang="0">
                  <a:pos x="T4" y="T5"/>
                </a:cxn>
                <a:cxn ang="0">
                  <a:pos x="T6" y="T7"/>
                </a:cxn>
                <a:cxn ang="0">
                  <a:pos x="T8" y="T9"/>
                </a:cxn>
              </a:cxnLst>
              <a:rect l="0" t="0" r="r" b="b"/>
              <a:pathLst>
                <a:path w="309" h="288">
                  <a:moveTo>
                    <a:pt x="45" y="226"/>
                  </a:moveTo>
                  <a:cubicBezTo>
                    <a:pt x="0" y="168"/>
                    <a:pt x="13" y="86"/>
                    <a:pt x="74" y="43"/>
                  </a:cubicBezTo>
                  <a:cubicBezTo>
                    <a:pt x="135" y="0"/>
                    <a:pt x="220" y="12"/>
                    <a:pt x="265" y="70"/>
                  </a:cubicBezTo>
                  <a:cubicBezTo>
                    <a:pt x="309" y="128"/>
                    <a:pt x="291" y="202"/>
                    <a:pt x="230" y="245"/>
                  </a:cubicBezTo>
                  <a:cubicBezTo>
                    <a:pt x="169" y="288"/>
                    <a:pt x="89" y="283"/>
                    <a:pt x="45" y="22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05" name="Groupe 877">
              <a:extLst>
                <a:ext uri="{FF2B5EF4-FFF2-40B4-BE49-F238E27FC236}">
                  <a16:creationId xmlns:a16="http://schemas.microsoft.com/office/drawing/2014/main" id="{8A97F3F1-8A8D-4D4D-92A6-00B415147032}"/>
                </a:ext>
              </a:extLst>
            </p:cNvPr>
            <p:cNvGrpSpPr/>
            <p:nvPr/>
          </p:nvGrpSpPr>
          <p:grpSpPr>
            <a:xfrm>
              <a:off x="483901" y="5172906"/>
              <a:ext cx="400117" cy="409619"/>
              <a:chOff x="9891713" y="4013200"/>
              <a:chExt cx="601662" cy="615950"/>
            </a:xfrm>
            <a:solidFill>
              <a:schemeClr val="bg1"/>
            </a:solidFill>
          </p:grpSpPr>
          <p:sp>
            <p:nvSpPr>
              <p:cNvPr id="406" name="Freeform 247">
                <a:extLst>
                  <a:ext uri="{FF2B5EF4-FFF2-40B4-BE49-F238E27FC236}">
                    <a16:creationId xmlns:a16="http://schemas.microsoft.com/office/drawing/2014/main" id="{54364927-98BF-4088-BD53-B8E571BBAAEA}"/>
                  </a:ext>
                </a:extLst>
              </p:cNvPr>
              <p:cNvSpPr>
                <a:spLocks/>
              </p:cNvSpPr>
              <p:nvPr/>
            </p:nvSpPr>
            <p:spPr bwMode="auto">
              <a:xfrm>
                <a:off x="9891713" y="4310063"/>
                <a:ext cx="477838" cy="319087"/>
              </a:xfrm>
              <a:custGeom>
                <a:avLst/>
                <a:gdLst>
                  <a:gd name="T0" fmla="*/ 127 w 127"/>
                  <a:gd name="T1" fmla="*/ 0 h 85"/>
                  <a:gd name="T2" fmla="*/ 119 w 127"/>
                  <a:gd name="T3" fmla="*/ 43 h 85"/>
                  <a:gd name="T4" fmla="*/ 97 w 127"/>
                  <a:gd name="T5" fmla="*/ 81 h 85"/>
                  <a:gd name="T6" fmla="*/ 95 w 127"/>
                  <a:gd name="T7" fmla="*/ 85 h 85"/>
                  <a:gd name="T8" fmla="*/ 31 w 127"/>
                  <a:gd name="T9" fmla="*/ 85 h 85"/>
                  <a:gd name="T10" fmla="*/ 29 w 127"/>
                  <a:gd name="T11" fmla="*/ 81 h 85"/>
                  <a:gd name="T12" fmla="*/ 7 w 127"/>
                  <a:gd name="T13" fmla="*/ 43 h 85"/>
                  <a:gd name="T14" fmla="*/ 0 w 127"/>
                  <a:gd name="T15" fmla="*/ 0 h 85"/>
                  <a:gd name="T16" fmla="*/ 127 w 127"/>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85">
                    <a:moveTo>
                      <a:pt x="127" y="0"/>
                    </a:moveTo>
                    <a:cubicBezTo>
                      <a:pt x="127" y="8"/>
                      <a:pt x="123" y="32"/>
                      <a:pt x="119" y="43"/>
                    </a:cubicBezTo>
                    <a:cubicBezTo>
                      <a:pt x="114" y="53"/>
                      <a:pt x="101" y="78"/>
                      <a:pt x="97" y="81"/>
                    </a:cubicBezTo>
                    <a:cubicBezTo>
                      <a:pt x="96" y="82"/>
                      <a:pt x="95" y="84"/>
                      <a:pt x="95" y="85"/>
                    </a:cubicBezTo>
                    <a:cubicBezTo>
                      <a:pt x="31" y="85"/>
                      <a:pt x="31" y="85"/>
                      <a:pt x="31" y="85"/>
                    </a:cubicBezTo>
                    <a:cubicBezTo>
                      <a:pt x="31" y="84"/>
                      <a:pt x="30" y="82"/>
                      <a:pt x="29" y="81"/>
                    </a:cubicBezTo>
                    <a:cubicBezTo>
                      <a:pt x="26" y="78"/>
                      <a:pt x="12" y="53"/>
                      <a:pt x="7" y="43"/>
                    </a:cubicBezTo>
                    <a:cubicBezTo>
                      <a:pt x="3" y="32"/>
                      <a:pt x="0" y="8"/>
                      <a:pt x="0" y="0"/>
                    </a:cubicBezTo>
                    <a:lnTo>
                      <a:pt x="1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248">
                <a:extLst>
                  <a:ext uri="{FF2B5EF4-FFF2-40B4-BE49-F238E27FC236}">
                    <a16:creationId xmlns:a16="http://schemas.microsoft.com/office/drawing/2014/main" id="{1B669033-E57E-474D-98C9-E859BFE8ABB7}"/>
                  </a:ext>
                </a:extLst>
              </p:cNvPr>
              <p:cNvSpPr>
                <a:spLocks/>
              </p:cNvSpPr>
              <p:nvPr/>
            </p:nvSpPr>
            <p:spPr bwMode="auto">
              <a:xfrm>
                <a:off x="10267950" y="4329113"/>
                <a:ext cx="225425" cy="255587"/>
              </a:xfrm>
              <a:custGeom>
                <a:avLst/>
                <a:gdLst>
                  <a:gd name="T0" fmla="*/ 25 w 60"/>
                  <a:gd name="T1" fmla="*/ 5 h 68"/>
                  <a:gd name="T2" fmla="*/ 44 w 60"/>
                  <a:gd name="T3" fmla="*/ 5 h 68"/>
                  <a:gd name="T4" fmla="*/ 54 w 60"/>
                  <a:gd name="T5" fmla="*/ 31 h 68"/>
                  <a:gd name="T6" fmla="*/ 11 w 60"/>
                  <a:gd name="T7" fmla="*/ 61 h 68"/>
                  <a:gd name="T8" fmla="*/ 0 w 60"/>
                  <a:gd name="T9" fmla="*/ 65 h 68"/>
                  <a:gd name="T10" fmla="*/ 9 w 60"/>
                  <a:gd name="T11" fmla="*/ 50 h 68"/>
                  <a:gd name="T12" fmla="*/ 49 w 60"/>
                  <a:gd name="T13" fmla="*/ 21 h 68"/>
                  <a:gd name="T14" fmla="*/ 26 w 60"/>
                  <a:gd name="T15" fmla="*/ 21 h 68"/>
                  <a:gd name="T16" fmla="*/ 20 w 60"/>
                  <a:gd name="T17" fmla="*/ 23 h 68"/>
                  <a:gd name="T18" fmla="*/ 25 w 60"/>
                  <a:gd name="T19"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8">
                    <a:moveTo>
                      <a:pt x="25" y="5"/>
                    </a:moveTo>
                    <a:cubicBezTo>
                      <a:pt x="25" y="5"/>
                      <a:pt x="33" y="0"/>
                      <a:pt x="44" y="5"/>
                    </a:cubicBezTo>
                    <a:cubicBezTo>
                      <a:pt x="58" y="10"/>
                      <a:pt x="60" y="23"/>
                      <a:pt x="54" y="31"/>
                    </a:cubicBezTo>
                    <a:cubicBezTo>
                      <a:pt x="39" y="54"/>
                      <a:pt x="14" y="57"/>
                      <a:pt x="11" y="61"/>
                    </a:cubicBezTo>
                    <a:cubicBezTo>
                      <a:pt x="9" y="64"/>
                      <a:pt x="5" y="68"/>
                      <a:pt x="0" y="65"/>
                    </a:cubicBezTo>
                    <a:cubicBezTo>
                      <a:pt x="9" y="50"/>
                      <a:pt x="9" y="50"/>
                      <a:pt x="9" y="50"/>
                    </a:cubicBezTo>
                    <a:cubicBezTo>
                      <a:pt x="9" y="50"/>
                      <a:pt x="51" y="44"/>
                      <a:pt x="49" y="21"/>
                    </a:cubicBezTo>
                    <a:cubicBezTo>
                      <a:pt x="48" y="8"/>
                      <a:pt x="33" y="6"/>
                      <a:pt x="26" y="21"/>
                    </a:cubicBezTo>
                    <a:cubicBezTo>
                      <a:pt x="24" y="23"/>
                      <a:pt x="19" y="26"/>
                      <a:pt x="20" y="23"/>
                    </a:cubicBezTo>
                    <a:cubicBezTo>
                      <a:pt x="21" y="20"/>
                      <a:pt x="25" y="5"/>
                      <a:pt x="2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249">
                <a:extLst>
                  <a:ext uri="{FF2B5EF4-FFF2-40B4-BE49-F238E27FC236}">
                    <a16:creationId xmlns:a16="http://schemas.microsoft.com/office/drawing/2014/main" id="{AAAE7363-245E-4824-9A01-5EFAD04BB098}"/>
                  </a:ext>
                </a:extLst>
              </p:cNvPr>
              <p:cNvSpPr>
                <a:spLocks/>
              </p:cNvSpPr>
              <p:nvPr/>
            </p:nvSpPr>
            <p:spPr bwMode="auto">
              <a:xfrm>
                <a:off x="10053638" y="4087813"/>
                <a:ext cx="63500" cy="203200"/>
              </a:xfrm>
              <a:custGeom>
                <a:avLst/>
                <a:gdLst>
                  <a:gd name="T0" fmla="*/ 12 w 17"/>
                  <a:gd name="T1" fmla="*/ 52 h 54"/>
                  <a:gd name="T2" fmla="*/ 13 w 17"/>
                  <a:gd name="T3" fmla="*/ 45 h 54"/>
                  <a:gd name="T4" fmla="*/ 13 w 17"/>
                  <a:gd name="T5" fmla="*/ 44 h 54"/>
                  <a:gd name="T6" fmla="*/ 13 w 17"/>
                  <a:gd name="T7" fmla="*/ 44 h 54"/>
                  <a:gd name="T8" fmla="*/ 13 w 17"/>
                  <a:gd name="T9" fmla="*/ 43 h 54"/>
                  <a:gd name="T10" fmla="*/ 11 w 17"/>
                  <a:gd name="T11" fmla="*/ 37 h 54"/>
                  <a:gd name="T12" fmla="*/ 10 w 17"/>
                  <a:gd name="T13" fmla="*/ 37 h 54"/>
                  <a:gd name="T14" fmla="*/ 10 w 17"/>
                  <a:gd name="T15" fmla="*/ 36 h 54"/>
                  <a:gd name="T16" fmla="*/ 10 w 17"/>
                  <a:gd name="T17" fmla="*/ 36 h 54"/>
                  <a:gd name="T18" fmla="*/ 7 w 17"/>
                  <a:gd name="T19" fmla="*/ 33 h 54"/>
                  <a:gd name="T20" fmla="*/ 5 w 17"/>
                  <a:gd name="T21" fmla="*/ 32 h 54"/>
                  <a:gd name="T22" fmla="*/ 5 w 17"/>
                  <a:gd name="T23" fmla="*/ 32 h 54"/>
                  <a:gd name="T24" fmla="*/ 4 w 17"/>
                  <a:gd name="T25" fmla="*/ 31 h 54"/>
                  <a:gd name="T26" fmla="*/ 3 w 17"/>
                  <a:gd name="T27" fmla="*/ 30 h 54"/>
                  <a:gd name="T28" fmla="*/ 2 w 17"/>
                  <a:gd name="T29" fmla="*/ 28 h 54"/>
                  <a:gd name="T30" fmla="*/ 1 w 17"/>
                  <a:gd name="T31" fmla="*/ 25 h 54"/>
                  <a:gd name="T32" fmla="*/ 0 w 17"/>
                  <a:gd name="T33" fmla="*/ 23 h 54"/>
                  <a:gd name="T34" fmla="*/ 0 w 17"/>
                  <a:gd name="T35" fmla="*/ 18 h 54"/>
                  <a:gd name="T36" fmla="*/ 0 w 17"/>
                  <a:gd name="T37" fmla="*/ 15 h 54"/>
                  <a:gd name="T38" fmla="*/ 0 w 17"/>
                  <a:gd name="T39" fmla="*/ 14 h 54"/>
                  <a:gd name="T40" fmla="*/ 0 w 17"/>
                  <a:gd name="T41" fmla="*/ 13 h 54"/>
                  <a:gd name="T42" fmla="*/ 1 w 17"/>
                  <a:gd name="T43" fmla="*/ 12 h 54"/>
                  <a:gd name="T44" fmla="*/ 7 w 17"/>
                  <a:gd name="T45" fmla="*/ 2 h 54"/>
                  <a:gd name="T46" fmla="*/ 9 w 17"/>
                  <a:gd name="T47" fmla="*/ 1 h 54"/>
                  <a:gd name="T48" fmla="*/ 9 w 17"/>
                  <a:gd name="T49" fmla="*/ 3 h 54"/>
                  <a:gd name="T50" fmla="*/ 6 w 17"/>
                  <a:gd name="T51" fmla="*/ 9 h 54"/>
                  <a:gd name="T52" fmla="*/ 5 w 17"/>
                  <a:gd name="T53" fmla="*/ 14 h 54"/>
                  <a:gd name="T54" fmla="*/ 5 w 17"/>
                  <a:gd name="T55" fmla="*/ 15 h 54"/>
                  <a:gd name="T56" fmla="*/ 5 w 17"/>
                  <a:gd name="T57" fmla="*/ 15 h 54"/>
                  <a:gd name="T58" fmla="*/ 5 w 17"/>
                  <a:gd name="T59" fmla="*/ 15 h 54"/>
                  <a:gd name="T60" fmla="*/ 5 w 17"/>
                  <a:gd name="T61" fmla="*/ 18 h 54"/>
                  <a:gd name="T62" fmla="*/ 7 w 17"/>
                  <a:gd name="T63" fmla="*/ 24 h 54"/>
                  <a:gd name="T64" fmla="*/ 8 w 17"/>
                  <a:gd name="T65" fmla="*/ 26 h 54"/>
                  <a:gd name="T66" fmla="*/ 9 w 17"/>
                  <a:gd name="T67" fmla="*/ 28 h 54"/>
                  <a:gd name="T68" fmla="*/ 9 w 17"/>
                  <a:gd name="T69" fmla="*/ 28 h 54"/>
                  <a:gd name="T70" fmla="*/ 10 w 17"/>
                  <a:gd name="T71" fmla="*/ 28 h 54"/>
                  <a:gd name="T72" fmla="*/ 14 w 17"/>
                  <a:gd name="T73" fmla="*/ 32 h 54"/>
                  <a:gd name="T74" fmla="*/ 14 w 17"/>
                  <a:gd name="T75" fmla="*/ 33 h 54"/>
                  <a:gd name="T76" fmla="*/ 16 w 17"/>
                  <a:gd name="T77" fmla="*/ 35 h 54"/>
                  <a:gd name="T78" fmla="*/ 17 w 17"/>
                  <a:gd name="T79" fmla="*/ 44 h 54"/>
                  <a:gd name="T80" fmla="*/ 17 w 17"/>
                  <a:gd name="T81" fmla="*/ 45 h 54"/>
                  <a:gd name="T82" fmla="*/ 17 w 17"/>
                  <a:gd name="T83" fmla="*/ 45 h 54"/>
                  <a:gd name="T84" fmla="*/ 15 w 17"/>
                  <a:gd name="T85" fmla="*/ 49 h 54"/>
                  <a:gd name="T86" fmla="*/ 12 w 17"/>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54">
                    <a:moveTo>
                      <a:pt x="12" y="54"/>
                    </a:moveTo>
                    <a:cubicBezTo>
                      <a:pt x="12" y="54"/>
                      <a:pt x="12" y="54"/>
                      <a:pt x="12" y="54"/>
                    </a:cubicBezTo>
                    <a:cubicBezTo>
                      <a:pt x="12" y="53"/>
                      <a:pt x="12" y="53"/>
                      <a:pt x="12" y="52"/>
                    </a:cubicBezTo>
                    <a:cubicBezTo>
                      <a:pt x="13" y="51"/>
                      <a:pt x="13" y="50"/>
                      <a:pt x="13" y="49"/>
                    </a:cubicBezTo>
                    <a:cubicBezTo>
                      <a:pt x="13" y="48"/>
                      <a:pt x="13" y="48"/>
                      <a:pt x="13" y="47"/>
                    </a:cubicBezTo>
                    <a:cubicBezTo>
                      <a:pt x="13" y="46"/>
                      <a:pt x="13" y="46"/>
                      <a:pt x="13" y="45"/>
                    </a:cubicBezTo>
                    <a:cubicBezTo>
                      <a:pt x="13" y="45"/>
                      <a:pt x="13" y="45"/>
                      <a:pt x="13" y="45"/>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2"/>
                      <a:pt x="13" y="42"/>
                      <a:pt x="12" y="41"/>
                    </a:cubicBezTo>
                    <a:cubicBezTo>
                      <a:pt x="12" y="40"/>
                      <a:pt x="12" y="38"/>
                      <a:pt x="11" y="37"/>
                    </a:cubicBezTo>
                    <a:cubicBezTo>
                      <a:pt x="11" y="37"/>
                      <a:pt x="11" y="37"/>
                      <a:pt x="11" y="37"/>
                    </a:cubicBezTo>
                    <a:cubicBezTo>
                      <a:pt x="10" y="37"/>
                      <a:pt x="10" y="37"/>
                      <a:pt x="10" y="37"/>
                    </a:cubicBezTo>
                    <a:cubicBezTo>
                      <a:pt x="10" y="37"/>
                      <a:pt x="10" y="37"/>
                      <a:pt x="10" y="37"/>
                    </a:cubicBezTo>
                    <a:cubicBezTo>
                      <a:pt x="10" y="36"/>
                      <a:pt x="10" y="37"/>
                      <a:pt x="10" y="37"/>
                    </a:cubicBezTo>
                    <a:cubicBezTo>
                      <a:pt x="10" y="37"/>
                      <a:pt x="10" y="37"/>
                      <a:pt x="10" y="37"/>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9" y="35"/>
                      <a:pt x="8" y="35"/>
                      <a:pt x="8" y="34"/>
                    </a:cubicBezTo>
                    <a:cubicBezTo>
                      <a:pt x="7" y="34"/>
                      <a:pt x="7" y="34"/>
                      <a:pt x="7" y="33"/>
                    </a:cubicBezTo>
                    <a:cubicBezTo>
                      <a:pt x="6" y="33"/>
                      <a:pt x="6" y="33"/>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4" y="31"/>
                      <a:pt x="4" y="31"/>
                      <a:pt x="4" y="31"/>
                    </a:cubicBezTo>
                    <a:cubicBezTo>
                      <a:pt x="4" y="31"/>
                      <a:pt x="4" y="31"/>
                      <a:pt x="4" y="31"/>
                    </a:cubicBezTo>
                    <a:cubicBezTo>
                      <a:pt x="3" y="30"/>
                      <a:pt x="3" y="30"/>
                      <a:pt x="3" y="30"/>
                    </a:cubicBezTo>
                    <a:cubicBezTo>
                      <a:pt x="3" y="30"/>
                      <a:pt x="3" y="30"/>
                      <a:pt x="3" y="30"/>
                    </a:cubicBezTo>
                    <a:cubicBezTo>
                      <a:pt x="3" y="30"/>
                      <a:pt x="3" y="30"/>
                      <a:pt x="3" y="30"/>
                    </a:cubicBezTo>
                    <a:cubicBezTo>
                      <a:pt x="3" y="29"/>
                      <a:pt x="3" y="29"/>
                      <a:pt x="3" y="29"/>
                    </a:cubicBezTo>
                    <a:cubicBezTo>
                      <a:pt x="2" y="29"/>
                      <a:pt x="2" y="29"/>
                      <a:pt x="2" y="28"/>
                    </a:cubicBezTo>
                    <a:cubicBezTo>
                      <a:pt x="2" y="28"/>
                      <a:pt x="2" y="28"/>
                      <a:pt x="2" y="28"/>
                    </a:cubicBezTo>
                    <a:cubicBezTo>
                      <a:pt x="2" y="28"/>
                      <a:pt x="2" y="28"/>
                      <a:pt x="2" y="28"/>
                    </a:cubicBezTo>
                    <a:cubicBezTo>
                      <a:pt x="2" y="27"/>
                      <a:pt x="1" y="27"/>
                      <a:pt x="1" y="27"/>
                    </a:cubicBezTo>
                    <a:cubicBezTo>
                      <a:pt x="1" y="26"/>
                      <a:pt x="1" y="26"/>
                      <a:pt x="1" y="25"/>
                    </a:cubicBezTo>
                    <a:cubicBezTo>
                      <a:pt x="1" y="25"/>
                      <a:pt x="1" y="25"/>
                      <a:pt x="0" y="25"/>
                    </a:cubicBezTo>
                    <a:cubicBezTo>
                      <a:pt x="0" y="24"/>
                      <a:pt x="0" y="24"/>
                      <a:pt x="0" y="24"/>
                    </a:cubicBezTo>
                    <a:cubicBezTo>
                      <a:pt x="0" y="24"/>
                      <a:pt x="0" y="23"/>
                      <a:pt x="0" y="23"/>
                    </a:cubicBezTo>
                    <a:cubicBezTo>
                      <a:pt x="0" y="23"/>
                      <a:pt x="0" y="22"/>
                      <a:pt x="0" y="22"/>
                    </a:cubicBezTo>
                    <a:cubicBezTo>
                      <a:pt x="0" y="22"/>
                      <a:pt x="0" y="21"/>
                      <a:pt x="0" y="21"/>
                    </a:cubicBezTo>
                    <a:cubicBezTo>
                      <a:pt x="0" y="20"/>
                      <a:pt x="0" y="19"/>
                      <a:pt x="0" y="18"/>
                    </a:cubicBezTo>
                    <a:cubicBezTo>
                      <a:pt x="0" y="17"/>
                      <a:pt x="0" y="17"/>
                      <a:pt x="0" y="16"/>
                    </a:cubicBezTo>
                    <a:cubicBezTo>
                      <a:pt x="0" y="16"/>
                      <a:pt x="0" y="16"/>
                      <a:pt x="0" y="15"/>
                    </a:cubicBezTo>
                    <a:cubicBezTo>
                      <a:pt x="0" y="15"/>
                      <a:pt x="0" y="15"/>
                      <a:pt x="0" y="15"/>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1" y="13"/>
                      <a:pt x="1" y="13"/>
                      <a:pt x="1" y="13"/>
                    </a:cubicBezTo>
                    <a:cubicBezTo>
                      <a:pt x="1" y="12"/>
                      <a:pt x="1" y="12"/>
                      <a:pt x="1" y="12"/>
                    </a:cubicBezTo>
                    <a:cubicBezTo>
                      <a:pt x="1" y="10"/>
                      <a:pt x="2" y="9"/>
                      <a:pt x="3" y="8"/>
                    </a:cubicBezTo>
                    <a:cubicBezTo>
                      <a:pt x="4" y="6"/>
                      <a:pt x="5" y="5"/>
                      <a:pt x="5" y="4"/>
                    </a:cubicBezTo>
                    <a:cubicBezTo>
                      <a:pt x="6" y="3"/>
                      <a:pt x="7" y="3"/>
                      <a:pt x="7" y="2"/>
                    </a:cubicBezTo>
                    <a:cubicBezTo>
                      <a:pt x="8" y="2"/>
                      <a:pt x="8" y="2"/>
                      <a:pt x="8" y="2"/>
                    </a:cubicBezTo>
                    <a:cubicBezTo>
                      <a:pt x="8" y="1"/>
                      <a:pt x="8" y="1"/>
                      <a:pt x="8" y="1"/>
                    </a:cubicBezTo>
                    <a:cubicBezTo>
                      <a:pt x="9" y="1"/>
                      <a:pt x="9" y="1"/>
                      <a:pt x="9" y="1"/>
                    </a:cubicBezTo>
                    <a:cubicBezTo>
                      <a:pt x="9" y="0"/>
                      <a:pt x="10" y="0"/>
                      <a:pt x="10" y="0"/>
                    </a:cubicBezTo>
                    <a:cubicBezTo>
                      <a:pt x="10" y="0"/>
                      <a:pt x="10" y="1"/>
                      <a:pt x="9" y="1"/>
                    </a:cubicBezTo>
                    <a:cubicBezTo>
                      <a:pt x="9" y="1"/>
                      <a:pt x="9" y="2"/>
                      <a:pt x="9" y="3"/>
                    </a:cubicBezTo>
                    <a:cubicBezTo>
                      <a:pt x="8" y="3"/>
                      <a:pt x="8" y="4"/>
                      <a:pt x="8" y="4"/>
                    </a:cubicBezTo>
                    <a:cubicBezTo>
                      <a:pt x="8" y="4"/>
                      <a:pt x="8" y="5"/>
                      <a:pt x="7" y="5"/>
                    </a:cubicBezTo>
                    <a:cubicBezTo>
                      <a:pt x="7" y="7"/>
                      <a:pt x="7" y="8"/>
                      <a:pt x="6" y="9"/>
                    </a:cubicBezTo>
                    <a:cubicBezTo>
                      <a:pt x="6" y="10"/>
                      <a:pt x="6" y="12"/>
                      <a:pt x="5" y="13"/>
                    </a:cubicBezTo>
                    <a:cubicBezTo>
                      <a:pt x="5" y="13"/>
                      <a:pt x="5" y="13"/>
                      <a:pt x="5" y="14"/>
                    </a:cubicBezTo>
                    <a:cubicBezTo>
                      <a:pt x="5" y="14"/>
                      <a:pt x="5" y="14"/>
                      <a:pt x="5" y="14"/>
                    </a:cubicBezTo>
                    <a:cubicBezTo>
                      <a:pt x="5" y="14"/>
                      <a:pt x="5" y="14"/>
                      <a:pt x="5" y="14"/>
                    </a:cubicBezTo>
                    <a:cubicBezTo>
                      <a:pt x="5" y="14"/>
                      <a:pt x="5" y="14"/>
                      <a:pt x="5" y="14"/>
                    </a:cubicBezTo>
                    <a:cubicBezTo>
                      <a:pt x="5" y="14"/>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6"/>
                      <a:pt x="5" y="16"/>
                      <a:pt x="5" y="16"/>
                    </a:cubicBezTo>
                    <a:cubicBezTo>
                      <a:pt x="5" y="16"/>
                      <a:pt x="5" y="16"/>
                      <a:pt x="5" y="16"/>
                    </a:cubicBezTo>
                    <a:cubicBezTo>
                      <a:pt x="5" y="17"/>
                      <a:pt x="5" y="17"/>
                      <a:pt x="5" y="18"/>
                    </a:cubicBezTo>
                    <a:cubicBezTo>
                      <a:pt x="5" y="18"/>
                      <a:pt x="5" y="19"/>
                      <a:pt x="6" y="20"/>
                    </a:cubicBezTo>
                    <a:cubicBezTo>
                      <a:pt x="6" y="21"/>
                      <a:pt x="6" y="21"/>
                      <a:pt x="6" y="22"/>
                    </a:cubicBezTo>
                    <a:cubicBezTo>
                      <a:pt x="6" y="23"/>
                      <a:pt x="7" y="24"/>
                      <a:pt x="7" y="24"/>
                    </a:cubicBezTo>
                    <a:cubicBezTo>
                      <a:pt x="7" y="25"/>
                      <a:pt x="8" y="26"/>
                      <a:pt x="8" y="26"/>
                    </a:cubicBezTo>
                    <a:cubicBezTo>
                      <a:pt x="8" y="26"/>
                      <a:pt x="8" y="26"/>
                      <a:pt x="8" y="26"/>
                    </a:cubicBezTo>
                    <a:cubicBezTo>
                      <a:pt x="8" y="26"/>
                      <a:pt x="8" y="26"/>
                      <a:pt x="8" y="26"/>
                    </a:cubicBezTo>
                    <a:cubicBezTo>
                      <a:pt x="8" y="27"/>
                      <a:pt x="8" y="27"/>
                      <a:pt x="8" y="27"/>
                    </a:cubicBezTo>
                    <a:cubicBezTo>
                      <a:pt x="9" y="27"/>
                      <a:pt x="9" y="27"/>
                      <a:pt x="9" y="27"/>
                    </a:cubicBezTo>
                    <a:cubicBezTo>
                      <a:pt x="9" y="28"/>
                      <a:pt x="9" y="28"/>
                      <a:pt x="9" y="28"/>
                    </a:cubicBezTo>
                    <a:cubicBezTo>
                      <a:pt x="9" y="28"/>
                      <a:pt x="9" y="28"/>
                      <a:pt x="9" y="28"/>
                    </a:cubicBezTo>
                    <a:cubicBezTo>
                      <a:pt x="9" y="28"/>
                      <a:pt x="9" y="27"/>
                      <a:pt x="9" y="28"/>
                    </a:cubicBezTo>
                    <a:cubicBezTo>
                      <a:pt x="9" y="28"/>
                      <a:pt x="9" y="28"/>
                      <a:pt x="9" y="28"/>
                    </a:cubicBezTo>
                    <a:cubicBezTo>
                      <a:pt x="9" y="28"/>
                      <a:pt x="9" y="28"/>
                      <a:pt x="9" y="28"/>
                    </a:cubicBezTo>
                    <a:cubicBezTo>
                      <a:pt x="9" y="28"/>
                      <a:pt x="9" y="28"/>
                      <a:pt x="9" y="28"/>
                    </a:cubicBezTo>
                    <a:cubicBezTo>
                      <a:pt x="9" y="28"/>
                      <a:pt x="9" y="28"/>
                      <a:pt x="10" y="28"/>
                    </a:cubicBezTo>
                    <a:cubicBezTo>
                      <a:pt x="10" y="28"/>
                      <a:pt x="10" y="28"/>
                      <a:pt x="10" y="29"/>
                    </a:cubicBezTo>
                    <a:cubicBezTo>
                      <a:pt x="11" y="29"/>
                      <a:pt x="11" y="29"/>
                      <a:pt x="12" y="30"/>
                    </a:cubicBezTo>
                    <a:cubicBezTo>
                      <a:pt x="12" y="30"/>
                      <a:pt x="13" y="31"/>
                      <a:pt x="14" y="32"/>
                    </a:cubicBezTo>
                    <a:cubicBezTo>
                      <a:pt x="14" y="32"/>
                      <a:pt x="14" y="32"/>
                      <a:pt x="14" y="32"/>
                    </a:cubicBezTo>
                    <a:cubicBezTo>
                      <a:pt x="14" y="32"/>
                      <a:pt x="14" y="32"/>
                      <a:pt x="14" y="32"/>
                    </a:cubicBezTo>
                    <a:cubicBezTo>
                      <a:pt x="14" y="32"/>
                      <a:pt x="14" y="33"/>
                      <a:pt x="14" y="33"/>
                    </a:cubicBezTo>
                    <a:cubicBezTo>
                      <a:pt x="15" y="33"/>
                      <a:pt x="15" y="33"/>
                      <a:pt x="15" y="33"/>
                    </a:cubicBezTo>
                    <a:cubicBezTo>
                      <a:pt x="15" y="33"/>
                      <a:pt x="15" y="33"/>
                      <a:pt x="15" y="33"/>
                    </a:cubicBezTo>
                    <a:cubicBezTo>
                      <a:pt x="15" y="34"/>
                      <a:pt x="15" y="34"/>
                      <a:pt x="16" y="35"/>
                    </a:cubicBezTo>
                    <a:cubicBezTo>
                      <a:pt x="17" y="37"/>
                      <a:pt x="17" y="39"/>
                      <a:pt x="17" y="40"/>
                    </a:cubicBezTo>
                    <a:cubicBezTo>
                      <a:pt x="17" y="41"/>
                      <a:pt x="17" y="42"/>
                      <a:pt x="17" y="43"/>
                    </a:cubicBezTo>
                    <a:cubicBezTo>
                      <a:pt x="17" y="43"/>
                      <a:pt x="17" y="44"/>
                      <a:pt x="17" y="44"/>
                    </a:cubicBezTo>
                    <a:cubicBezTo>
                      <a:pt x="17" y="44"/>
                      <a:pt x="17" y="44"/>
                      <a:pt x="17" y="44"/>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6" y="46"/>
                    </a:cubicBezTo>
                    <a:cubicBezTo>
                      <a:pt x="16" y="47"/>
                      <a:pt x="16" y="48"/>
                      <a:pt x="15" y="49"/>
                    </a:cubicBezTo>
                    <a:cubicBezTo>
                      <a:pt x="15" y="50"/>
                      <a:pt x="14" y="51"/>
                      <a:pt x="14" y="52"/>
                    </a:cubicBezTo>
                    <a:cubicBezTo>
                      <a:pt x="13" y="53"/>
                      <a:pt x="13" y="53"/>
                      <a:pt x="13" y="54"/>
                    </a:cubicBezTo>
                    <a:cubicBezTo>
                      <a:pt x="12" y="54"/>
                      <a:pt x="12" y="54"/>
                      <a:pt x="1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250">
                <a:extLst>
                  <a:ext uri="{FF2B5EF4-FFF2-40B4-BE49-F238E27FC236}">
                    <a16:creationId xmlns:a16="http://schemas.microsoft.com/office/drawing/2014/main" id="{82E96EB2-B3D1-4EF3-AA65-F6AFA9373C9F}"/>
                  </a:ext>
                </a:extLst>
              </p:cNvPr>
              <p:cNvSpPr>
                <a:spLocks/>
              </p:cNvSpPr>
              <p:nvPr/>
            </p:nvSpPr>
            <p:spPr bwMode="auto">
              <a:xfrm>
                <a:off x="10140950" y="4046538"/>
                <a:ext cx="66675" cy="203200"/>
              </a:xfrm>
              <a:custGeom>
                <a:avLst/>
                <a:gdLst>
                  <a:gd name="T0" fmla="*/ 13 w 18"/>
                  <a:gd name="T1" fmla="*/ 51 h 54"/>
                  <a:gd name="T2" fmla="*/ 13 w 18"/>
                  <a:gd name="T3" fmla="*/ 44 h 54"/>
                  <a:gd name="T4" fmla="*/ 13 w 18"/>
                  <a:gd name="T5" fmla="*/ 44 h 54"/>
                  <a:gd name="T6" fmla="*/ 13 w 18"/>
                  <a:gd name="T7" fmla="*/ 44 h 54"/>
                  <a:gd name="T8" fmla="*/ 13 w 18"/>
                  <a:gd name="T9" fmla="*/ 42 h 54"/>
                  <a:gd name="T10" fmla="*/ 11 w 18"/>
                  <a:gd name="T11" fmla="*/ 36 h 54"/>
                  <a:gd name="T12" fmla="*/ 11 w 18"/>
                  <a:gd name="T13" fmla="*/ 36 h 54"/>
                  <a:gd name="T14" fmla="*/ 10 w 18"/>
                  <a:gd name="T15" fmla="*/ 36 h 54"/>
                  <a:gd name="T16" fmla="*/ 10 w 18"/>
                  <a:gd name="T17" fmla="*/ 35 h 54"/>
                  <a:gd name="T18" fmla="*/ 7 w 18"/>
                  <a:gd name="T19" fmla="*/ 33 h 54"/>
                  <a:gd name="T20" fmla="*/ 5 w 18"/>
                  <a:gd name="T21" fmla="*/ 31 h 54"/>
                  <a:gd name="T22" fmla="*/ 5 w 18"/>
                  <a:gd name="T23" fmla="*/ 31 h 54"/>
                  <a:gd name="T24" fmla="*/ 4 w 18"/>
                  <a:gd name="T25" fmla="*/ 30 h 54"/>
                  <a:gd name="T26" fmla="*/ 3 w 18"/>
                  <a:gd name="T27" fmla="*/ 29 h 54"/>
                  <a:gd name="T28" fmla="*/ 2 w 18"/>
                  <a:gd name="T29" fmla="*/ 27 h 54"/>
                  <a:gd name="T30" fmla="*/ 1 w 18"/>
                  <a:gd name="T31" fmla="*/ 25 h 54"/>
                  <a:gd name="T32" fmla="*/ 1 w 18"/>
                  <a:gd name="T33" fmla="*/ 22 h 54"/>
                  <a:gd name="T34" fmla="*/ 0 w 18"/>
                  <a:gd name="T35" fmla="*/ 17 h 54"/>
                  <a:gd name="T36" fmla="*/ 0 w 18"/>
                  <a:gd name="T37" fmla="*/ 14 h 54"/>
                  <a:gd name="T38" fmla="*/ 1 w 18"/>
                  <a:gd name="T39" fmla="*/ 13 h 54"/>
                  <a:gd name="T40" fmla="*/ 1 w 18"/>
                  <a:gd name="T41" fmla="*/ 13 h 54"/>
                  <a:gd name="T42" fmla="*/ 1 w 18"/>
                  <a:gd name="T43" fmla="*/ 11 h 54"/>
                  <a:gd name="T44" fmla="*/ 8 w 18"/>
                  <a:gd name="T45" fmla="*/ 1 h 54"/>
                  <a:gd name="T46" fmla="*/ 9 w 18"/>
                  <a:gd name="T47" fmla="*/ 0 h 54"/>
                  <a:gd name="T48" fmla="*/ 9 w 18"/>
                  <a:gd name="T49" fmla="*/ 2 h 54"/>
                  <a:gd name="T50" fmla="*/ 7 w 18"/>
                  <a:gd name="T51" fmla="*/ 8 h 54"/>
                  <a:gd name="T52" fmla="*/ 6 w 18"/>
                  <a:gd name="T53" fmla="*/ 13 h 54"/>
                  <a:gd name="T54" fmla="*/ 6 w 18"/>
                  <a:gd name="T55" fmla="*/ 14 h 54"/>
                  <a:gd name="T56" fmla="*/ 6 w 18"/>
                  <a:gd name="T57" fmla="*/ 14 h 54"/>
                  <a:gd name="T58" fmla="*/ 6 w 18"/>
                  <a:gd name="T59" fmla="*/ 15 h 54"/>
                  <a:gd name="T60" fmla="*/ 6 w 18"/>
                  <a:gd name="T61" fmla="*/ 17 h 54"/>
                  <a:gd name="T62" fmla="*/ 7 w 18"/>
                  <a:gd name="T63" fmla="*/ 24 h 54"/>
                  <a:gd name="T64" fmla="*/ 9 w 18"/>
                  <a:gd name="T65" fmla="*/ 26 h 54"/>
                  <a:gd name="T66" fmla="*/ 10 w 18"/>
                  <a:gd name="T67" fmla="*/ 27 h 54"/>
                  <a:gd name="T68" fmla="*/ 10 w 18"/>
                  <a:gd name="T69" fmla="*/ 27 h 54"/>
                  <a:gd name="T70" fmla="*/ 10 w 18"/>
                  <a:gd name="T71" fmla="*/ 27 h 54"/>
                  <a:gd name="T72" fmla="*/ 14 w 18"/>
                  <a:gd name="T73" fmla="*/ 31 h 54"/>
                  <a:gd name="T74" fmla="*/ 15 w 18"/>
                  <a:gd name="T75" fmla="*/ 32 h 54"/>
                  <a:gd name="T76" fmla="*/ 16 w 18"/>
                  <a:gd name="T77" fmla="*/ 34 h 54"/>
                  <a:gd name="T78" fmla="*/ 17 w 18"/>
                  <a:gd name="T79" fmla="*/ 43 h 54"/>
                  <a:gd name="T80" fmla="*/ 17 w 18"/>
                  <a:gd name="T81" fmla="*/ 44 h 54"/>
                  <a:gd name="T82" fmla="*/ 17 w 18"/>
                  <a:gd name="T83" fmla="*/ 44 h 54"/>
                  <a:gd name="T84" fmla="*/ 16 w 18"/>
                  <a:gd name="T85" fmla="*/ 49 h 54"/>
                  <a:gd name="T86" fmla="*/ 13 w 18"/>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54">
                    <a:moveTo>
                      <a:pt x="13" y="54"/>
                    </a:moveTo>
                    <a:cubicBezTo>
                      <a:pt x="13" y="54"/>
                      <a:pt x="13" y="53"/>
                      <a:pt x="13" y="53"/>
                    </a:cubicBezTo>
                    <a:cubicBezTo>
                      <a:pt x="13" y="53"/>
                      <a:pt x="13" y="52"/>
                      <a:pt x="13" y="51"/>
                    </a:cubicBezTo>
                    <a:cubicBezTo>
                      <a:pt x="13" y="50"/>
                      <a:pt x="13" y="49"/>
                      <a:pt x="13" y="48"/>
                    </a:cubicBezTo>
                    <a:cubicBezTo>
                      <a:pt x="13" y="48"/>
                      <a:pt x="13" y="47"/>
                      <a:pt x="13" y="46"/>
                    </a:cubicBezTo>
                    <a:cubicBezTo>
                      <a:pt x="13" y="46"/>
                      <a:pt x="13" y="45"/>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3"/>
                      <a:pt x="13" y="43"/>
                      <a:pt x="13" y="43"/>
                    </a:cubicBezTo>
                    <a:cubicBezTo>
                      <a:pt x="13" y="43"/>
                      <a:pt x="13" y="43"/>
                      <a:pt x="13" y="42"/>
                    </a:cubicBezTo>
                    <a:cubicBezTo>
                      <a:pt x="13" y="42"/>
                      <a:pt x="13" y="41"/>
                      <a:pt x="13" y="40"/>
                    </a:cubicBezTo>
                    <a:cubicBezTo>
                      <a:pt x="12" y="39"/>
                      <a:pt x="12" y="38"/>
                      <a:pt x="11" y="37"/>
                    </a:cubicBezTo>
                    <a:cubicBezTo>
                      <a:pt x="11" y="37"/>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0" y="36"/>
                      <a:pt x="10" y="36"/>
                      <a:pt x="10" y="36"/>
                    </a:cubicBezTo>
                    <a:cubicBezTo>
                      <a:pt x="10" y="36"/>
                      <a:pt x="10" y="36"/>
                      <a:pt x="10" y="36"/>
                    </a:cubicBezTo>
                    <a:cubicBezTo>
                      <a:pt x="10" y="36"/>
                      <a:pt x="10" y="36"/>
                      <a:pt x="10" y="36"/>
                    </a:cubicBezTo>
                    <a:cubicBezTo>
                      <a:pt x="10" y="35"/>
                      <a:pt x="10" y="35"/>
                      <a:pt x="10" y="35"/>
                    </a:cubicBezTo>
                    <a:cubicBezTo>
                      <a:pt x="10" y="35"/>
                      <a:pt x="10" y="35"/>
                      <a:pt x="10" y="35"/>
                    </a:cubicBezTo>
                    <a:cubicBezTo>
                      <a:pt x="9" y="35"/>
                      <a:pt x="9" y="34"/>
                      <a:pt x="8" y="34"/>
                    </a:cubicBezTo>
                    <a:cubicBezTo>
                      <a:pt x="8" y="33"/>
                      <a:pt x="7" y="33"/>
                      <a:pt x="7" y="33"/>
                    </a:cubicBezTo>
                    <a:cubicBezTo>
                      <a:pt x="7" y="33"/>
                      <a:pt x="6" y="32"/>
                      <a:pt x="6" y="32"/>
                    </a:cubicBezTo>
                    <a:cubicBezTo>
                      <a:pt x="6" y="32"/>
                      <a:pt x="6" y="32"/>
                      <a:pt x="5" y="32"/>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4" y="30"/>
                      <a:pt x="4" y="30"/>
                      <a:pt x="4" y="30"/>
                    </a:cubicBezTo>
                    <a:cubicBezTo>
                      <a:pt x="4" y="30"/>
                      <a:pt x="4" y="30"/>
                      <a:pt x="4" y="30"/>
                    </a:cubicBezTo>
                    <a:cubicBezTo>
                      <a:pt x="4" y="29"/>
                      <a:pt x="4" y="29"/>
                      <a:pt x="4" y="29"/>
                    </a:cubicBezTo>
                    <a:cubicBezTo>
                      <a:pt x="3" y="29"/>
                      <a:pt x="3" y="29"/>
                      <a:pt x="3" y="29"/>
                    </a:cubicBezTo>
                    <a:cubicBezTo>
                      <a:pt x="3" y="29"/>
                      <a:pt x="3" y="29"/>
                      <a:pt x="3" y="29"/>
                    </a:cubicBezTo>
                    <a:cubicBezTo>
                      <a:pt x="3" y="28"/>
                      <a:pt x="3" y="28"/>
                      <a:pt x="3" y="28"/>
                    </a:cubicBezTo>
                    <a:cubicBezTo>
                      <a:pt x="2" y="27"/>
                      <a:pt x="2" y="27"/>
                      <a:pt x="2" y="27"/>
                    </a:cubicBezTo>
                    <a:cubicBezTo>
                      <a:pt x="2" y="27"/>
                      <a:pt x="2" y="27"/>
                      <a:pt x="2" y="27"/>
                    </a:cubicBezTo>
                    <a:cubicBezTo>
                      <a:pt x="2" y="27"/>
                      <a:pt x="2" y="27"/>
                      <a:pt x="2" y="26"/>
                    </a:cubicBezTo>
                    <a:cubicBezTo>
                      <a:pt x="2" y="26"/>
                      <a:pt x="1" y="25"/>
                      <a:pt x="1" y="25"/>
                    </a:cubicBezTo>
                    <a:cubicBezTo>
                      <a:pt x="1" y="24"/>
                      <a:pt x="1" y="24"/>
                      <a:pt x="1" y="24"/>
                    </a:cubicBezTo>
                    <a:cubicBezTo>
                      <a:pt x="1" y="24"/>
                      <a:pt x="1" y="23"/>
                      <a:pt x="1" y="23"/>
                    </a:cubicBezTo>
                    <a:cubicBezTo>
                      <a:pt x="1" y="23"/>
                      <a:pt x="1" y="23"/>
                      <a:pt x="1" y="22"/>
                    </a:cubicBezTo>
                    <a:cubicBezTo>
                      <a:pt x="0" y="22"/>
                      <a:pt x="0" y="22"/>
                      <a:pt x="0" y="22"/>
                    </a:cubicBezTo>
                    <a:cubicBezTo>
                      <a:pt x="0" y="21"/>
                      <a:pt x="0" y="21"/>
                      <a:pt x="0" y="20"/>
                    </a:cubicBezTo>
                    <a:cubicBezTo>
                      <a:pt x="0" y="19"/>
                      <a:pt x="0" y="18"/>
                      <a:pt x="0" y="17"/>
                    </a:cubicBezTo>
                    <a:cubicBezTo>
                      <a:pt x="0" y="16"/>
                      <a:pt x="0" y="16"/>
                      <a:pt x="0" y="15"/>
                    </a:cubicBezTo>
                    <a:cubicBezTo>
                      <a:pt x="0" y="15"/>
                      <a:pt x="0" y="15"/>
                      <a:pt x="0" y="15"/>
                    </a:cubicBezTo>
                    <a:cubicBezTo>
                      <a:pt x="0" y="15"/>
                      <a:pt x="0" y="14"/>
                      <a:pt x="0" y="14"/>
                    </a:cubicBezTo>
                    <a:cubicBezTo>
                      <a:pt x="1" y="14"/>
                      <a:pt x="1" y="14"/>
                      <a:pt x="1" y="14"/>
                    </a:cubicBezTo>
                    <a:cubicBezTo>
                      <a:pt x="1" y="14"/>
                      <a:pt x="1" y="14"/>
                      <a:pt x="1" y="14"/>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1"/>
                    </a:cubicBezTo>
                    <a:cubicBezTo>
                      <a:pt x="2" y="10"/>
                      <a:pt x="3" y="8"/>
                      <a:pt x="3" y="7"/>
                    </a:cubicBezTo>
                    <a:cubicBezTo>
                      <a:pt x="4" y="6"/>
                      <a:pt x="5" y="4"/>
                      <a:pt x="6" y="4"/>
                    </a:cubicBezTo>
                    <a:cubicBezTo>
                      <a:pt x="7" y="3"/>
                      <a:pt x="7" y="2"/>
                      <a:pt x="8" y="1"/>
                    </a:cubicBezTo>
                    <a:cubicBezTo>
                      <a:pt x="8" y="1"/>
                      <a:pt x="8" y="1"/>
                      <a:pt x="8" y="1"/>
                    </a:cubicBezTo>
                    <a:cubicBezTo>
                      <a:pt x="9" y="1"/>
                      <a:pt x="9" y="1"/>
                      <a:pt x="9" y="1"/>
                    </a:cubicBezTo>
                    <a:cubicBezTo>
                      <a:pt x="9" y="0"/>
                      <a:pt x="9" y="0"/>
                      <a:pt x="9" y="0"/>
                    </a:cubicBezTo>
                    <a:cubicBezTo>
                      <a:pt x="10" y="0"/>
                      <a:pt x="10" y="0"/>
                      <a:pt x="10" y="0"/>
                    </a:cubicBezTo>
                    <a:cubicBezTo>
                      <a:pt x="10" y="0"/>
                      <a:pt x="10" y="0"/>
                      <a:pt x="10" y="0"/>
                    </a:cubicBezTo>
                    <a:cubicBezTo>
                      <a:pt x="10" y="1"/>
                      <a:pt x="9" y="1"/>
                      <a:pt x="9" y="2"/>
                    </a:cubicBezTo>
                    <a:cubicBezTo>
                      <a:pt x="9" y="2"/>
                      <a:pt x="9" y="3"/>
                      <a:pt x="8" y="3"/>
                    </a:cubicBezTo>
                    <a:cubicBezTo>
                      <a:pt x="8" y="4"/>
                      <a:pt x="8" y="4"/>
                      <a:pt x="8" y="5"/>
                    </a:cubicBezTo>
                    <a:cubicBezTo>
                      <a:pt x="7" y="6"/>
                      <a:pt x="7" y="7"/>
                      <a:pt x="7" y="8"/>
                    </a:cubicBezTo>
                    <a:cubicBezTo>
                      <a:pt x="6" y="10"/>
                      <a:pt x="6" y="11"/>
                      <a:pt x="6" y="12"/>
                    </a:cubicBezTo>
                    <a:cubicBezTo>
                      <a:pt x="6" y="13"/>
                      <a:pt x="6" y="13"/>
                      <a:pt x="6" y="13"/>
                    </a:cubicBezTo>
                    <a:cubicBezTo>
                      <a:pt x="6" y="13"/>
                      <a:pt x="6" y="13"/>
                      <a:pt x="6"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5"/>
                      <a:pt x="6" y="15"/>
                      <a:pt x="6" y="15"/>
                    </a:cubicBezTo>
                    <a:cubicBezTo>
                      <a:pt x="6" y="15"/>
                      <a:pt x="6" y="15"/>
                      <a:pt x="6" y="15"/>
                    </a:cubicBezTo>
                    <a:cubicBezTo>
                      <a:pt x="6" y="15"/>
                      <a:pt x="6" y="16"/>
                      <a:pt x="6" y="16"/>
                    </a:cubicBezTo>
                    <a:cubicBezTo>
                      <a:pt x="6" y="16"/>
                      <a:pt x="6" y="17"/>
                      <a:pt x="6" y="17"/>
                    </a:cubicBezTo>
                    <a:cubicBezTo>
                      <a:pt x="6" y="18"/>
                      <a:pt x="6" y="18"/>
                      <a:pt x="6" y="19"/>
                    </a:cubicBezTo>
                    <a:cubicBezTo>
                      <a:pt x="6" y="20"/>
                      <a:pt x="6" y="21"/>
                      <a:pt x="7" y="22"/>
                    </a:cubicBezTo>
                    <a:cubicBezTo>
                      <a:pt x="7" y="22"/>
                      <a:pt x="7" y="23"/>
                      <a:pt x="7" y="24"/>
                    </a:cubicBezTo>
                    <a:cubicBezTo>
                      <a:pt x="8" y="24"/>
                      <a:pt x="8" y="25"/>
                      <a:pt x="9" y="26"/>
                    </a:cubicBezTo>
                    <a:cubicBezTo>
                      <a:pt x="9" y="26"/>
                      <a:pt x="9" y="26"/>
                      <a:pt x="9" y="26"/>
                    </a:cubicBezTo>
                    <a:cubicBezTo>
                      <a:pt x="9" y="26"/>
                      <a:pt x="9" y="26"/>
                      <a:pt x="9" y="26"/>
                    </a:cubicBezTo>
                    <a:cubicBezTo>
                      <a:pt x="9" y="26"/>
                      <a:pt x="9" y="26"/>
                      <a:pt x="9" y="26"/>
                    </a:cubicBezTo>
                    <a:cubicBezTo>
                      <a:pt x="9" y="26"/>
                      <a:pt x="9" y="26"/>
                      <a:pt x="9" y="26"/>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1" y="28"/>
                      <a:pt x="11" y="28"/>
                    </a:cubicBezTo>
                    <a:cubicBezTo>
                      <a:pt x="11" y="28"/>
                      <a:pt x="12" y="29"/>
                      <a:pt x="12" y="29"/>
                    </a:cubicBezTo>
                    <a:cubicBezTo>
                      <a:pt x="13" y="30"/>
                      <a:pt x="13" y="30"/>
                      <a:pt x="14" y="31"/>
                    </a:cubicBezTo>
                    <a:cubicBezTo>
                      <a:pt x="14" y="31"/>
                      <a:pt x="14" y="31"/>
                      <a:pt x="14" y="31"/>
                    </a:cubicBezTo>
                    <a:cubicBezTo>
                      <a:pt x="15" y="32"/>
                      <a:pt x="15" y="32"/>
                      <a:pt x="15" y="32"/>
                    </a:cubicBezTo>
                    <a:cubicBezTo>
                      <a:pt x="15" y="32"/>
                      <a:pt x="15" y="32"/>
                      <a:pt x="15" y="32"/>
                    </a:cubicBezTo>
                    <a:cubicBezTo>
                      <a:pt x="15" y="32"/>
                      <a:pt x="15" y="32"/>
                      <a:pt x="15" y="32"/>
                    </a:cubicBezTo>
                    <a:cubicBezTo>
                      <a:pt x="15" y="32"/>
                      <a:pt x="15" y="32"/>
                      <a:pt x="15" y="32"/>
                    </a:cubicBezTo>
                    <a:cubicBezTo>
                      <a:pt x="16" y="33"/>
                      <a:pt x="16" y="33"/>
                      <a:pt x="16" y="34"/>
                    </a:cubicBezTo>
                    <a:cubicBezTo>
                      <a:pt x="17" y="36"/>
                      <a:pt x="17" y="38"/>
                      <a:pt x="18" y="40"/>
                    </a:cubicBezTo>
                    <a:cubicBezTo>
                      <a:pt x="18" y="41"/>
                      <a:pt x="17" y="42"/>
                      <a:pt x="17" y="43"/>
                    </a:cubicBezTo>
                    <a:cubicBezTo>
                      <a:pt x="17" y="43"/>
                      <a:pt x="17" y="43"/>
                      <a:pt x="17" y="43"/>
                    </a:cubicBezTo>
                    <a:cubicBezTo>
                      <a:pt x="17" y="43"/>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7" y="45"/>
                    </a:cubicBezTo>
                    <a:cubicBezTo>
                      <a:pt x="17" y="46"/>
                      <a:pt x="16" y="48"/>
                      <a:pt x="16" y="49"/>
                    </a:cubicBezTo>
                    <a:cubicBezTo>
                      <a:pt x="15" y="50"/>
                      <a:pt x="15" y="51"/>
                      <a:pt x="14" y="51"/>
                    </a:cubicBezTo>
                    <a:cubicBezTo>
                      <a:pt x="14" y="52"/>
                      <a:pt x="13" y="53"/>
                      <a:pt x="13" y="53"/>
                    </a:cubicBezTo>
                    <a:cubicBezTo>
                      <a:pt x="13" y="54"/>
                      <a:pt x="13" y="54"/>
                      <a:pt x="1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251">
                <a:extLst>
                  <a:ext uri="{FF2B5EF4-FFF2-40B4-BE49-F238E27FC236}">
                    <a16:creationId xmlns:a16="http://schemas.microsoft.com/office/drawing/2014/main" id="{0E7A03D9-06D2-4BB2-8114-2B7CCD367DEF}"/>
                  </a:ext>
                </a:extLst>
              </p:cNvPr>
              <p:cNvSpPr>
                <a:spLocks/>
              </p:cNvSpPr>
              <p:nvPr/>
            </p:nvSpPr>
            <p:spPr bwMode="auto">
              <a:xfrm>
                <a:off x="10094913" y="4013200"/>
                <a:ext cx="74613" cy="285750"/>
              </a:xfrm>
              <a:custGeom>
                <a:avLst/>
                <a:gdLst>
                  <a:gd name="T0" fmla="*/ 15 w 20"/>
                  <a:gd name="T1" fmla="*/ 73 h 76"/>
                  <a:gd name="T2" fmla="*/ 15 w 20"/>
                  <a:gd name="T3" fmla="*/ 66 h 76"/>
                  <a:gd name="T4" fmla="*/ 15 w 20"/>
                  <a:gd name="T5" fmla="*/ 63 h 76"/>
                  <a:gd name="T6" fmla="*/ 15 w 20"/>
                  <a:gd name="T7" fmla="*/ 62 h 76"/>
                  <a:gd name="T8" fmla="*/ 15 w 20"/>
                  <a:gd name="T9" fmla="*/ 62 h 76"/>
                  <a:gd name="T10" fmla="*/ 13 w 20"/>
                  <a:gd name="T11" fmla="*/ 52 h 76"/>
                  <a:gd name="T12" fmla="*/ 12 w 20"/>
                  <a:gd name="T13" fmla="*/ 50 h 76"/>
                  <a:gd name="T14" fmla="*/ 12 w 20"/>
                  <a:gd name="T15" fmla="*/ 50 h 76"/>
                  <a:gd name="T16" fmla="*/ 12 w 20"/>
                  <a:gd name="T17" fmla="*/ 50 h 76"/>
                  <a:gd name="T18" fmla="*/ 12 w 20"/>
                  <a:gd name="T19" fmla="*/ 50 h 76"/>
                  <a:gd name="T20" fmla="*/ 9 w 20"/>
                  <a:gd name="T21" fmla="*/ 47 h 76"/>
                  <a:gd name="T22" fmla="*/ 6 w 20"/>
                  <a:gd name="T23" fmla="*/ 44 h 76"/>
                  <a:gd name="T24" fmla="*/ 6 w 20"/>
                  <a:gd name="T25" fmla="*/ 44 h 76"/>
                  <a:gd name="T26" fmla="*/ 5 w 20"/>
                  <a:gd name="T27" fmla="*/ 43 h 76"/>
                  <a:gd name="T28" fmla="*/ 4 w 20"/>
                  <a:gd name="T29" fmla="*/ 41 h 76"/>
                  <a:gd name="T30" fmla="*/ 0 w 20"/>
                  <a:gd name="T31" fmla="*/ 29 h 76"/>
                  <a:gd name="T32" fmla="*/ 0 w 20"/>
                  <a:gd name="T33" fmla="*/ 25 h 76"/>
                  <a:gd name="T34" fmla="*/ 0 w 20"/>
                  <a:gd name="T35" fmla="*/ 21 h 76"/>
                  <a:gd name="T36" fmla="*/ 0 w 20"/>
                  <a:gd name="T37" fmla="*/ 20 h 76"/>
                  <a:gd name="T38" fmla="*/ 0 w 20"/>
                  <a:gd name="T39" fmla="*/ 19 h 76"/>
                  <a:gd name="T40" fmla="*/ 1 w 20"/>
                  <a:gd name="T41" fmla="*/ 16 h 76"/>
                  <a:gd name="T42" fmla="*/ 2 w 20"/>
                  <a:gd name="T43" fmla="*/ 14 h 76"/>
                  <a:gd name="T44" fmla="*/ 6 w 20"/>
                  <a:gd name="T45" fmla="*/ 6 h 76"/>
                  <a:gd name="T46" fmla="*/ 10 w 20"/>
                  <a:gd name="T47" fmla="*/ 2 h 76"/>
                  <a:gd name="T48" fmla="*/ 11 w 20"/>
                  <a:gd name="T49" fmla="*/ 1 h 76"/>
                  <a:gd name="T50" fmla="*/ 7 w 20"/>
                  <a:gd name="T51" fmla="*/ 12 h 76"/>
                  <a:gd name="T52" fmla="*/ 6 w 20"/>
                  <a:gd name="T53" fmla="*/ 15 h 76"/>
                  <a:gd name="T54" fmla="*/ 5 w 20"/>
                  <a:gd name="T55" fmla="*/ 19 h 76"/>
                  <a:gd name="T56" fmla="*/ 5 w 20"/>
                  <a:gd name="T57" fmla="*/ 21 h 76"/>
                  <a:gd name="T58" fmla="*/ 5 w 20"/>
                  <a:gd name="T59" fmla="*/ 21 h 76"/>
                  <a:gd name="T60" fmla="*/ 5 w 20"/>
                  <a:gd name="T61" fmla="*/ 22 h 76"/>
                  <a:gd name="T62" fmla="*/ 6 w 20"/>
                  <a:gd name="T63" fmla="*/ 31 h 76"/>
                  <a:gd name="T64" fmla="*/ 9 w 20"/>
                  <a:gd name="T65" fmla="*/ 38 h 76"/>
                  <a:gd name="T66" fmla="*/ 10 w 20"/>
                  <a:gd name="T67" fmla="*/ 40 h 76"/>
                  <a:gd name="T68" fmla="*/ 10 w 20"/>
                  <a:gd name="T69" fmla="*/ 40 h 76"/>
                  <a:gd name="T70" fmla="*/ 11 w 20"/>
                  <a:gd name="T71" fmla="*/ 40 h 76"/>
                  <a:gd name="T72" fmla="*/ 16 w 20"/>
                  <a:gd name="T73" fmla="*/ 46 h 76"/>
                  <a:gd name="T74" fmla="*/ 16 w 20"/>
                  <a:gd name="T75" fmla="*/ 46 h 76"/>
                  <a:gd name="T76" fmla="*/ 17 w 20"/>
                  <a:gd name="T77" fmla="*/ 47 h 76"/>
                  <a:gd name="T78" fmla="*/ 18 w 20"/>
                  <a:gd name="T79" fmla="*/ 49 h 76"/>
                  <a:gd name="T80" fmla="*/ 20 w 20"/>
                  <a:gd name="T81" fmla="*/ 55 h 76"/>
                  <a:gd name="T82" fmla="*/ 20 w 20"/>
                  <a:gd name="T83" fmla="*/ 61 h 76"/>
                  <a:gd name="T84" fmla="*/ 19 w 20"/>
                  <a:gd name="T85" fmla="*/ 63 h 76"/>
                  <a:gd name="T86" fmla="*/ 19 w 20"/>
                  <a:gd name="T87" fmla="*/ 63 h 76"/>
                  <a:gd name="T88" fmla="*/ 19 w 20"/>
                  <a:gd name="T89" fmla="*/ 64 h 76"/>
                  <a:gd name="T90" fmla="*/ 15 w 20"/>
                  <a:gd name="T9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76">
                    <a:moveTo>
                      <a:pt x="14" y="76"/>
                    </a:moveTo>
                    <a:cubicBezTo>
                      <a:pt x="14" y="76"/>
                      <a:pt x="14" y="76"/>
                      <a:pt x="14" y="76"/>
                    </a:cubicBezTo>
                    <a:cubicBezTo>
                      <a:pt x="14" y="75"/>
                      <a:pt x="15" y="74"/>
                      <a:pt x="15" y="73"/>
                    </a:cubicBezTo>
                    <a:cubicBezTo>
                      <a:pt x="15" y="72"/>
                      <a:pt x="15" y="70"/>
                      <a:pt x="15" y="69"/>
                    </a:cubicBezTo>
                    <a:cubicBezTo>
                      <a:pt x="15" y="68"/>
                      <a:pt x="15" y="68"/>
                      <a:pt x="15" y="68"/>
                    </a:cubicBezTo>
                    <a:cubicBezTo>
                      <a:pt x="15" y="67"/>
                      <a:pt x="15" y="67"/>
                      <a:pt x="15" y="66"/>
                    </a:cubicBezTo>
                    <a:cubicBezTo>
                      <a:pt x="15" y="66"/>
                      <a:pt x="15" y="65"/>
                      <a:pt x="15" y="64"/>
                    </a:cubicBezTo>
                    <a:cubicBezTo>
                      <a:pt x="15" y="63"/>
                      <a:pt x="15" y="63"/>
                      <a:pt x="15" y="63"/>
                    </a:cubicBezTo>
                    <a:cubicBezTo>
                      <a:pt x="15" y="63"/>
                      <a:pt x="15" y="63"/>
                      <a:pt x="15" y="63"/>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1"/>
                      <a:pt x="15" y="61"/>
                      <a:pt x="15" y="61"/>
                    </a:cubicBezTo>
                    <a:cubicBezTo>
                      <a:pt x="15" y="60"/>
                      <a:pt x="15" y="59"/>
                      <a:pt x="15" y="58"/>
                    </a:cubicBezTo>
                    <a:cubicBezTo>
                      <a:pt x="15" y="56"/>
                      <a:pt x="14" y="54"/>
                      <a:pt x="13" y="52"/>
                    </a:cubicBezTo>
                    <a:cubicBezTo>
                      <a:pt x="13" y="52"/>
                      <a:pt x="13" y="52"/>
                      <a:pt x="13" y="51"/>
                    </a:cubicBezTo>
                    <a:cubicBezTo>
                      <a:pt x="13" y="51"/>
                      <a:pt x="13" y="51"/>
                      <a:pt x="12" y="51"/>
                    </a:cubicBezTo>
                    <a:cubicBezTo>
                      <a:pt x="12" y="50"/>
                      <a:pt x="12" y="50"/>
                      <a:pt x="12" y="50"/>
                    </a:cubicBezTo>
                    <a:cubicBezTo>
                      <a:pt x="12" y="50"/>
                      <a:pt x="12" y="51"/>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1" y="49"/>
                      <a:pt x="10" y="48"/>
                      <a:pt x="9" y="47"/>
                    </a:cubicBezTo>
                    <a:cubicBezTo>
                      <a:pt x="9" y="47"/>
                      <a:pt x="8" y="46"/>
                      <a:pt x="8" y="46"/>
                    </a:cubicBezTo>
                    <a:cubicBezTo>
                      <a:pt x="7" y="45"/>
                      <a:pt x="7" y="45"/>
                      <a:pt x="6" y="44"/>
                    </a:cubicBezTo>
                    <a:cubicBezTo>
                      <a:pt x="6" y="44"/>
                      <a:pt x="6" y="44"/>
                      <a:pt x="6" y="44"/>
                    </a:cubicBezTo>
                    <a:cubicBezTo>
                      <a:pt x="6" y="44"/>
                      <a:pt x="6" y="44"/>
                      <a:pt x="6" y="44"/>
                    </a:cubicBezTo>
                    <a:cubicBezTo>
                      <a:pt x="6" y="44"/>
                      <a:pt x="6" y="44"/>
                      <a:pt x="6" y="44"/>
                    </a:cubicBezTo>
                    <a:cubicBezTo>
                      <a:pt x="6" y="44"/>
                      <a:pt x="6" y="44"/>
                      <a:pt x="6" y="44"/>
                    </a:cubicBezTo>
                    <a:cubicBezTo>
                      <a:pt x="5" y="44"/>
                      <a:pt x="5" y="44"/>
                      <a:pt x="5" y="44"/>
                    </a:cubicBezTo>
                    <a:cubicBezTo>
                      <a:pt x="5" y="44"/>
                      <a:pt x="5" y="44"/>
                      <a:pt x="5" y="44"/>
                    </a:cubicBezTo>
                    <a:cubicBezTo>
                      <a:pt x="5" y="43"/>
                      <a:pt x="5" y="43"/>
                      <a:pt x="5" y="43"/>
                    </a:cubicBezTo>
                    <a:cubicBezTo>
                      <a:pt x="5" y="43"/>
                      <a:pt x="5" y="42"/>
                      <a:pt x="4" y="42"/>
                    </a:cubicBezTo>
                    <a:cubicBezTo>
                      <a:pt x="4" y="42"/>
                      <a:pt x="4" y="42"/>
                      <a:pt x="4" y="42"/>
                    </a:cubicBezTo>
                    <a:cubicBezTo>
                      <a:pt x="4" y="41"/>
                      <a:pt x="4" y="41"/>
                      <a:pt x="4" y="41"/>
                    </a:cubicBezTo>
                    <a:cubicBezTo>
                      <a:pt x="4" y="41"/>
                      <a:pt x="4" y="41"/>
                      <a:pt x="3" y="41"/>
                    </a:cubicBezTo>
                    <a:cubicBezTo>
                      <a:pt x="2" y="38"/>
                      <a:pt x="1" y="35"/>
                      <a:pt x="0" y="33"/>
                    </a:cubicBezTo>
                    <a:cubicBezTo>
                      <a:pt x="0" y="31"/>
                      <a:pt x="0" y="30"/>
                      <a:pt x="0" y="29"/>
                    </a:cubicBezTo>
                    <a:cubicBezTo>
                      <a:pt x="0" y="28"/>
                      <a:pt x="0" y="27"/>
                      <a:pt x="0" y="27"/>
                    </a:cubicBezTo>
                    <a:cubicBezTo>
                      <a:pt x="0" y="26"/>
                      <a:pt x="0" y="26"/>
                      <a:pt x="0" y="26"/>
                    </a:cubicBezTo>
                    <a:cubicBezTo>
                      <a:pt x="0" y="25"/>
                      <a:pt x="0" y="25"/>
                      <a:pt x="0" y="25"/>
                    </a:cubicBezTo>
                    <a:cubicBezTo>
                      <a:pt x="0" y="24"/>
                      <a:pt x="0" y="23"/>
                      <a:pt x="0" y="23"/>
                    </a:cubicBezTo>
                    <a:cubicBezTo>
                      <a:pt x="0" y="22"/>
                      <a:pt x="0" y="22"/>
                      <a:pt x="0" y="22"/>
                    </a:cubicBezTo>
                    <a:cubicBezTo>
                      <a:pt x="0" y="21"/>
                      <a:pt x="0" y="21"/>
                      <a:pt x="0" y="21"/>
                    </a:cubicBezTo>
                    <a:cubicBezTo>
                      <a:pt x="0" y="21"/>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19"/>
                      <a:pt x="0" y="19"/>
                    </a:cubicBezTo>
                    <a:cubicBezTo>
                      <a:pt x="1" y="19"/>
                      <a:pt x="1" y="18"/>
                      <a:pt x="1" y="18"/>
                    </a:cubicBezTo>
                    <a:cubicBezTo>
                      <a:pt x="1" y="18"/>
                      <a:pt x="1" y="18"/>
                      <a:pt x="1" y="17"/>
                    </a:cubicBezTo>
                    <a:cubicBezTo>
                      <a:pt x="1" y="17"/>
                      <a:pt x="1" y="16"/>
                      <a:pt x="1" y="16"/>
                    </a:cubicBezTo>
                    <a:cubicBezTo>
                      <a:pt x="2" y="15"/>
                      <a:pt x="2" y="15"/>
                      <a:pt x="2" y="15"/>
                    </a:cubicBezTo>
                    <a:cubicBezTo>
                      <a:pt x="2" y="15"/>
                      <a:pt x="2" y="14"/>
                      <a:pt x="2" y="14"/>
                    </a:cubicBezTo>
                    <a:cubicBezTo>
                      <a:pt x="2" y="14"/>
                      <a:pt x="2" y="14"/>
                      <a:pt x="2" y="14"/>
                    </a:cubicBezTo>
                    <a:cubicBezTo>
                      <a:pt x="2" y="13"/>
                      <a:pt x="2" y="13"/>
                      <a:pt x="3" y="12"/>
                    </a:cubicBezTo>
                    <a:cubicBezTo>
                      <a:pt x="3" y="12"/>
                      <a:pt x="3" y="11"/>
                      <a:pt x="3" y="11"/>
                    </a:cubicBezTo>
                    <a:cubicBezTo>
                      <a:pt x="4" y="9"/>
                      <a:pt x="5" y="8"/>
                      <a:pt x="6" y="6"/>
                    </a:cubicBezTo>
                    <a:cubicBezTo>
                      <a:pt x="7" y="5"/>
                      <a:pt x="8" y="4"/>
                      <a:pt x="9" y="3"/>
                    </a:cubicBezTo>
                    <a:cubicBezTo>
                      <a:pt x="9" y="3"/>
                      <a:pt x="9" y="3"/>
                      <a:pt x="9" y="2"/>
                    </a:cubicBezTo>
                    <a:cubicBezTo>
                      <a:pt x="9" y="2"/>
                      <a:pt x="10" y="2"/>
                      <a:pt x="10" y="2"/>
                    </a:cubicBezTo>
                    <a:cubicBezTo>
                      <a:pt x="10" y="1"/>
                      <a:pt x="10" y="1"/>
                      <a:pt x="10" y="1"/>
                    </a:cubicBezTo>
                    <a:cubicBezTo>
                      <a:pt x="11" y="1"/>
                      <a:pt x="11" y="0"/>
                      <a:pt x="11" y="0"/>
                    </a:cubicBezTo>
                    <a:cubicBezTo>
                      <a:pt x="11" y="0"/>
                      <a:pt x="11" y="1"/>
                      <a:pt x="11" y="1"/>
                    </a:cubicBezTo>
                    <a:cubicBezTo>
                      <a:pt x="11" y="2"/>
                      <a:pt x="10" y="3"/>
                      <a:pt x="10" y="4"/>
                    </a:cubicBezTo>
                    <a:cubicBezTo>
                      <a:pt x="9" y="5"/>
                      <a:pt x="9" y="6"/>
                      <a:pt x="8" y="7"/>
                    </a:cubicBezTo>
                    <a:cubicBezTo>
                      <a:pt x="8" y="9"/>
                      <a:pt x="7" y="11"/>
                      <a:pt x="7" y="12"/>
                    </a:cubicBezTo>
                    <a:cubicBezTo>
                      <a:pt x="7" y="13"/>
                      <a:pt x="7" y="13"/>
                      <a:pt x="7" y="13"/>
                    </a:cubicBezTo>
                    <a:cubicBezTo>
                      <a:pt x="6" y="13"/>
                      <a:pt x="6" y="13"/>
                      <a:pt x="6" y="14"/>
                    </a:cubicBezTo>
                    <a:cubicBezTo>
                      <a:pt x="6" y="14"/>
                      <a:pt x="6" y="15"/>
                      <a:pt x="6" y="15"/>
                    </a:cubicBezTo>
                    <a:cubicBezTo>
                      <a:pt x="6" y="16"/>
                      <a:pt x="6" y="16"/>
                      <a:pt x="6" y="17"/>
                    </a:cubicBezTo>
                    <a:cubicBezTo>
                      <a:pt x="6" y="17"/>
                      <a:pt x="6" y="18"/>
                      <a:pt x="6" y="18"/>
                    </a:cubicBezTo>
                    <a:cubicBezTo>
                      <a:pt x="6" y="18"/>
                      <a:pt x="6" y="19"/>
                      <a:pt x="5" y="19"/>
                    </a:cubicBezTo>
                    <a:cubicBezTo>
                      <a:pt x="5" y="19"/>
                      <a:pt x="5" y="19"/>
                      <a:pt x="5" y="20"/>
                    </a:cubicBezTo>
                    <a:cubicBezTo>
                      <a:pt x="5" y="20"/>
                      <a:pt x="5" y="20"/>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2"/>
                      <a:pt x="5" y="22"/>
                      <a:pt x="5" y="22"/>
                    </a:cubicBezTo>
                    <a:cubicBezTo>
                      <a:pt x="5" y="22"/>
                      <a:pt x="5" y="23"/>
                      <a:pt x="5" y="23"/>
                    </a:cubicBezTo>
                    <a:cubicBezTo>
                      <a:pt x="5" y="24"/>
                      <a:pt x="5" y="24"/>
                      <a:pt x="5" y="25"/>
                    </a:cubicBezTo>
                    <a:cubicBezTo>
                      <a:pt x="5" y="27"/>
                      <a:pt x="6" y="29"/>
                      <a:pt x="6" y="31"/>
                    </a:cubicBezTo>
                    <a:cubicBezTo>
                      <a:pt x="7" y="34"/>
                      <a:pt x="8" y="36"/>
                      <a:pt x="9" y="38"/>
                    </a:cubicBezTo>
                    <a:cubicBezTo>
                      <a:pt x="9" y="38"/>
                      <a:pt x="9" y="38"/>
                      <a:pt x="9" y="38"/>
                    </a:cubicBezTo>
                    <a:cubicBezTo>
                      <a:pt x="9" y="38"/>
                      <a:pt x="9" y="38"/>
                      <a:pt x="9" y="38"/>
                    </a:cubicBezTo>
                    <a:cubicBezTo>
                      <a:pt x="9" y="39"/>
                      <a:pt x="9" y="39"/>
                      <a:pt x="9" y="39"/>
                    </a:cubicBezTo>
                    <a:cubicBezTo>
                      <a:pt x="10" y="39"/>
                      <a:pt x="10" y="39"/>
                      <a:pt x="10" y="39"/>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1" y="40"/>
                      <a:pt x="11" y="40"/>
                      <a:pt x="11" y="40"/>
                    </a:cubicBezTo>
                    <a:cubicBezTo>
                      <a:pt x="11" y="40"/>
                      <a:pt x="11" y="40"/>
                      <a:pt x="11" y="40"/>
                    </a:cubicBezTo>
                    <a:cubicBezTo>
                      <a:pt x="11" y="41"/>
                      <a:pt x="12" y="41"/>
                      <a:pt x="12" y="41"/>
                    </a:cubicBezTo>
                    <a:cubicBezTo>
                      <a:pt x="12" y="42"/>
                      <a:pt x="13" y="42"/>
                      <a:pt x="13" y="43"/>
                    </a:cubicBezTo>
                    <a:cubicBezTo>
                      <a:pt x="14" y="44"/>
                      <a:pt x="15" y="45"/>
                      <a:pt x="16" y="46"/>
                    </a:cubicBezTo>
                    <a:cubicBezTo>
                      <a:pt x="16" y="46"/>
                      <a:pt x="16" y="46"/>
                      <a:pt x="16" y="46"/>
                    </a:cubicBezTo>
                    <a:cubicBezTo>
                      <a:pt x="16" y="46"/>
                      <a:pt x="16" y="46"/>
                      <a:pt x="16" y="46"/>
                    </a:cubicBezTo>
                    <a:cubicBezTo>
                      <a:pt x="16" y="46"/>
                      <a:pt x="16" y="46"/>
                      <a:pt x="16" y="46"/>
                    </a:cubicBezTo>
                    <a:cubicBezTo>
                      <a:pt x="17" y="47"/>
                      <a:pt x="17" y="47"/>
                      <a:pt x="17" y="47"/>
                    </a:cubicBezTo>
                    <a:cubicBezTo>
                      <a:pt x="17" y="47"/>
                      <a:pt x="17" y="47"/>
                      <a:pt x="17" y="47"/>
                    </a:cubicBezTo>
                    <a:cubicBezTo>
                      <a:pt x="17" y="47"/>
                      <a:pt x="17" y="47"/>
                      <a:pt x="17" y="47"/>
                    </a:cubicBezTo>
                    <a:cubicBezTo>
                      <a:pt x="17" y="47"/>
                      <a:pt x="17" y="47"/>
                      <a:pt x="17" y="47"/>
                    </a:cubicBezTo>
                    <a:cubicBezTo>
                      <a:pt x="17" y="48"/>
                      <a:pt x="17" y="48"/>
                      <a:pt x="17" y="48"/>
                    </a:cubicBezTo>
                    <a:cubicBezTo>
                      <a:pt x="18" y="48"/>
                      <a:pt x="18" y="48"/>
                      <a:pt x="18" y="49"/>
                    </a:cubicBezTo>
                    <a:cubicBezTo>
                      <a:pt x="18" y="49"/>
                      <a:pt x="18" y="49"/>
                      <a:pt x="18" y="50"/>
                    </a:cubicBezTo>
                    <a:cubicBezTo>
                      <a:pt x="19" y="51"/>
                      <a:pt x="19" y="52"/>
                      <a:pt x="19" y="54"/>
                    </a:cubicBezTo>
                    <a:cubicBezTo>
                      <a:pt x="19" y="54"/>
                      <a:pt x="20" y="54"/>
                      <a:pt x="20" y="55"/>
                    </a:cubicBezTo>
                    <a:cubicBezTo>
                      <a:pt x="20" y="55"/>
                      <a:pt x="20" y="55"/>
                      <a:pt x="20" y="56"/>
                    </a:cubicBezTo>
                    <a:cubicBezTo>
                      <a:pt x="20" y="56"/>
                      <a:pt x="20" y="57"/>
                      <a:pt x="20" y="57"/>
                    </a:cubicBezTo>
                    <a:cubicBezTo>
                      <a:pt x="20" y="59"/>
                      <a:pt x="20" y="60"/>
                      <a:pt x="20" y="61"/>
                    </a:cubicBezTo>
                    <a:cubicBezTo>
                      <a:pt x="20" y="61"/>
                      <a:pt x="20" y="62"/>
                      <a:pt x="20" y="62"/>
                    </a:cubicBezTo>
                    <a:cubicBezTo>
                      <a:pt x="19" y="62"/>
                      <a:pt x="19" y="62"/>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4"/>
                      <a:pt x="19" y="64"/>
                      <a:pt x="19" y="64"/>
                    </a:cubicBezTo>
                    <a:cubicBezTo>
                      <a:pt x="19" y="66"/>
                      <a:pt x="18" y="68"/>
                      <a:pt x="18" y="69"/>
                    </a:cubicBezTo>
                    <a:cubicBezTo>
                      <a:pt x="17" y="71"/>
                      <a:pt x="16" y="72"/>
                      <a:pt x="16" y="73"/>
                    </a:cubicBezTo>
                    <a:cubicBezTo>
                      <a:pt x="15" y="74"/>
                      <a:pt x="15" y="75"/>
                      <a:pt x="15" y="76"/>
                    </a:cubicBezTo>
                    <a:cubicBezTo>
                      <a:pt x="14" y="76"/>
                      <a:pt x="14" y="76"/>
                      <a:pt x="1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13" name="Groupe 4">
            <a:extLst>
              <a:ext uri="{FF2B5EF4-FFF2-40B4-BE49-F238E27FC236}">
                <a16:creationId xmlns:a16="http://schemas.microsoft.com/office/drawing/2014/main" id="{36453114-BCC4-45A8-BF76-01D768B4C6D5}"/>
              </a:ext>
              <a:ext uri="{C183D7F6-B498-43B3-948B-1728B52AA6E4}">
                <adec:decorative xmlns:adec="http://schemas.microsoft.com/office/drawing/2017/decorative" val="1"/>
              </a:ext>
            </a:extLst>
          </p:cNvPr>
          <p:cNvGrpSpPr>
            <a:grpSpLocks noChangeAspect="1"/>
          </p:cNvGrpSpPr>
          <p:nvPr/>
        </p:nvGrpSpPr>
        <p:grpSpPr>
          <a:xfrm>
            <a:off x="2058711" y="4941168"/>
            <a:ext cx="672195" cy="633600"/>
            <a:chOff x="10707387" y="1358317"/>
            <a:chExt cx="763858" cy="720000"/>
          </a:xfrm>
        </p:grpSpPr>
        <p:sp>
          <p:nvSpPr>
            <p:cNvPr id="414" name="Freeform 30">
              <a:extLst>
                <a:ext uri="{FF2B5EF4-FFF2-40B4-BE49-F238E27FC236}">
                  <a16:creationId xmlns:a16="http://schemas.microsoft.com/office/drawing/2014/main" id="{4C3E4E0C-2CD7-4C9A-A920-37ADC6315E58}"/>
                </a:ext>
              </a:extLst>
            </p:cNvPr>
            <p:cNvSpPr>
              <a:spLocks/>
            </p:cNvSpPr>
            <p:nvPr/>
          </p:nvSpPr>
          <p:spPr bwMode="auto">
            <a:xfrm>
              <a:off x="10707387" y="1358317"/>
              <a:ext cx="763858" cy="7200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15" name="Groupe 377">
              <a:extLst>
                <a:ext uri="{FF2B5EF4-FFF2-40B4-BE49-F238E27FC236}">
                  <a16:creationId xmlns:a16="http://schemas.microsoft.com/office/drawing/2014/main" id="{7453DD1E-268C-4105-9348-A4AE14D9D427}"/>
                </a:ext>
              </a:extLst>
            </p:cNvPr>
            <p:cNvGrpSpPr>
              <a:grpSpLocks noChangeAspect="1"/>
            </p:cNvGrpSpPr>
            <p:nvPr/>
          </p:nvGrpSpPr>
          <p:grpSpPr>
            <a:xfrm>
              <a:off x="10872064" y="1485000"/>
              <a:ext cx="410244" cy="432000"/>
              <a:chOff x="2733675" y="808039"/>
              <a:chExt cx="419100" cy="441325"/>
            </a:xfrm>
          </p:grpSpPr>
          <p:sp>
            <p:nvSpPr>
              <p:cNvPr id="416" name="Freeform 31">
                <a:extLst>
                  <a:ext uri="{FF2B5EF4-FFF2-40B4-BE49-F238E27FC236}">
                    <a16:creationId xmlns:a16="http://schemas.microsoft.com/office/drawing/2014/main" id="{B847FD97-B049-459E-8ADB-7005CBB5650A}"/>
                  </a:ext>
                </a:extLst>
              </p:cNvPr>
              <p:cNvSpPr>
                <a:spLocks noEditPoints="1"/>
              </p:cNvSpPr>
              <p:nvPr/>
            </p:nvSpPr>
            <p:spPr bwMode="auto">
              <a:xfrm>
                <a:off x="2814638" y="808039"/>
                <a:ext cx="307975" cy="219075"/>
              </a:xfrm>
              <a:custGeom>
                <a:avLst/>
                <a:gdLst>
                  <a:gd name="T0" fmla="*/ 8 w 91"/>
                  <a:gd name="T1" fmla="*/ 64 h 64"/>
                  <a:gd name="T2" fmla="*/ 8 w 91"/>
                  <a:gd name="T3" fmla="*/ 60 h 64"/>
                  <a:gd name="T4" fmla="*/ 10 w 91"/>
                  <a:gd name="T5" fmla="*/ 49 h 64"/>
                  <a:gd name="T6" fmla="*/ 12 w 91"/>
                  <a:gd name="T7" fmla="*/ 44 h 64"/>
                  <a:gd name="T8" fmla="*/ 14 w 91"/>
                  <a:gd name="T9" fmla="*/ 39 h 64"/>
                  <a:gd name="T10" fmla="*/ 19 w 91"/>
                  <a:gd name="T11" fmla="*/ 31 h 64"/>
                  <a:gd name="T12" fmla="*/ 21 w 91"/>
                  <a:gd name="T13" fmla="*/ 29 h 64"/>
                  <a:gd name="T14" fmla="*/ 22 w 91"/>
                  <a:gd name="T15" fmla="*/ 27 h 64"/>
                  <a:gd name="T16" fmla="*/ 25 w 91"/>
                  <a:gd name="T17" fmla="*/ 24 h 64"/>
                  <a:gd name="T18" fmla="*/ 32 w 91"/>
                  <a:gd name="T19" fmla="*/ 20 h 64"/>
                  <a:gd name="T20" fmla="*/ 37 w 91"/>
                  <a:gd name="T21" fmla="*/ 18 h 64"/>
                  <a:gd name="T22" fmla="*/ 41 w 91"/>
                  <a:gd name="T23" fmla="*/ 16 h 64"/>
                  <a:gd name="T24" fmla="*/ 37 w 91"/>
                  <a:gd name="T25" fmla="*/ 19 h 64"/>
                  <a:gd name="T26" fmla="*/ 33 w 91"/>
                  <a:gd name="T27" fmla="*/ 22 h 64"/>
                  <a:gd name="T28" fmla="*/ 28 w 91"/>
                  <a:gd name="T29" fmla="*/ 27 h 64"/>
                  <a:gd name="T30" fmla="*/ 26 w 91"/>
                  <a:gd name="T31" fmla="*/ 30 h 64"/>
                  <a:gd name="T32" fmla="*/ 24 w 91"/>
                  <a:gd name="T33" fmla="*/ 32 h 64"/>
                  <a:gd name="T34" fmla="*/ 23 w 91"/>
                  <a:gd name="T35" fmla="*/ 34 h 64"/>
                  <a:gd name="T36" fmla="*/ 19 w 91"/>
                  <a:gd name="T37" fmla="*/ 41 h 64"/>
                  <a:gd name="T38" fmla="*/ 18 w 91"/>
                  <a:gd name="T39" fmla="*/ 46 h 64"/>
                  <a:gd name="T40" fmla="*/ 17 w 91"/>
                  <a:gd name="T41" fmla="*/ 51 h 64"/>
                  <a:gd name="T42" fmla="*/ 15 w 91"/>
                  <a:gd name="T43" fmla="*/ 60 h 64"/>
                  <a:gd name="T44" fmla="*/ 15 w 91"/>
                  <a:gd name="T45" fmla="*/ 64 h 64"/>
                  <a:gd name="T46" fmla="*/ 91 w 91"/>
                  <a:gd name="T47" fmla="*/ 64 h 64"/>
                  <a:gd name="T48" fmla="*/ 91 w 91"/>
                  <a:gd name="T49" fmla="*/ 60 h 64"/>
                  <a:gd name="T50" fmla="*/ 51 w 91"/>
                  <a:gd name="T51" fmla="*/ 13 h 64"/>
                  <a:gd name="T52" fmla="*/ 53 w 91"/>
                  <a:gd name="T53" fmla="*/ 8 h 64"/>
                  <a:gd name="T54" fmla="*/ 45 w 91"/>
                  <a:gd name="T55" fmla="*/ 0 h 64"/>
                  <a:gd name="T56" fmla="*/ 38 w 91"/>
                  <a:gd name="T57" fmla="*/ 8 h 64"/>
                  <a:gd name="T58" fmla="*/ 40 w 91"/>
                  <a:gd name="T59" fmla="*/ 13 h 64"/>
                  <a:gd name="T60" fmla="*/ 0 w 91"/>
                  <a:gd name="T61" fmla="*/ 60 h 64"/>
                  <a:gd name="T62" fmla="*/ 0 w 91"/>
                  <a:gd name="T63" fmla="*/ 64 h 64"/>
                  <a:gd name="T64" fmla="*/ 8 w 91"/>
                  <a:gd name="T65" fmla="*/ 64 h 64"/>
                  <a:gd name="T66" fmla="*/ 8 w 91"/>
                  <a:gd name="T67" fmla="*/ 64 h 64"/>
                  <a:gd name="T68" fmla="*/ 8 w 91"/>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64">
                    <a:moveTo>
                      <a:pt x="8" y="64"/>
                    </a:moveTo>
                    <a:cubicBezTo>
                      <a:pt x="8" y="63"/>
                      <a:pt x="8" y="61"/>
                      <a:pt x="8" y="60"/>
                    </a:cubicBezTo>
                    <a:cubicBezTo>
                      <a:pt x="9" y="56"/>
                      <a:pt x="9" y="52"/>
                      <a:pt x="10" y="49"/>
                    </a:cubicBezTo>
                    <a:cubicBezTo>
                      <a:pt x="11" y="47"/>
                      <a:pt x="11" y="46"/>
                      <a:pt x="12" y="44"/>
                    </a:cubicBezTo>
                    <a:cubicBezTo>
                      <a:pt x="13" y="42"/>
                      <a:pt x="13" y="41"/>
                      <a:pt x="14" y="39"/>
                    </a:cubicBezTo>
                    <a:cubicBezTo>
                      <a:pt x="15" y="36"/>
                      <a:pt x="17" y="33"/>
                      <a:pt x="19" y="31"/>
                    </a:cubicBezTo>
                    <a:cubicBezTo>
                      <a:pt x="20" y="30"/>
                      <a:pt x="20" y="29"/>
                      <a:pt x="21" y="29"/>
                    </a:cubicBezTo>
                    <a:cubicBezTo>
                      <a:pt x="21" y="28"/>
                      <a:pt x="22" y="28"/>
                      <a:pt x="22" y="27"/>
                    </a:cubicBezTo>
                    <a:cubicBezTo>
                      <a:pt x="23" y="26"/>
                      <a:pt x="24" y="25"/>
                      <a:pt x="25" y="24"/>
                    </a:cubicBezTo>
                    <a:cubicBezTo>
                      <a:pt x="28" y="23"/>
                      <a:pt x="30" y="21"/>
                      <a:pt x="32" y="20"/>
                    </a:cubicBezTo>
                    <a:cubicBezTo>
                      <a:pt x="33" y="19"/>
                      <a:pt x="35" y="18"/>
                      <a:pt x="37" y="18"/>
                    </a:cubicBezTo>
                    <a:cubicBezTo>
                      <a:pt x="39" y="17"/>
                      <a:pt x="41" y="16"/>
                      <a:pt x="41" y="16"/>
                    </a:cubicBezTo>
                    <a:cubicBezTo>
                      <a:pt x="41" y="16"/>
                      <a:pt x="40" y="17"/>
                      <a:pt x="37" y="19"/>
                    </a:cubicBezTo>
                    <a:cubicBezTo>
                      <a:pt x="36" y="20"/>
                      <a:pt x="35" y="21"/>
                      <a:pt x="33" y="22"/>
                    </a:cubicBezTo>
                    <a:cubicBezTo>
                      <a:pt x="31" y="24"/>
                      <a:pt x="30" y="25"/>
                      <a:pt x="28" y="27"/>
                    </a:cubicBezTo>
                    <a:cubicBezTo>
                      <a:pt x="27" y="28"/>
                      <a:pt x="26" y="29"/>
                      <a:pt x="26" y="30"/>
                    </a:cubicBezTo>
                    <a:cubicBezTo>
                      <a:pt x="25" y="31"/>
                      <a:pt x="25" y="31"/>
                      <a:pt x="24" y="32"/>
                    </a:cubicBezTo>
                    <a:cubicBezTo>
                      <a:pt x="24" y="32"/>
                      <a:pt x="24" y="33"/>
                      <a:pt x="23" y="34"/>
                    </a:cubicBezTo>
                    <a:cubicBezTo>
                      <a:pt x="22" y="36"/>
                      <a:pt x="21" y="39"/>
                      <a:pt x="19" y="41"/>
                    </a:cubicBezTo>
                    <a:cubicBezTo>
                      <a:pt x="19" y="43"/>
                      <a:pt x="18" y="44"/>
                      <a:pt x="18" y="46"/>
                    </a:cubicBezTo>
                    <a:cubicBezTo>
                      <a:pt x="17" y="47"/>
                      <a:pt x="17" y="49"/>
                      <a:pt x="17" y="51"/>
                    </a:cubicBezTo>
                    <a:cubicBezTo>
                      <a:pt x="16" y="54"/>
                      <a:pt x="15" y="57"/>
                      <a:pt x="15" y="60"/>
                    </a:cubicBezTo>
                    <a:cubicBezTo>
                      <a:pt x="15" y="62"/>
                      <a:pt x="15" y="63"/>
                      <a:pt x="15" y="64"/>
                    </a:cubicBezTo>
                    <a:cubicBezTo>
                      <a:pt x="41" y="64"/>
                      <a:pt x="62" y="64"/>
                      <a:pt x="91" y="64"/>
                    </a:cubicBezTo>
                    <a:cubicBezTo>
                      <a:pt x="91" y="63"/>
                      <a:pt x="91" y="62"/>
                      <a:pt x="91" y="60"/>
                    </a:cubicBezTo>
                    <a:cubicBezTo>
                      <a:pt x="91" y="36"/>
                      <a:pt x="73" y="16"/>
                      <a:pt x="51" y="13"/>
                    </a:cubicBezTo>
                    <a:cubicBezTo>
                      <a:pt x="52" y="12"/>
                      <a:pt x="53" y="10"/>
                      <a:pt x="53" y="8"/>
                    </a:cubicBezTo>
                    <a:cubicBezTo>
                      <a:pt x="53" y="3"/>
                      <a:pt x="50" y="0"/>
                      <a:pt x="45" y="0"/>
                    </a:cubicBezTo>
                    <a:cubicBezTo>
                      <a:pt x="41" y="0"/>
                      <a:pt x="38" y="3"/>
                      <a:pt x="38" y="8"/>
                    </a:cubicBezTo>
                    <a:cubicBezTo>
                      <a:pt x="38" y="10"/>
                      <a:pt x="39" y="12"/>
                      <a:pt x="40" y="13"/>
                    </a:cubicBezTo>
                    <a:cubicBezTo>
                      <a:pt x="17" y="16"/>
                      <a:pt x="0" y="36"/>
                      <a:pt x="0" y="60"/>
                    </a:cubicBezTo>
                    <a:cubicBezTo>
                      <a:pt x="0" y="62"/>
                      <a:pt x="0" y="63"/>
                      <a:pt x="0" y="64"/>
                    </a:cubicBezTo>
                    <a:lnTo>
                      <a:pt x="8" y="64"/>
                    </a:lnTo>
                    <a:close/>
                    <a:moveTo>
                      <a:pt x="8" y="64"/>
                    </a:moveTo>
                    <a:cubicBezTo>
                      <a:pt x="8" y="64"/>
                      <a:pt x="8" y="64"/>
                      <a:pt x="8"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32">
                <a:extLst>
                  <a:ext uri="{FF2B5EF4-FFF2-40B4-BE49-F238E27FC236}">
                    <a16:creationId xmlns:a16="http://schemas.microsoft.com/office/drawing/2014/main" id="{F6CF1829-731B-4918-907A-A53548C75732}"/>
                  </a:ext>
                </a:extLst>
              </p:cNvPr>
              <p:cNvSpPr>
                <a:spLocks/>
              </p:cNvSpPr>
              <p:nvPr/>
            </p:nvSpPr>
            <p:spPr bwMode="auto">
              <a:xfrm>
                <a:off x="2784475" y="1036638"/>
                <a:ext cx="368300" cy="31750"/>
              </a:xfrm>
              <a:custGeom>
                <a:avLst/>
                <a:gdLst>
                  <a:gd name="T0" fmla="*/ 0 w 109"/>
                  <a:gd name="T1" fmla="*/ 0 h 9"/>
                  <a:gd name="T2" fmla="*/ 109 w 109"/>
                  <a:gd name="T3" fmla="*/ 0 h 9"/>
                  <a:gd name="T4" fmla="*/ 109 w 109"/>
                  <a:gd name="T5" fmla="*/ 0 h 9"/>
                  <a:gd name="T6" fmla="*/ 99 w 109"/>
                  <a:gd name="T7" fmla="*/ 9 h 9"/>
                  <a:gd name="T8" fmla="*/ 0 w 109"/>
                  <a:gd name="T9" fmla="*/ 9 h 9"/>
                  <a:gd name="T10" fmla="*/ 0 w 109"/>
                  <a:gd name="T11" fmla="*/ 0 h 9"/>
                </a:gdLst>
                <a:ahLst/>
                <a:cxnLst>
                  <a:cxn ang="0">
                    <a:pos x="T0" y="T1"/>
                  </a:cxn>
                  <a:cxn ang="0">
                    <a:pos x="T2" y="T3"/>
                  </a:cxn>
                  <a:cxn ang="0">
                    <a:pos x="T4" y="T5"/>
                  </a:cxn>
                  <a:cxn ang="0">
                    <a:pos x="T6" y="T7"/>
                  </a:cxn>
                  <a:cxn ang="0">
                    <a:pos x="T8" y="T9"/>
                  </a:cxn>
                  <a:cxn ang="0">
                    <a:pos x="T10" y="T11"/>
                  </a:cxn>
                </a:cxnLst>
                <a:rect l="0" t="0" r="r" b="b"/>
                <a:pathLst>
                  <a:path w="109" h="9">
                    <a:moveTo>
                      <a:pt x="0" y="0"/>
                    </a:moveTo>
                    <a:cubicBezTo>
                      <a:pt x="109" y="0"/>
                      <a:pt x="109" y="0"/>
                      <a:pt x="109" y="0"/>
                    </a:cubicBezTo>
                    <a:cubicBezTo>
                      <a:pt x="109" y="0"/>
                      <a:pt x="109" y="0"/>
                      <a:pt x="109" y="0"/>
                    </a:cubicBezTo>
                    <a:cubicBezTo>
                      <a:pt x="109" y="5"/>
                      <a:pt x="104" y="9"/>
                      <a:pt x="99" y="9"/>
                    </a:cubicBezTo>
                    <a:cubicBezTo>
                      <a:pt x="0" y="9"/>
                      <a:pt x="0" y="9"/>
                      <a:pt x="0" y="9"/>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33">
                <a:extLst>
                  <a:ext uri="{FF2B5EF4-FFF2-40B4-BE49-F238E27FC236}">
                    <a16:creationId xmlns:a16="http://schemas.microsoft.com/office/drawing/2014/main" id="{C0104D2A-D1C9-4186-A799-AE9180900030}"/>
                  </a:ext>
                </a:extLst>
              </p:cNvPr>
              <p:cNvSpPr>
                <a:spLocks noEditPoints="1"/>
              </p:cNvSpPr>
              <p:nvPr/>
            </p:nvSpPr>
            <p:spPr bwMode="auto">
              <a:xfrm>
                <a:off x="2811463" y="1087438"/>
                <a:ext cx="290513" cy="123825"/>
              </a:xfrm>
              <a:custGeom>
                <a:avLst/>
                <a:gdLst>
                  <a:gd name="T0" fmla="*/ 77 w 86"/>
                  <a:gd name="T1" fmla="*/ 3 h 36"/>
                  <a:gd name="T2" fmla="*/ 51 w 86"/>
                  <a:gd name="T3" fmla="*/ 13 h 36"/>
                  <a:gd name="T4" fmla="*/ 27 w 86"/>
                  <a:gd name="T5" fmla="*/ 12 h 36"/>
                  <a:gd name="T6" fmla="*/ 46 w 86"/>
                  <a:gd name="T7" fmla="*/ 7 h 36"/>
                  <a:gd name="T8" fmla="*/ 46 w 86"/>
                  <a:gd name="T9" fmla="*/ 0 h 36"/>
                  <a:gd name="T10" fmla="*/ 17 w 86"/>
                  <a:gd name="T11" fmla="*/ 1 h 36"/>
                  <a:gd name="T12" fmla="*/ 0 w 86"/>
                  <a:gd name="T13" fmla="*/ 7 h 36"/>
                  <a:gd name="T14" fmla="*/ 5 w 86"/>
                  <a:gd name="T15" fmla="*/ 36 h 36"/>
                  <a:gd name="T16" fmla="*/ 12 w 86"/>
                  <a:gd name="T17" fmla="*/ 30 h 36"/>
                  <a:gd name="T18" fmla="*/ 50 w 86"/>
                  <a:gd name="T19" fmla="*/ 30 h 36"/>
                  <a:gd name="T20" fmla="*/ 83 w 86"/>
                  <a:gd name="T21" fmla="*/ 9 h 36"/>
                  <a:gd name="T22" fmla="*/ 77 w 86"/>
                  <a:gd name="T23" fmla="*/ 3 h 36"/>
                  <a:gd name="T24" fmla="*/ 77 w 86"/>
                  <a:gd name="T25" fmla="*/ 3 h 36"/>
                  <a:gd name="T26" fmla="*/ 77 w 86"/>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36">
                    <a:moveTo>
                      <a:pt x="77" y="3"/>
                    </a:moveTo>
                    <a:cubicBezTo>
                      <a:pt x="71" y="6"/>
                      <a:pt x="51" y="13"/>
                      <a:pt x="51" y="13"/>
                    </a:cubicBezTo>
                    <a:cubicBezTo>
                      <a:pt x="27" y="12"/>
                      <a:pt x="27" y="12"/>
                      <a:pt x="27" y="12"/>
                    </a:cubicBezTo>
                    <a:cubicBezTo>
                      <a:pt x="27" y="12"/>
                      <a:pt x="41" y="8"/>
                      <a:pt x="46" y="7"/>
                    </a:cubicBezTo>
                    <a:cubicBezTo>
                      <a:pt x="51" y="6"/>
                      <a:pt x="49" y="0"/>
                      <a:pt x="46" y="0"/>
                    </a:cubicBezTo>
                    <a:cubicBezTo>
                      <a:pt x="43" y="0"/>
                      <a:pt x="17" y="1"/>
                      <a:pt x="17" y="1"/>
                    </a:cubicBezTo>
                    <a:cubicBezTo>
                      <a:pt x="0" y="7"/>
                      <a:pt x="0" y="7"/>
                      <a:pt x="0" y="7"/>
                    </a:cubicBezTo>
                    <a:cubicBezTo>
                      <a:pt x="5" y="36"/>
                      <a:pt x="5" y="36"/>
                      <a:pt x="5" y="36"/>
                    </a:cubicBezTo>
                    <a:cubicBezTo>
                      <a:pt x="5" y="36"/>
                      <a:pt x="8" y="30"/>
                      <a:pt x="12" y="30"/>
                    </a:cubicBezTo>
                    <a:cubicBezTo>
                      <a:pt x="15" y="30"/>
                      <a:pt x="46" y="30"/>
                      <a:pt x="50" y="30"/>
                    </a:cubicBezTo>
                    <a:cubicBezTo>
                      <a:pt x="54" y="29"/>
                      <a:pt x="80" y="11"/>
                      <a:pt x="83" y="9"/>
                    </a:cubicBezTo>
                    <a:cubicBezTo>
                      <a:pt x="86" y="7"/>
                      <a:pt x="83" y="0"/>
                      <a:pt x="77" y="3"/>
                    </a:cubicBezTo>
                    <a:close/>
                    <a:moveTo>
                      <a:pt x="77" y="3"/>
                    </a:moveTo>
                    <a:cubicBezTo>
                      <a:pt x="77" y="3"/>
                      <a:pt x="77" y="3"/>
                      <a:pt x="77"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34">
                <a:extLst>
                  <a:ext uri="{FF2B5EF4-FFF2-40B4-BE49-F238E27FC236}">
                    <a16:creationId xmlns:a16="http://schemas.microsoft.com/office/drawing/2014/main" id="{1DDD2E80-57AA-473A-9776-5D0C3F90798A}"/>
                  </a:ext>
                </a:extLst>
              </p:cNvPr>
              <p:cNvSpPr>
                <a:spLocks noEditPoints="1"/>
              </p:cNvSpPr>
              <p:nvPr/>
            </p:nvSpPr>
            <p:spPr bwMode="auto">
              <a:xfrm>
                <a:off x="2733675" y="1108076"/>
                <a:ext cx="88900" cy="141288"/>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close/>
                    <a:moveTo>
                      <a:pt x="0" y="9"/>
                    </a:moveTo>
                    <a:lnTo>
                      <a:pt x="0"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35">
                <a:extLst>
                  <a:ext uri="{FF2B5EF4-FFF2-40B4-BE49-F238E27FC236}">
                    <a16:creationId xmlns:a16="http://schemas.microsoft.com/office/drawing/2014/main" id="{521DB81B-5E6A-464F-964F-0E8256E7BB0D}"/>
                  </a:ext>
                </a:extLst>
              </p:cNvPr>
              <p:cNvSpPr>
                <a:spLocks noEditPoints="1"/>
              </p:cNvSpPr>
              <p:nvPr/>
            </p:nvSpPr>
            <p:spPr bwMode="auto">
              <a:xfrm>
                <a:off x="2733675" y="1108076"/>
                <a:ext cx="88900" cy="141288"/>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moveTo>
                      <a:pt x="0" y="9"/>
                    </a:moveTo>
                    <a:lnTo>
                      <a:pt x="0"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a:extLst>
              <a:ext uri="{FF2B5EF4-FFF2-40B4-BE49-F238E27FC236}">
                <a16:creationId xmlns:a16="http://schemas.microsoft.com/office/drawing/2014/main" id="{1D023269-8DA7-4B44-AD58-8D0684DA57A1}"/>
              </a:ext>
              <a:ext uri="{C183D7F6-B498-43B3-948B-1728B52AA6E4}">
                <adec:decorative xmlns:adec="http://schemas.microsoft.com/office/drawing/2017/decorative" val="1"/>
              </a:ext>
            </a:extLst>
          </p:cNvPr>
          <p:cNvGrpSpPr>
            <a:grpSpLocks noChangeAspect="1"/>
          </p:cNvGrpSpPr>
          <p:nvPr/>
        </p:nvGrpSpPr>
        <p:grpSpPr>
          <a:xfrm>
            <a:off x="1263443" y="4941168"/>
            <a:ext cx="672312" cy="633600"/>
            <a:chOff x="1281622" y="5031305"/>
            <a:chExt cx="763991" cy="720000"/>
          </a:xfrm>
        </p:grpSpPr>
        <p:sp>
          <p:nvSpPr>
            <p:cNvPr id="421" name="Freeform 213">
              <a:extLst>
                <a:ext uri="{FF2B5EF4-FFF2-40B4-BE49-F238E27FC236}">
                  <a16:creationId xmlns:a16="http://schemas.microsoft.com/office/drawing/2014/main" id="{3A150C84-58E7-425A-8BF2-5002C46CA36A}"/>
                </a:ext>
              </a:extLst>
            </p:cNvPr>
            <p:cNvSpPr>
              <a:spLocks noChangeAspect="1"/>
            </p:cNvSpPr>
            <p:nvPr/>
          </p:nvSpPr>
          <p:spPr bwMode="auto">
            <a:xfrm>
              <a:off x="1281622" y="5031305"/>
              <a:ext cx="763991" cy="720000"/>
            </a:xfrm>
            <a:custGeom>
              <a:avLst/>
              <a:gdLst>
                <a:gd name="T0" fmla="*/ 61 w 430"/>
                <a:gd name="T1" fmla="*/ 315 h 402"/>
                <a:gd name="T2" fmla="*/ 103 w 430"/>
                <a:gd name="T3" fmla="*/ 60 h 402"/>
                <a:gd name="T4" fmla="*/ 368 w 430"/>
                <a:gd name="T5" fmla="*/ 98 h 402"/>
                <a:gd name="T6" fmla="*/ 320 w 430"/>
                <a:gd name="T7" fmla="*/ 342 h 402"/>
                <a:gd name="T8" fmla="*/ 61 w 430"/>
                <a:gd name="T9" fmla="*/ 315 h 402"/>
              </a:gdLst>
              <a:ahLst/>
              <a:cxnLst>
                <a:cxn ang="0">
                  <a:pos x="T0" y="T1"/>
                </a:cxn>
                <a:cxn ang="0">
                  <a:pos x="T2" y="T3"/>
                </a:cxn>
                <a:cxn ang="0">
                  <a:pos x="T4" y="T5"/>
                </a:cxn>
                <a:cxn ang="0">
                  <a:pos x="T6" y="T7"/>
                </a:cxn>
                <a:cxn ang="0">
                  <a:pos x="T8" y="T9"/>
                </a:cxn>
              </a:cxnLst>
              <a:rect l="0" t="0" r="r" b="b"/>
              <a:pathLst>
                <a:path w="430" h="402">
                  <a:moveTo>
                    <a:pt x="61" y="315"/>
                  </a:moveTo>
                  <a:cubicBezTo>
                    <a:pt x="0" y="234"/>
                    <a:pt x="18" y="120"/>
                    <a:pt x="103" y="60"/>
                  </a:cubicBezTo>
                  <a:cubicBezTo>
                    <a:pt x="187" y="0"/>
                    <a:pt x="306" y="17"/>
                    <a:pt x="368" y="98"/>
                  </a:cubicBezTo>
                  <a:cubicBezTo>
                    <a:pt x="430" y="178"/>
                    <a:pt x="405" y="282"/>
                    <a:pt x="320" y="342"/>
                  </a:cubicBezTo>
                  <a:cubicBezTo>
                    <a:pt x="235" y="402"/>
                    <a:pt x="123" y="395"/>
                    <a:pt x="61" y="315"/>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22" name="Group 58">
              <a:extLst>
                <a:ext uri="{FF2B5EF4-FFF2-40B4-BE49-F238E27FC236}">
                  <a16:creationId xmlns:a16="http://schemas.microsoft.com/office/drawing/2014/main" id="{2C8BDD31-1272-4F13-AFC6-72AAAD986E25}"/>
                </a:ext>
              </a:extLst>
            </p:cNvPr>
            <p:cNvGrpSpPr/>
            <p:nvPr/>
          </p:nvGrpSpPr>
          <p:grpSpPr>
            <a:xfrm>
              <a:off x="1527865" y="5117371"/>
              <a:ext cx="356378" cy="471259"/>
              <a:chOff x="4549273" y="5413488"/>
              <a:chExt cx="425790" cy="563048"/>
            </a:xfrm>
          </p:grpSpPr>
          <p:sp>
            <p:nvSpPr>
              <p:cNvPr id="423" name="Freeform 791">
                <a:extLst>
                  <a:ext uri="{FF2B5EF4-FFF2-40B4-BE49-F238E27FC236}">
                    <a16:creationId xmlns:a16="http://schemas.microsoft.com/office/drawing/2014/main" id="{5E4739F6-AF79-44D5-803A-9A083A36E6D5}"/>
                  </a:ext>
                </a:extLst>
              </p:cNvPr>
              <p:cNvSpPr>
                <a:spLocks/>
              </p:cNvSpPr>
              <p:nvPr/>
            </p:nvSpPr>
            <p:spPr bwMode="auto">
              <a:xfrm>
                <a:off x="4549273" y="5663498"/>
                <a:ext cx="268918" cy="313038"/>
              </a:xfrm>
              <a:custGeom>
                <a:avLst/>
                <a:gdLst/>
                <a:ahLst/>
                <a:cxnLst>
                  <a:cxn ang="0">
                    <a:pos x="89" y="86"/>
                  </a:cxn>
                  <a:cxn ang="0">
                    <a:pos x="89" y="95"/>
                  </a:cxn>
                  <a:cxn ang="0">
                    <a:pos x="78" y="104"/>
                  </a:cxn>
                  <a:cxn ang="0">
                    <a:pos x="11" y="104"/>
                  </a:cxn>
                  <a:cxn ang="0">
                    <a:pos x="0" y="95"/>
                  </a:cxn>
                  <a:cxn ang="0">
                    <a:pos x="0" y="0"/>
                  </a:cxn>
                  <a:cxn ang="0">
                    <a:pos x="89" y="0"/>
                  </a:cxn>
                  <a:cxn ang="0">
                    <a:pos x="89" y="20"/>
                  </a:cxn>
                </a:cxnLst>
                <a:rect l="0" t="0" r="r" b="b"/>
                <a:pathLst>
                  <a:path w="89" h="104">
                    <a:moveTo>
                      <a:pt x="89" y="86"/>
                    </a:moveTo>
                    <a:cubicBezTo>
                      <a:pt x="89" y="95"/>
                      <a:pt x="89" y="95"/>
                      <a:pt x="89" y="95"/>
                    </a:cubicBezTo>
                    <a:cubicBezTo>
                      <a:pt x="78" y="104"/>
                      <a:pt x="78" y="104"/>
                      <a:pt x="78" y="104"/>
                    </a:cubicBezTo>
                    <a:cubicBezTo>
                      <a:pt x="11" y="104"/>
                      <a:pt x="11" y="104"/>
                      <a:pt x="11" y="104"/>
                    </a:cubicBezTo>
                    <a:cubicBezTo>
                      <a:pt x="0" y="95"/>
                      <a:pt x="0" y="95"/>
                      <a:pt x="0" y="95"/>
                    </a:cubicBezTo>
                    <a:cubicBezTo>
                      <a:pt x="0" y="0"/>
                      <a:pt x="0" y="0"/>
                      <a:pt x="0" y="0"/>
                    </a:cubicBezTo>
                    <a:cubicBezTo>
                      <a:pt x="89" y="0"/>
                      <a:pt x="89" y="0"/>
                      <a:pt x="89" y="0"/>
                    </a:cubicBezTo>
                    <a:cubicBezTo>
                      <a:pt x="89" y="9"/>
                      <a:pt x="89" y="11"/>
                      <a:pt x="89" y="20"/>
                    </a:cubicBezTo>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cs typeface="Arial" pitchFamily="34" charset="0"/>
                </a:endParaRPr>
              </a:p>
            </p:txBody>
          </p:sp>
          <p:sp>
            <p:nvSpPr>
              <p:cNvPr id="424" name="Freeform 792">
                <a:extLst>
                  <a:ext uri="{FF2B5EF4-FFF2-40B4-BE49-F238E27FC236}">
                    <a16:creationId xmlns:a16="http://schemas.microsoft.com/office/drawing/2014/main" id="{1F6B8CE3-590A-42ED-927E-52696B7AEF76}"/>
                  </a:ext>
                </a:extLst>
              </p:cNvPr>
              <p:cNvSpPr>
                <a:spLocks/>
              </p:cNvSpPr>
              <p:nvPr/>
            </p:nvSpPr>
            <p:spPr bwMode="auto">
              <a:xfrm>
                <a:off x="4796484" y="5692911"/>
                <a:ext cx="178579" cy="210091"/>
              </a:xfrm>
              <a:custGeom>
                <a:avLst/>
                <a:gdLst/>
                <a:ahLst/>
                <a:cxnLst>
                  <a:cxn ang="0">
                    <a:pos x="0" y="11"/>
                  </a:cxn>
                  <a:cxn ang="0">
                    <a:pos x="43" y="11"/>
                  </a:cxn>
                  <a:cxn ang="0">
                    <a:pos x="40" y="54"/>
                  </a:cxn>
                  <a:cxn ang="0">
                    <a:pos x="0" y="70"/>
                  </a:cxn>
                  <a:cxn ang="0">
                    <a:pos x="0" y="22"/>
                  </a:cxn>
                  <a:cxn ang="0">
                    <a:pos x="36" y="18"/>
                  </a:cxn>
                  <a:cxn ang="0">
                    <a:pos x="32" y="47"/>
                  </a:cxn>
                  <a:cxn ang="0">
                    <a:pos x="10" y="58"/>
                  </a:cxn>
                </a:cxnLst>
                <a:rect l="0" t="0" r="r" b="b"/>
                <a:pathLst>
                  <a:path w="60" h="70">
                    <a:moveTo>
                      <a:pt x="0" y="11"/>
                    </a:moveTo>
                    <a:cubicBezTo>
                      <a:pt x="6" y="6"/>
                      <a:pt x="29" y="0"/>
                      <a:pt x="43" y="11"/>
                    </a:cubicBezTo>
                    <a:cubicBezTo>
                      <a:pt x="60" y="24"/>
                      <a:pt x="48" y="46"/>
                      <a:pt x="40" y="54"/>
                    </a:cubicBezTo>
                    <a:cubicBezTo>
                      <a:pt x="28" y="65"/>
                      <a:pt x="12" y="69"/>
                      <a:pt x="0" y="70"/>
                    </a:cubicBezTo>
                    <a:cubicBezTo>
                      <a:pt x="0" y="53"/>
                      <a:pt x="0" y="39"/>
                      <a:pt x="0" y="22"/>
                    </a:cubicBezTo>
                    <a:cubicBezTo>
                      <a:pt x="10" y="13"/>
                      <a:pt x="29" y="11"/>
                      <a:pt x="36" y="18"/>
                    </a:cubicBezTo>
                    <a:cubicBezTo>
                      <a:pt x="44" y="25"/>
                      <a:pt x="38" y="41"/>
                      <a:pt x="32" y="47"/>
                    </a:cubicBezTo>
                    <a:cubicBezTo>
                      <a:pt x="23" y="55"/>
                      <a:pt x="16" y="57"/>
                      <a:pt x="10" y="58"/>
                    </a:cubicBezTo>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cs typeface="Arial" pitchFamily="34" charset="0"/>
                </a:endParaRPr>
              </a:p>
            </p:txBody>
          </p:sp>
          <p:sp>
            <p:nvSpPr>
              <p:cNvPr id="425" name="Freeform 793">
                <a:extLst>
                  <a:ext uri="{FF2B5EF4-FFF2-40B4-BE49-F238E27FC236}">
                    <a16:creationId xmlns:a16="http://schemas.microsoft.com/office/drawing/2014/main" id="{C66CAB37-E7C1-4E37-B748-AAA4A0A3FADE}"/>
                  </a:ext>
                </a:extLst>
              </p:cNvPr>
              <p:cNvSpPr>
                <a:spLocks/>
              </p:cNvSpPr>
              <p:nvPr/>
            </p:nvSpPr>
            <p:spPr bwMode="auto">
              <a:xfrm>
                <a:off x="4694237" y="5428195"/>
                <a:ext cx="90340" cy="201688"/>
              </a:xfrm>
              <a:custGeom>
                <a:avLst/>
                <a:gdLst/>
                <a:ahLst/>
                <a:cxnLst>
                  <a:cxn ang="0">
                    <a:pos x="5" y="66"/>
                  </a:cxn>
                  <a:cxn ang="0">
                    <a:pos x="8" y="44"/>
                  </a:cxn>
                  <a:cxn ang="0">
                    <a:pos x="15" y="10"/>
                  </a:cxn>
                  <a:cxn ang="0">
                    <a:pos x="25" y="0"/>
                  </a:cxn>
                  <a:cxn ang="0">
                    <a:pos x="18" y="15"/>
                  </a:cxn>
                  <a:cxn ang="0">
                    <a:pos x="24" y="47"/>
                  </a:cxn>
                  <a:cxn ang="0">
                    <a:pos x="19" y="67"/>
                  </a:cxn>
                  <a:cxn ang="0">
                    <a:pos x="12" y="66"/>
                  </a:cxn>
                </a:cxnLst>
                <a:rect l="0" t="0" r="r" b="b"/>
                <a:pathLst>
                  <a:path w="30" h="67">
                    <a:moveTo>
                      <a:pt x="5" y="66"/>
                    </a:moveTo>
                    <a:cubicBezTo>
                      <a:pt x="0" y="51"/>
                      <a:pt x="17" y="56"/>
                      <a:pt x="8" y="44"/>
                    </a:cubicBezTo>
                    <a:cubicBezTo>
                      <a:pt x="3" y="40"/>
                      <a:pt x="4" y="22"/>
                      <a:pt x="15" y="10"/>
                    </a:cubicBezTo>
                    <a:cubicBezTo>
                      <a:pt x="18" y="6"/>
                      <a:pt x="21" y="4"/>
                      <a:pt x="25" y="0"/>
                    </a:cubicBezTo>
                    <a:cubicBezTo>
                      <a:pt x="22" y="6"/>
                      <a:pt x="19" y="11"/>
                      <a:pt x="18" y="15"/>
                    </a:cubicBezTo>
                    <a:cubicBezTo>
                      <a:pt x="15" y="23"/>
                      <a:pt x="12" y="32"/>
                      <a:pt x="24" y="47"/>
                    </a:cubicBezTo>
                    <a:cubicBezTo>
                      <a:pt x="30" y="54"/>
                      <a:pt x="7" y="59"/>
                      <a:pt x="19" y="67"/>
                    </a:cubicBezTo>
                    <a:cubicBezTo>
                      <a:pt x="12" y="66"/>
                      <a:pt x="12" y="66"/>
                      <a:pt x="12" y="66"/>
                    </a:cubicBezTo>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cs typeface="Arial" pitchFamily="34" charset="0"/>
                </a:endParaRPr>
              </a:p>
            </p:txBody>
          </p:sp>
          <p:sp>
            <p:nvSpPr>
              <p:cNvPr id="426" name="Freeform 794">
                <a:extLst>
                  <a:ext uri="{FF2B5EF4-FFF2-40B4-BE49-F238E27FC236}">
                    <a16:creationId xmlns:a16="http://schemas.microsoft.com/office/drawing/2014/main" id="{2E302F20-F4F1-4404-A501-4B5469616998}"/>
                  </a:ext>
                </a:extLst>
              </p:cNvPr>
              <p:cNvSpPr>
                <a:spLocks/>
              </p:cNvSpPr>
              <p:nvPr/>
            </p:nvSpPr>
            <p:spPr bwMode="auto">
              <a:xfrm>
                <a:off x="4591291" y="5413488"/>
                <a:ext cx="90340" cy="201688"/>
              </a:xfrm>
              <a:custGeom>
                <a:avLst/>
                <a:gdLst/>
                <a:ahLst/>
                <a:cxnLst>
                  <a:cxn ang="0">
                    <a:pos x="4" y="65"/>
                  </a:cxn>
                  <a:cxn ang="0">
                    <a:pos x="7" y="44"/>
                  </a:cxn>
                  <a:cxn ang="0">
                    <a:pos x="14" y="10"/>
                  </a:cxn>
                  <a:cxn ang="0">
                    <a:pos x="24" y="0"/>
                  </a:cxn>
                  <a:cxn ang="0">
                    <a:pos x="18" y="14"/>
                  </a:cxn>
                  <a:cxn ang="0">
                    <a:pos x="23" y="46"/>
                  </a:cxn>
                  <a:cxn ang="0">
                    <a:pos x="19" y="67"/>
                  </a:cxn>
                  <a:cxn ang="0">
                    <a:pos x="11" y="66"/>
                  </a:cxn>
                </a:cxnLst>
                <a:rect l="0" t="0" r="r" b="b"/>
                <a:pathLst>
                  <a:path w="30" h="67">
                    <a:moveTo>
                      <a:pt x="4" y="65"/>
                    </a:moveTo>
                    <a:cubicBezTo>
                      <a:pt x="0" y="51"/>
                      <a:pt x="17" y="55"/>
                      <a:pt x="7" y="44"/>
                    </a:cubicBezTo>
                    <a:cubicBezTo>
                      <a:pt x="3" y="39"/>
                      <a:pt x="4" y="22"/>
                      <a:pt x="14" y="10"/>
                    </a:cubicBezTo>
                    <a:cubicBezTo>
                      <a:pt x="17" y="6"/>
                      <a:pt x="21" y="3"/>
                      <a:pt x="24" y="0"/>
                    </a:cubicBezTo>
                    <a:cubicBezTo>
                      <a:pt x="22" y="6"/>
                      <a:pt x="19" y="11"/>
                      <a:pt x="18" y="14"/>
                    </a:cubicBezTo>
                    <a:cubicBezTo>
                      <a:pt x="15" y="23"/>
                      <a:pt x="12" y="32"/>
                      <a:pt x="23" y="46"/>
                    </a:cubicBezTo>
                    <a:cubicBezTo>
                      <a:pt x="30" y="54"/>
                      <a:pt x="7" y="59"/>
                      <a:pt x="19" y="67"/>
                    </a:cubicBezTo>
                    <a:cubicBezTo>
                      <a:pt x="11" y="66"/>
                      <a:pt x="11" y="66"/>
                      <a:pt x="11" y="66"/>
                    </a:cubicBezTo>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cs typeface="Arial" pitchFamily="34" charset="0"/>
                </a:endParaRPr>
              </a:p>
            </p:txBody>
          </p:sp>
        </p:grpSp>
      </p:grpSp>
      <p:grpSp>
        <p:nvGrpSpPr>
          <p:cNvPr id="462" name="Groupe 15">
            <a:extLst>
              <a:ext uri="{FF2B5EF4-FFF2-40B4-BE49-F238E27FC236}">
                <a16:creationId xmlns:a16="http://schemas.microsoft.com/office/drawing/2014/main" id="{E918A332-5A60-474C-B146-D9B84AE25E25}"/>
              </a:ext>
              <a:ext uri="{C183D7F6-B498-43B3-948B-1728B52AA6E4}">
                <adec:decorative xmlns:adec="http://schemas.microsoft.com/office/drawing/2017/decorative" val="1"/>
              </a:ext>
            </a:extLst>
          </p:cNvPr>
          <p:cNvGrpSpPr>
            <a:grpSpLocks noChangeAspect="1"/>
          </p:cNvGrpSpPr>
          <p:nvPr/>
        </p:nvGrpSpPr>
        <p:grpSpPr>
          <a:xfrm>
            <a:off x="5243920" y="4941168"/>
            <a:ext cx="678087" cy="633600"/>
            <a:chOff x="5696181" y="981413"/>
            <a:chExt cx="770553" cy="720000"/>
          </a:xfrm>
        </p:grpSpPr>
        <p:sp>
          <p:nvSpPr>
            <p:cNvPr id="463" name="Freeform 164">
              <a:extLst>
                <a:ext uri="{FF2B5EF4-FFF2-40B4-BE49-F238E27FC236}">
                  <a16:creationId xmlns:a16="http://schemas.microsoft.com/office/drawing/2014/main" id="{2391B506-F713-40F9-9FCD-D36D7AE1028E}"/>
                </a:ext>
              </a:extLst>
            </p:cNvPr>
            <p:cNvSpPr>
              <a:spLocks noChangeAspect="1"/>
            </p:cNvSpPr>
            <p:nvPr/>
          </p:nvSpPr>
          <p:spPr bwMode="auto">
            <a:xfrm>
              <a:off x="5696181" y="981413"/>
              <a:ext cx="770553" cy="720000"/>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64" name="Freeform 32">
              <a:extLst>
                <a:ext uri="{FF2B5EF4-FFF2-40B4-BE49-F238E27FC236}">
                  <a16:creationId xmlns:a16="http://schemas.microsoft.com/office/drawing/2014/main" id="{D217D20F-B8F1-419B-825A-8912F85AF01B}"/>
                </a:ext>
              </a:extLst>
            </p:cNvPr>
            <p:cNvSpPr>
              <a:spLocks/>
            </p:cNvSpPr>
            <p:nvPr/>
          </p:nvSpPr>
          <p:spPr bwMode="auto">
            <a:xfrm>
              <a:off x="5892032" y="1159670"/>
              <a:ext cx="360000" cy="360000"/>
            </a:xfrm>
            <a:custGeom>
              <a:avLst/>
              <a:gdLst>
                <a:gd name="T0" fmla="*/ 1333 w 1411"/>
                <a:gd name="T1" fmla="*/ 1287 h 1443"/>
                <a:gd name="T2" fmla="*/ 1198 w 1411"/>
                <a:gd name="T3" fmla="*/ 1287 h 1443"/>
                <a:gd name="T4" fmla="*/ 845 w 1411"/>
                <a:gd name="T5" fmla="*/ 47 h 1443"/>
                <a:gd name="T6" fmla="*/ 782 w 1411"/>
                <a:gd name="T7" fmla="*/ 0 h 1443"/>
                <a:gd name="T8" fmla="*/ 634 w 1411"/>
                <a:gd name="T9" fmla="*/ 0 h 1443"/>
                <a:gd name="T10" fmla="*/ 572 w 1411"/>
                <a:gd name="T11" fmla="*/ 46 h 1443"/>
                <a:gd name="T12" fmla="*/ 498 w 1411"/>
                <a:gd name="T13" fmla="*/ 302 h 1443"/>
                <a:gd name="T14" fmla="*/ 774 w 1411"/>
                <a:gd name="T15" fmla="*/ 302 h 1443"/>
                <a:gd name="T16" fmla="*/ 828 w 1411"/>
                <a:gd name="T17" fmla="*/ 492 h 1443"/>
                <a:gd name="T18" fmla="*/ 443 w 1411"/>
                <a:gd name="T19" fmla="*/ 492 h 1443"/>
                <a:gd name="T20" fmla="*/ 334 w 1411"/>
                <a:gd name="T21" fmla="*/ 868 h 1443"/>
                <a:gd name="T22" fmla="*/ 935 w 1411"/>
                <a:gd name="T23" fmla="*/ 868 h 1443"/>
                <a:gd name="T24" fmla="*/ 989 w 1411"/>
                <a:gd name="T25" fmla="*/ 1058 h 1443"/>
                <a:gd name="T26" fmla="*/ 280 w 1411"/>
                <a:gd name="T27" fmla="*/ 1058 h 1443"/>
                <a:gd name="T28" fmla="*/ 213 w 1411"/>
                <a:gd name="T29" fmla="*/ 1287 h 1443"/>
                <a:gd name="T30" fmla="*/ 78 w 1411"/>
                <a:gd name="T31" fmla="*/ 1287 h 1443"/>
                <a:gd name="T32" fmla="*/ 0 w 1411"/>
                <a:gd name="T33" fmla="*/ 1365 h 1443"/>
                <a:gd name="T34" fmla="*/ 78 w 1411"/>
                <a:gd name="T35" fmla="*/ 1443 h 1443"/>
                <a:gd name="T36" fmla="*/ 1333 w 1411"/>
                <a:gd name="T37" fmla="*/ 1443 h 1443"/>
                <a:gd name="T38" fmla="*/ 1411 w 1411"/>
                <a:gd name="T39" fmla="*/ 1365 h 1443"/>
                <a:gd name="T40" fmla="*/ 1333 w 1411"/>
                <a:gd name="T41" fmla="*/ 1287 h 1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1" h="1443">
                  <a:moveTo>
                    <a:pt x="1333" y="1287"/>
                  </a:moveTo>
                  <a:cubicBezTo>
                    <a:pt x="1198" y="1287"/>
                    <a:pt x="1198" y="1287"/>
                    <a:pt x="1198" y="1287"/>
                  </a:cubicBezTo>
                  <a:cubicBezTo>
                    <a:pt x="845" y="47"/>
                    <a:pt x="845" y="47"/>
                    <a:pt x="845" y="47"/>
                  </a:cubicBezTo>
                  <a:cubicBezTo>
                    <a:pt x="837" y="19"/>
                    <a:pt x="811" y="0"/>
                    <a:pt x="782" y="0"/>
                  </a:cubicBezTo>
                  <a:cubicBezTo>
                    <a:pt x="634" y="0"/>
                    <a:pt x="634" y="0"/>
                    <a:pt x="634" y="0"/>
                  </a:cubicBezTo>
                  <a:cubicBezTo>
                    <a:pt x="606" y="0"/>
                    <a:pt x="580" y="19"/>
                    <a:pt x="572" y="46"/>
                  </a:cubicBezTo>
                  <a:cubicBezTo>
                    <a:pt x="498" y="302"/>
                    <a:pt x="498" y="302"/>
                    <a:pt x="498" y="302"/>
                  </a:cubicBezTo>
                  <a:cubicBezTo>
                    <a:pt x="774" y="302"/>
                    <a:pt x="774" y="302"/>
                    <a:pt x="774" y="302"/>
                  </a:cubicBezTo>
                  <a:cubicBezTo>
                    <a:pt x="828" y="492"/>
                    <a:pt x="828" y="492"/>
                    <a:pt x="828" y="492"/>
                  </a:cubicBezTo>
                  <a:cubicBezTo>
                    <a:pt x="443" y="492"/>
                    <a:pt x="443" y="492"/>
                    <a:pt x="443" y="492"/>
                  </a:cubicBezTo>
                  <a:cubicBezTo>
                    <a:pt x="334" y="868"/>
                    <a:pt x="334" y="868"/>
                    <a:pt x="334" y="868"/>
                  </a:cubicBezTo>
                  <a:cubicBezTo>
                    <a:pt x="935" y="868"/>
                    <a:pt x="935" y="868"/>
                    <a:pt x="935" y="868"/>
                  </a:cubicBezTo>
                  <a:cubicBezTo>
                    <a:pt x="989" y="1058"/>
                    <a:pt x="989" y="1058"/>
                    <a:pt x="989" y="1058"/>
                  </a:cubicBezTo>
                  <a:cubicBezTo>
                    <a:pt x="280" y="1058"/>
                    <a:pt x="280" y="1058"/>
                    <a:pt x="280" y="1058"/>
                  </a:cubicBezTo>
                  <a:cubicBezTo>
                    <a:pt x="213" y="1287"/>
                    <a:pt x="213" y="1287"/>
                    <a:pt x="213" y="1287"/>
                  </a:cubicBezTo>
                  <a:cubicBezTo>
                    <a:pt x="78" y="1287"/>
                    <a:pt x="78" y="1287"/>
                    <a:pt x="78" y="1287"/>
                  </a:cubicBezTo>
                  <a:cubicBezTo>
                    <a:pt x="35" y="1287"/>
                    <a:pt x="0" y="1322"/>
                    <a:pt x="0" y="1365"/>
                  </a:cubicBezTo>
                  <a:cubicBezTo>
                    <a:pt x="0" y="1408"/>
                    <a:pt x="35" y="1443"/>
                    <a:pt x="78" y="1443"/>
                  </a:cubicBezTo>
                  <a:cubicBezTo>
                    <a:pt x="1333" y="1443"/>
                    <a:pt x="1333" y="1443"/>
                    <a:pt x="1333" y="1443"/>
                  </a:cubicBezTo>
                  <a:cubicBezTo>
                    <a:pt x="1376" y="1443"/>
                    <a:pt x="1411" y="1408"/>
                    <a:pt x="1411" y="1365"/>
                  </a:cubicBezTo>
                  <a:cubicBezTo>
                    <a:pt x="1411" y="1322"/>
                    <a:pt x="1376" y="1287"/>
                    <a:pt x="1333" y="12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466" name="Groupe 277">
            <a:extLst>
              <a:ext uri="{FF2B5EF4-FFF2-40B4-BE49-F238E27FC236}">
                <a16:creationId xmlns:a16="http://schemas.microsoft.com/office/drawing/2014/main" id="{6694A88C-253B-4A27-9A93-692335136179}"/>
              </a:ext>
              <a:ext uri="{C183D7F6-B498-43B3-948B-1728B52AA6E4}">
                <adec:decorative xmlns:adec="http://schemas.microsoft.com/office/drawing/2017/decorative" val="1"/>
              </a:ext>
            </a:extLst>
          </p:cNvPr>
          <p:cNvGrpSpPr>
            <a:grpSpLocks noChangeAspect="1"/>
          </p:cNvGrpSpPr>
          <p:nvPr/>
        </p:nvGrpSpPr>
        <p:grpSpPr>
          <a:xfrm>
            <a:off x="3649013" y="4941168"/>
            <a:ext cx="676800" cy="633600"/>
            <a:chOff x="5358278" y="1661853"/>
            <a:chExt cx="902946" cy="848014"/>
          </a:xfrm>
        </p:grpSpPr>
        <p:sp>
          <p:nvSpPr>
            <p:cNvPr id="467" name="Freeform 87">
              <a:extLst>
                <a:ext uri="{FF2B5EF4-FFF2-40B4-BE49-F238E27FC236}">
                  <a16:creationId xmlns:a16="http://schemas.microsoft.com/office/drawing/2014/main" id="{C7EC71B0-DDF0-4D66-9319-F5AFCCA4C89C}"/>
                </a:ext>
              </a:extLst>
            </p:cNvPr>
            <p:cNvSpPr>
              <a:spLocks/>
            </p:cNvSpPr>
            <p:nvPr/>
          </p:nvSpPr>
          <p:spPr bwMode="auto">
            <a:xfrm>
              <a:off x="5358278" y="1661853"/>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68" name="Freeform 20">
              <a:extLst>
                <a:ext uri="{FF2B5EF4-FFF2-40B4-BE49-F238E27FC236}">
                  <a16:creationId xmlns:a16="http://schemas.microsoft.com/office/drawing/2014/main" id="{68BD7C6B-4093-4B78-8B03-2E5508D4ECE6}"/>
                </a:ext>
              </a:extLst>
            </p:cNvPr>
            <p:cNvSpPr>
              <a:spLocks noEditPoints="1"/>
            </p:cNvSpPr>
            <p:nvPr/>
          </p:nvSpPr>
          <p:spPr bwMode="auto">
            <a:xfrm>
              <a:off x="5554230" y="1839827"/>
              <a:ext cx="504731" cy="522361"/>
            </a:xfrm>
            <a:custGeom>
              <a:avLst/>
              <a:gdLst>
                <a:gd name="T0" fmla="*/ 365 w 611"/>
                <a:gd name="T1" fmla="*/ 260 h 611"/>
                <a:gd name="T2" fmla="*/ 404 w 611"/>
                <a:gd name="T3" fmla="*/ 305 h 611"/>
                <a:gd name="T4" fmla="*/ 365 w 611"/>
                <a:gd name="T5" fmla="*/ 351 h 611"/>
                <a:gd name="T6" fmla="*/ 326 w 611"/>
                <a:gd name="T7" fmla="*/ 305 h 611"/>
                <a:gd name="T8" fmla="*/ 518 w 611"/>
                <a:gd name="T9" fmla="*/ 262 h 611"/>
                <a:gd name="T10" fmla="*/ 484 w 611"/>
                <a:gd name="T11" fmla="*/ 261 h 611"/>
                <a:gd name="T12" fmla="*/ 500 w 611"/>
                <a:gd name="T13" fmla="*/ 299 h 611"/>
                <a:gd name="T14" fmla="*/ 531 w 611"/>
                <a:gd name="T15" fmla="*/ 291 h 611"/>
                <a:gd name="T16" fmla="*/ 530 w 611"/>
                <a:gd name="T17" fmla="*/ 268 h 611"/>
                <a:gd name="T18" fmla="*/ 611 w 611"/>
                <a:gd name="T19" fmla="*/ 179 h 611"/>
                <a:gd name="T20" fmla="*/ 432 w 611"/>
                <a:gd name="T21" fmla="*/ 611 h 611"/>
                <a:gd name="T22" fmla="*/ 0 w 611"/>
                <a:gd name="T23" fmla="*/ 432 h 611"/>
                <a:gd name="T24" fmla="*/ 179 w 611"/>
                <a:gd name="T25" fmla="*/ 0 h 611"/>
                <a:gd name="T26" fmla="*/ 611 w 611"/>
                <a:gd name="T27" fmla="*/ 179 h 611"/>
                <a:gd name="T28" fmla="*/ 87 w 611"/>
                <a:gd name="T29" fmla="*/ 225 h 611"/>
                <a:gd name="T30" fmla="*/ 217 w 611"/>
                <a:gd name="T31" fmla="*/ 84 h 611"/>
                <a:gd name="T32" fmla="*/ 530 w 611"/>
                <a:gd name="T33" fmla="*/ 214 h 611"/>
                <a:gd name="T34" fmla="*/ 553 w 611"/>
                <a:gd name="T35" fmla="*/ 225 h 611"/>
                <a:gd name="T36" fmla="*/ 410 w 611"/>
                <a:gd name="T37" fmla="*/ 61 h 611"/>
                <a:gd name="T38" fmla="*/ 64 w 611"/>
                <a:gd name="T39" fmla="*/ 204 h 611"/>
                <a:gd name="T40" fmla="*/ 415 w 611"/>
                <a:gd name="T41" fmla="*/ 255 h 611"/>
                <a:gd name="T42" fmla="*/ 335 w 611"/>
                <a:gd name="T43" fmla="*/ 242 h 611"/>
                <a:gd name="T44" fmla="*/ 303 w 611"/>
                <a:gd name="T45" fmla="*/ 272 h 611"/>
                <a:gd name="T46" fmla="*/ 315 w 611"/>
                <a:gd name="T47" fmla="*/ 356 h 611"/>
                <a:gd name="T48" fmla="*/ 415 w 611"/>
                <a:gd name="T49" fmla="*/ 356 h 611"/>
                <a:gd name="T50" fmla="*/ 415 w 611"/>
                <a:gd name="T51" fmla="*/ 255 h 611"/>
                <a:gd name="T52" fmla="*/ 218 w 611"/>
                <a:gd name="T53" fmla="*/ 372 h 611"/>
                <a:gd name="T54" fmla="*/ 246 w 611"/>
                <a:gd name="T55" fmla="*/ 261 h 611"/>
                <a:gd name="T56" fmla="*/ 288 w 611"/>
                <a:gd name="T57" fmla="*/ 239 h 611"/>
                <a:gd name="T58" fmla="*/ 176 w 611"/>
                <a:gd name="T59" fmla="*/ 261 h 611"/>
                <a:gd name="T60" fmla="*/ 65 w 611"/>
                <a:gd name="T61" fmla="*/ 363 h 611"/>
                <a:gd name="T62" fmla="*/ 136 w 611"/>
                <a:gd name="T63" fmla="*/ 370 h 611"/>
                <a:gd name="T64" fmla="*/ 162 w 611"/>
                <a:gd name="T65" fmla="*/ 333 h 611"/>
                <a:gd name="T66" fmla="*/ 141 w 611"/>
                <a:gd name="T67" fmla="*/ 299 h 611"/>
                <a:gd name="T68" fmla="*/ 84 w 611"/>
                <a:gd name="T69" fmla="*/ 280 h 611"/>
                <a:gd name="T70" fmla="*/ 84 w 611"/>
                <a:gd name="T71" fmla="*/ 264 h 611"/>
                <a:gd name="T72" fmla="*/ 122 w 611"/>
                <a:gd name="T73" fmla="*/ 263 h 611"/>
                <a:gd name="T74" fmla="*/ 158 w 611"/>
                <a:gd name="T75" fmla="*/ 277 h 611"/>
                <a:gd name="T76" fmla="*/ 104 w 611"/>
                <a:gd name="T77" fmla="*/ 237 h 611"/>
                <a:gd name="T78" fmla="*/ 59 w 611"/>
                <a:gd name="T79" fmla="*/ 255 h 611"/>
                <a:gd name="T80" fmla="*/ 66 w 611"/>
                <a:gd name="T81" fmla="*/ 301 h 611"/>
                <a:gd name="T82" fmla="*/ 121 w 611"/>
                <a:gd name="T83" fmla="*/ 320 h 611"/>
                <a:gd name="T84" fmla="*/ 134 w 611"/>
                <a:gd name="T85" fmla="*/ 333 h 611"/>
                <a:gd name="T86" fmla="*/ 106 w 611"/>
                <a:gd name="T87" fmla="*/ 352 h 611"/>
                <a:gd name="T88" fmla="*/ 75 w 611"/>
                <a:gd name="T89" fmla="*/ 326 h 611"/>
                <a:gd name="T90" fmla="*/ 65 w 611"/>
                <a:gd name="T91" fmla="*/ 363 h 611"/>
                <a:gd name="T92" fmla="*/ 530 w 611"/>
                <a:gd name="T93" fmla="*/ 386 h 611"/>
                <a:gd name="T94" fmla="*/ 400 w 611"/>
                <a:gd name="T95" fmla="*/ 527 h 611"/>
                <a:gd name="T96" fmla="*/ 87 w 611"/>
                <a:gd name="T97" fmla="*/ 397 h 611"/>
                <a:gd name="T98" fmla="*/ 64 w 611"/>
                <a:gd name="T99" fmla="*/ 386 h 611"/>
                <a:gd name="T100" fmla="*/ 207 w 611"/>
                <a:gd name="T101" fmla="*/ 550 h 611"/>
                <a:gd name="T102" fmla="*/ 553 w 611"/>
                <a:gd name="T103" fmla="*/ 407 h 611"/>
                <a:gd name="T104" fmla="*/ 563 w 611"/>
                <a:gd name="T105" fmla="*/ 280 h 611"/>
                <a:gd name="T106" fmla="*/ 535 w 611"/>
                <a:gd name="T107" fmla="*/ 241 h 611"/>
                <a:gd name="T108" fmla="*/ 456 w 611"/>
                <a:gd name="T109" fmla="*/ 239 h 611"/>
                <a:gd name="T110" fmla="*/ 484 w 611"/>
                <a:gd name="T111" fmla="*/ 372 h 611"/>
                <a:gd name="T112" fmla="*/ 502 w 611"/>
                <a:gd name="T113" fmla="*/ 322 h 611"/>
                <a:gd name="T114" fmla="*/ 547 w 611"/>
                <a:gd name="T115" fmla="*/ 314 h 611"/>
                <a:gd name="T116" fmla="*/ 563 w 611"/>
                <a:gd name="T117" fmla="*/ 28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1" h="611">
                  <a:moveTo>
                    <a:pt x="337" y="271"/>
                  </a:moveTo>
                  <a:cubicBezTo>
                    <a:pt x="344" y="263"/>
                    <a:pt x="353" y="260"/>
                    <a:pt x="365" y="260"/>
                  </a:cubicBezTo>
                  <a:cubicBezTo>
                    <a:pt x="377" y="260"/>
                    <a:pt x="386" y="263"/>
                    <a:pt x="393" y="271"/>
                  </a:cubicBezTo>
                  <a:cubicBezTo>
                    <a:pt x="400" y="278"/>
                    <a:pt x="404" y="290"/>
                    <a:pt x="404" y="305"/>
                  </a:cubicBezTo>
                  <a:cubicBezTo>
                    <a:pt x="404" y="320"/>
                    <a:pt x="400" y="332"/>
                    <a:pt x="393" y="340"/>
                  </a:cubicBezTo>
                  <a:cubicBezTo>
                    <a:pt x="386" y="347"/>
                    <a:pt x="377" y="351"/>
                    <a:pt x="365" y="351"/>
                  </a:cubicBezTo>
                  <a:cubicBezTo>
                    <a:pt x="354" y="351"/>
                    <a:pt x="345" y="347"/>
                    <a:pt x="337" y="340"/>
                  </a:cubicBezTo>
                  <a:cubicBezTo>
                    <a:pt x="330" y="332"/>
                    <a:pt x="326" y="320"/>
                    <a:pt x="326" y="305"/>
                  </a:cubicBezTo>
                  <a:cubicBezTo>
                    <a:pt x="326" y="290"/>
                    <a:pt x="330" y="279"/>
                    <a:pt x="337" y="271"/>
                  </a:cubicBezTo>
                  <a:close/>
                  <a:moveTo>
                    <a:pt x="518" y="262"/>
                  </a:moveTo>
                  <a:cubicBezTo>
                    <a:pt x="515" y="262"/>
                    <a:pt x="508" y="261"/>
                    <a:pt x="498" y="261"/>
                  </a:cubicBezTo>
                  <a:cubicBezTo>
                    <a:pt x="484" y="261"/>
                    <a:pt x="484" y="261"/>
                    <a:pt x="484" y="261"/>
                  </a:cubicBezTo>
                  <a:cubicBezTo>
                    <a:pt x="484" y="299"/>
                    <a:pt x="484" y="299"/>
                    <a:pt x="484" y="299"/>
                  </a:cubicBezTo>
                  <a:cubicBezTo>
                    <a:pt x="500" y="299"/>
                    <a:pt x="500" y="299"/>
                    <a:pt x="500" y="299"/>
                  </a:cubicBezTo>
                  <a:cubicBezTo>
                    <a:pt x="511" y="299"/>
                    <a:pt x="518" y="299"/>
                    <a:pt x="522" y="297"/>
                  </a:cubicBezTo>
                  <a:cubicBezTo>
                    <a:pt x="526" y="296"/>
                    <a:pt x="529" y="294"/>
                    <a:pt x="531" y="291"/>
                  </a:cubicBezTo>
                  <a:cubicBezTo>
                    <a:pt x="533" y="288"/>
                    <a:pt x="534" y="284"/>
                    <a:pt x="534" y="280"/>
                  </a:cubicBezTo>
                  <a:cubicBezTo>
                    <a:pt x="534" y="275"/>
                    <a:pt x="533" y="271"/>
                    <a:pt x="530" y="268"/>
                  </a:cubicBezTo>
                  <a:cubicBezTo>
                    <a:pt x="527" y="265"/>
                    <a:pt x="523" y="263"/>
                    <a:pt x="518" y="262"/>
                  </a:cubicBezTo>
                  <a:close/>
                  <a:moveTo>
                    <a:pt x="611" y="179"/>
                  </a:moveTo>
                  <a:cubicBezTo>
                    <a:pt x="611" y="432"/>
                    <a:pt x="611" y="432"/>
                    <a:pt x="611" y="432"/>
                  </a:cubicBezTo>
                  <a:cubicBezTo>
                    <a:pt x="432" y="611"/>
                    <a:pt x="432" y="611"/>
                    <a:pt x="432" y="611"/>
                  </a:cubicBezTo>
                  <a:cubicBezTo>
                    <a:pt x="179" y="611"/>
                    <a:pt x="179" y="611"/>
                    <a:pt x="179" y="611"/>
                  </a:cubicBezTo>
                  <a:cubicBezTo>
                    <a:pt x="0" y="432"/>
                    <a:pt x="0" y="432"/>
                    <a:pt x="0" y="432"/>
                  </a:cubicBezTo>
                  <a:cubicBezTo>
                    <a:pt x="0" y="179"/>
                    <a:pt x="0" y="179"/>
                    <a:pt x="0" y="179"/>
                  </a:cubicBezTo>
                  <a:cubicBezTo>
                    <a:pt x="179" y="0"/>
                    <a:pt x="179" y="0"/>
                    <a:pt x="179" y="0"/>
                  </a:cubicBezTo>
                  <a:cubicBezTo>
                    <a:pt x="432" y="0"/>
                    <a:pt x="432" y="0"/>
                    <a:pt x="432" y="0"/>
                  </a:cubicBezTo>
                  <a:lnTo>
                    <a:pt x="611" y="179"/>
                  </a:lnTo>
                  <a:close/>
                  <a:moveTo>
                    <a:pt x="64" y="225"/>
                  </a:moveTo>
                  <a:cubicBezTo>
                    <a:pt x="87" y="225"/>
                    <a:pt x="87" y="225"/>
                    <a:pt x="87" y="225"/>
                  </a:cubicBezTo>
                  <a:cubicBezTo>
                    <a:pt x="87" y="214"/>
                    <a:pt x="87" y="214"/>
                    <a:pt x="87" y="214"/>
                  </a:cubicBezTo>
                  <a:cubicBezTo>
                    <a:pt x="217" y="84"/>
                    <a:pt x="217" y="84"/>
                    <a:pt x="217" y="84"/>
                  </a:cubicBezTo>
                  <a:cubicBezTo>
                    <a:pt x="400" y="84"/>
                    <a:pt x="400" y="84"/>
                    <a:pt x="400" y="84"/>
                  </a:cubicBezTo>
                  <a:cubicBezTo>
                    <a:pt x="530" y="214"/>
                    <a:pt x="530" y="214"/>
                    <a:pt x="530" y="214"/>
                  </a:cubicBezTo>
                  <a:cubicBezTo>
                    <a:pt x="530" y="225"/>
                    <a:pt x="530" y="225"/>
                    <a:pt x="530" y="225"/>
                  </a:cubicBezTo>
                  <a:cubicBezTo>
                    <a:pt x="553" y="225"/>
                    <a:pt x="553" y="225"/>
                    <a:pt x="553" y="225"/>
                  </a:cubicBezTo>
                  <a:cubicBezTo>
                    <a:pt x="553" y="204"/>
                    <a:pt x="553" y="204"/>
                    <a:pt x="553" y="204"/>
                  </a:cubicBezTo>
                  <a:cubicBezTo>
                    <a:pt x="410" y="61"/>
                    <a:pt x="410" y="61"/>
                    <a:pt x="410" y="61"/>
                  </a:cubicBezTo>
                  <a:cubicBezTo>
                    <a:pt x="207" y="61"/>
                    <a:pt x="207" y="61"/>
                    <a:pt x="207" y="61"/>
                  </a:cubicBezTo>
                  <a:cubicBezTo>
                    <a:pt x="64" y="204"/>
                    <a:pt x="64" y="204"/>
                    <a:pt x="64" y="204"/>
                  </a:cubicBezTo>
                  <a:lnTo>
                    <a:pt x="64" y="225"/>
                  </a:lnTo>
                  <a:close/>
                  <a:moveTo>
                    <a:pt x="415" y="255"/>
                  </a:moveTo>
                  <a:cubicBezTo>
                    <a:pt x="402" y="243"/>
                    <a:pt x="386" y="237"/>
                    <a:pt x="365" y="237"/>
                  </a:cubicBezTo>
                  <a:cubicBezTo>
                    <a:pt x="353" y="237"/>
                    <a:pt x="343" y="238"/>
                    <a:pt x="335" y="242"/>
                  </a:cubicBezTo>
                  <a:cubicBezTo>
                    <a:pt x="328" y="245"/>
                    <a:pt x="322" y="249"/>
                    <a:pt x="316" y="254"/>
                  </a:cubicBezTo>
                  <a:cubicBezTo>
                    <a:pt x="311" y="259"/>
                    <a:pt x="306" y="265"/>
                    <a:pt x="303" y="272"/>
                  </a:cubicBezTo>
                  <a:cubicBezTo>
                    <a:pt x="299" y="281"/>
                    <a:pt x="297" y="293"/>
                    <a:pt x="297" y="306"/>
                  </a:cubicBezTo>
                  <a:cubicBezTo>
                    <a:pt x="297" y="328"/>
                    <a:pt x="303" y="344"/>
                    <a:pt x="315" y="356"/>
                  </a:cubicBezTo>
                  <a:cubicBezTo>
                    <a:pt x="328" y="368"/>
                    <a:pt x="344" y="374"/>
                    <a:pt x="365" y="374"/>
                  </a:cubicBezTo>
                  <a:cubicBezTo>
                    <a:pt x="386" y="374"/>
                    <a:pt x="402" y="368"/>
                    <a:pt x="415" y="356"/>
                  </a:cubicBezTo>
                  <a:cubicBezTo>
                    <a:pt x="427" y="344"/>
                    <a:pt x="433" y="327"/>
                    <a:pt x="433" y="306"/>
                  </a:cubicBezTo>
                  <a:cubicBezTo>
                    <a:pt x="433" y="284"/>
                    <a:pt x="427" y="267"/>
                    <a:pt x="415" y="255"/>
                  </a:cubicBezTo>
                  <a:close/>
                  <a:moveTo>
                    <a:pt x="218" y="261"/>
                  </a:moveTo>
                  <a:cubicBezTo>
                    <a:pt x="218" y="372"/>
                    <a:pt x="218" y="372"/>
                    <a:pt x="218" y="372"/>
                  </a:cubicBezTo>
                  <a:cubicBezTo>
                    <a:pt x="246" y="372"/>
                    <a:pt x="246" y="372"/>
                    <a:pt x="246" y="372"/>
                  </a:cubicBezTo>
                  <a:cubicBezTo>
                    <a:pt x="246" y="261"/>
                    <a:pt x="246" y="261"/>
                    <a:pt x="246" y="261"/>
                  </a:cubicBezTo>
                  <a:cubicBezTo>
                    <a:pt x="288" y="261"/>
                    <a:pt x="288" y="261"/>
                    <a:pt x="288" y="261"/>
                  </a:cubicBezTo>
                  <a:cubicBezTo>
                    <a:pt x="288" y="239"/>
                    <a:pt x="288" y="239"/>
                    <a:pt x="288" y="239"/>
                  </a:cubicBezTo>
                  <a:cubicBezTo>
                    <a:pt x="176" y="239"/>
                    <a:pt x="176" y="239"/>
                    <a:pt x="176" y="239"/>
                  </a:cubicBezTo>
                  <a:cubicBezTo>
                    <a:pt x="176" y="261"/>
                    <a:pt x="176" y="261"/>
                    <a:pt x="176" y="261"/>
                  </a:cubicBezTo>
                  <a:lnTo>
                    <a:pt x="218" y="261"/>
                  </a:lnTo>
                  <a:close/>
                  <a:moveTo>
                    <a:pt x="65" y="363"/>
                  </a:moveTo>
                  <a:cubicBezTo>
                    <a:pt x="74" y="371"/>
                    <a:pt x="88" y="374"/>
                    <a:pt x="106" y="374"/>
                  </a:cubicBezTo>
                  <a:cubicBezTo>
                    <a:pt x="118" y="374"/>
                    <a:pt x="128" y="373"/>
                    <a:pt x="136" y="370"/>
                  </a:cubicBezTo>
                  <a:cubicBezTo>
                    <a:pt x="145" y="366"/>
                    <a:pt x="151" y="361"/>
                    <a:pt x="155" y="355"/>
                  </a:cubicBezTo>
                  <a:cubicBezTo>
                    <a:pt x="160" y="348"/>
                    <a:pt x="162" y="341"/>
                    <a:pt x="162" y="333"/>
                  </a:cubicBezTo>
                  <a:cubicBezTo>
                    <a:pt x="162" y="325"/>
                    <a:pt x="160" y="318"/>
                    <a:pt x="156" y="312"/>
                  </a:cubicBezTo>
                  <a:cubicBezTo>
                    <a:pt x="153" y="306"/>
                    <a:pt x="148" y="302"/>
                    <a:pt x="141" y="299"/>
                  </a:cubicBezTo>
                  <a:cubicBezTo>
                    <a:pt x="134" y="295"/>
                    <a:pt x="124" y="292"/>
                    <a:pt x="110" y="289"/>
                  </a:cubicBezTo>
                  <a:cubicBezTo>
                    <a:pt x="96" y="286"/>
                    <a:pt x="88" y="283"/>
                    <a:pt x="84" y="280"/>
                  </a:cubicBezTo>
                  <a:cubicBezTo>
                    <a:pt x="81" y="278"/>
                    <a:pt x="80" y="275"/>
                    <a:pt x="80" y="272"/>
                  </a:cubicBezTo>
                  <a:cubicBezTo>
                    <a:pt x="80" y="269"/>
                    <a:pt x="81" y="266"/>
                    <a:pt x="84" y="264"/>
                  </a:cubicBezTo>
                  <a:cubicBezTo>
                    <a:pt x="89" y="261"/>
                    <a:pt x="96" y="259"/>
                    <a:pt x="104" y="259"/>
                  </a:cubicBezTo>
                  <a:cubicBezTo>
                    <a:pt x="112" y="259"/>
                    <a:pt x="118" y="260"/>
                    <a:pt x="122" y="263"/>
                  </a:cubicBezTo>
                  <a:cubicBezTo>
                    <a:pt x="126" y="266"/>
                    <a:pt x="128" y="271"/>
                    <a:pt x="130" y="278"/>
                  </a:cubicBezTo>
                  <a:cubicBezTo>
                    <a:pt x="158" y="277"/>
                    <a:pt x="158" y="277"/>
                    <a:pt x="158" y="277"/>
                  </a:cubicBezTo>
                  <a:cubicBezTo>
                    <a:pt x="158" y="265"/>
                    <a:pt x="153" y="255"/>
                    <a:pt x="144" y="248"/>
                  </a:cubicBezTo>
                  <a:cubicBezTo>
                    <a:pt x="135" y="240"/>
                    <a:pt x="122" y="237"/>
                    <a:pt x="104" y="237"/>
                  </a:cubicBezTo>
                  <a:cubicBezTo>
                    <a:pt x="93" y="237"/>
                    <a:pt x="84" y="238"/>
                    <a:pt x="76" y="241"/>
                  </a:cubicBezTo>
                  <a:cubicBezTo>
                    <a:pt x="69" y="244"/>
                    <a:pt x="63" y="249"/>
                    <a:pt x="59" y="255"/>
                  </a:cubicBezTo>
                  <a:cubicBezTo>
                    <a:pt x="55" y="261"/>
                    <a:pt x="53" y="267"/>
                    <a:pt x="53" y="274"/>
                  </a:cubicBezTo>
                  <a:cubicBezTo>
                    <a:pt x="53" y="284"/>
                    <a:pt x="57" y="293"/>
                    <a:pt x="66" y="301"/>
                  </a:cubicBezTo>
                  <a:cubicBezTo>
                    <a:pt x="72" y="306"/>
                    <a:pt x="83" y="310"/>
                    <a:pt x="98" y="314"/>
                  </a:cubicBezTo>
                  <a:cubicBezTo>
                    <a:pt x="110" y="317"/>
                    <a:pt x="117" y="318"/>
                    <a:pt x="121" y="320"/>
                  </a:cubicBezTo>
                  <a:cubicBezTo>
                    <a:pt x="125" y="321"/>
                    <a:pt x="129" y="323"/>
                    <a:pt x="131" y="325"/>
                  </a:cubicBezTo>
                  <a:cubicBezTo>
                    <a:pt x="133" y="328"/>
                    <a:pt x="134" y="330"/>
                    <a:pt x="134" y="333"/>
                  </a:cubicBezTo>
                  <a:cubicBezTo>
                    <a:pt x="134" y="338"/>
                    <a:pt x="131" y="343"/>
                    <a:pt x="127" y="346"/>
                  </a:cubicBezTo>
                  <a:cubicBezTo>
                    <a:pt x="122" y="350"/>
                    <a:pt x="115" y="352"/>
                    <a:pt x="106" y="352"/>
                  </a:cubicBezTo>
                  <a:cubicBezTo>
                    <a:pt x="97" y="352"/>
                    <a:pt x="91" y="350"/>
                    <a:pt x="85" y="346"/>
                  </a:cubicBezTo>
                  <a:cubicBezTo>
                    <a:pt x="80" y="341"/>
                    <a:pt x="77" y="335"/>
                    <a:pt x="75" y="326"/>
                  </a:cubicBezTo>
                  <a:cubicBezTo>
                    <a:pt x="48" y="329"/>
                    <a:pt x="48" y="329"/>
                    <a:pt x="48" y="329"/>
                  </a:cubicBezTo>
                  <a:cubicBezTo>
                    <a:pt x="49" y="344"/>
                    <a:pt x="55" y="355"/>
                    <a:pt x="65" y="363"/>
                  </a:cubicBezTo>
                  <a:close/>
                  <a:moveTo>
                    <a:pt x="553" y="386"/>
                  </a:moveTo>
                  <a:cubicBezTo>
                    <a:pt x="530" y="386"/>
                    <a:pt x="530" y="386"/>
                    <a:pt x="530" y="386"/>
                  </a:cubicBezTo>
                  <a:cubicBezTo>
                    <a:pt x="530" y="397"/>
                    <a:pt x="530" y="397"/>
                    <a:pt x="530" y="397"/>
                  </a:cubicBezTo>
                  <a:cubicBezTo>
                    <a:pt x="400" y="527"/>
                    <a:pt x="400" y="527"/>
                    <a:pt x="400" y="527"/>
                  </a:cubicBezTo>
                  <a:cubicBezTo>
                    <a:pt x="217" y="527"/>
                    <a:pt x="217" y="527"/>
                    <a:pt x="217" y="527"/>
                  </a:cubicBezTo>
                  <a:cubicBezTo>
                    <a:pt x="87" y="397"/>
                    <a:pt x="87" y="397"/>
                    <a:pt x="87" y="397"/>
                  </a:cubicBezTo>
                  <a:cubicBezTo>
                    <a:pt x="87" y="386"/>
                    <a:pt x="87" y="386"/>
                    <a:pt x="87" y="386"/>
                  </a:cubicBezTo>
                  <a:cubicBezTo>
                    <a:pt x="64" y="386"/>
                    <a:pt x="64" y="386"/>
                    <a:pt x="64" y="386"/>
                  </a:cubicBezTo>
                  <a:cubicBezTo>
                    <a:pt x="64" y="407"/>
                    <a:pt x="64" y="407"/>
                    <a:pt x="64" y="407"/>
                  </a:cubicBezTo>
                  <a:cubicBezTo>
                    <a:pt x="207" y="550"/>
                    <a:pt x="207" y="550"/>
                    <a:pt x="207" y="550"/>
                  </a:cubicBezTo>
                  <a:cubicBezTo>
                    <a:pt x="410" y="550"/>
                    <a:pt x="410" y="550"/>
                    <a:pt x="410" y="550"/>
                  </a:cubicBezTo>
                  <a:cubicBezTo>
                    <a:pt x="553" y="407"/>
                    <a:pt x="553" y="407"/>
                    <a:pt x="553" y="407"/>
                  </a:cubicBezTo>
                  <a:lnTo>
                    <a:pt x="553" y="386"/>
                  </a:lnTo>
                  <a:close/>
                  <a:moveTo>
                    <a:pt x="563" y="280"/>
                  </a:moveTo>
                  <a:cubicBezTo>
                    <a:pt x="563" y="269"/>
                    <a:pt x="561" y="261"/>
                    <a:pt x="555" y="254"/>
                  </a:cubicBezTo>
                  <a:cubicBezTo>
                    <a:pt x="550" y="247"/>
                    <a:pt x="543" y="243"/>
                    <a:pt x="535" y="241"/>
                  </a:cubicBezTo>
                  <a:cubicBezTo>
                    <a:pt x="530" y="240"/>
                    <a:pt x="518" y="239"/>
                    <a:pt x="501" y="239"/>
                  </a:cubicBezTo>
                  <a:cubicBezTo>
                    <a:pt x="456" y="239"/>
                    <a:pt x="456" y="239"/>
                    <a:pt x="456" y="239"/>
                  </a:cubicBezTo>
                  <a:cubicBezTo>
                    <a:pt x="456" y="372"/>
                    <a:pt x="456" y="372"/>
                    <a:pt x="456" y="372"/>
                  </a:cubicBezTo>
                  <a:cubicBezTo>
                    <a:pt x="484" y="372"/>
                    <a:pt x="484" y="372"/>
                    <a:pt x="484" y="372"/>
                  </a:cubicBezTo>
                  <a:cubicBezTo>
                    <a:pt x="484" y="322"/>
                    <a:pt x="484" y="322"/>
                    <a:pt x="484" y="322"/>
                  </a:cubicBezTo>
                  <a:cubicBezTo>
                    <a:pt x="502" y="322"/>
                    <a:pt x="502" y="322"/>
                    <a:pt x="502" y="322"/>
                  </a:cubicBezTo>
                  <a:cubicBezTo>
                    <a:pt x="515" y="322"/>
                    <a:pt x="525" y="321"/>
                    <a:pt x="532" y="320"/>
                  </a:cubicBezTo>
                  <a:cubicBezTo>
                    <a:pt x="537" y="319"/>
                    <a:pt x="542" y="317"/>
                    <a:pt x="547" y="314"/>
                  </a:cubicBezTo>
                  <a:cubicBezTo>
                    <a:pt x="552" y="310"/>
                    <a:pt x="556" y="306"/>
                    <a:pt x="559" y="301"/>
                  </a:cubicBezTo>
                  <a:cubicBezTo>
                    <a:pt x="562" y="295"/>
                    <a:pt x="563" y="288"/>
                    <a:pt x="563" y="2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5" name="Group 24">
            <a:extLst>
              <a:ext uri="{FF2B5EF4-FFF2-40B4-BE49-F238E27FC236}">
                <a16:creationId xmlns:a16="http://schemas.microsoft.com/office/drawing/2014/main" id="{930D3C3E-B675-4518-9278-4A8316DB24AC}"/>
              </a:ext>
              <a:ext uri="{C183D7F6-B498-43B3-948B-1728B52AA6E4}">
                <adec:decorative xmlns:adec="http://schemas.microsoft.com/office/drawing/2017/decorative" val="1"/>
              </a:ext>
            </a:extLst>
          </p:cNvPr>
          <p:cNvGrpSpPr/>
          <p:nvPr/>
        </p:nvGrpSpPr>
        <p:grpSpPr>
          <a:xfrm>
            <a:off x="4448769" y="4941168"/>
            <a:ext cx="672195" cy="633600"/>
            <a:chOff x="5166567" y="5097778"/>
            <a:chExt cx="672195" cy="633600"/>
          </a:xfrm>
        </p:grpSpPr>
        <p:sp>
          <p:nvSpPr>
            <p:cNvPr id="791" name="Freeform 30">
              <a:extLst>
                <a:ext uri="{FF2B5EF4-FFF2-40B4-BE49-F238E27FC236}">
                  <a16:creationId xmlns:a16="http://schemas.microsoft.com/office/drawing/2014/main" id="{0E8CC12D-0BF7-4A77-B8BC-F013F5C33989}"/>
                </a:ext>
              </a:extLst>
            </p:cNvPr>
            <p:cNvSpPr>
              <a:spLocks/>
            </p:cNvSpPr>
            <p:nvPr/>
          </p:nvSpPr>
          <p:spPr bwMode="auto">
            <a:xfrm>
              <a:off x="5166567" y="5097778"/>
              <a:ext cx="672195" cy="6336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6">
              <a:extLst>
                <a:ext uri="{FF2B5EF4-FFF2-40B4-BE49-F238E27FC236}">
                  <a16:creationId xmlns:a16="http://schemas.microsoft.com/office/drawing/2014/main" id="{BA4BC0B6-1689-4096-9E2D-AAC5DEF0B07D}"/>
                </a:ext>
              </a:extLst>
            </p:cNvPr>
            <p:cNvSpPr>
              <a:spLocks noChangeAspect="1" noEditPoints="1"/>
            </p:cNvSpPr>
            <p:nvPr/>
          </p:nvSpPr>
          <p:spPr bwMode="auto">
            <a:xfrm>
              <a:off x="5363567" y="5224749"/>
              <a:ext cx="322697" cy="360000"/>
            </a:xfrm>
            <a:custGeom>
              <a:avLst/>
              <a:gdLst>
                <a:gd name="T0" fmla="*/ 373 w 568"/>
                <a:gd name="T1" fmla="*/ 637 h 637"/>
                <a:gd name="T2" fmla="*/ 70 w 568"/>
                <a:gd name="T3" fmla="*/ 371 h 637"/>
                <a:gd name="T4" fmla="*/ 93 w 568"/>
                <a:gd name="T5" fmla="*/ 200 h 637"/>
                <a:gd name="T6" fmla="*/ 96 w 568"/>
                <a:gd name="T7" fmla="*/ 197 h 637"/>
                <a:gd name="T8" fmla="*/ 223 w 568"/>
                <a:gd name="T9" fmla="*/ 293 h 637"/>
                <a:gd name="T10" fmla="*/ 165 w 568"/>
                <a:gd name="T11" fmla="*/ 366 h 637"/>
                <a:gd name="T12" fmla="*/ 326 w 568"/>
                <a:gd name="T13" fmla="*/ 510 h 637"/>
                <a:gd name="T14" fmla="*/ 373 w 568"/>
                <a:gd name="T15" fmla="*/ 637 h 637"/>
                <a:gd name="T16" fmla="*/ 116 w 568"/>
                <a:gd name="T17" fmla="*/ 58 h 637"/>
                <a:gd name="T18" fmla="*/ 85 w 568"/>
                <a:gd name="T19" fmla="*/ 126 h 637"/>
                <a:gd name="T20" fmla="*/ 58 w 568"/>
                <a:gd name="T21" fmla="*/ 181 h 637"/>
                <a:gd name="T22" fmla="*/ 31 w 568"/>
                <a:gd name="T23" fmla="*/ 126 h 637"/>
                <a:gd name="T24" fmla="*/ 0 w 568"/>
                <a:gd name="T25" fmla="*/ 58 h 637"/>
                <a:gd name="T26" fmla="*/ 58 w 568"/>
                <a:gd name="T27" fmla="*/ 0 h 637"/>
                <a:gd name="T28" fmla="*/ 58 w 568"/>
                <a:gd name="T29" fmla="*/ 0 h 637"/>
                <a:gd name="T30" fmla="*/ 58 w 568"/>
                <a:gd name="T31" fmla="*/ 0 h 637"/>
                <a:gd name="T32" fmla="*/ 116 w 568"/>
                <a:gd name="T33" fmla="*/ 58 h 637"/>
                <a:gd name="T34" fmla="*/ 89 w 568"/>
                <a:gd name="T35" fmla="*/ 58 h 637"/>
                <a:gd name="T36" fmla="*/ 58 w 568"/>
                <a:gd name="T37" fmla="*/ 27 h 637"/>
                <a:gd name="T38" fmla="*/ 27 w 568"/>
                <a:gd name="T39" fmla="*/ 58 h 637"/>
                <a:gd name="T40" fmla="*/ 58 w 568"/>
                <a:gd name="T41" fmla="*/ 89 h 637"/>
                <a:gd name="T42" fmla="*/ 89 w 568"/>
                <a:gd name="T43" fmla="*/ 58 h 637"/>
                <a:gd name="T44" fmla="*/ 568 w 568"/>
                <a:gd name="T45" fmla="*/ 377 h 637"/>
                <a:gd name="T46" fmla="*/ 502 w 568"/>
                <a:gd name="T47" fmla="*/ 520 h 637"/>
                <a:gd name="T48" fmla="*/ 447 w 568"/>
                <a:gd name="T49" fmla="*/ 635 h 637"/>
                <a:gd name="T50" fmla="*/ 391 w 568"/>
                <a:gd name="T51" fmla="*/ 520 h 637"/>
                <a:gd name="T52" fmla="*/ 326 w 568"/>
                <a:gd name="T53" fmla="*/ 377 h 637"/>
                <a:gd name="T54" fmla="*/ 447 w 568"/>
                <a:gd name="T55" fmla="*/ 256 h 637"/>
                <a:gd name="T56" fmla="*/ 447 w 568"/>
                <a:gd name="T57" fmla="*/ 256 h 637"/>
                <a:gd name="T58" fmla="*/ 447 w 568"/>
                <a:gd name="T59" fmla="*/ 256 h 637"/>
                <a:gd name="T60" fmla="*/ 568 w 568"/>
                <a:gd name="T61" fmla="*/ 377 h 637"/>
                <a:gd name="T62" fmla="*/ 511 w 568"/>
                <a:gd name="T63" fmla="*/ 377 h 637"/>
                <a:gd name="T64" fmla="*/ 447 w 568"/>
                <a:gd name="T65" fmla="*/ 313 h 637"/>
                <a:gd name="T66" fmla="*/ 383 w 568"/>
                <a:gd name="T67" fmla="*/ 377 h 637"/>
                <a:gd name="T68" fmla="*/ 447 w 568"/>
                <a:gd name="T69" fmla="*/ 441 h 637"/>
                <a:gd name="T70" fmla="*/ 511 w 568"/>
                <a:gd name="T71" fmla="*/ 37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8" h="637">
                  <a:moveTo>
                    <a:pt x="373" y="637"/>
                  </a:moveTo>
                  <a:cubicBezTo>
                    <a:pt x="1" y="637"/>
                    <a:pt x="0" y="440"/>
                    <a:pt x="70" y="371"/>
                  </a:cubicBezTo>
                  <a:cubicBezTo>
                    <a:pt x="132" y="309"/>
                    <a:pt x="245" y="299"/>
                    <a:pt x="93" y="200"/>
                  </a:cubicBezTo>
                  <a:cubicBezTo>
                    <a:pt x="94" y="199"/>
                    <a:pt x="95" y="198"/>
                    <a:pt x="96" y="197"/>
                  </a:cubicBezTo>
                  <a:cubicBezTo>
                    <a:pt x="200" y="236"/>
                    <a:pt x="223" y="250"/>
                    <a:pt x="223" y="293"/>
                  </a:cubicBezTo>
                  <a:cubicBezTo>
                    <a:pt x="223" y="317"/>
                    <a:pt x="191" y="340"/>
                    <a:pt x="165" y="366"/>
                  </a:cubicBezTo>
                  <a:cubicBezTo>
                    <a:pt x="103" y="428"/>
                    <a:pt x="109" y="520"/>
                    <a:pt x="326" y="510"/>
                  </a:cubicBezTo>
                  <a:cubicBezTo>
                    <a:pt x="339" y="534"/>
                    <a:pt x="373" y="637"/>
                    <a:pt x="373" y="637"/>
                  </a:cubicBezTo>
                  <a:close/>
                  <a:moveTo>
                    <a:pt x="116" y="58"/>
                  </a:moveTo>
                  <a:cubicBezTo>
                    <a:pt x="116" y="88"/>
                    <a:pt x="97" y="99"/>
                    <a:pt x="85" y="126"/>
                  </a:cubicBezTo>
                  <a:cubicBezTo>
                    <a:pt x="69" y="162"/>
                    <a:pt x="70" y="181"/>
                    <a:pt x="58" y="181"/>
                  </a:cubicBezTo>
                  <a:cubicBezTo>
                    <a:pt x="46" y="181"/>
                    <a:pt x="47" y="162"/>
                    <a:pt x="31" y="126"/>
                  </a:cubicBezTo>
                  <a:cubicBezTo>
                    <a:pt x="19" y="99"/>
                    <a:pt x="0" y="88"/>
                    <a:pt x="0" y="58"/>
                  </a:cubicBezTo>
                  <a:cubicBezTo>
                    <a:pt x="0" y="28"/>
                    <a:pt x="25" y="0"/>
                    <a:pt x="58" y="0"/>
                  </a:cubicBezTo>
                  <a:cubicBezTo>
                    <a:pt x="58" y="0"/>
                    <a:pt x="58" y="0"/>
                    <a:pt x="58" y="0"/>
                  </a:cubicBezTo>
                  <a:cubicBezTo>
                    <a:pt x="58" y="0"/>
                    <a:pt x="58" y="0"/>
                    <a:pt x="58" y="0"/>
                  </a:cubicBezTo>
                  <a:cubicBezTo>
                    <a:pt x="91" y="0"/>
                    <a:pt x="116" y="28"/>
                    <a:pt x="116" y="58"/>
                  </a:cubicBezTo>
                  <a:close/>
                  <a:moveTo>
                    <a:pt x="89" y="58"/>
                  </a:moveTo>
                  <a:cubicBezTo>
                    <a:pt x="89" y="41"/>
                    <a:pt x="75" y="27"/>
                    <a:pt x="58" y="27"/>
                  </a:cubicBezTo>
                  <a:cubicBezTo>
                    <a:pt x="41" y="27"/>
                    <a:pt x="27" y="41"/>
                    <a:pt x="27" y="58"/>
                  </a:cubicBezTo>
                  <a:cubicBezTo>
                    <a:pt x="27" y="75"/>
                    <a:pt x="41" y="89"/>
                    <a:pt x="58" y="89"/>
                  </a:cubicBezTo>
                  <a:cubicBezTo>
                    <a:pt x="75" y="89"/>
                    <a:pt x="89" y="75"/>
                    <a:pt x="89" y="58"/>
                  </a:cubicBezTo>
                  <a:close/>
                  <a:moveTo>
                    <a:pt x="568" y="377"/>
                  </a:moveTo>
                  <a:cubicBezTo>
                    <a:pt x="568" y="439"/>
                    <a:pt x="528" y="462"/>
                    <a:pt x="502" y="520"/>
                  </a:cubicBezTo>
                  <a:cubicBezTo>
                    <a:pt x="469" y="594"/>
                    <a:pt x="472" y="635"/>
                    <a:pt x="447" y="635"/>
                  </a:cubicBezTo>
                  <a:cubicBezTo>
                    <a:pt x="422" y="635"/>
                    <a:pt x="425" y="594"/>
                    <a:pt x="391" y="520"/>
                  </a:cubicBezTo>
                  <a:cubicBezTo>
                    <a:pt x="365" y="462"/>
                    <a:pt x="326" y="439"/>
                    <a:pt x="326" y="377"/>
                  </a:cubicBezTo>
                  <a:cubicBezTo>
                    <a:pt x="326" y="314"/>
                    <a:pt x="377" y="256"/>
                    <a:pt x="447" y="256"/>
                  </a:cubicBezTo>
                  <a:cubicBezTo>
                    <a:pt x="447" y="256"/>
                    <a:pt x="447" y="256"/>
                    <a:pt x="447" y="256"/>
                  </a:cubicBezTo>
                  <a:cubicBezTo>
                    <a:pt x="447" y="256"/>
                    <a:pt x="447" y="256"/>
                    <a:pt x="447" y="256"/>
                  </a:cubicBezTo>
                  <a:cubicBezTo>
                    <a:pt x="516" y="256"/>
                    <a:pt x="568" y="314"/>
                    <a:pt x="568" y="377"/>
                  </a:cubicBezTo>
                  <a:close/>
                  <a:moveTo>
                    <a:pt x="511" y="377"/>
                  </a:moveTo>
                  <a:cubicBezTo>
                    <a:pt x="511" y="342"/>
                    <a:pt x="482" y="313"/>
                    <a:pt x="447" y="313"/>
                  </a:cubicBezTo>
                  <a:cubicBezTo>
                    <a:pt x="411" y="313"/>
                    <a:pt x="383" y="342"/>
                    <a:pt x="383" y="377"/>
                  </a:cubicBezTo>
                  <a:cubicBezTo>
                    <a:pt x="383" y="412"/>
                    <a:pt x="411" y="441"/>
                    <a:pt x="447" y="441"/>
                  </a:cubicBezTo>
                  <a:cubicBezTo>
                    <a:pt x="482" y="441"/>
                    <a:pt x="511" y="413"/>
                    <a:pt x="511" y="3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197" name="Group 196">
            <a:extLst>
              <a:ext uri="{FF2B5EF4-FFF2-40B4-BE49-F238E27FC236}">
                <a16:creationId xmlns:a16="http://schemas.microsoft.com/office/drawing/2014/main" id="{46DF79D4-5BB4-4103-A2C4-DF85EA8D2D0F}"/>
              </a:ext>
              <a:ext uri="{C183D7F6-B498-43B3-948B-1728B52AA6E4}">
                <adec:decorative xmlns:adec="http://schemas.microsoft.com/office/drawing/2017/decorative" val="1"/>
              </a:ext>
            </a:extLst>
          </p:cNvPr>
          <p:cNvGrpSpPr/>
          <p:nvPr/>
        </p:nvGrpSpPr>
        <p:grpSpPr>
          <a:xfrm>
            <a:off x="6044963" y="4941168"/>
            <a:ext cx="675086" cy="633600"/>
            <a:chOff x="6262444" y="5028273"/>
            <a:chExt cx="675086" cy="633600"/>
          </a:xfrm>
        </p:grpSpPr>
        <p:sp>
          <p:nvSpPr>
            <p:cNvPr id="472" name="Freeform 45">
              <a:extLst>
                <a:ext uri="{FF2B5EF4-FFF2-40B4-BE49-F238E27FC236}">
                  <a16:creationId xmlns:a16="http://schemas.microsoft.com/office/drawing/2014/main" id="{8A675DDD-BC3B-4494-B85A-EC66B8D56F64}"/>
                </a:ext>
              </a:extLst>
            </p:cNvPr>
            <p:cNvSpPr>
              <a:spLocks/>
            </p:cNvSpPr>
            <p:nvPr/>
          </p:nvSpPr>
          <p:spPr bwMode="auto">
            <a:xfrm>
              <a:off x="6262444" y="5028273"/>
              <a:ext cx="675086" cy="633600"/>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73" name="Group 472">
              <a:extLst>
                <a:ext uri="{FF2B5EF4-FFF2-40B4-BE49-F238E27FC236}">
                  <a16:creationId xmlns:a16="http://schemas.microsoft.com/office/drawing/2014/main" id="{49753256-D0B9-446F-AFCD-5C420EDCFCAE}"/>
                </a:ext>
              </a:extLst>
            </p:cNvPr>
            <p:cNvGrpSpPr/>
            <p:nvPr/>
          </p:nvGrpSpPr>
          <p:grpSpPr>
            <a:xfrm>
              <a:off x="6425872" y="5245759"/>
              <a:ext cx="348228" cy="258972"/>
              <a:chOff x="669340" y="1602428"/>
              <a:chExt cx="395714" cy="294286"/>
            </a:xfrm>
            <a:solidFill>
              <a:schemeClr val="bg1"/>
            </a:solidFill>
          </p:grpSpPr>
          <p:sp>
            <p:nvSpPr>
              <p:cNvPr id="474" name="Freeform 46">
                <a:extLst>
                  <a:ext uri="{FF2B5EF4-FFF2-40B4-BE49-F238E27FC236}">
                    <a16:creationId xmlns:a16="http://schemas.microsoft.com/office/drawing/2014/main" id="{BA5DD4AF-BAD9-4F4F-B803-FCE9D4DD0D0A}"/>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47">
                <a:extLst>
                  <a:ext uri="{FF2B5EF4-FFF2-40B4-BE49-F238E27FC236}">
                    <a16:creationId xmlns:a16="http://schemas.microsoft.com/office/drawing/2014/main" id="{E16A519C-4182-4B33-8A94-55C5429277BF}"/>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48">
                <a:extLst>
                  <a:ext uri="{FF2B5EF4-FFF2-40B4-BE49-F238E27FC236}">
                    <a16:creationId xmlns:a16="http://schemas.microsoft.com/office/drawing/2014/main" id="{1229C251-4144-422A-86EA-CFFEFAB97A0F}"/>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49">
                <a:extLst>
                  <a:ext uri="{FF2B5EF4-FFF2-40B4-BE49-F238E27FC236}">
                    <a16:creationId xmlns:a16="http://schemas.microsoft.com/office/drawing/2014/main" id="{E5557876-F678-4BD5-A346-076C6D450EE2}"/>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50">
                <a:extLst>
                  <a:ext uri="{FF2B5EF4-FFF2-40B4-BE49-F238E27FC236}">
                    <a16:creationId xmlns:a16="http://schemas.microsoft.com/office/drawing/2014/main" id="{C15B339A-1D0C-46F0-BC3C-CDC133EA7EFF}"/>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51">
                <a:extLst>
                  <a:ext uri="{FF2B5EF4-FFF2-40B4-BE49-F238E27FC236}">
                    <a16:creationId xmlns:a16="http://schemas.microsoft.com/office/drawing/2014/main" id="{D4CA6B86-F52A-4757-B94C-254AB532C24B}"/>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3" name="Group 22">
            <a:extLst>
              <a:ext uri="{FF2B5EF4-FFF2-40B4-BE49-F238E27FC236}">
                <a16:creationId xmlns:a16="http://schemas.microsoft.com/office/drawing/2014/main" id="{494A126B-8C44-444F-8D6F-BCBAEC1F9F52}"/>
              </a:ext>
              <a:ext uri="{C183D7F6-B498-43B3-948B-1728B52AA6E4}">
                <adec:decorative xmlns:adec="http://schemas.microsoft.com/office/drawing/2017/decorative" val="1"/>
              </a:ext>
            </a:extLst>
          </p:cNvPr>
          <p:cNvGrpSpPr>
            <a:grpSpLocks noChangeAspect="1"/>
          </p:cNvGrpSpPr>
          <p:nvPr/>
        </p:nvGrpSpPr>
        <p:grpSpPr>
          <a:xfrm>
            <a:off x="7638156" y="4941168"/>
            <a:ext cx="679477" cy="633600"/>
            <a:chOff x="9863893" y="5083499"/>
            <a:chExt cx="772133" cy="720000"/>
          </a:xfrm>
        </p:grpSpPr>
        <p:sp>
          <p:nvSpPr>
            <p:cNvPr id="518" name="Freeform 23">
              <a:extLst>
                <a:ext uri="{FF2B5EF4-FFF2-40B4-BE49-F238E27FC236}">
                  <a16:creationId xmlns:a16="http://schemas.microsoft.com/office/drawing/2014/main" id="{70EC2861-0F63-4FEA-80E8-9BACE38E65DE}"/>
                </a:ext>
              </a:extLst>
            </p:cNvPr>
            <p:cNvSpPr>
              <a:spLocks/>
            </p:cNvSpPr>
            <p:nvPr/>
          </p:nvSpPr>
          <p:spPr bwMode="auto">
            <a:xfrm>
              <a:off x="9863893" y="5083499"/>
              <a:ext cx="772133" cy="720000"/>
            </a:xfrm>
            <a:custGeom>
              <a:avLst/>
              <a:gdLst>
                <a:gd name="T0" fmla="*/ 33 w 232"/>
                <a:gd name="T1" fmla="*/ 169 h 216"/>
                <a:gd name="T2" fmla="*/ 55 w 232"/>
                <a:gd name="T3" fmla="*/ 32 h 216"/>
                <a:gd name="T4" fmla="*/ 198 w 232"/>
                <a:gd name="T5" fmla="*/ 52 h 216"/>
                <a:gd name="T6" fmla="*/ 172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10" y="64"/>
                    <a:pt x="55" y="32"/>
                  </a:cubicBezTo>
                  <a:cubicBezTo>
                    <a:pt x="101" y="0"/>
                    <a:pt x="165" y="9"/>
                    <a:pt x="198" y="52"/>
                  </a:cubicBezTo>
                  <a:cubicBezTo>
                    <a:pt x="232" y="96"/>
                    <a:pt x="218" y="152"/>
                    <a:pt x="172" y="184"/>
                  </a:cubicBezTo>
                  <a:cubicBezTo>
                    <a:pt x="127" y="216"/>
                    <a:pt x="66" y="213"/>
                    <a:pt x="33" y="16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9" name="Groupe 772">
              <a:extLst>
                <a:ext uri="{FF2B5EF4-FFF2-40B4-BE49-F238E27FC236}">
                  <a16:creationId xmlns:a16="http://schemas.microsoft.com/office/drawing/2014/main" id="{7D2FC9B7-EA0A-4986-A9D6-6A017D689FFE}"/>
                </a:ext>
              </a:extLst>
            </p:cNvPr>
            <p:cNvGrpSpPr/>
            <p:nvPr/>
          </p:nvGrpSpPr>
          <p:grpSpPr>
            <a:xfrm>
              <a:off x="10078868" y="5286395"/>
              <a:ext cx="312798" cy="314207"/>
              <a:chOff x="10213976" y="2168525"/>
              <a:chExt cx="352425" cy="354012"/>
            </a:xfrm>
            <a:solidFill>
              <a:schemeClr val="bg1"/>
            </a:solidFill>
          </p:grpSpPr>
          <p:sp>
            <p:nvSpPr>
              <p:cNvPr id="520" name="Freeform 93">
                <a:extLst>
                  <a:ext uri="{FF2B5EF4-FFF2-40B4-BE49-F238E27FC236}">
                    <a16:creationId xmlns:a16="http://schemas.microsoft.com/office/drawing/2014/main" id="{EA659B9A-0E79-49C4-9530-5C23726B8718}"/>
                  </a:ext>
                </a:extLst>
              </p:cNvPr>
              <p:cNvSpPr>
                <a:spLocks/>
              </p:cNvSpPr>
              <p:nvPr/>
            </p:nvSpPr>
            <p:spPr bwMode="auto">
              <a:xfrm>
                <a:off x="10213976" y="2259012"/>
                <a:ext cx="236538" cy="263525"/>
              </a:xfrm>
              <a:custGeom>
                <a:avLst/>
                <a:gdLst>
                  <a:gd name="T0" fmla="*/ 31 w 63"/>
                  <a:gd name="T1" fmla="*/ 56 h 70"/>
                  <a:gd name="T2" fmla="*/ 23 w 63"/>
                  <a:gd name="T3" fmla="*/ 56 h 70"/>
                  <a:gd name="T4" fmla="*/ 14 w 63"/>
                  <a:gd name="T5" fmla="*/ 48 h 70"/>
                  <a:gd name="T6" fmla="*/ 14 w 63"/>
                  <a:gd name="T7" fmla="*/ 39 h 70"/>
                  <a:gd name="T8" fmla="*/ 39 w 63"/>
                  <a:gd name="T9" fmla="*/ 15 h 70"/>
                  <a:gd name="T10" fmla="*/ 47 w 63"/>
                  <a:gd name="T11" fmla="*/ 15 h 70"/>
                  <a:gd name="T12" fmla="*/ 55 w 63"/>
                  <a:gd name="T13" fmla="*/ 23 h 70"/>
                  <a:gd name="T14" fmla="*/ 63 w 63"/>
                  <a:gd name="T15" fmla="*/ 15 h 70"/>
                  <a:gd name="T16" fmla="*/ 55 w 63"/>
                  <a:gd name="T17" fmla="*/ 7 h 70"/>
                  <a:gd name="T18" fmla="*/ 31 w 63"/>
                  <a:gd name="T19" fmla="*/ 7 h 70"/>
                  <a:gd name="T20" fmla="*/ 6 w 63"/>
                  <a:gd name="T21" fmla="*/ 31 h 70"/>
                  <a:gd name="T22" fmla="*/ 6 w 63"/>
                  <a:gd name="T23" fmla="*/ 56 h 70"/>
                  <a:gd name="T24" fmla="*/ 14 w 63"/>
                  <a:gd name="T25" fmla="*/ 64 h 70"/>
                  <a:gd name="T26" fmla="*/ 39 w 63"/>
                  <a:gd name="T27" fmla="*/ 64 h 70"/>
                  <a:gd name="T28" fmla="*/ 52 w 63"/>
                  <a:gd name="T29" fmla="*/ 50 h 70"/>
                  <a:gd name="T30" fmla="*/ 39 w 63"/>
                  <a:gd name="T31" fmla="*/ 47 h 70"/>
                  <a:gd name="T32" fmla="*/ 31 w 63"/>
                  <a:gd name="T33" fmla="*/ 5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70">
                    <a:moveTo>
                      <a:pt x="31" y="56"/>
                    </a:moveTo>
                    <a:cubicBezTo>
                      <a:pt x="28" y="58"/>
                      <a:pt x="25" y="58"/>
                      <a:pt x="23" y="56"/>
                    </a:cubicBezTo>
                    <a:cubicBezTo>
                      <a:pt x="14" y="48"/>
                      <a:pt x="14" y="48"/>
                      <a:pt x="14" y="48"/>
                    </a:cubicBezTo>
                    <a:cubicBezTo>
                      <a:pt x="12" y="45"/>
                      <a:pt x="12" y="42"/>
                      <a:pt x="14" y="39"/>
                    </a:cubicBezTo>
                    <a:cubicBezTo>
                      <a:pt x="39" y="15"/>
                      <a:pt x="39" y="15"/>
                      <a:pt x="39" y="15"/>
                    </a:cubicBezTo>
                    <a:cubicBezTo>
                      <a:pt x="41" y="13"/>
                      <a:pt x="45" y="13"/>
                      <a:pt x="47" y="15"/>
                    </a:cubicBezTo>
                    <a:cubicBezTo>
                      <a:pt x="55" y="23"/>
                      <a:pt x="55" y="23"/>
                      <a:pt x="55" y="23"/>
                    </a:cubicBezTo>
                    <a:cubicBezTo>
                      <a:pt x="63" y="15"/>
                      <a:pt x="63" y="15"/>
                      <a:pt x="63" y="15"/>
                    </a:cubicBezTo>
                    <a:cubicBezTo>
                      <a:pt x="55" y="7"/>
                      <a:pt x="55" y="7"/>
                      <a:pt x="55" y="7"/>
                    </a:cubicBezTo>
                    <a:cubicBezTo>
                      <a:pt x="48" y="0"/>
                      <a:pt x="37" y="0"/>
                      <a:pt x="31" y="7"/>
                    </a:cubicBezTo>
                    <a:cubicBezTo>
                      <a:pt x="6" y="31"/>
                      <a:pt x="6" y="31"/>
                      <a:pt x="6" y="31"/>
                    </a:cubicBezTo>
                    <a:cubicBezTo>
                      <a:pt x="0" y="38"/>
                      <a:pt x="0" y="49"/>
                      <a:pt x="6" y="56"/>
                    </a:cubicBezTo>
                    <a:cubicBezTo>
                      <a:pt x="14" y="64"/>
                      <a:pt x="14" y="64"/>
                      <a:pt x="14" y="64"/>
                    </a:cubicBezTo>
                    <a:cubicBezTo>
                      <a:pt x="21" y="70"/>
                      <a:pt x="32" y="70"/>
                      <a:pt x="39" y="64"/>
                    </a:cubicBezTo>
                    <a:cubicBezTo>
                      <a:pt x="52" y="50"/>
                      <a:pt x="52" y="50"/>
                      <a:pt x="52" y="50"/>
                    </a:cubicBezTo>
                    <a:cubicBezTo>
                      <a:pt x="48" y="50"/>
                      <a:pt x="43" y="49"/>
                      <a:pt x="39" y="47"/>
                    </a:cubicBezTo>
                    <a:lnTo>
                      <a:pt x="31"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94">
                <a:extLst>
                  <a:ext uri="{FF2B5EF4-FFF2-40B4-BE49-F238E27FC236}">
                    <a16:creationId xmlns:a16="http://schemas.microsoft.com/office/drawing/2014/main" id="{A32ADB2B-7A5B-48D9-97A3-7EF66ED41388}"/>
                  </a:ext>
                </a:extLst>
              </p:cNvPr>
              <p:cNvSpPr>
                <a:spLocks/>
              </p:cNvSpPr>
              <p:nvPr/>
            </p:nvSpPr>
            <p:spPr bwMode="auto">
              <a:xfrm>
                <a:off x="10326688" y="2168525"/>
                <a:ext cx="239713" cy="263525"/>
              </a:xfrm>
              <a:custGeom>
                <a:avLst/>
                <a:gdLst>
                  <a:gd name="T0" fmla="*/ 57 w 64"/>
                  <a:gd name="T1" fmla="*/ 15 h 70"/>
                  <a:gd name="T2" fmla="*/ 49 w 64"/>
                  <a:gd name="T3" fmla="*/ 7 h 70"/>
                  <a:gd name="T4" fmla="*/ 25 w 64"/>
                  <a:gd name="T5" fmla="*/ 7 h 70"/>
                  <a:gd name="T6" fmla="*/ 11 w 64"/>
                  <a:gd name="T7" fmla="*/ 20 h 70"/>
                  <a:gd name="T8" fmla="*/ 24 w 64"/>
                  <a:gd name="T9" fmla="*/ 24 h 70"/>
                  <a:gd name="T10" fmla="*/ 33 w 64"/>
                  <a:gd name="T11" fmla="*/ 15 h 70"/>
                  <a:gd name="T12" fmla="*/ 41 w 64"/>
                  <a:gd name="T13" fmla="*/ 15 h 70"/>
                  <a:gd name="T14" fmla="*/ 49 w 64"/>
                  <a:gd name="T15" fmla="*/ 23 h 70"/>
                  <a:gd name="T16" fmla="*/ 49 w 64"/>
                  <a:gd name="T17" fmla="*/ 31 h 70"/>
                  <a:gd name="T18" fmla="*/ 25 w 64"/>
                  <a:gd name="T19" fmla="*/ 55 h 70"/>
                  <a:gd name="T20" fmla="*/ 17 w 64"/>
                  <a:gd name="T21" fmla="*/ 55 h 70"/>
                  <a:gd name="T22" fmla="*/ 9 w 64"/>
                  <a:gd name="T23" fmla="*/ 47 h 70"/>
                  <a:gd name="T24" fmla="*/ 6 w 64"/>
                  <a:gd name="T25" fmla="*/ 47 h 70"/>
                  <a:gd name="T26" fmla="*/ 3 w 64"/>
                  <a:gd name="T27" fmla="*/ 52 h 70"/>
                  <a:gd name="T28" fmla="*/ 0 w 64"/>
                  <a:gd name="T29" fmla="*/ 55 h 70"/>
                  <a:gd name="T30" fmla="*/ 1 w 64"/>
                  <a:gd name="T31" fmla="*/ 55 h 70"/>
                  <a:gd name="T32" fmla="*/ 9 w 64"/>
                  <a:gd name="T33" fmla="*/ 63 h 70"/>
                  <a:gd name="T34" fmla="*/ 33 w 64"/>
                  <a:gd name="T35" fmla="*/ 63 h 70"/>
                  <a:gd name="T36" fmla="*/ 57 w 64"/>
                  <a:gd name="T37" fmla="*/ 39 h 70"/>
                  <a:gd name="T38" fmla="*/ 57 w 64"/>
                  <a:gd name="T39" fmla="*/ 1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70">
                    <a:moveTo>
                      <a:pt x="57" y="15"/>
                    </a:moveTo>
                    <a:cubicBezTo>
                      <a:pt x="49" y="7"/>
                      <a:pt x="49" y="7"/>
                      <a:pt x="49" y="7"/>
                    </a:cubicBezTo>
                    <a:cubicBezTo>
                      <a:pt x="43" y="0"/>
                      <a:pt x="32" y="0"/>
                      <a:pt x="25" y="7"/>
                    </a:cubicBezTo>
                    <a:cubicBezTo>
                      <a:pt x="11" y="20"/>
                      <a:pt x="11" y="20"/>
                      <a:pt x="11" y="20"/>
                    </a:cubicBezTo>
                    <a:cubicBezTo>
                      <a:pt x="16" y="20"/>
                      <a:pt x="20" y="21"/>
                      <a:pt x="24" y="24"/>
                    </a:cubicBezTo>
                    <a:cubicBezTo>
                      <a:pt x="33" y="15"/>
                      <a:pt x="33" y="15"/>
                      <a:pt x="33" y="15"/>
                    </a:cubicBezTo>
                    <a:cubicBezTo>
                      <a:pt x="35" y="13"/>
                      <a:pt x="39" y="13"/>
                      <a:pt x="41" y="15"/>
                    </a:cubicBezTo>
                    <a:cubicBezTo>
                      <a:pt x="49" y="23"/>
                      <a:pt x="49" y="23"/>
                      <a:pt x="49" y="23"/>
                    </a:cubicBezTo>
                    <a:cubicBezTo>
                      <a:pt x="51" y="25"/>
                      <a:pt x="51" y="29"/>
                      <a:pt x="49" y="31"/>
                    </a:cubicBezTo>
                    <a:cubicBezTo>
                      <a:pt x="25" y="55"/>
                      <a:pt x="25" y="55"/>
                      <a:pt x="25" y="55"/>
                    </a:cubicBezTo>
                    <a:cubicBezTo>
                      <a:pt x="23" y="58"/>
                      <a:pt x="19" y="58"/>
                      <a:pt x="17" y="55"/>
                    </a:cubicBezTo>
                    <a:cubicBezTo>
                      <a:pt x="9" y="47"/>
                      <a:pt x="9" y="47"/>
                      <a:pt x="9" y="47"/>
                    </a:cubicBezTo>
                    <a:cubicBezTo>
                      <a:pt x="9" y="47"/>
                      <a:pt x="8" y="47"/>
                      <a:pt x="6" y="47"/>
                    </a:cubicBezTo>
                    <a:cubicBezTo>
                      <a:pt x="5" y="48"/>
                      <a:pt x="4" y="48"/>
                      <a:pt x="3" y="52"/>
                    </a:cubicBezTo>
                    <a:cubicBezTo>
                      <a:pt x="3" y="52"/>
                      <a:pt x="1" y="54"/>
                      <a:pt x="0" y="55"/>
                    </a:cubicBezTo>
                    <a:cubicBezTo>
                      <a:pt x="0" y="55"/>
                      <a:pt x="1" y="55"/>
                      <a:pt x="1" y="55"/>
                    </a:cubicBezTo>
                    <a:cubicBezTo>
                      <a:pt x="9" y="63"/>
                      <a:pt x="9" y="63"/>
                      <a:pt x="9" y="63"/>
                    </a:cubicBezTo>
                    <a:cubicBezTo>
                      <a:pt x="15" y="70"/>
                      <a:pt x="26" y="70"/>
                      <a:pt x="33" y="63"/>
                    </a:cubicBezTo>
                    <a:cubicBezTo>
                      <a:pt x="57" y="39"/>
                      <a:pt x="57" y="39"/>
                      <a:pt x="57" y="39"/>
                    </a:cubicBezTo>
                    <a:cubicBezTo>
                      <a:pt x="64" y="32"/>
                      <a:pt x="64" y="22"/>
                      <a:pt x="5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 name="Group 28">
            <a:extLst>
              <a:ext uri="{FF2B5EF4-FFF2-40B4-BE49-F238E27FC236}">
                <a16:creationId xmlns:a16="http://schemas.microsoft.com/office/drawing/2014/main" id="{54048A90-DFD0-4217-AEE0-53E1EA371145}"/>
              </a:ext>
              <a:ext uri="{C183D7F6-B498-43B3-948B-1728B52AA6E4}">
                <adec:decorative xmlns:adec="http://schemas.microsoft.com/office/drawing/2017/decorative" val="1"/>
              </a:ext>
            </a:extLst>
          </p:cNvPr>
          <p:cNvGrpSpPr/>
          <p:nvPr/>
        </p:nvGrpSpPr>
        <p:grpSpPr>
          <a:xfrm>
            <a:off x="6843005" y="4941168"/>
            <a:ext cx="672195" cy="633600"/>
            <a:chOff x="7938907" y="5150566"/>
            <a:chExt cx="672195" cy="633600"/>
          </a:xfrm>
        </p:grpSpPr>
        <p:sp>
          <p:nvSpPr>
            <p:cNvPr id="792" name="Freeform 30">
              <a:extLst>
                <a:ext uri="{FF2B5EF4-FFF2-40B4-BE49-F238E27FC236}">
                  <a16:creationId xmlns:a16="http://schemas.microsoft.com/office/drawing/2014/main" id="{9B35EFC0-C47C-4C71-A37B-4F5AF6869AB4}"/>
                </a:ext>
              </a:extLst>
            </p:cNvPr>
            <p:cNvSpPr>
              <a:spLocks/>
            </p:cNvSpPr>
            <p:nvPr/>
          </p:nvSpPr>
          <p:spPr bwMode="auto">
            <a:xfrm>
              <a:off x="7938907" y="5150566"/>
              <a:ext cx="672195" cy="6336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4" name="Groupe 960">
              <a:extLst>
                <a:ext uri="{FF2B5EF4-FFF2-40B4-BE49-F238E27FC236}">
                  <a16:creationId xmlns:a16="http://schemas.microsoft.com/office/drawing/2014/main" id="{830F96FB-91B4-4A5B-B45F-2DE7C4C4E99B}"/>
                </a:ext>
              </a:extLst>
            </p:cNvPr>
            <p:cNvGrpSpPr/>
            <p:nvPr/>
          </p:nvGrpSpPr>
          <p:grpSpPr>
            <a:xfrm>
              <a:off x="8102301" y="5300673"/>
              <a:ext cx="341718" cy="331038"/>
              <a:chOff x="1554163" y="5635626"/>
              <a:chExt cx="457201" cy="442913"/>
            </a:xfrm>
            <a:solidFill>
              <a:schemeClr val="bg1"/>
            </a:solidFill>
          </p:grpSpPr>
          <p:sp>
            <p:nvSpPr>
              <p:cNvPr id="525" name="Freeform 263">
                <a:extLst>
                  <a:ext uri="{FF2B5EF4-FFF2-40B4-BE49-F238E27FC236}">
                    <a16:creationId xmlns:a16="http://schemas.microsoft.com/office/drawing/2014/main" id="{4D14253D-737E-45BE-A2A9-E00757E0F314}"/>
                  </a:ext>
                </a:extLst>
              </p:cNvPr>
              <p:cNvSpPr>
                <a:spLocks/>
              </p:cNvSpPr>
              <p:nvPr/>
            </p:nvSpPr>
            <p:spPr bwMode="auto">
              <a:xfrm>
                <a:off x="1730376" y="5635626"/>
                <a:ext cx="280988" cy="269875"/>
              </a:xfrm>
              <a:custGeom>
                <a:avLst/>
                <a:gdLst>
                  <a:gd name="T0" fmla="*/ 49 w 83"/>
                  <a:gd name="T1" fmla="*/ 0 h 80"/>
                  <a:gd name="T2" fmla="*/ 28 w 83"/>
                  <a:gd name="T3" fmla="*/ 9 h 80"/>
                  <a:gd name="T4" fmla="*/ 0 w 83"/>
                  <a:gd name="T5" fmla="*/ 37 h 80"/>
                  <a:gd name="T6" fmla="*/ 9 w 83"/>
                  <a:gd name="T7" fmla="*/ 45 h 80"/>
                  <a:gd name="T8" fmla="*/ 37 w 83"/>
                  <a:gd name="T9" fmla="*/ 17 h 80"/>
                  <a:gd name="T10" fmla="*/ 62 w 83"/>
                  <a:gd name="T11" fmla="*/ 18 h 80"/>
                  <a:gd name="T12" fmla="*/ 62 w 83"/>
                  <a:gd name="T13" fmla="*/ 43 h 80"/>
                  <a:gd name="T14" fmla="*/ 62 w 83"/>
                  <a:gd name="T15" fmla="*/ 43 h 80"/>
                  <a:gd name="T16" fmla="*/ 34 w 83"/>
                  <a:gd name="T17" fmla="*/ 72 h 80"/>
                  <a:gd name="T18" fmla="*/ 43 w 83"/>
                  <a:gd name="T19" fmla="*/ 80 h 80"/>
                  <a:gd name="T20" fmla="*/ 71 w 83"/>
                  <a:gd name="T21" fmla="*/ 52 h 80"/>
                  <a:gd name="T22" fmla="*/ 71 w 83"/>
                  <a:gd name="T23" fmla="*/ 9 h 80"/>
                  <a:gd name="T24" fmla="*/ 49 w 83"/>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80">
                    <a:moveTo>
                      <a:pt x="49" y="0"/>
                    </a:moveTo>
                    <a:cubicBezTo>
                      <a:pt x="42" y="0"/>
                      <a:pt x="34" y="3"/>
                      <a:pt x="28" y="9"/>
                    </a:cubicBezTo>
                    <a:cubicBezTo>
                      <a:pt x="0" y="37"/>
                      <a:pt x="0" y="37"/>
                      <a:pt x="0" y="37"/>
                    </a:cubicBezTo>
                    <a:cubicBezTo>
                      <a:pt x="9" y="45"/>
                      <a:pt x="9" y="45"/>
                      <a:pt x="9" y="45"/>
                    </a:cubicBezTo>
                    <a:cubicBezTo>
                      <a:pt x="37" y="17"/>
                      <a:pt x="37" y="17"/>
                      <a:pt x="37" y="17"/>
                    </a:cubicBezTo>
                    <a:cubicBezTo>
                      <a:pt x="44" y="11"/>
                      <a:pt x="55" y="10"/>
                      <a:pt x="62" y="18"/>
                    </a:cubicBezTo>
                    <a:cubicBezTo>
                      <a:pt x="69" y="25"/>
                      <a:pt x="69" y="36"/>
                      <a:pt x="62" y="43"/>
                    </a:cubicBezTo>
                    <a:cubicBezTo>
                      <a:pt x="62" y="43"/>
                      <a:pt x="62" y="43"/>
                      <a:pt x="62" y="43"/>
                    </a:cubicBezTo>
                    <a:cubicBezTo>
                      <a:pt x="34" y="72"/>
                      <a:pt x="34" y="72"/>
                      <a:pt x="34" y="72"/>
                    </a:cubicBezTo>
                    <a:cubicBezTo>
                      <a:pt x="43" y="80"/>
                      <a:pt x="43" y="80"/>
                      <a:pt x="43" y="80"/>
                    </a:cubicBezTo>
                    <a:cubicBezTo>
                      <a:pt x="71" y="52"/>
                      <a:pt x="71" y="52"/>
                      <a:pt x="71" y="52"/>
                    </a:cubicBezTo>
                    <a:cubicBezTo>
                      <a:pt x="82" y="40"/>
                      <a:pt x="83" y="21"/>
                      <a:pt x="71" y="9"/>
                    </a:cubicBezTo>
                    <a:cubicBezTo>
                      <a:pt x="65" y="3"/>
                      <a:pt x="57" y="0"/>
                      <a:pt x="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264">
                <a:extLst>
                  <a:ext uri="{FF2B5EF4-FFF2-40B4-BE49-F238E27FC236}">
                    <a16:creationId xmlns:a16="http://schemas.microsoft.com/office/drawing/2014/main" id="{05B12D22-379A-4393-88DE-0FF972985850}"/>
                  </a:ext>
                </a:extLst>
              </p:cNvPr>
              <p:cNvSpPr>
                <a:spLocks/>
              </p:cNvSpPr>
              <p:nvPr/>
            </p:nvSpPr>
            <p:spPr bwMode="auto">
              <a:xfrm>
                <a:off x="1617663" y="5689601"/>
                <a:ext cx="68263" cy="71438"/>
              </a:xfrm>
              <a:custGeom>
                <a:avLst/>
                <a:gdLst>
                  <a:gd name="T0" fmla="*/ 1 w 20"/>
                  <a:gd name="T1" fmla="*/ 0 h 21"/>
                  <a:gd name="T2" fmla="*/ 0 w 20"/>
                  <a:gd name="T3" fmla="*/ 3 h 21"/>
                  <a:gd name="T4" fmla="*/ 1 w 20"/>
                  <a:gd name="T5" fmla="*/ 4 h 21"/>
                  <a:gd name="T6" fmla="*/ 16 w 20"/>
                  <a:gd name="T7" fmla="*/ 20 h 21"/>
                  <a:gd name="T8" fmla="*/ 19 w 20"/>
                  <a:gd name="T9" fmla="*/ 20 h 21"/>
                  <a:gd name="T10" fmla="*/ 20 w 20"/>
                  <a:gd name="T11" fmla="*/ 18 h 21"/>
                  <a:gd name="T12" fmla="*/ 19 w 20"/>
                  <a:gd name="T13" fmla="*/ 17 h 21"/>
                  <a:gd name="T14" fmla="*/ 3 w 20"/>
                  <a:gd name="T15" fmla="*/ 1 h 21"/>
                  <a:gd name="T16" fmla="*/ 1 w 20"/>
                  <a:gd name="T17" fmla="*/ 0 h 21"/>
                  <a:gd name="T18" fmla="*/ 1 w 20"/>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1">
                    <a:moveTo>
                      <a:pt x="1" y="0"/>
                    </a:moveTo>
                    <a:cubicBezTo>
                      <a:pt x="0" y="1"/>
                      <a:pt x="0" y="2"/>
                      <a:pt x="0" y="3"/>
                    </a:cubicBezTo>
                    <a:cubicBezTo>
                      <a:pt x="0" y="3"/>
                      <a:pt x="0" y="3"/>
                      <a:pt x="1" y="4"/>
                    </a:cubicBezTo>
                    <a:cubicBezTo>
                      <a:pt x="16" y="20"/>
                      <a:pt x="16" y="20"/>
                      <a:pt x="16" y="20"/>
                    </a:cubicBezTo>
                    <a:cubicBezTo>
                      <a:pt x="17" y="21"/>
                      <a:pt x="18" y="21"/>
                      <a:pt x="19" y="20"/>
                    </a:cubicBezTo>
                    <a:cubicBezTo>
                      <a:pt x="20" y="20"/>
                      <a:pt x="20" y="19"/>
                      <a:pt x="20" y="18"/>
                    </a:cubicBezTo>
                    <a:cubicBezTo>
                      <a:pt x="20" y="17"/>
                      <a:pt x="19" y="17"/>
                      <a:pt x="19" y="17"/>
                    </a:cubicBezTo>
                    <a:cubicBezTo>
                      <a:pt x="3" y="1"/>
                      <a:pt x="3" y="1"/>
                      <a:pt x="3" y="1"/>
                    </a:cubicBezTo>
                    <a:cubicBezTo>
                      <a:pt x="3" y="0"/>
                      <a:pt x="2"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265">
                <a:extLst>
                  <a:ext uri="{FF2B5EF4-FFF2-40B4-BE49-F238E27FC236}">
                    <a16:creationId xmlns:a16="http://schemas.microsoft.com/office/drawing/2014/main" id="{F15958E9-9717-4A07-9F49-EB65CA1EC76B}"/>
                  </a:ext>
                </a:extLst>
              </p:cNvPr>
              <p:cNvSpPr>
                <a:spLocks/>
              </p:cNvSpPr>
              <p:nvPr/>
            </p:nvSpPr>
            <p:spPr bwMode="auto">
              <a:xfrm>
                <a:off x="1700213" y="5689601"/>
                <a:ext cx="12700" cy="68263"/>
              </a:xfrm>
              <a:custGeom>
                <a:avLst/>
                <a:gdLst>
                  <a:gd name="T0" fmla="*/ 1 w 4"/>
                  <a:gd name="T1" fmla="*/ 0 h 20"/>
                  <a:gd name="T2" fmla="*/ 0 w 4"/>
                  <a:gd name="T3" fmla="*/ 2 h 20"/>
                  <a:gd name="T4" fmla="*/ 0 w 4"/>
                  <a:gd name="T5" fmla="*/ 18 h 20"/>
                  <a:gd name="T6" fmla="*/ 2 w 4"/>
                  <a:gd name="T7" fmla="*/ 20 h 20"/>
                  <a:gd name="T8" fmla="*/ 4 w 4"/>
                  <a:gd name="T9" fmla="*/ 18 h 20"/>
                  <a:gd name="T10" fmla="*/ 4 w 4"/>
                  <a:gd name="T11" fmla="*/ 2 h 20"/>
                  <a:gd name="T12" fmla="*/ 2 w 4"/>
                  <a:gd name="T13" fmla="*/ 0 h 20"/>
                  <a:gd name="T14" fmla="*/ 2 w 4"/>
                  <a:gd name="T15" fmla="*/ 0 h 20"/>
                  <a:gd name="T16" fmla="*/ 1 w 4"/>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0">
                    <a:moveTo>
                      <a:pt x="1" y="0"/>
                    </a:moveTo>
                    <a:cubicBezTo>
                      <a:pt x="1" y="0"/>
                      <a:pt x="0" y="1"/>
                      <a:pt x="0" y="2"/>
                    </a:cubicBezTo>
                    <a:cubicBezTo>
                      <a:pt x="0" y="18"/>
                      <a:pt x="0" y="18"/>
                      <a:pt x="0" y="18"/>
                    </a:cubicBezTo>
                    <a:cubicBezTo>
                      <a:pt x="0" y="19"/>
                      <a:pt x="1" y="20"/>
                      <a:pt x="2" y="20"/>
                    </a:cubicBezTo>
                    <a:cubicBezTo>
                      <a:pt x="3" y="20"/>
                      <a:pt x="4" y="19"/>
                      <a:pt x="4" y="18"/>
                    </a:cubicBezTo>
                    <a:cubicBezTo>
                      <a:pt x="4" y="2"/>
                      <a:pt x="4" y="2"/>
                      <a:pt x="4" y="2"/>
                    </a:cubicBezTo>
                    <a:cubicBezTo>
                      <a:pt x="4" y="1"/>
                      <a:pt x="3" y="0"/>
                      <a:pt x="2" y="0"/>
                    </a:cubicBezTo>
                    <a:cubicBezTo>
                      <a:pt x="2" y="0"/>
                      <a:pt x="2" y="0"/>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266">
                <a:extLst>
                  <a:ext uri="{FF2B5EF4-FFF2-40B4-BE49-F238E27FC236}">
                    <a16:creationId xmlns:a16="http://schemas.microsoft.com/office/drawing/2014/main" id="{A45B8732-F18C-41F8-B8D8-8F68AF74E0CF}"/>
                  </a:ext>
                </a:extLst>
              </p:cNvPr>
              <p:cNvSpPr>
                <a:spLocks/>
              </p:cNvSpPr>
              <p:nvPr/>
            </p:nvSpPr>
            <p:spPr bwMode="auto">
              <a:xfrm>
                <a:off x="1617663" y="5770563"/>
                <a:ext cx="68263" cy="17463"/>
              </a:xfrm>
              <a:custGeom>
                <a:avLst/>
                <a:gdLst>
                  <a:gd name="T0" fmla="*/ 1 w 20"/>
                  <a:gd name="T1" fmla="*/ 0 h 5"/>
                  <a:gd name="T2" fmla="*/ 0 w 20"/>
                  <a:gd name="T3" fmla="*/ 3 h 5"/>
                  <a:gd name="T4" fmla="*/ 2 w 20"/>
                  <a:gd name="T5" fmla="*/ 4 h 5"/>
                  <a:gd name="T6" fmla="*/ 18 w 20"/>
                  <a:gd name="T7" fmla="*/ 4 h 5"/>
                  <a:gd name="T8" fmla="*/ 20 w 20"/>
                  <a:gd name="T9" fmla="*/ 2 h 5"/>
                  <a:gd name="T10" fmla="*/ 18 w 20"/>
                  <a:gd name="T11" fmla="*/ 0 h 5"/>
                  <a:gd name="T12" fmla="*/ 2 w 20"/>
                  <a:gd name="T13" fmla="*/ 0 h 5"/>
                  <a:gd name="T14" fmla="*/ 2 w 20"/>
                  <a:gd name="T15" fmla="*/ 0 h 5"/>
                  <a:gd name="T16" fmla="*/ 1 w 20"/>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5">
                    <a:moveTo>
                      <a:pt x="1" y="0"/>
                    </a:moveTo>
                    <a:cubicBezTo>
                      <a:pt x="0" y="1"/>
                      <a:pt x="0" y="2"/>
                      <a:pt x="0" y="3"/>
                    </a:cubicBezTo>
                    <a:cubicBezTo>
                      <a:pt x="0" y="4"/>
                      <a:pt x="1" y="5"/>
                      <a:pt x="2" y="4"/>
                    </a:cubicBezTo>
                    <a:cubicBezTo>
                      <a:pt x="18" y="4"/>
                      <a:pt x="18" y="4"/>
                      <a:pt x="18" y="4"/>
                    </a:cubicBezTo>
                    <a:cubicBezTo>
                      <a:pt x="19" y="4"/>
                      <a:pt x="20" y="4"/>
                      <a:pt x="20" y="2"/>
                    </a:cubicBezTo>
                    <a:cubicBezTo>
                      <a:pt x="20" y="1"/>
                      <a:pt x="19" y="0"/>
                      <a:pt x="18" y="0"/>
                    </a:cubicBezTo>
                    <a:cubicBezTo>
                      <a:pt x="2" y="0"/>
                      <a:pt x="2" y="0"/>
                      <a:pt x="2" y="0"/>
                    </a:cubicBezTo>
                    <a:cubicBezTo>
                      <a:pt x="2" y="0"/>
                      <a:pt x="2" y="0"/>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267">
                <a:extLst>
                  <a:ext uri="{FF2B5EF4-FFF2-40B4-BE49-F238E27FC236}">
                    <a16:creationId xmlns:a16="http://schemas.microsoft.com/office/drawing/2014/main" id="{E1949211-1E83-4F65-A151-24DDBF3BD328}"/>
                  </a:ext>
                </a:extLst>
              </p:cNvPr>
              <p:cNvSpPr>
                <a:spLocks/>
              </p:cNvSpPr>
              <p:nvPr/>
            </p:nvSpPr>
            <p:spPr bwMode="auto">
              <a:xfrm>
                <a:off x="1554163" y="5800726"/>
                <a:ext cx="280988" cy="277813"/>
              </a:xfrm>
              <a:custGeom>
                <a:avLst/>
                <a:gdLst>
                  <a:gd name="T0" fmla="*/ 40 w 83"/>
                  <a:gd name="T1" fmla="*/ 0 h 82"/>
                  <a:gd name="T2" fmla="*/ 12 w 83"/>
                  <a:gd name="T3" fmla="*/ 28 h 82"/>
                  <a:gd name="T4" fmla="*/ 12 w 83"/>
                  <a:gd name="T5" fmla="*/ 28 h 82"/>
                  <a:gd name="T6" fmla="*/ 12 w 83"/>
                  <a:gd name="T7" fmla="*/ 71 h 82"/>
                  <a:gd name="T8" fmla="*/ 54 w 83"/>
                  <a:gd name="T9" fmla="*/ 71 h 82"/>
                  <a:gd name="T10" fmla="*/ 83 w 83"/>
                  <a:gd name="T11" fmla="*/ 43 h 82"/>
                  <a:gd name="T12" fmla="*/ 74 w 83"/>
                  <a:gd name="T13" fmla="*/ 34 h 82"/>
                  <a:gd name="T14" fmla="*/ 46 w 83"/>
                  <a:gd name="T15" fmla="*/ 62 h 82"/>
                  <a:gd name="T16" fmla="*/ 20 w 83"/>
                  <a:gd name="T17" fmla="*/ 62 h 82"/>
                  <a:gd name="T18" fmla="*/ 20 w 83"/>
                  <a:gd name="T19" fmla="*/ 37 h 82"/>
                  <a:gd name="T20" fmla="*/ 48 w 83"/>
                  <a:gd name="T21" fmla="*/ 9 h 82"/>
                  <a:gd name="T22" fmla="*/ 40 w 83"/>
                  <a:gd name="T23" fmla="*/ 0 h 82"/>
                  <a:gd name="T24" fmla="*/ 40 w 83"/>
                  <a:gd name="T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82">
                    <a:moveTo>
                      <a:pt x="40" y="0"/>
                    </a:moveTo>
                    <a:cubicBezTo>
                      <a:pt x="12" y="28"/>
                      <a:pt x="12" y="28"/>
                      <a:pt x="12" y="28"/>
                    </a:cubicBezTo>
                    <a:cubicBezTo>
                      <a:pt x="12" y="28"/>
                      <a:pt x="12" y="28"/>
                      <a:pt x="12" y="28"/>
                    </a:cubicBezTo>
                    <a:cubicBezTo>
                      <a:pt x="0" y="40"/>
                      <a:pt x="0" y="59"/>
                      <a:pt x="12" y="71"/>
                    </a:cubicBezTo>
                    <a:cubicBezTo>
                      <a:pt x="24" y="82"/>
                      <a:pt x="43" y="82"/>
                      <a:pt x="54" y="71"/>
                    </a:cubicBezTo>
                    <a:cubicBezTo>
                      <a:pt x="83" y="43"/>
                      <a:pt x="83" y="43"/>
                      <a:pt x="83" y="43"/>
                    </a:cubicBezTo>
                    <a:cubicBezTo>
                      <a:pt x="74" y="34"/>
                      <a:pt x="74" y="34"/>
                      <a:pt x="74" y="34"/>
                    </a:cubicBezTo>
                    <a:cubicBezTo>
                      <a:pt x="46" y="62"/>
                      <a:pt x="46" y="62"/>
                      <a:pt x="46" y="62"/>
                    </a:cubicBezTo>
                    <a:cubicBezTo>
                      <a:pt x="39" y="69"/>
                      <a:pt x="28" y="69"/>
                      <a:pt x="20" y="62"/>
                    </a:cubicBezTo>
                    <a:cubicBezTo>
                      <a:pt x="13" y="55"/>
                      <a:pt x="13" y="44"/>
                      <a:pt x="20" y="37"/>
                    </a:cubicBezTo>
                    <a:cubicBezTo>
                      <a:pt x="48" y="9"/>
                      <a:pt x="48" y="9"/>
                      <a:pt x="48" y="9"/>
                    </a:cubicBezTo>
                    <a:cubicBezTo>
                      <a:pt x="40" y="0"/>
                      <a:pt x="40" y="0"/>
                      <a:pt x="40" y="0"/>
                    </a:cubicBezTo>
                    <a:cubicBezTo>
                      <a:pt x="40" y="0"/>
                      <a:pt x="40"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268">
                <a:extLst>
                  <a:ext uri="{FF2B5EF4-FFF2-40B4-BE49-F238E27FC236}">
                    <a16:creationId xmlns:a16="http://schemas.microsoft.com/office/drawing/2014/main" id="{A25A133B-AA97-469E-A99F-39271A9414CD}"/>
                  </a:ext>
                </a:extLst>
              </p:cNvPr>
              <p:cNvSpPr>
                <a:spLocks/>
              </p:cNvSpPr>
              <p:nvPr/>
            </p:nvSpPr>
            <p:spPr bwMode="auto">
              <a:xfrm>
                <a:off x="1874838" y="5922963"/>
                <a:ext cx="68263" cy="14288"/>
              </a:xfrm>
              <a:custGeom>
                <a:avLst/>
                <a:gdLst>
                  <a:gd name="T0" fmla="*/ 1 w 20"/>
                  <a:gd name="T1" fmla="*/ 0 h 4"/>
                  <a:gd name="T2" fmla="*/ 0 w 20"/>
                  <a:gd name="T3" fmla="*/ 2 h 4"/>
                  <a:gd name="T4" fmla="*/ 2 w 20"/>
                  <a:gd name="T5" fmla="*/ 4 h 4"/>
                  <a:gd name="T6" fmla="*/ 2 w 20"/>
                  <a:gd name="T7" fmla="*/ 4 h 4"/>
                  <a:gd name="T8" fmla="*/ 18 w 20"/>
                  <a:gd name="T9" fmla="*/ 4 h 4"/>
                  <a:gd name="T10" fmla="*/ 20 w 20"/>
                  <a:gd name="T11" fmla="*/ 2 h 4"/>
                  <a:gd name="T12" fmla="*/ 18 w 20"/>
                  <a:gd name="T13" fmla="*/ 0 h 4"/>
                  <a:gd name="T14" fmla="*/ 2 w 20"/>
                  <a:gd name="T15" fmla="*/ 0 h 4"/>
                  <a:gd name="T16" fmla="*/ 2 w 20"/>
                  <a:gd name="T17" fmla="*/ 0 h 4"/>
                  <a:gd name="T18" fmla="*/ 1 w 20"/>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4">
                    <a:moveTo>
                      <a:pt x="1" y="0"/>
                    </a:moveTo>
                    <a:cubicBezTo>
                      <a:pt x="0" y="0"/>
                      <a:pt x="0" y="1"/>
                      <a:pt x="0" y="2"/>
                    </a:cubicBezTo>
                    <a:cubicBezTo>
                      <a:pt x="0" y="3"/>
                      <a:pt x="1" y="4"/>
                      <a:pt x="2" y="4"/>
                    </a:cubicBezTo>
                    <a:cubicBezTo>
                      <a:pt x="2" y="4"/>
                      <a:pt x="2" y="4"/>
                      <a:pt x="2" y="4"/>
                    </a:cubicBezTo>
                    <a:cubicBezTo>
                      <a:pt x="18" y="4"/>
                      <a:pt x="18" y="4"/>
                      <a:pt x="18" y="4"/>
                    </a:cubicBezTo>
                    <a:cubicBezTo>
                      <a:pt x="19" y="4"/>
                      <a:pt x="20" y="3"/>
                      <a:pt x="20" y="2"/>
                    </a:cubicBezTo>
                    <a:cubicBezTo>
                      <a:pt x="20" y="1"/>
                      <a:pt x="19" y="0"/>
                      <a:pt x="18" y="0"/>
                    </a:cubicBezTo>
                    <a:cubicBezTo>
                      <a:pt x="2" y="0"/>
                      <a:pt x="2" y="0"/>
                      <a:pt x="2" y="0"/>
                    </a:cubicBezTo>
                    <a:cubicBezTo>
                      <a:pt x="2" y="0"/>
                      <a:pt x="2" y="0"/>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269">
                <a:extLst>
                  <a:ext uri="{FF2B5EF4-FFF2-40B4-BE49-F238E27FC236}">
                    <a16:creationId xmlns:a16="http://schemas.microsoft.com/office/drawing/2014/main" id="{972DCABB-0192-4673-AA7B-6F689894A2CE}"/>
                  </a:ext>
                </a:extLst>
              </p:cNvPr>
              <p:cNvSpPr>
                <a:spLocks/>
              </p:cNvSpPr>
              <p:nvPr/>
            </p:nvSpPr>
            <p:spPr bwMode="auto">
              <a:xfrm>
                <a:off x="1847851" y="5949951"/>
                <a:ext cx="17463" cy="68263"/>
              </a:xfrm>
              <a:custGeom>
                <a:avLst/>
                <a:gdLst>
                  <a:gd name="T0" fmla="*/ 2 w 5"/>
                  <a:gd name="T1" fmla="*/ 0 h 20"/>
                  <a:gd name="T2" fmla="*/ 0 w 5"/>
                  <a:gd name="T3" fmla="*/ 2 h 20"/>
                  <a:gd name="T4" fmla="*/ 0 w 5"/>
                  <a:gd name="T5" fmla="*/ 18 h 20"/>
                  <a:gd name="T6" fmla="*/ 2 w 5"/>
                  <a:gd name="T7" fmla="*/ 20 h 20"/>
                  <a:gd name="T8" fmla="*/ 5 w 5"/>
                  <a:gd name="T9" fmla="*/ 18 h 20"/>
                  <a:gd name="T10" fmla="*/ 5 w 5"/>
                  <a:gd name="T11" fmla="*/ 2 h 20"/>
                  <a:gd name="T12" fmla="*/ 2 w 5"/>
                  <a:gd name="T13" fmla="*/ 0 h 20"/>
                  <a:gd name="T14" fmla="*/ 2 w 5"/>
                  <a:gd name="T15" fmla="*/ 0 h 20"/>
                  <a:gd name="T16" fmla="*/ 2 w 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0">
                    <a:moveTo>
                      <a:pt x="2" y="0"/>
                    </a:moveTo>
                    <a:cubicBezTo>
                      <a:pt x="1" y="0"/>
                      <a:pt x="0" y="1"/>
                      <a:pt x="0" y="2"/>
                    </a:cubicBezTo>
                    <a:cubicBezTo>
                      <a:pt x="0" y="18"/>
                      <a:pt x="0" y="18"/>
                      <a:pt x="0" y="18"/>
                    </a:cubicBezTo>
                    <a:cubicBezTo>
                      <a:pt x="0" y="19"/>
                      <a:pt x="1" y="20"/>
                      <a:pt x="2" y="20"/>
                    </a:cubicBezTo>
                    <a:cubicBezTo>
                      <a:pt x="4" y="20"/>
                      <a:pt x="5" y="19"/>
                      <a:pt x="5" y="18"/>
                    </a:cubicBezTo>
                    <a:cubicBezTo>
                      <a:pt x="5" y="2"/>
                      <a:pt x="5" y="2"/>
                      <a:pt x="5" y="2"/>
                    </a:cubicBezTo>
                    <a:cubicBezTo>
                      <a:pt x="5" y="1"/>
                      <a:pt x="4" y="0"/>
                      <a:pt x="2" y="0"/>
                    </a:cubicBezTo>
                    <a:cubicBezTo>
                      <a:pt x="2" y="0"/>
                      <a:pt x="2"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270">
                <a:extLst>
                  <a:ext uri="{FF2B5EF4-FFF2-40B4-BE49-F238E27FC236}">
                    <a16:creationId xmlns:a16="http://schemas.microsoft.com/office/drawing/2014/main" id="{AA8AAB19-95B0-4DA7-91D9-1376B101AECD}"/>
                  </a:ext>
                </a:extLst>
              </p:cNvPr>
              <p:cNvSpPr>
                <a:spLocks/>
              </p:cNvSpPr>
              <p:nvPr/>
            </p:nvSpPr>
            <p:spPr bwMode="auto">
              <a:xfrm>
                <a:off x="1874838" y="5949951"/>
                <a:ext cx="71438" cy="68263"/>
              </a:xfrm>
              <a:custGeom>
                <a:avLst/>
                <a:gdLst>
                  <a:gd name="T0" fmla="*/ 2 w 21"/>
                  <a:gd name="T1" fmla="*/ 0 h 20"/>
                  <a:gd name="T2" fmla="*/ 0 w 21"/>
                  <a:gd name="T3" fmla="*/ 2 h 20"/>
                  <a:gd name="T4" fmla="*/ 1 w 21"/>
                  <a:gd name="T5" fmla="*/ 3 h 20"/>
                  <a:gd name="T6" fmla="*/ 17 w 21"/>
                  <a:gd name="T7" fmla="*/ 19 h 20"/>
                  <a:gd name="T8" fmla="*/ 20 w 21"/>
                  <a:gd name="T9" fmla="*/ 20 h 20"/>
                  <a:gd name="T10" fmla="*/ 20 w 21"/>
                  <a:gd name="T11" fmla="*/ 17 h 20"/>
                  <a:gd name="T12" fmla="*/ 20 w 21"/>
                  <a:gd name="T13" fmla="*/ 16 h 20"/>
                  <a:gd name="T14" fmla="*/ 4 w 21"/>
                  <a:gd name="T15" fmla="*/ 0 h 20"/>
                  <a:gd name="T16" fmla="*/ 2 w 21"/>
                  <a:gd name="T17" fmla="*/ 0 h 20"/>
                  <a:gd name="T18" fmla="*/ 2 w 21"/>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0">
                    <a:moveTo>
                      <a:pt x="2" y="0"/>
                    </a:moveTo>
                    <a:cubicBezTo>
                      <a:pt x="1" y="0"/>
                      <a:pt x="0" y="1"/>
                      <a:pt x="0" y="2"/>
                    </a:cubicBezTo>
                    <a:cubicBezTo>
                      <a:pt x="1" y="3"/>
                      <a:pt x="1" y="3"/>
                      <a:pt x="1" y="3"/>
                    </a:cubicBezTo>
                    <a:cubicBezTo>
                      <a:pt x="17" y="19"/>
                      <a:pt x="17" y="19"/>
                      <a:pt x="17" y="19"/>
                    </a:cubicBezTo>
                    <a:cubicBezTo>
                      <a:pt x="17" y="20"/>
                      <a:pt x="19" y="20"/>
                      <a:pt x="20" y="20"/>
                    </a:cubicBezTo>
                    <a:cubicBezTo>
                      <a:pt x="21" y="19"/>
                      <a:pt x="21" y="18"/>
                      <a:pt x="20" y="17"/>
                    </a:cubicBezTo>
                    <a:cubicBezTo>
                      <a:pt x="20" y="17"/>
                      <a:pt x="20" y="17"/>
                      <a:pt x="20" y="16"/>
                    </a:cubicBezTo>
                    <a:cubicBezTo>
                      <a:pt x="4" y="0"/>
                      <a:pt x="4" y="0"/>
                      <a:pt x="4" y="0"/>
                    </a:cubicBezTo>
                    <a:cubicBezTo>
                      <a:pt x="3" y="0"/>
                      <a:pt x="3"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9" name="Group 198">
            <a:extLst>
              <a:ext uri="{FF2B5EF4-FFF2-40B4-BE49-F238E27FC236}">
                <a16:creationId xmlns:a16="http://schemas.microsoft.com/office/drawing/2014/main" id="{DFADD522-A18B-4C39-B8D5-4D85CCF11012}"/>
              </a:ext>
              <a:ext uri="{C183D7F6-B498-43B3-948B-1728B52AA6E4}">
                <adec:decorative xmlns:adec="http://schemas.microsoft.com/office/drawing/2017/decorative" val="1"/>
              </a:ext>
            </a:extLst>
          </p:cNvPr>
          <p:cNvGrpSpPr/>
          <p:nvPr/>
        </p:nvGrpSpPr>
        <p:grpSpPr>
          <a:xfrm>
            <a:off x="655892" y="5582737"/>
            <a:ext cx="9818815" cy="135422"/>
            <a:chOff x="458839" y="5784126"/>
            <a:chExt cx="9818815" cy="123111"/>
          </a:xfrm>
        </p:grpSpPr>
        <p:sp>
          <p:nvSpPr>
            <p:cNvPr id="54" name="Rectangle 38">
              <a:extLst>
                <a:ext uri="{FF2B5EF4-FFF2-40B4-BE49-F238E27FC236}">
                  <a16:creationId xmlns:a16="http://schemas.microsoft.com/office/drawing/2014/main" id="{8A29CAB3-9CAE-471D-9DEE-1E9AAFB51C65}"/>
                </a:ext>
              </a:extLst>
            </p:cNvPr>
            <p:cNvSpPr>
              <a:spLocks noChangeArrowheads="1"/>
            </p:cNvSpPr>
            <p:nvPr/>
          </p:nvSpPr>
          <p:spPr bwMode="auto">
            <a:xfrm>
              <a:off x="10056440" y="5784126"/>
              <a:ext cx="22121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Data</a:t>
              </a:r>
              <a:endParaRPr kumimoji="0" lang="pl-PL" altLang="pl-PL" sz="800" b="0" i="0" u="none" strike="noStrike" cap="none" normalizeH="0" baseline="0" dirty="0">
                <a:ln>
                  <a:noFill/>
                </a:ln>
                <a:solidFill>
                  <a:schemeClr val="tx1"/>
                </a:solidFill>
                <a:effectLst/>
                <a:latin typeface="+mn-lt"/>
              </a:endParaRPr>
            </a:p>
          </p:txBody>
        </p:sp>
        <p:sp>
          <p:nvSpPr>
            <p:cNvPr id="115" name="Rectangle 99">
              <a:extLst>
                <a:ext uri="{FF2B5EF4-FFF2-40B4-BE49-F238E27FC236}">
                  <a16:creationId xmlns:a16="http://schemas.microsoft.com/office/drawing/2014/main" id="{07F98002-F0C8-4667-9E8E-36D90DCA3362}"/>
                </a:ext>
              </a:extLst>
            </p:cNvPr>
            <p:cNvSpPr>
              <a:spLocks noChangeArrowheads="1"/>
            </p:cNvSpPr>
            <p:nvPr/>
          </p:nvSpPr>
          <p:spPr bwMode="auto">
            <a:xfrm>
              <a:off x="9225371" y="5784126"/>
              <a:ext cx="32701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Energy</a:t>
              </a:r>
              <a:endParaRPr kumimoji="0" lang="pl-PL" altLang="pl-PL" sz="800" b="0" i="0" u="none" strike="noStrike" cap="none" normalizeH="0" baseline="0" dirty="0">
                <a:ln>
                  <a:noFill/>
                </a:ln>
                <a:solidFill>
                  <a:schemeClr val="tx1"/>
                </a:solidFill>
                <a:effectLst/>
                <a:latin typeface="+mn-lt"/>
              </a:endParaRPr>
            </a:p>
          </p:txBody>
        </p:sp>
        <p:sp>
          <p:nvSpPr>
            <p:cNvPr id="475" name="Rectangle 418">
              <a:extLst>
                <a:ext uri="{FF2B5EF4-FFF2-40B4-BE49-F238E27FC236}">
                  <a16:creationId xmlns:a16="http://schemas.microsoft.com/office/drawing/2014/main" id="{1B991FFE-E358-4D2C-B864-5C1C4A141A4A}"/>
                </a:ext>
              </a:extLst>
            </p:cNvPr>
            <p:cNvSpPr>
              <a:spLocks noChangeArrowheads="1"/>
            </p:cNvSpPr>
            <p:nvPr/>
          </p:nvSpPr>
          <p:spPr bwMode="auto">
            <a:xfrm>
              <a:off x="8400256" y="5784126"/>
              <a:ext cx="30296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Puzzle</a:t>
              </a:r>
              <a:endParaRPr kumimoji="0" lang="pl-PL" altLang="pl-PL" sz="800" b="0" i="0" u="none" strike="noStrike" cap="none" normalizeH="0" baseline="0" dirty="0">
                <a:ln>
                  <a:noFill/>
                </a:ln>
                <a:solidFill>
                  <a:schemeClr val="tx1"/>
                </a:solidFill>
                <a:effectLst/>
                <a:latin typeface="+mn-lt"/>
              </a:endParaRPr>
            </a:p>
          </p:txBody>
        </p:sp>
        <p:sp>
          <p:nvSpPr>
            <p:cNvPr id="411" name="Rectangle 48">
              <a:extLst>
                <a:ext uri="{FF2B5EF4-FFF2-40B4-BE49-F238E27FC236}">
                  <a16:creationId xmlns:a16="http://schemas.microsoft.com/office/drawing/2014/main" id="{5634D2E6-AAD3-47A7-B43E-41FD6E418556}"/>
                </a:ext>
              </a:extLst>
            </p:cNvPr>
            <p:cNvSpPr>
              <a:spLocks noChangeAspect="1" noChangeArrowheads="1"/>
            </p:cNvSpPr>
            <p:nvPr/>
          </p:nvSpPr>
          <p:spPr bwMode="auto">
            <a:xfrm>
              <a:off x="458839" y="5784126"/>
              <a:ext cx="26930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111211"/>
                  </a:solidFill>
                  <a:effectLst/>
                  <a:latin typeface="+mn-lt"/>
                </a:rPr>
                <a:t>Break</a:t>
              </a:r>
              <a:endParaRPr kumimoji="0" lang="fr-FR" altLang="fr-FR" sz="800" b="0" i="0" u="none" strike="noStrike" cap="none" normalizeH="0" baseline="0" dirty="0">
                <a:ln>
                  <a:noFill/>
                </a:ln>
                <a:solidFill>
                  <a:schemeClr val="tx1"/>
                </a:solidFill>
                <a:effectLst/>
                <a:latin typeface="+mn-lt"/>
              </a:endParaRPr>
            </a:p>
          </p:txBody>
        </p:sp>
        <p:sp>
          <p:nvSpPr>
            <p:cNvPr id="412" name="Rectangle 48">
              <a:extLst>
                <a:ext uri="{FF2B5EF4-FFF2-40B4-BE49-F238E27FC236}">
                  <a16:creationId xmlns:a16="http://schemas.microsoft.com/office/drawing/2014/main" id="{3FD5CECE-6A90-4B6C-A052-E30B8C64B6D8}"/>
                </a:ext>
              </a:extLst>
            </p:cNvPr>
            <p:cNvSpPr>
              <a:spLocks noChangeAspect="1" noChangeArrowheads="1"/>
            </p:cNvSpPr>
            <p:nvPr/>
          </p:nvSpPr>
          <p:spPr bwMode="auto">
            <a:xfrm>
              <a:off x="2038759" y="5784126"/>
              <a:ext cx="27892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111211"/>
                  </a:solidFill>
                  <a:effectLst/>
                  <a:latin typeface="+mn-lt"/>
                </a:rPr>
                <a:t>Lunch</a:t>
              </a:r>
              <a:endParaRPr kumimoji="0" lang="fr-FR" altLang="fr-FR" sz="800" b="0" i="0" u="none" strike="noStrike" cap="none" normalizeH="0" baseline="0" dirty="0">
                <a:ln>
                  <a:noFill/>
                </a:ln>
                <a:solidFill>
                  <a:schemeClr val="tx1"/>
                </a:solidFill>
                <a:effectLst/>
                <a:latin typeface="+mn-lt"/>
              </a:endParaRPr>
            </a:p>
          </p:txBody>
        </p:sp>
        <p:sp>
          <p:nvSpPr>
            <p:cNvPr id="427" name="TextBox 851">
              <a:extLst>
                <a:ext uri="{FF2B5EF4-FFF2-40B4-BE49-F238E27FC236}">
                  <a16:creationId xmlns:a16="http://schemas.microsoft.com/office/drawing/2014/main" id="{67B683F9-7231-4486-8E65-6D8F8102EABE}"/>
                </a:ext>
              </a:extLst>
            </p:cNvPr>
            <p:cNvSpPr txBox="1"/>
            <p:nvPr/>
          </p:nvSpPr>
          <p:spPr>
            <a:xfrm>
              <a:off x="2839101" y="5784126"/>
              <a:ext cx="304571" cy="123111"/>
            </a:xfrm>
            <a:prstGeom prst="rect">
              <a:avLst/>
            </a:prstGeom>
            <a:noFill/>
          </p:spPr>
          <p:txBody>
            <a:bodyPr wrap="none" lIns="0" tIns="0" rIns="0" bIns="0" rtlCol="0">
              <a:spAutoFit/>
            </a:bodyPr>
            <a:lstStyle/>
            <a:p>
              <a:pPr algn="ctr"/>
              <a:r>
                <a:rPr lang="en-US" sz="800" dirty="0">
                  <a:solidFill>
                    <a:schemeClr val="bg2">
                      <a:lumMod val="25000"/>
                    </a:schemeClr>
                  </a:solidFill>
                </a:rPr>
                <a:t>Traffic</a:t>
              </a:r>
              <a:endParaRPr lang="en-GB" sz="800" dirty="0">
                <a:solidFill>
                  <a:schemeClr val="bg2">
                    <a:lumMod val="25000"/>
                  </a:schemeClr>
                </a:solidFill>
              </a:endParaRPr>
            </a:p>
          </p:txBody>
        </p:sp>
        <p:sp>
          <p:nvSpPr>
            <p:cNvPr id="465" name="TextBox 851">
              <a:extLst>
                <a:ext uri="{FF2B5EF4-FFF2-40B4-BE49-F238E27FC236}">
                  <a16:creationId xmlns:a16="http://schemas.microsoft.com/office/drawing/2014/main" id="{8692FB4A-94FF-46BF-A56A-FDF3145F9880}"/>
                </a:ext>
              </a:extLst>
            </p:cNvPr>
            <p:cNvSpPr txBox="1"/>
            <p:nvPr/>
          </p:nvSpPr>
          <p:spPr>
            <a:xfrm>
              <a:off x="5087888" y="5784126"/>
              <a:ext cx="607539" cy="123111"/>
            </a:xfrm>
            <a:prstGeom prst="rect">
              <a:avLst/>
            </a:prstGeom>
            <a:noFill/>
          </p:spPr>
          <p:txBody>
            <a:bodyPr wrap="none" lIns="0" tIns="0" rIns="0" bIns="0" rtlCol="0">
              <a:spAutoFit/>
            </a:bodyPr>
            <a:lstStyle/>
            <a:p>
              <a:pPr algn="ctr"/>
              <a:r>
                <a:rPr lang="en-US" sz="800" dirty="0">
                  <a:solidFill>
                    <a:schemeClr val="bg2">
                      <a:lumMod val="25000"/>
                    </a:schemeClr>
                  </a:solidFill>
                </a:rPr>
                <a:t>Construction</a:t>
              </a:r>
              <a:endParaRPr lang="en-GB" sz="800" dirty="0">
                <a:solidFill>
                  <a:schemeClr val="bg2">
                    <a:lumMod val="25000"/>
                  </a:schemeClr>
                </a:solidFill>
              </a:endParaRPr>
            </a:p>
          </p:txBody>
        </p:sp>
        <p:sp>
          <p:nvSpPr>
            <p:cNvPr id="533" name="Rectangle 202">
              <a:extLst>
                <a:ext uri="{FF2B5EF4-FFF2-40B4-BE49-F238E27FC236}">
                  <a16:creationId xmlns:a16="http://schemas.microsoft.com/office/drawing/2014/main" id="{E8FAB3A8-D7E0-434A-A902-83341343DFE5}"/>
                </a:ext>
              </a:extLst>
            </p:cNvPr>
            <p:cNvSpPr>
              <a:spLocks noChangeArrowheads="1"/>
            </p:cNvSpPr>
            <p:nvPr/>
          </p:nvSpPr>
          <p:spPr bwMode="auto">
            <a:xfrm flipH="1">
              <a:off x="6096000" y="5784126"/>
              <a:ext cx="2008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mn-lt"/>
                </a:rPr>
                <a:t>Box</a:t>
              </a:r>
              <a:endParaRPr kumimoji="0" lang="fr-FR" altLang="fr-FR" sz="800" b="0" i="0" u="none" strike="noStrike" cap="none" normalizeH="0" baseline="0" dirty="0">
                <a:ln>
                  <a:noFill/>
                </a:ln>
                <a:solidFill>
                  <a:schemeClr val="tx1"/>
                </a:solidFill>
                <a:effectLst/>
                <a:latin typeface="+mn-lt"/>
              </a:endParaRPr>
            </a:p>
          </p:txBody>
        </p:sp>
        <p:sp>
          <p:nvSpPr>
            <p:cNvPr id="540" name="Rectangle 244">
              <a:extLst>
                <a:ext uri="{FF2B5EF4-FFF2-40B4-BE49-F238E27FC236}">
                  <a16:creationId xmlns:a16="http://schemas.microsoft.com/office/drawing/2014/main" id="{42D6EE92-C84D-4999-9FB6-389611B068F8}"/>
                </a:ext>
              </a:extLst>
            </p:cNvPr>
            <p:cNvSpPr>
              <a:spLocks noChangeArrowheads="1"/>
            </p:cNvSpPr>
            <p:nvPr/>
          </p:nvSpPr>
          <p:spPr bwMode="auto">
            <a:xfrm>
              <a:off x="7634910" y="5784126"/>
              <a:ext cx="2612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mn-lt"/>
                </a:rPr>
                <a:t>Chain</a:t>
              </a:r>
              <a:endParaRPr kumimoji="0" lang="fr-FR" altLang="fr-FR" sz="800" b="0" i="0" u="none" strike="noStrike" cap="none" normalizeH="0" baseline="0" dirty="0">
                <a:ln>
                  <a:noFill/>
                </a:ln>
                <a:solidFill>
                  <a:schemeClr val="tx1"/>
                </a:solidFill>
                <a:effectLst/>
                <a:latin typeface="+mn-lt"/>
              </a:endParaRPr>
            </a:p>
          </p:txBody>
        </p:sp>
        <p:sp>
          <p:nvSpPr>
            <p:cNvPr id="541" name="Rectangle 114">
              <a:extLst>
                <a:ext uri="{FF2B5EF4-FFF2-40B4-BE49-F238E27FC236}">
                  <a16:creationId xmlns:a16="http://schemas.microsoft.com/office/drawing/2014/main" id="{39DFBD58-74D4-4020-A798-5FEEDBE8ADA8}"/>
                </a:ext>
              </a:extLst>
            </p:cNvPr>
            <p:cNvSpPr>
              <a:spLocks noChangeAspect="1" noChangeArrowheads="1"/>
            </p:cNvSpPr>
            <p:nvPr/>
          </p:nvSpPr>
          <p:spPr bwMode="auto">
            <a:xfrm>
              <a:off x="6528048" y="5784126"/>
              <a:ext cx="89556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mn-lt"/>
                </a:rPr>
                <a:t>Magnet</a:t>
              </a:r>
              <a:endParaRPr kumimoji="0" lang="fr-FR" altLang="fr-FR" sz="800" b="0" i="0" u="none" strike="noStrike" cap="none" normalizeH="0" baseline="0" dirty="0">
                <a:ln>
                  <a:noFill/>
                </a:ln>
                <a:solidFill>
                  <a:schemeClr val="tx1"/>
                </a:solidFill>
                <a:effectLst/>
                <a:latin typeface="+mn-lt"/>
              </a:endParaRPr>
            </a:p>
          </p:txBody>
        </p:sp>
      </p:grpSp>
      <p:grpSp>
        <p:nvGrpSpPr>
          <p:cNvPr id="122" name="Group 121">
            <a:extLst>
              <a:ext uri="{FF2B5EF4-FFF2-40B4-BE49-F238E27FC236}">
                <a16:creationId xmlns:a16="http://schemas.microsoft.com/office/drawing/2014/main" id="{A21ADB25-3D80-40DB-85C0-6D33F2F57D72}"/>
              </a:ext>
              <a:ext uri="{C183D7F6-B498-43B3-948B-1728B52AA6E4}">
                <adec:decorative xmlns:adec="http://schemas.microsoft.com/office/drawing/2017/decorative" val="1"/>
              </a:ext>
            </a:extLst>
          </p:cNvPr>
          <p:cNvGrpSpPr/>
          <p:nvPr/>
        </p:nvGrpSpPr>
        <p:grpSpPr>
          <a:xfrm>
            <a:off x="1198492" y="2995439"/>
            <a:ext cx="671752" cy="633600"/>
            <a:chOff x="1003436" y="3008602"/>
            <a:chExt cx="671752" cy="633600"/>
          </a:xfrm>
        </p:grpSpPr>
        <p:sp>
          <p:nvSpPr>
            <p:cNvPr id="596" name="Freeform 227">
              <a:extLst>
                <a:ext uri="{FF2B5EF4-FFF2-40B4-BE49-F238E27FC236}">
                  <a16:creationId xmlns:a16="http://schemas.microsoft.com/office/drawing/2014/main" id="{353E088E-A752-42ED-BFBC-8B0B74E7832D}"/>
                </a:ext>
              </a:extLst>
            </p:cNvPr>
            <p:cNvSpPr>
              <a:spLocks/>
            </p:cNvSpPr>
            <p:nvPr/>
          </p:nvSpPr>
          <p:spPr bwMode="auto">
            <a:xfrm>
              <a:off x="1003436" y="3008602"/>
              <a:ext cx="671752" cy="633600"/>
            </a:xfrm>
            <a:custGeom>
              <a:avLst/>
              <a:gdLst>
                <a:gd name="T0" fmla="*/ 69 w 479"/>
                <a:gd name="T1" fmla="*/ 331 h 449"/>
                <a:gd name="T2" fmla="*/ 115 w 479"/>
                <a:gd name="T3" fmla="*/ 67 h 449"/>
                <a:gd name="T4" fmla="*/ 412 w 479"/>
                <a:gd name="T5" fmla="*/ 109 h 449"/>
                <a:gd name="T6" fmla="*/ 358 w 479"/>
                <a:gd name="T7" fmla="*/ 382 h 449"/>
                <a:gd name="T8" fmla="*/ 69 w 479"/>
                <a:gd name="T9" fmla="*/ 331 h 449"/>
              </a:gdLst>
              <a:ahLst/>
              <a:cxnLst>
                <a:cxn ang="0">
                  <a:pos x="T0" y="T1"/>
                </a:cxn>
                <a:cxn ang="0">
                  <a:pos x="T2" y="T3"/>
                </a:cxn>
                <a:cxn ang="0">
                  <a:pos x="T4" y="T5"/>
                </a:cxn>
                <a:cxn ang="0">
                  <a:pos x="T6" y="T7"/>
                </a:cxn>
                <a:cxn ang="0">
                  <a:pos x="T8" y="T9"/>
                </a:cxn>
              </a:cxnLst>
              <a:rect l="0" t="0" r="r" b="b"/>
              <a:pathLst>
                <a:path w="479" h="449">
                  <a:moveTo>
                    <a:pt x="69" y="331"/>
                  </a:moveTo>
                  <a:cubicBezTo>
                    <a:pt x="0" y="241"/>
                    <a:pt x="21" y="134"/>
                    <a:pt x="115" y="67"/>
                  </a:cubicBezTo>
                  <a:cubicBezTo>
                    <a:pt x="210" y="0"/>
                    <a:pt x="343" y="18"/>
                    <a:pt x="412" y="109"/>
                  </a:cubicBezTo>
                  <a:cubicBezTo>
                    <a:pt x="454" y="164"/>
                    <a:pt x="479" y="296"/>
                    <a:pt x="358" y="382"/>
                  </a:cubicBezTo>
                  <a:cubicBezTo>
                    <a:pt x="263" y="449"/>
                    <a:pt x="138" y="421"/>
                    <a:pt x="69" y="331"/>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97" name="Group 838">
              <a:extLst>
                <a:ext uri="{FF2B5EF4-FFF2-40B4-BE49-F238E27FC236}">
                  <a16:creationId xmlns:a16="http://schemas.microsoft.com/office/drawing/2014/main" id="{A220FC7F-86D7-4550-A166-A74B42BAD2FC}"/>
                </a:ext>
              </a:extLst>
            </p:cNvPr>
            <p:cNvGrpSpPr/>
            <p:nvPr/>
          </p:nvGrpSpPr>
          <p:grpSpPr>
            <a:xfrm>
              <a:off x="1180035" y="3132378"/>
              <a:ext cx="328484" cy="359625"/>
              <a:chOff x="2226469" y="3725763"/>
              <a:chExt cx="519112" cy="568325"/>
            </a:xfrm>
            <a:solidFill>
              <a:schemeClr val="bg1"/>
            </a:solidFill>
          </p:grpSpPr>
          <p:sp>
            <p:nvSpPr>
              <p:cNvPr id="598" name="Freeform 51">
                <a:extLst>
                  <a:ext uri="{FF2B5EF4-FFF2-40B4-BE49-F238E27FC236}">
                    <a16:creationId xmlns:a16="http://schemas.microsoft.com/office/drawing/2014/main" id="{BC489488-88FE-4F50-92A7-D4DB67076BA3}"/>
                  </a:ext>
                </a:extLst>
              </p:cNvPr>
              <p:cNvSpPr>
                <a:spLocks/>
              </p:cNvSpPr>
              <p:nvPr/>
            </p:nvSpPr>
            <p:spPr bwMode="auto">
              <a:xfrm>
                <a:off x="2258219" y="3725763"/>
                <a:ext cx="44450" cy="42863"/>
              </a:xfrm>
              <a:custGeom>
                <a:avLst/>
                <a:gdLst>
                  <a:gd name="T0" fmla="*/ 4 w 28"/>
                  <a:gd name="T1" fmla="*/ 27 h 27"/>
                  <a:gd name="T2" fmla="*/ 13 w 28"/>
                  <a:gd name="T3" fmla="*/ 23 h 27"/>
                  <a:gd name="T4" fmla="*/ 22 w 28"/>
                  <a:gd name="T5" fmla="*/ 27 h 27"/>
                  <a:gd name="T6" fmla="*/ 20 w 28"/>
                  <a:gd name="T7" fmla="*/ 18 h 27"/>
                  <a:gd name="T8" fmla="*/ 28 w 28"/>
                  <a:gd name="T9" fmla="*/ 11 h 27"/>
                  <a:gd name="T10" fmla="*/ 18 w 28"/>
                  <a:gd name="T11" fmla="*/ 9 h 27"/>
                  <a:gd name="T12" fmla="*/ 13 w 28"/>
                  <a:gd name="T13" fmla="*/ 0 h 27"/>
                  <a:gd name="T14" fmla="*/ 9 w 28"/>
                  <a:gd name="T15" fmla="*/ 9 h 27"/>
                  <a:gd name="T16" fmla="*/ 0 w 28"/>
                  <a:gd name="T17" fmla="*/ 11 h 27"/>
                  <a:gd name="T18" fmla="*/ 6 w 28"/>
                  <a:gd name="T19" fmla="*/ 18 h 27"/>
                  <a:gd name="T20" fmla="*/ 4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4" y="27"/>
                    </a:moveTo>
                    <a:lnTo>
                      <a:pt x="13" y="23"/>
                    </a:lnTo>
                    <a:lnTo>
                      <a:pt x="22" y="27"/>
                    </a:lnTo>
                    <a:lnTo>
                      <a:pt x="20" y="18"/>
                    </a:lnTo>
                    <a:lnTo>
                      <a:pt x="28" y="11"/>
                    </a:lnTo>
                    <a:lnTo>
                      <a:pt x="18" y="9"/>
                    </a:lnTo>
                    <a:lnTo>
                      <a:pt x="13" y="0"/>
                    </a:lnTo>
                    <a:lnTo>
                      <a:pt x="9" y="9"/>
                    </a:lnTo>
                    <a:lnTo>
                      <a:pt x="0" y="11"/>
                    </a:lnTo>
                    <a:lnTo>
                      <a:pt x="6" y="18"/>
                    </a:lnTo>
                    <a:lnTo>
                      <a:pt x="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611" name="Freeform 52">
                <a:extLst>
                  <a:ext uri="{FF2B5EF4-FFF2-40B4-BE49-F238E27FC236}">
                    <a16:creationId xmlns:a16="http://schemas.microsoft.com/office/drawing/2014/main" id="{2B498CC8-BBDD-4B42-A976-5453E44CA252}"/>
                  </a:ext>
                </a:extLst>
              </p:cNvPr>
              <p:cNvSpPr>
                <a:spLocks/>
              </p:cNvSpPr>
              <p:nvPr/>
            </p:nvSpPr>
            <p:spPr bwMode="auto">
              <a:xfrm>
                <a:off x="2310606" y="3725763"/>
                <a:ext cx="46037" cy="42863"/>
              </a:xfrm>
              <a:custGeom>
                <a:avLst/>
                <a:gdLst>
                  <a:gd name="T0" fmla="*/ 6 w 29"/>
                  <a:gd name="T1" fmla="*/ 27 h 27"/>
                  <a:gd name="T2" fmla="*/ 14 w 29"/>
                  <a:gd name="T3" fmla="*/ 23 h 27"/>
                  <a:gd name="T4" fmla="*/ 23 w 29"/>
                  <a:gd name="T5" fmla="*/ 27 h 27"/>
                  <a:gd name="T6" fmla="*/ 22 w 29"/>
                  <a:gd name="T7" fmla="*/ 18 h 27"/>
                  <a:gd name="T8" fmla="*/ 29 w 29"/>
                  <a:gd name="T9" fmla="*/ 11 h 27"/>
                  <a:gd name="T10" fmla="*/ 18 w 29"/>
                  <a:gd name="T11" fmla="*/ 9 h 27"/>
                  <a:gd name="T12" fmla="*/ 15 w 29"/>
                  <a:gd name="T13" fmla="*/ 0 h 27"/>
                  <a:gd name="T14" fmla="*/ 11 w 29"/>
                  <a:gd name="T15" fmla="*/ 9 h 27"/>
                  <a:gd name="T16" fmla="*/ 0 w 29"/>
                  <a:gd name="T17" fmla="*/ 11 h 27"/>
                  <a:gd name="T18" fmla="*/ 7 w 29"/>
                  <a:gd name="T19" fmla="*/ 18 h 27"/>
                  <a:gd name="T20" fmla="*/ 6 w 29"/>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7">
                    <a:moveTo>
                      <a:pt x="6" y="27"/>
                    </a:moveTo>
                    <a:lnTo>
                      <a:pt x="14" y="23"/>
                    </a:lnTo>
                    <a:lnTo>
                      <a:pt x="23" y="27"/>
                    </a:lnTo>
                    <a:lnTo>
                      <a:pt x="22" y="18"/>
                    </a:lnTo>
                    <a:lnTo>
                      <a:pt x="29" y="11"/>
                    </a:lnTo>
                    <a:lnTo>
                      <a:pt x="18" y="9"/>
                    </a:lnTo>
                    <a:lnTo>
                      <a:pt x="15" y="0"/>
                    </a:lnTo>
                    <a:lnTo>
                      <a:pt x="11" y="9"/>
                    </a:lnTo>
                    <a:lnTo>
                      <a:pt x="0" y="11"/>
                    </a:lnTo>
                    <a:lnTo>
                      <a:pt x="7"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648" name="Freeform 53">
                <a:extLst>
                  <a:ext uri="{FF2B5EF4-FFF2-40B4-BE49-F238E27FC236}">
                    <a16:creationId xmlns:a16="http://schemas.microsoft.com/office/drawing/2014/main" id="{834DEF8F-7E5A-4D38-ABE0-B47A0254491B}"/>
                  </a:ext>
                </a:extLst>
              </p:cNvPr>
              <p:cNvSpPr>
                <a:spLocks noEditPoints="1"/>
              </p:cNvSpPr>
              <p:nvPr/>
            </p:nvSpPr>
            <p:spPr bwMode="auto">
              <a:xfrm>
                <a:off x="2226469" y="3790850"/>
                <a:ext cx="322262" cy="503238"/>
              </a:xfrm>
              <a:custGeom>
                <a:avLst/>
                <a:gdLst>
                  <a:gd name="T0" fmla="*/ 203 w 203"/>
                  <a:gd name="T1" fmla="*/ 0 h 317"/>
                  <a:gd name="T2" fmla="*/ 173 w 203"/>
                  <a:gd name="T3" fmla="*/ 50 h 317"/>
                  <a:gd name="T4" fmla="*/ 173 w 203"/>
                  <a:gd name="T5" fmla="*/ 82 h 317"/>
                  <a:gd name="T6" fmla="*/ 191 w 203"/>
                  <a:gd name="T7" fmla="*/ 90 h 317"/>
                  <a:gd name="T8" fmla="*/ 173 w 203"/>
                  <a:gd name="T9" fmla="*/ 90 h 317"/>
                  <a:gd name="T10" fmla="*/ 191 w 203"/>
                  <a:gd name="T11" fmla="*/ 162 h 317"/>
                  <a:gd name="T12" fmla="*/ 173 w 203"/>
                  <a:gd name="T13" fmla="*/ 168 h 317"/>
                  <a:gd name="T14" fmla="*/ 173 w 203"/>
                  <a:gd name="T15" fmla="*/ 201 h 317"/>
                  <a:gd name="T16" fmla="*/ 191 w 203"/>
                  <a:gd name="T17" fmla="*/ 209 h 317"/>
                  <a:gd name="T18" fmla="*/ 173 w 203"/>
                  <a:gd name="T19" fmla="*/ 209 h 317"/>
                  <a:gd name="T20" fmla="*/ 191 w 203"/>
                  <a:gd name="T21" fmla="*/ 281 h 317"/>
                  <a:gd name="T22" fmla="*/ 140 w 203"/>
                  <a:gd name="T23" fmla="*/ 50 h 317"/>
                  <a:gd name="T24" fmla="*/ 140 w 203"/>
                  <a:gd name="T25" fmla="*/ 82 h 317"/>
                  <a:gd name="T26" fmla="*/ 158 w 203"/>
                  <a:gd name="T27" fmla="*/ 90 h 317"/>
                  <a:gd name="T28" fmla="*/ 140 w 203"/>
                  <a:gd name="T29" fmla="*/ 90 h 317"/>
                  <a:gd name="T30" fmla="*/ 158 w 203"/>
                  <a:gd name="T31" fmla="*/ 162 h 317"/>
                  <a:gd name="T32" fmla="*/ 140 w 203"/>
                  <a:gd name="T33" fmla="*/ 168 h 317"/>
                  <a:gd name="T34" fmla="*/ 140 w 203"/>
                  <a:gd name="T35" fmla="*/ 201 h 317"/>
                  <a:gd name="T36" fmla="*/ 158 w 203"/>
                  <a:gd name="T37" fmla="*/ 209 h 317"/>
                  <a:gd name="T38" fmla="*/ 140 w 203"/>
                  <a:gd name="T39" fmla="*/ 209 h 317"/>
                  <a:gd name="T40" fmla="*/ 158 w 203"/>
                  <a:gd name="T41" fmla="*/ 281 h 317"/>
                  <a:gd name="T42" fmla="*/ 107 w 203"/>
                  <a:gd name="T43" fmla="*/ 50 h 317"/>
                  <a:gd name="T44" fmla="*/ 107 w 203"/>
                  <a:gd name="T45" fmla="*/ 82 h 317"/>
                  <a:gd name="T46" fmla="*/ 126 w 203"/>
                  <a:gd name="T47" fmla="*/ 90 h 317"/>
                  <a:gd name="T48" fmla="*/ 107 w 203"/>
                  <a:gd name="T49" fmla="*/ 90 h 317"/>
                  <a:gd name="T50" fmla="*/ 126 w 203"/>
                  <a:gd name="T51" fmla="*/ 162 h 317"/>
                  <a:gd name="T52" fmla="*/ 107 w 203"/>
                  <a:gd name="T53" fmla="*/ 168 h 317"/>
                  <a:gd name="T54" fmla="*/ 107 w 203"/>
                  <a:gd name="T55" fmla="*/ 201 h 317"/>
                  <a:gd name="T56" fmla="*/ 126 w 203"/>
                  <a:gd name="T57" fmla="*/ 209 h 317"/>
                  <a:gd name="T58" fmla="*/ 107 w 203"/>
                  <a:gd name="T59" fmla="*/ 209 h 317"/>
                  <a:gd name="T60" fmla="*/ 126 w 203"/>
                  <a:gd name="T61" fmla="*/ 281 h 317"/>
                  <a:gd name="T62" fmla="*/ 78 w 203"/>
                  <a:gd name="T63" fmla="*/ 50 h 317"/>
                  <a:gd name="T64" fmla="*/ 78 w 203"/>
                  <a:gd name="T65" fmla="*/ 82 h 317"/>
                  <a:gd name="T66" fmla="*/ 96 w 203"/>
                  <a:gd name="T67" fmla="*/ 90 h 317"/>
                  <a:gd name="T68" fmla="*/ 78 w 203"/>
                  <a:gd name="T69" fmla="*/ 90 h 317"/>
                  <a:gd name="T70" fmla="*/ 96 w 203"/>
                  <a:gd name="T71" fmla="*/ 162 h 317"/>
                  <a:gd name="T72" fmla="*/ 78 w 203"/>
                  <a:gd name="T73" fmla="*/ 168 h 317"/>
                  <a:gd name="T74" fmla="*/ 78 w 203"/>
                  <a:gd name="T75" fmla="*/ 201 h 317"/>
                  <a:gd name="T76" fmla="*/ 96 w 203"/>
                  <a:gd name="T77" fmla="*/ 209 h 317"/>
                  <a:gd name="T78" fmla="*/ 78 w 203"/>
                  <a:gd name="T79" fmla="*/ 209 h 317"/>
                  <a:gd name="T80" fmla="*/ 96 w 203"/>
                  <a:gd name="T81" fmla="*/ 281 h 317"/>
                  <a:gd name="T82" fmla="*/ 45 w 203"/>
                  <a:gd name="T83" fmla="*/ 50 h 317"/>
                  <a:gd name="T84" fmla="*/ 45 w 203"/>
                  <a:gd name="T85" fmla="*/ 82 h 317"/>
                  <a:gd name="T86" fmla="*/ 64 w 203"/>
                  <a:gd name="T87" fmla="*/ 90 h 317"/>
                  <a:gd name="T88" fmla="*/ 45 w 203"/>
                  <a:gd name="T89" fmla="*/ 90 h 317"/>
                  <a:gd name="T90" fmla="*/ 64 w 203"/>
                  <a:gd name="T91" fmla="*/ 162 h 317"/>
                  <a:gd name="T92" fmla="*/ 45 w 203"/>
                  <a:gd name="T93" fmla="*/ 168 h 317"/>
                  <a:gd name="T94" fmla="*/ 45 w 203"/>
                  <a:gd name="T95" fmla="*/ 201 h 317"/>
                  <a:gd name="T96" fmla="*/ 64 w 203"/>
                  <a:gd name="T97" fmla="*/ 209 h 317"/>
                  <a:gd name="T98" fmla="*/ 45 w 203"/>
                  <a:gd name="T99" fmla="*/ 209 h 317"/>
                  <a:gd name="T100" fmla="*/ 64 w 203"/>
                  <a:gd name="T101" fmla="*/ 281 h 317"/>
                  <a:gd name="T102" fmla="*/ 13 w 203"/>
                  <a:gd name="T103" fmla="*/ 50 h 317"/>
                  <a:gd name="T104" fmla="*/ 13 w 203"/>
                  <a:gd name="T105" fmla="*/ 82 h 317"/>
                  <a:gd name="T106" fmla="*/ 31 w 203"/>
                  <a:gd name="T107" fmla="*/ 90 h 317"/>
                  <a:gd name="T108" fmla="*/ 13 w 203"/>
                  <a:gd name="T109" fmla="*/ 90 h 317"/>
                  <a:gd name="T110" fmla="*/ 31 w 203"/>
                  <a:gd name="T111" fmla="*/ 162 h 317"/>
                  <a:gd name="T112" fmla="*/ 13 w 203"/>
                  <a:gd name="T113" fmla="*/ 168 h 317"/>
                  <a:gd name="T114" fmla="*/ 13 w 203"/>
                  <a:gd name="T115" fmla="*/ 201 h 317"/>
                  <a:gd name="T116" fmla="*/ 31 w 203"/>
                  <a:gd name="T117" fmla="*/ 209 h 317"/>
                  <a:gd name="T118" fmla="*/ 13 w 203"/>
                  <a:gd name="T119" fmla="*/ 209 h 317"/>
                  <a:gd name="T120" fmla="*/ 31 w 203"/>
                  <a:gd name="T121" fmla="*/ 28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17">
                    <a:moveTo>
                      <a:pt x="0" y="317"/>
                    </a:moveTo>
                    <a:lnTo>
                      <a:pt x="203" y="317"/>
                    </a:lnTo>
                    <a:lnTo>
                      <a:pt x="203" y="0"/>
                    </a:lnTo>
                    <a:lnTo>
                      <a:pt x="0" y="0"/>
                    </a:lnTo>
                    <a:lnTo>
                      <a:pt x="0" y="317"/>
                    </a:lnTo>
                    <a:close/>
                    <a:moveTo>
                      <a:pt x="173" y="50"/>
                    </a:moveTo>
                    <a:lnTo>
                      <a:pt x="191" y="50"/>
                    </a:lnTo>
                    <a:lnTo>
                      <a:pt x="191" y="82"/>
                    </a:lnTo>
                    <a:lnTo>
                      <a:pt x="173" y="82"/>
                    </a:lnTo>
                    <a:lnTo>
                      <a:pt x="173" y="50"/>
                    </a:lnTo>
                    <a:close/>
                    <a:moveTo>
                      <a:pt x="173" y="90"/>
                    </a:moveTo>
                    <a:lnTo>
                      <a:pt x="191" y="90"/>
                    </a:lnTo>
                    <a:lnTo>
                      <a:pt x="191" y="122"/>
                    </a:lnTo>
                    <a:lnTo>
                      <a:pt x="173" y="122"/>
                    </a:lnTo>
                    <a:lnTo>
                      <a:pt x="173" y="90"/>
                    </a:lnTo>
                    <a:close/>
                    <a:moveTo>
                      <a:pt x="173" y="131"/>
                    </a:moveTo>
                    <a:lnTo>
                      <a:pt x="191" y="131"/>
                    </a:lnTo>
                    <a:lnTo>
                      <a:pt x="191" y="162"/>
                    </a:lnTo>
                    <a:lnTo>
                      <a:pt x="173" y="162"/>
                    </a:lnTo>
                    <a:lnTo>
                      <a:pt x="173" y="131"/>
                    </a:lnTo>
                    <a:close/>
                    <a:moveTo>
                      <a:pt x="173" y="168"/>
                    </a:moveTo>
                    <a:lnTo>
                      <a:pt x="191" y="168"/>
                    </a:lnTo>
                    <a:lnTo>
                      <a:pt x="191" y="201"/>
                    </a:lnTo>
                    <a:lnTo>
                      <a:pt x="173" y="201"/>
                    </a:lnTo>
                    <a:lnTo>
                      <a:pt x="173" y="168"/>
                    </a:lnTo>
                    <a:close/>
                    <a:moveTo>
                      <a:pt x="173" y="209"/>
                    </a:moveTo>
                    <a:lnTo>
                      <a:pt x="191" y="209"/>
                    </a:lnTo>
                    <a:lnTo>
                      <a:pt x="191" y="240"/>
                    </a:lnTo>
                    <a:lnTo>
                      <a:pt x="173" y="240"/>
                    </a:lnTo>
                    <a:lnTo>
                      <a:pt x="173" y="209"/>
                    </a:lnTo>
                    <a:close/>
                    <a:moveTo>
                      <a:pt x="173" y="249"/>
                    </a:moveTo>
                    <a:lnTo>
                      <a:pt x="191" y="249"/>
                    </a:lnTo>
                    <a:lnTo>
                      <a:pt x="191" y="281"/>
                    </a:lnTo>
                    <a:lnTo>
                      <a:pt x="173" y="281"/>
                    </a:lnTo>
                    <a:lnTo>
                      <a:pt x="173" y="249"/>
                    </a:lnTo>
                    <a:close/>
                    <a:moveTo>
                      <a:pt x="140" y="50"/>
                    </a:moveTo>
                    <a:lnTo>
                      <a:pt x="158" y="50"/>
                    </a:lnTo>
                    <a:lnTo>
                      <a:pt x="158" y="82"/>
                    </a:lnTo>
                    <a:lnTo>
                      <a:pt x="140" y="82"/>
                    </a:lnTo>
                    <a:lnTo>
                      <a:pt x="140" y="50"/>
                    </a:lnTo>
                    <a:close/>
                    <a:moveTo>
                      <a:pt x="140" y="90"/>
                    </a:moveTo>
                    <a:lnTo>
                      <a:pt x="158" y="90"/>
                    </a:lnTo>
                    <a:lnTo>
                      <a:pt x="158" y="122"/>
                    </a:lnTo>
                    <a:lnTo>
                      <a:pt x="140" y="122"/>
                    </a:lnTo>
                    <a:lnTo>
                      <a:pt x="140" y="90"/>
                    </a:lnTo>
                    <a:close/>
                    <a:moveTo>
                      <a:pt x="140" y="131"/>
                    </a:moveTo>
                    <a:lnTo>
                      <a:pt x="158" y="131"/>
                    </a:lnTo>
                    <a:lnTo>
                      <a:pt x="158" y="162"/>
                    </a:lnTo>
                    <a:lnTo>
                      <a:pt x="140" y="162"/>
                    </a:lnTo>
                    <a:lnTo>
                      <a:pt x="140" y="131"/>
                    </a:lnTo>
                    <a:close/>
                    <a:moveTo>
                      <a:pt x="140" y="168"/>
                    </a:moveTo>
                    <a:lnTo>
                      <a:pt x="158" y="168"/>
                    </a:lnTo>
                    <a:lnTo>
                      <a:pt x="158" y="201"/>
                    </a:lnTo>
                    <a:lnTo>
                      <a:pt x="140" y="201"/>
                    </a:lnTo>
                    <a:lnTo>
                      <a:pt x="140" y="168"/>
                    </a:lnTo>
                    <a:close/>
                    <a:moveTo>
                      <a:pt x="140" y="209"/>
                    </a:moveTo>
                    <a:lnTo>
                      <a:pt x="158" y="209"/>
                    </a:lnTo>
                    <a:lnTo>
                      <a:pt x="158" y="240"/>
                    </a:lnTo>
                    <a:lnTo>
                      <a:pt x="140" y="240"/>
                    </a:lnTo>
                    <a:lnTo>
                      <a:pt x="140" y="209"/>
                    </a:lnTo>
                    <a:close/>
                    <a:moveTo>
                      <a:pt x="140" y="249"/>
                    </a:moveTo>
                    <a:lnTo>
                      <a:pt x="158" y="249"/>
                    </a:lnTo>
                    <a:lnTo>
                      <a:pt x="158" y="281"/>
                    </a:lnTo>
                    <a:lnTo>
                      <a:pt x="140" y="281"/>
                    </a:lnTo>
                    <a:lnTo>
                      <a:pt x="140" y="249"/>
                    </a:lnTo>
                    <a:close/>
                    <a:moveTo>
                      <a:pt x="107" y="50"/>
                    </a:moveTo>
                    <a:lnTo>
                      <a:pt x="126" y="50"/>
                    </a:lnTo>
                    <a:lnTo>
                      <a:pt x="126" y="82"/>
                    </a:lnTo>
                    <a:lnTo>
                      <a:pt x="107" y="82"/>
                    </a:lnTo>
                    <a:lnTo>
                      <a:pt x="107" y="50"/>
                    </a:lnTo>
                    <a:close/>
                    <a:moveTo>
                      <a:pt x="107" y="90"/>
                    </a:moveTo>
                    <a:lnTo>
                      <a:pt x="126" y="90"/>
                    </a:lnTo>
                    <a:lnTo>
                      <a:pt x="126" y="122"/>
                    </a:lnTo>
                    <a:lnTo>
                      <a:pt x="107" y="122"/>
                    </a:lnTo>
                    <a:lnTo>
                      <a:pt x="107" y="90"/>
                    </a:lnTo>
                    <a:close/>
                    <a:moveTo>
                      <a:pt x="107" y="131"/>
                    </a:moveTo>
                    <a:lnTo>
                      <a:pt x="126" y="131"/>
                    </a:lnTo>
                    <a:lnTo>
                      <a:pt x="126" y="162"/>
                    </a:lnTo>
                    <a:lnTo>
                      <a:pt x="107" y="162"/>
                    </a:lnTo>
                    <a:lnTo>
                      <a:pt x="107" y="131"/>
                    </a:lnTo>
                    <a:close/>
                    <a:moveTo>
                      <a:pt x="107" y="168"/>
                    </a:moveTo>
                    <a:lnTo>
                      <a:pt x="126" y="168"/>
                    </a:lnTo>
                    <a:lnTo>
                      <a:pt x="126" y="201"/>
                    </a:lnTo>
                    <a:lnTo>
                      <a:pt x="107" y="201"/>
                    </a:lnTo>
                    <a:lnTo>
                      <a:pt x="107" y="168"/>
                    </a:lnTo>
                    <a:close/>
                    <a:moveTo>
                      <a:pt x="107" y="209"/>
                    </a:moveTo>
                    <a:lnTo>
                      <a:pt x="126" y="209"/>
                    </a:lnTo>
                    <a:lnTo>
                      <a:pt x="126" y="240"/>
                    </a:lnTo>
                    <a:lnTo>
                      <a:pt x="107" y="240"/>
                    </a:lnTo>
                    <a:lnTo>
                      <a:pt x="107" y="209"/>
                    </a:lnTo>
                    <a:close/>
                    <a:moveTo>
                      <a:pt x="107" y="249"/>
                    </a:moveTo>
                    <a:lnTo>
                      <a:pt x="126" y="249"/>
                    </a:lnTo>
                    <a:lnTo>
                      <a:pt x="126" y="281"/>
                    </a:lnTo>
                    <a:lnTo>
                      <a:pt x="107" y="281"/>
                    </a:lnTo>
                    <a:lnTo>
                      <a:pt x="107" y="249"/>
                    </a:lnTo>
                    <a:close/>
                    <a:moveTo>
                      <a:pt x="78" y="50"/>
                    </a:moveTo>
                    <a:lnTo>
                      <a:pt x="96" y="50"/>
                    </a:lnTo>
                    <a:lnTo>
                      <a:pt x="96" y="82"/>
                    </a:lnTo>
                    <a:lnTo>
                      <a:pt x="78" y="82"/>
                    </a:lnTo>
                    <a:lnTo>
                      <a:pt x="78" y="50"/>
                    </a:lnTo>
                    <a:close/>
                    <a:moveTo>
                      <a:pt x="78" y="90"/>
                    </a:moveTo>
                    <a:lnTo>
                      <a:pt x="96" y="90"/>
                    </a:lnTo>
                    <a:lnTo>
                      <a:pt x="96" y="122"/>
                    </a:lnTo>
                    <a:lnTo>
                      <a:pt x="78" y="122"/>
                    </a:lnTo>
                    <a:lnTo>
                      <a:pt x="78" y="90"/>
                    </a:lnTo>
                    <a:close/>
                    <a:moveTo>
                      <a:pt x="78" y="131"/>
                    </a:moveTo>
                    <a:lnTo>
                      <a:pt x="96" y="131"/>
                    </a:lnTo>
                    <a:lnTo>
                      <a:pt x="96" y="162"/>
                    </a:lnTo>
                    <a:lnTo>
                      <a:pt x="78" y="162"/>
                    </a:lnTo>
                    <a:lnTo>
                      <a:pt x="78" y="131"/>
                    </a:lnTo>
                    <a:close/>
                    <a:moveTo>
                      <a:pt x="78" y="168"/>
                    </a:moveTo>
                    <a:lnTo>
                      <a:pt x="96" y="168"/>
                    </a:lnTo>
                    <a:lnTo>
                      <a:pt x="96" y="201"/>
                    </a:lnTo>
                    <a:lnTo>
                      <a:pt x="78" y="201"/>
                    </a:lnTo>
                    <a:lnTo>
                      <a:pt x="78" y="168"/>
                    </a:lnTo>
                    <a:close/>
                    <a:moveTo>
                      <a:pt x="78" y="209"/>
                    </a:moveTo>
                    <a:lnTo>
                      <a:pt x="96" y="209"/>
                    </a:lnTo>
                    <a:lnTo>
                      <a:pt x="96" y="240"/>
                    </a:lnTo>
                    <a:lnTo>
                      <a:pt x="78" y="240"/>
                    </a:lnTo>
                    <a:lnTo>
                      <a:pt x="78" y="209"/>
                    </a:lnTo>
                    <a:close/>
                    <a:moveTo>
                      <a:pt x="78" y="249"/>
                    </a:moveTo>
                    <a:lnTo>
                      <a:pt x="96" y="249"/>
                    </a:lnTo>
                    <a:lnTo>
                      <a:pt x="96" y="281"/>
                    </a:lnTo>
                    <a:lnTo>
                      <a:pt x="78" y="281"/>
                    </a:lnTo>
                    <a:lnTo>
                      <a:pt x="78" y="249"/>
                    </a:lnTo>
                    <a:close/>
                    <a:moveTo>
                      <a:pt x="45" y="50"/>
                    </a:moveTo>
                    <a:lnTo>
                      <a:pt x="64" y="50"/>
                    </a:lnTo>
                    <a:lnTo>
                      <a:pt x="64" y="82"/>
                    </a:lnTo>
                    <a:lnTo>
                      <a:pt x="45" y="82"/>
                    </a:lnTo>
                    <a:lnTo>
                      <a:pt x="45" y="50"/>
                    </a:lnTo>
                    <a:close/>
                    <a:moveTo>
                      <a:pt x="45" y="90"/>
                    </a:moveTo>
                    <a:lnTo>
                      <a:pt x="64" y="90"/>
                    </a:lnTo>
                    <a:lnTo>
                      <a:pt x="64" y="122"/>
                    </a:lnTo>
                    <a:lnTo>
                      <a:pt x="45" y="122"/>
                    </a:lnTo>
                    <a:lnTo>
                      <a:pt x="45" y="90"/>
                    </a:lnTo>
                    <a:close/>
                    <a:moveTo>
                      <a:pt x="45" y="131"/>
                    </a:moveTo>
                    <a:lnTo>
                      <a:pt x="64" y="131"/>
                    </a:lnTo>
                    <a:lnTo>
                      <a:pt x="64" y="162"/>
                    </a:lnTo>
                    <a:lnTo>
                      <a:pt x="45" y="162"/>
                    </a:lnTo>
                    <a:lnTo>
                      <a:pt x="45" y="131"/>
                    </a:lnTo>
                    <a:close/>
                    <a:moveTo>
                      <a:pt x="45" y="168"/>
                    </a:moveTo>
                    <a:lnTo>
                      <a:pt x="64" y="168"/>
                    </a:lnTo>
                    <a:lnTo>
                      <a:pt x="64" y="201"/>
                    </a:lnTo>
                    <a:lnTo>
                      <a:pt x="45" y="201"/>
                    </a:lnTo>
                    <a:lnTo>
                      <a:pt x="45" y="168"/>
                    </a:lnTo>
                    <a:close/>
                    <a:moveTo>
                      <a:pt x="45" y="209"/>
                    </a:moveTo>
                    <a:lnTo>
                      <a:pt x="64" y="209"/>
                    </a:lnTo>
                    <a:lnTo>
                      <a:pt x="64" y="240"/>
                    </a:lnTo>
                    <a:lnTo>
                      <a:pt x="45" y="240"/>
                    </a:lnTo>
                    <a:lnTo>
                      <a:pt x="45" y="209"/>
                    </a:lnTo>
                    <a:close/>
                    <a:moveTo>
                      <a:pt x="45" y="249"/>
                    </a:moveTo>
                    <a:lnTo>
                      <a:pt x="64" y="249"/>
                    </a:lnTo>
                    <a:lnTo>
                      <a:pt x="64" y="281"/>
                    </a:lnTo>
                    <a:lnTo>
                      <a:pt x="45" y="281"/>
                    </a:lnTo>
                    <a:lnTo>
                      <a:pt x="45" y="249"/>
                    </a:lnTo>
                    <a:close/>
                    <a:moveTo>
                      <a:pt x="13" y="50"/>
                    </a:moveTo>
                    <a:lnTo>
                      <a:pt x="31" y="50"/>
                    </a:lnTo>
                    <a:lnTo>
                      <a:pt x="31" y="82"/>
                    </a:lnTo>
                    <a:lnTo>
                      <a:pt x="13" y="82"/>
                    </a:lnTo>
                    <a:lnTo>
                      <a:pt x="13" y="50"/>
                    </a:lnTo>
                    <a:close/>
                    <a:moveTo>
                      <a:pt x="13" y="90"/>
                    </a:moveTo>
                    <a:lnTo>
                      <a:pt x="31" y="90"/>
                    </a:lnTo>
                    <a:lnTo>
                      <a:pt x="31" y="122"/>
                    </a:lnTo>
                    <a:lnTo>
                      <a:pt x="13" y="122"/>
                    </a:lnTo>
                    <a:lnTo>
                      <a:pt x="13" y="90"/>
                    </a:lnTo>
                    <a:close/>
                    <a:moveTo>
                      <a:pt x="13" y="131"/>
                    </a:moveTo>
                    <a:lnTo>
                      <a:pt x="31" y="131"/>
                    </a:lnTo>
                    <a:lnTo>
                      <a:pt x="31" y="162"/>
                    </a:lnTo>
                    <a:lnTo>
                      <a:pt x="13" y="162"/>
                    </a:lnTo>
                    <a:lnTo>
                      <a:pt x="13" y="131"/>
                    </a:lnTo>
                    <a:close/>
                    <a:moveTo>
                      <a:pt x="13" y="168"/>
                    </a:moveTo>
                    <a:lnTo>
                      <a:pt x="31" y="168"/>
                    </a:lnTo>
                    <a:lnTo>
                      <a:pt x="31" y="201"/>
                    </a:lnTo>
                    <a:lnTo>
                      <a:pt x="13" y="201"/>
                    </a:lnTo>
                    <a:lnTo>
                      <a:pt x="13" y="168"/>
                    </a:lnTo>
                    <a:close/>
                    <a:moveTo>
                      <a:pt x="13" y="209"/>
                    </a:moveTo>
                    <a:lnTo>
                      <a:pt x="31" y="209"/>
                    </a:lnTo>
                    <a:lnTo>
                      <a:pt x="31" y="240"/>
                    </a:lnTo>
                    <a:lnTo>
                      <a:pt x="13" y="240"/>
                    </a:lnTo>
                    <a:lnTo>
                      <a:pt x="13" y="209"/>
                    </a:lnTo>
                    <a:close/>
                    <a:moveTo>
                      <a:pt x="13" y="249"/>
                    </a:moveTo>
                    <a:lnTo>
                      <a:pt x="31" y="249"/>
                    </a:lnTo>
                    <a:lnTo>
                      <a:pt x="31" y="281"/>
                    </a:lnTo>
                    <a:lnTo>
                      <a:pt x="13" y="281"/>
                    </a:lnTo>
                    <a:lnTo>
                      <a:pt x="13"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697" name="Freeform 54">
                <a:extLst>
                  <a:ext uri="{FF2B5EF4-FFF2-40B4-BE49-F238E27FC236}">
                    <a16:creationId xmlns:a16="http://schemas.microsoft.com/office/drawing/2014/main" id="{13D3C853-8783-4FD1-93A5-1ADD11594BAF}"/>
                  </a:ext>
                </a:extLst>
              </p:cNvPr>
              <p:cNvSpPr>
                <a:spLocks/>
              </p:cNvSpPr>
              <p:nvPr/>
            </p:nvSpPr>
            <p:spPr bwMode="auto">
              <a:xfrm>
                <a:off x="2364581" y="3725763"/>
                <a:ext cx="44450" cy="42863"/>
              </a:xfrm>
              <a:custGeom>
                <a:avLst/>
                <a:gdLst>
                  <a:gd name="T0" fmla="*/ 6 w 28"/>
                  <a:gd name="T1" fmla="*/ 27 h 27"/>
                  <a:gd name="T2" fmla="*/ 15 w 28"/>
                  <a:gd name="T3" fmla="*/ 23 h 27"/>
                  <a:gd name="T4" fmla="*/ 24 w 28"/>
                  <a:gd name="T5" fmla="*/ 27 h 27"/>
                  <a:gd name="T6" fmla="*/ 22 w 28"/>
                  <a:gd name="T7" fmla="*/ 18 h 27"/>
                  <a:gd name="T8" fmla="*/ 28 w 28"/>
                  <a:gd name="T9" fmla="*/ 11 h 27"/>
                  <a:gd name="T10" fmla="*/ 19 w 28"/>
                  <a:gd name="T11" fmla="*/ 9 h 27"/>
                  <a:gd name="T12" fmla="*/ 15 w 28"/>
                  <a:gd name="T13" fmla="*/ 0 h 27"/>
                  <a:gd name="T14" fmla="*/ 10 w 28"/>
                  <a:gd name="T15" fmla="*/ 9 h 27"/>
                  <a:gd name="T16" fmla="*/ 0 w 28"/>
                  <a:gd name="T17" fmla="*/ 11 h 27"/>
                  <a:gd name="T18" fmla="*/ 8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5" y="23"/>
                    </a:lnTo>
                    <a:lnTo>
                      <a:pt x="24" y="27"/>
                    </a:lnTo>
                    <a:lnTo>
                      <a:pt x="22" y="18"/>
                    </a:lnTo>
                    <a:lnTo>
                      <a:pt x="28" y="11"/>
                    </a:lnTo>
                    <a:lnTo>
                      <a:pt x="19" y="9"/>
                    </a:lnTo>
                    <a:lnTo>
                      <a:pt x="15" y="0"/>
                    </a:lnTo>
                    <a:lnTo>
                      <a:pt x="10" y="9"/>
                    </a:lnTo>
                    <a:lnTo>
                      <a:pt x="0" y="11"/>
                    </a:lnTo>
                    <a:lnTo>
                      <a:pt x="8"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703" name="Freeform 55">
                <a:extLst>
                  <a:ext uri="{FF2B5EF4-FFF2-40B4-BE49-F238E27FC236}">
                    <a16:creationId xmlns:a16="http://schemas.microsoft.com/office/drawing/2014/main" id="{2FB9D612-628D-40A8-8B46-15B95502FCEF}"/>
                  </a:ext>
                </a:extLst>
              </p:cNvPr>
              <p:cNvSpPr>
                <a:spLocks noEditPoints="1"/>
              </p:cNvSpPr>
              <p:nvPr/>
            </p:nvSpPr>
            <p:spPr bwMode="auto">
              <a:xfrm>
                <a:off x="2572544" y="4025800"/>
                <a:ext cx="173037" cy="268288"/>
              </a:xfrm>
              <a:custGeom>
                <a:avLst/>
                <a:gdLst>
                  <a:gd name="T0" fmla="*/ 0 w 109"/>
                  <a:gd name="T1" fmla="*/ 0 h 169"/>
                  <a:gd name="T2" fmla="*/ 0 w 109"/>
                  <a:gd name="T3" fmla="*/ 169 h 169"/>
                  <a:gd name="T4" fmla="*/ 109 w 109"/>
                  <a:gd name="T5" fmla="*/ 169 h 169"/>
                  <a:gd name="T6" fmla="*/ 109 w 109"/>
                  <a:gd name="T7" fmla="*/ 0 h 169"/>
                  <a:gd name="T8" fmla="*/ 0 w 109"/>
                  <a:gd name="T9" fmla="*/ 0 h 169"/>
                  <a:gd name="T10" fmla="*/ 32 w 109"/>
                  <a:gd name="T11" fmla="*/ 149 h 169"/>
                  <a:gd name="T12" fmla="*/ 14 w 109"/>
                  <a:gd name="T13" fmla="*/ 149 h 169"/>
                  <a:gd name="T14" fmla="*/ 14 w 109"/>
                  <a:gd name="T15" fmla="*/ 117 h 169"/>
                  <a:gd name="T16" fmla="*/ 32 w 109"/>
                  <a:gd name="T17" fmla="*/ 117 h 169"/>
                  <a:gd name="T18" fmla="*/ 32 w 109"/>
                  <a:gd name="T19" fmla="*/ 149 h 169"/>
                  <a:gd name="T20" fmla="*/ 32 w 109"/>
                  <a:gd name="T21" fmla="*/ 108 h 169"/>
                  <a:gd name="T22" fmla="*/ 14 w 109"/>
                  <a:gd name="T23" fmla="*/ 108 h 169"/>
                  <a:gd name="T24" fmla="*/ 14 w 109"/>
                  <a:gd name="T25" fmla="*/ 76 h 169"/>
                  <a:gd name="T26" fmla="*/ 32 w 109"/>
                  <a:gd name="T27" fmla="*/ 76 h 169"/>
                  <a:gd name="T28" fmla="*/ 32 w 109"/>
                  <a:gd name="T29" fmla="*/ 108 h 169"/>
                  <a:gd name="T30" fmla="*/ 32 w 109"/>
                  <a:gd name="T31" fmla="*/ 69 h 169"/>
                  <a:gd name="T32" fmla="*/ 14 w 109"/>
                  <a:gd name="T33" fmla="*/ 69 h 169"/>
                  <a:gd name="T34" fmla="*/ 14 w 109"/>
                  <a:gd name="T35" fmla="*/ 36 h 169"/>
                  <a:gd name="T36" fmla="*/ 32 w 109"/>
                  <a:gd name="T37" fmla="*/ 36 h 169"/>
                  <a:gd name="T38" fmla="*/ 32 w 109"/>
                  <a:gd name="T39" fmla="*/ 69 h 169"/>
                  <a:gd name="T40" fmla="*/ 63 w 109"/>
                  <a:gd name="T41" fmla="*/ 149 h 169"/>
                  <a:gd name="T42" fmla="*/ 45 w 109"/>
                  <a:gd name="T43" fmla="*/ 149 h 169"/>
                  <a:gd name="T44" fmla="*/ 45 w 109"/>
                  <a:gd name="T45" fmla="*/ 117 h 169"/>
                  <a:gd name="T46" fmla="*/ 63 w 109"/>
                  <a:gd name="T47" fmla="*/ 117 h 169"/>
                  <a:gd name="T48" fmla="*/ 63 w 109"/>
                  <a:gd name="T49" fmla="*/ 149 h 169"/>
                  <a:gd name="T50" fmla="*/ 63 w 109"/>
                  <a:gd name="T51" fmla="*/ 108 h 169"/>
                  <a:gd name="T52" fmla="*/ 45 w 109"/>
                  <a:gd name="T53" fmla="*/ 108 h 169"/>
                  <a:gd name="T54" fmla="*/ 45 w 109"/>
                  <a:gd name="T55" fmla="*/ 76 h 169"/>
                  <a:gd name="T56" fmla="*/ 63 w 109"/>
                  <a:gd name="T57" fmla="*/ 76 h 169"/>
                  <a:gd name="T58" fmla="*/ 63 w 109"/>
                  <a:gd name="T59" fmla="*/ 108 h 169"/>
                  <a:gd name="T60" fmla="*/ 63 w 109"/>
                  <a:gd name="T61" fmla="*/ 69 h 169"/>
                  <a:gd name="T62" fmla="*/ 45 w 109"/>
                  <a:gd name="T63" fmla="*/ 69 h 169"/>
                  <a:gd name="T64" fmla="*/ 45 w 109"/>
                  <a:gd name="T65" fmla="*/ 36 h 169"/>
                  <a:gd name="T66" fmla="*/ 63 w 109"/>
                  <a:gd name="T67" fmla="*/ 36 h 169"/>
                  <a:gd name="T68" fmla="*/ 63 w 109"/>
                  <a:gd name="T69" fmla="*/ 69 h 169"/>
                  <a:gd name="T70" fmla="*/ 96 w 109"/>
                  <a:gd name="T71" fmla="*/ 149 h 169"/>
                  <a:gd name="T72" fmla="*/ 78 w 109"/>
                  <a:gd name="T73" fmla="*/ 149 h 169"/>
                  <a:gd name="T74" fmla="*/ 78 w 109"/>
                  <a:gd name="T75" fmla="*/ 117 h 169"/>
                  <a:gd name="T76" fmla="*/ 96 w 109"/>
                  <a:gd name="T77" fmla="*/ 117 h 169"/>
                  <a:gd name="T78" fmla="*/ 96 w 109"/>
                  <a:gd name="T79" fmla="*/ 149 h 169"/>
                  <a:gd name="T80" fmla="*/ 96 w 109"/>
                  <a:gd name="T81" fmla="*/ 108 h 169"/>
                  <a:gd name="T82" fmla="*/ 78 w 109"/>
                  <a:gd name="T83" fmla="*/ 108 h 169"/>
                  <a:gd name="T84" fmla="*/ 78 w 109"/>
                  <a:gd name="T85" fmla="*/ 76 h 169"/>
                  <a:gd name="T86" fmla="*/ 96 w 109"/>
                  <a:gd name="T87" fmla="*/ 76 h 169"/>
                  <a:gd name="T88" fmla="*/ 96 w 109"/>
                  <a:gd name="T89" fmla="*/ 108 h 169"/>
                  <a:gd name="T90" fmla="*/ 96 w 109"/>
                  <a:gd name="T91" fmla="*/ 69 h 169"/>
                  <a:gd name="T92" fmla="*/ 78 w 109"/>
                  <a:gd name="T93" fmla="*/ 69 h 169"/>
                  <a:gd name="T94" fmla="*/ 78 w 109"/>
                  <a:gd name="T95" fmla="*/ 36 h 169"/>
                  <a:gd name="T96" fmla="*/ 96 w 109"/>
                  <a:gd name="T97" fmla="*/ 36 h 169"/>
                  <a:gd name="T98" fmla="*/ 96 w 109"/>
                  <a:gd name="T99" fmla="*/ 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 h="169">
                    <a:moveTo>
                      <a:pt x="0" y="0"/>
                    </a:moveTo>
                    <a:lnTo>
                      <a:pt x="0" y="169"/>
                    </a:lnTo>
                    <a:lnTo>
                      <a:pt x="109" y="169"/>
                    </a:lnTo>
                    <a:lnTo>
                      <a:pt x="109" y="0"/>
                    </a:lnTo>
                    <a:lnTo>
                      <a:pt x="0" y="0"/>
                    </a:lnTo>
                    <a:close/>
                    <a:moveTo>
                      <a:pt x="32" y="149"/>
                    </a:moveTo>
                    <a:lnTo>
                      <a:pt x="14" y="149"/>
                    </a:lnTo>
                    <a:lnTo>
                      <a:pt x="14" y="117"/>
                    </a:lnTo>
                    <a:lnTo>
                      <a:pt x="32" y="117"/>
                    </a:lnTo>
                    <a:lnTo>
                      <a:pt x="32" y="149"/>
                    </a:lnTo>
                    <a:close/>
                    <a:moveTo>
                      <a:pt x="32" y="108"/>
                    </a:moveTo>
                    <a:lnTo>
                      <a:pt x="14" y="108"/>
                    </a:lnTo>
                    <a:lnTo>
                      <a:pt x="14" y="76"/>
                    </a:lnTo>
                    <a:lnTo>
                      <a:pt x="32" y="76"/>
                    </a:lnTo>
                    <a:lnTo>
                      <a:pt x="32" y="108"/>
                    </a:lnTo>
                    <a:close/>
                    <a:moveTo>
                      <a:pt x="32" y="69"/>
                    </a:moveTo>
                    <a:lnTo>
                      <a:pt x="14" y="69"/>
                    </a:lnTo>
                    <a:lnTo>
                      <a:pt x="14" y="36"/>
                    </a:lnTo>
                    <a:lnTo>
                      <a:pt x="32" y="36"/>
                    </a:lnTo>
                    <a:lnTo>
                      <a:pt x="32" y="69"/>
                    </a:lnTo>
                    <a:close/>
                    <a:moveTo>
                      <a:pt x="63" y="149"/>
                    </a:moveTo>
                    <a:lnTo>
                      <a:pt x="45" y="149"/>
                    </a:lnTo>
                    <a:lnTo>
                      <a:pt x="45" y="117"/>
                    </a:lnTo>
                    <a:lnTo>
                      <a:pt x="63" y="117"/>
                    </a:lnTo>
                    <a:lnTo>
                      <a:pt x="63" y="149"/>
                    </a:lnTo>
                    <a:close/>
                    <a:moveTo>
                      <a:pt x="63" y="108"/>
                    </a:moveTo>
                    <a:lnTo>
                      <a:pt x="45" y="108"/>
                    </a:lnTo>
                    <a:lnTo>
                      <a:pt x="45" y="76"/>
                    </a:lnTo>
                    <a:lnTo>
                      <a:pt x="63" y="76"/>
                    </a:lnTo>
                    <a:lnTo>
                      <a:pt x="63" y="108"/>
                    </a:lnTo>
                    <a:close/>
                    <a:moveTo>
                      <a:pt x="63" y="69"/>
                    </a:moveTo>
                    <a:lnTo>
                      <a:pt x="45" y="69"/>
                    </a:lnTo>
                    <a:lnTo>
                      <a:pt x="45" y="36"/>
                    </a:lnTo>
                    <a:lnTo>
                      <a:pt x="63" y="36"/>
                    </a:lnTo>
                    <a:lnTo>
                      <a:pt x="63" y="69"/>
                    </a:lnTo>
                    <a:close/>
                    <a:moveTo>
                      <a:pt x="96" y="149"/>
                    </a:moveTo>
                    <a:lnTo>
                      <a:pt x="78" y="149"/>
                    </a:lnTo>
                    <a:lnTo>
                      <a:pt x="78" y="117"/>
                    </a:lnTo>
                    <a:lnTo>
                      <a:pt x="96" y="117"/>
                    </a:lnTo>
                    <a:lnTo>
                      <a:pt x="96" y="149"/>
                    </a:lnTo>
                    <a:close/>
                    <a:moveTo>
                      <a:pt x="96" y="108"/>
                    </a:moveTo>
                    <a:lnTo>
                      <a:pt x="78" y="108"/>
                    </a:lnTo>
                    <a:lnTo>
                      <a:pt x="78" y="76"/>
                    </a:lnTo>
                    <a:lnTo>
                      <a:pt x="96" y="76"/>
                    </a:lnTo>
                    <a:lnTo>
                      <a:pt x="96" y="108"/>
                    </a:lnTo>
                    <a:close/>
                    <a:moveTo>
                      <a:pt x="96" y="69"/>
                    </a:moveTo>
                    <a:lnTo>
                      <a:pt x="78" y="69"/>
                    </a:lnTo>
                    <a:lnTo>
                      <a:pt x="78" y="36"/>
                    </a:lnTo>
                    <a:lnTo>
                      <a:pt x="96" y="36"/>
                    </a:lnTo>
                    <a:lnTo>
                      <a:pt x="9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704" name="Freeform 56">
                <a:extLst>
                  <a:ext uri="{FF2B5EF4-FFF2-40B4-BE49-F238E27FC236}">
                    <a16:creationId xmlns:a16="http://schemas.microsoft.com/office/drawing/2014/main" id="{63029770-B3FB-42D4-9664-E2C33F3C5AF6}"/>
                  </a:ext>
                </a:extLst>
              </p:cNvPr>
              <p:cNvSpPr>
                <a:spLocks/>
              </p:cNvSpPr>
              <p:nvPr/>
            </p:nvSpPr>
            <p:spPr bwMode="auto">
              <a:xfrm>
                <a:off x="2474119" y="3725763"/>
                <a:ext cx="44450" cy="42863"/>
              </a:xfrm>
              <a:custGeom>
                <a:avLst/>
                <a:gdLst>
                  <a:gd name="T0" fmla="*/ 6 w 28"/>
                  <a:gd name="T1" fmla="*/ 27 h 27"/>
                  <a:gd name="T2" fmla="*/ 15 w 28"/>
                  <a:gd name="T3" fmla="*/ 23 h 27"/>
                  <a:gd name="T4" fmla="*/ 24 w 28"/>
                  <a:gd name="T5" fmla="*/ 27 h 27"/>
                  <a:gd name="T6" fmla="*/ 21 w 28"/>
                  <a:gd name="T7" fmla="*/ 18 h 27"/>
                  <a:gd name="T8" fmla="*/ 28 w 28"/>
                  <a:gd name="T9" fmla="*/ 11 h 27"/>
                  <a:gd name="T10" fmla="*/ 19 w 28"/>
                  <a:gd name="T11" fmla="*/ 9 h 27"/>
                  <a:gd name="T12" fmla="*/ 15 w 28"/>
                  <a:gd name="T13" fmla="*/ 0 h 27"/>
                  <a:gd name="T14" fmla="*/ 10 w 28"/>
                  <a:gd name="T15" fmla="*/ 9 h 27"/>
                  <a:gd name="T16" fmla="*/ 0 w 28"/>
                  <a:gd name="T17" fmla="*/ 11 h 27"/>
                  <a:gd name="T18" fmla="*/ 8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5" y="23"/>
                    </a:lnTo>
                    <a:lnTo>
                      <a:pt x="24" y="27"/>
                    </a:lnTo>
                    <a:lnTo>
                      <a:pt x="21" y="18"/>
                    </a:lnTo>
                    <a:lnTo>
                      <a:pt x="28" y="11"/>
                    </a:lnTo>
                    <a:lnTo>
                      <a:pt x="19" y="9"/>
                    </a:lnTo>
                    <a:lnTo>
                      <a:pt x="15" y="0"/>
                    </a:lnTo>
                    <a:lnTo>
                      <a:pt x="10" y="9"/>
                    </a:lnTo>
                    <a:lnTo>
                      <a:pt x="0" y="11"/>
                    </a:lnTo>
                    <a:lnTo>
                      <a:pt x="8"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705" name="Freeform 57">
                <a:extLst>
                  <a:ext uri="{FF2B5EF4-FFF2-40B4-BE49-F238E27FC236}">
                    <a16:creationId xmlns:a16="http://schemas.microsoft.com/office/drawing/2014/main" id="{9D50D1E1-45CC-49F4-8D5D-38DBC76EF2EA}"/>
                  </a:ext>
                </a:extLst>
              </p:cNvPr>
              <p:cNvSpPr>
                <a:spLocks/>
              </p:cNvSpPr>
              <p:nvPr/>
            </p:nvSpPr>
            <p:spPr bwMode="auto">
              <a:xfrm>
                <a:off x="2420144" y="3725763"/>
                <a:ext cx="44450" cy="42863"/>
              </a:xfrm>
              <a:custGeom>
                <a:avLst/>
                <a:gdLst>
                  <a:gd name="T0" fmla="*/ 6 w 28"/>
                  <a:gd name="T1" fmla="*/ 27 h 27"/>
                  <a:gd name="T2" fmla="*/ 14 w 28"/>
                  <a:gd name="T3" fmla="*/ 23 h 27"/>
                  <a:gd name="T4" fmla="*/ 23 w 28"/>
                  <a:gd name="T5" fmla="*/ 27 h 27"/>
                  <a:gd name="T6" fmla="*/ 22 w 28"/>
                  <a:gd name="T7" fmla="*/ 18 h 27"/>
                  <a:gd name="T8" fmla="*/ 28 w 28"/>
                  <a:gd name="T9" fmla="*/ 11 h 27"/>
                  <a:gd name="T10" fmla="*/ 18 w 28"/>
                  <a:gd name="T11" fmla="*/ 9 h 27"/>
                  <a:gd name="T12" fmla="*/ 14 w 28"/>
                  <a:gd name="T13" fmla="*/ 0 h 27"/>
                  <a:gd name="T14" fmla="*/ 10 w 28"/>
                  <a:gd name="T15" fmla="*/ 9 h 27"/>
                  <a:gd name="T16" fmla="*/ 0 w 28"/>
                  <a:gd name="T17" fmla="*/ 11 h 27"/>
                  <a:gd name="T18" fmla="*/ 7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4" y="23"/>
                    </a:lnTo>
                    <a:lnTo>
                      <a:pt x="23" y="27"/>
                    </a:lnTo>
                    <a:lnTo>
                      <a:pt x="22" y="18"/>
                    </a:lnTo>
                    <a:lnTo>
                      <a:pt x="28" y="11"/>
                    </a:lnTo>
                    <a:lnTo>
                      <a:pt x="18" y="9"/>
                    </a:lnTo>
                    <a:lnTo>
                      <a:pt x="14" y="0"/>
                    </a:lnTo>
                    <a:lnTo>
                      <a:pt x="10" y="9"/>
                    </a:lnTo>
                    <a:lnTo>
                      <a:pt x="0" y="11"/>
                    </a:lnTo>
                    <a:lnTo>
                      <a:pt x="7"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17" name="Group 16">
            <a:extLst>
              <a:ext uri="{FF2B5EF4-FFF2-40B4-BE49-F238E27FC236}">
                <a16:creationId xmlns:a16="http://schemas.microsoft.com/office/drawing/2014/main" id="{904E3314-85AA-49B8-85BA-CD00B6CDC8DD}"/>
              </a:ext>
              <a:ext uri="{C183D7F6-B498-43B3-948B-1728B52AA6E4}">
                <adec:decorative xmlns:adec="http://schemas.microsoft.com/office/drawing/2017/decorative" val="1"/>
              </a:ext>
            </a:extLst>
          </p:cNvPr>
          <p:cNvGrpSpPr>
            <a:grpSpLocks noChangeAspect="1"/>
          </p:cNvGrpSpPr>
          <p:nvPr/>
        </p:nvGrpSpPr>
        <p:grpSpPr>
          <a:xfrm>
            <a:off x="3673505" y="3946128"/>
            <a:ext cx="674784" cy="633600"/>
            <a:chOff x="4446800" y="-730041"/>
            <a:chExt cx="1685454" cy="1582586"/>
          </a:xfrm>
        </p:grpSpPr>
        <p:sp>
          <p:nvSpPr>
            <p:cNvPr id="708" name="Freeform 93">
              <a:extLst>
                <a:ext uri="{FF2B5EF4-FFF2-40B4-BE49-F238E27FC236}">
                  <a16:creationId xmlns:a16="http://schemas.microsoft.com/office/drawing/2014/main" id="{890F1FF6-4B32-4368-9BC0-D5F2AD5AF402}"/>
                </a:ext>
              </a:extLst>
            </p:cNvPr>
            <p:cNvSpPr>
              <a:spLocks/>
            </p:cNvSpPr>
            <p:nvPr/>
          </p:nvSpPr>
          <p:spPr bwMode="auto">
            <a:xfrm>
              <a:off x="4446800" y="-730041"/>
              <a:ext cx="1685454" cy="1582586"/>
            </a:xfrm>
            <a:custGeom>
              <a:avLst/>
              <a:gdLst>
                <a:gd name="T0" fmla="*/ 43 w 300"/>
                <a:gd name="T1" fmla="*/ 219 h 281"/>
                <a:gd name="T2" fmla="*/ 72 w 300"/>
                <a:gd name="T3" fmla="*/ 42 h 281"/>
                <a:gd name="T4" fmla="*/ 257 w 300"/>
                <a:gd name="T5" fmla="*/ 68 h 281"/>
                <a:gd name="T6" fmla="*/ 223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3" y="84"/>
                    <a:pt x="72" y="42"/>
                  </a:cubicBezTo>
                  <a:cubicBezTo>
                    <a:pt x="131" y="0"/>
                    <a:pt x="214" y="12"/>
                    <a:pt x="257" y="68"/>
                  </a:cubicBezTo>
                  <a:cubicBezTo>
                    <a:pt x="300" y="124"/>
                    <a:pt x="282" y="197"/>
                    <a:pt x="223" y="239"/>
                  </a:cubicBezTo>
                  <a:cubicBezTo>
                    <a:pt x="164" y="281"/>
                    <a:pt x="86" y="276"/>
                    <a:pt x="43" y="21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188CF6D8-DE0E-4543-A005-46F9219C9028}"/>
                </a:ext>
              </a:extLst>
            </p:cNvPr>
            <p:cNvGrpSpPr/>
            <p:nvPr/>
          </p:nvGrpSpPr>
          <p:grpSpPr>
            <a:xfrm>
              <a:off x="4963778" y="-381872"/>
              <a:ext cx="859871" cy="975930"/>
              <a:chOff x="4963778" y="-381872"/>
              <a:chExt cx="859871" cy="975930"/>
            </a:xfrm>
          </p:grpSpPr>
          <p:sp>
            <p:nvSpPr>
              <p:cNvPr id="712" name="Freeform 95">
                <a:extLst>
                  <a:ext uri="{FF2B5EF4-FFF2-40B4-BE49-F238E27FC236}">
                    <a16:creationId xmlns:a16="http://schemas.microsoft.com/office/drawing/2014/main" id="{AC3C70F4-11EB-4D9A-B73B-DBACA2DA2E2E}"/>
                  </a:ext>
                </a:extLst>
              </p:cNvPr>
              <p:cNvSpPr>
                <a:spLocks/>
              </p:cNvSpPr>
              <p:nvPr/>
            </p:nvSpPr>
            <p:spPr bwMode="auto">
              <a:xfrm>
                <a:off x="4963778" y="-381872"/>
                <a:ext cx="590832" cy="873061"/>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98">
                <a:extLst>
                  <a:ext uri="{FF2B5EF4-FFF2-40B4-BE49-F238E27FC236}">
                    <a16:creationId xmlns:a16="http://schemas.microsoft.com/office/drawing/2014/main" id="{FE901866-8E4C-4CAC-A003-46BAE1D28A77}"/>
                  </a:ext>
                </a:extLst>
              </p:cNvPr>
              <p:cNvSpPr>
                <a:spLocks/>
              </p:cNvSpPr>
              <p:nvPr/>
            </p:nvSpPr>
            <p:spPr bwMode="auto">
              <a:xfrm>
                <a:off x="5211716" y="137745"/>
                <a:ext cx="611933" cy="456313"/>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chemeClr val="bg1"/>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2" name="Group 11">
                <a:extLst>
                  <a:ext uri="{FF2B5EF4-FFF2-40B4-BE49-F238E27FC236}">
                    <a16:creationId xmlns:a16="http://schemas.microsoft.com/office/drawing/2014/main" id="{EDBF5787-989E-48C2-8E25-4C15008A2615}"/>
                  </a:ext>
                </a:extLst>
              </p:cNvPr>
              <p:cNvGrpSpPr/>
              <p:nvPr/>
            </p:nvGrpSpPr>
            <p:grpSpPr>
              <a:xfrm>
                <a:off x="5048183" y="-194598"/>
                <a:ext cx="363994" cy="411472"/>
                <a:chOff x="5048183" y="-194598"/>
                <a:chExt cx="363994" cy="411472"/>
              </a:xfrm>
            </p:grpSpPr>
            <p:sp>
              <p:nvSpPr>
                <p:cNvPr id="716" name="Freeform 99">
                  <a:extLst>
                    <a:ext uri="{FF2B5EF4-FFF2-40B4-BE49-F238E27FC236}">
                      <a16:creationId xmlns:a16="http://schemas.microsoft.com/office/drawing/2014/main" id="{D701017E-1BBE-429A-825A-C4DE7320FADD}"/>
                    </a:ext>
                  </a:extLst>
                </p:cNvPr>
                <p:cNvSpPr>
                  <a:spLocks/>
                </p:cNvSpPr>
                <p:nvPr/>
              </p:nvSpPr>
              <p:spPr bwMode="auto">
                <a:xfrm>
                  <a:off x="5048183" y="-194598"/>
                  <a:ext cx="89680" cy="73854"/>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100">
                  <a:extLst>
                    <a:ext uri="{FF2B5EF4-FFF2-40B4-BE49-F238E27FC236}">
                      <a16:creationId xmlns:a16="http://schemas.microsoft.com/office/drawing/2014/main" id="{0188FC59-D480-4B89-9F7E-88FFC13522C5}"/>
                    </a:ext>
                  </a:extLst>
                </p:cNvPr>
                <p:cNvSpPr>
                  <a:spLocks/>
                </p:cNvSpPr>
                <p:nvPr/>
              </p:nvSpPr>
              <p:spPr bwMode="auto">
                <a:xfrm>
                  <a:off x="5143138" y="-155034"/>
                  <a:ext cx="269039" cy="10551"/>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 name="Freeform 101">
                  <a:extLst>
                    <a:ext uri="{FF2B5EF4-FFF2-40B4-BE49-F238E27FC236}">
                      <a16:creationId xmlns:a16="http://schemas.microsoft.com/office/drawing/2014/main" id="{4B47EB7D-52AD-40CB-AD91-1359A187520F}"/>
                    </a:ext>
                  </a:extLst>
                </p:cNvPr>
                <p:cNvSpPr>
                  <a:spLocks/>
                </p:cNvSpPr>
                <p:nvPr/>
              </p:nvSpPr>
              <p:spPr bwMode="auto">
                <a:xfrm>
                  <a:off x="5048183" y="-81180"/>
                  <a:ext cx="89680" cy="71217"/>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102">
                  <a:extLst>
                    <a:ext uri="{FF2B5EF4-FFF2-40B4-BE49-F238E27FC236}">
                      <a16:creationId xmlns:a16="http://schemas.microsoft.com/office/drawing/2014/main" id="{193122EC-ED36-4D28-8230-9C7B7F1657FF}"/>
                    </a:ext>
                  </a:extLst>
                </p:cNvPr>
                <p:cNvSpPr>
                  <a:spLocks/>
                </p:cNvSpPr>
                <p:nvPr/>
              </p:nvSpPr>
              <p:spPr bwMode="auto">
                <a:xfrm>
                  <a:off x="5143138" y="-44253"/>
                  <a:ext cx="269039" cy="13189"/>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 name="Freeform 103">
                  <a:extLst>
                    <a:ext uri="{FF2B5EF4-FFF2-40B4-BE49-F238E27FC236}">
                      <a16:creationId xmlns:a16="http://schemas.microsoft.com/office/drawing/2014/main" id="{48AE7A98-C93A-456C-9465-A0DD1C5EFA8C}"/>
                    </a:ext>
                  </a:extLst>
                </p:cNvPr>
                <p:cNvSpPr>
                  <a:spLocks/>
                </p:cNvSpPr>
                <p:nvPr/>
              </p:nvSpPr>
              <p:spPr bwMode="auto">
                <a:xfrm>
                  <a:off x="5048183" y="29601"/>
                  <a:ext cx="89680" cy="73854"/>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 name="Freeform 104">
                  <a:extLst>
                    <a:ext uri="{FF2B5EF4-FFF2-40B4-BE49-F238E27FC236}">
                      <a16:creationId xmlns:a16="http://schemas.microsoft.com/office/drawing/2014/main" id="{1677DAD5-D6A2-4AAA-8039-E074D4BBAE6A}"/>
                    </a:ext>
                  </a:extLst>
                </p:cNvPr>
                <p:cNvSpPr>
                  <a:spLocks/>
                </p:cNvSpPr>
                <p:nvPr/>
              </p:nvSpPr>
              <p:spPr bwMode="auto">
                <a:xfrm>
                  <a:off x="5143138" y="74441"/>
                  <a:ext cx="269039" cy="13189"/>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105">
                  <a:extLst>
                    <a:ext uri="{FF2B5EF4-FFF2-40B4-BE49-F238E27FC236}">
                      <a16:creationId xmlns:a16="http://schemas.microsoft.com/office/drawing/2014/main" id="{13AFFA4F-8D96-42A0-8A09-448E86DD1143}"/>
                    </a:ext>
                  </a:extLst>
                </p:cNvPr>
                <p:cNvSpPr>
                  <a:spLocks/>
                </p:cNvSpPr>
                <p:nvPr/>
              </p:nvSpPr>
              <p:spPr bwMode="auto">
                <a:xfrm>
                  <a:off x="5048183" y="148295"/>
                  <a:ext cx="89680" cy="68579"/>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106">
                  <a:extLst>
                    <a:ext uri="{FF2B5EF4-FFF2-40B4-BE49-F238E27FC236}">
                      <a16:creationId xmlns:a16="http://schemas.microsoft.com/office/drawing/2014/main" id="{1FFAF066-2601-408A-96E1-2945DF15D477}"/>
                    </a:ext>
                  </a:extLst>
                </p:cNvPr>
                <p:cNvSpPr>
                  <a:spLocks/>
                </p:cNvSpPr>
                <p:nvPr/>
              </p:nvSpPr>
              <p:spPr bwMode="auto">
                <a:xfrm>
                  <a:off x="5143138" y="187859"/>
                  <a:ext cx="269039" cy="10551"/>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grpSp>
        <p:nvGrpSpPr>
          <p:cNvPr id="725" name="Group 724">
            <a:extLst>
              <a:ext uri="{FF2B5EF4-FFF2-40B4-BE49-F238E27FC236}">
                <a16:creationId xmlns:a16="http://schemas.microsoft.com/office/drawing/2014/main" id="{1DC7D041-266C-438F-9E3C-9A9923B40C25}"/>
              </a:ext>
              <a:ext uri="{C183D7F6-B498-43B3-948B-1728B52AA6E4}">
                <adec:decorative xmlns:adec="http://schemas.microsoft.com/office/drawing/2017/decorative" val="1"/>
              </a:ext>
            </a:extLst>
          </p:cNvPr>
          <p:cNvGrpSpPr>
            <a:grpSpLocks noChangeAspect="1"/>
          </p:cNvGrpSpPr>
          <p:nvPr/>
        </p:nvGrpSpPr>
        <p:grpSpPr>
          <a:xfrm>
            <a:off x="4474651" y="3946128"/>
            <a:ext cx="671250" cy="633600"/>
            <a:chOff x="1289779" y="5162222"/>
            <a:chExt cx="762784" cy="720000"/>
          </a:xfrm>
        </p:grpSpPr>
        <p:sp>
          <p:nvSpPr>
            <p:cNvPr id="726" name="Freeform 9">
              <a:extLst>
                <a:ext uri="{FF2B5EF4-FFF2-40B4-BE49-F238E27FC236}">
                  <a16:creationId xmlns:a16="http://schemas.microsoft.com/office/drawing/2014/main" id="{5D46F43D-862A-41B4-8E04-E69C674AC3CE}"/>
                </a:ext>
              </a:extLst>
            </p:cNvPr>
            <p:cNvSpPr>
              <a:spLocks/>
            </p:cNvSpPr>
            <p:nvPr/>
          </p:nvSpPr>
          <p:spPr bwMode="auto">
            <a:xfrm>
              <a:off x="1289779" y="5162222"/>
              <a:ext cx="762784" cy="720000"/>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2" y="82"/>
                    <a:pt x="70" y="41"/>
                  </a:cubicBezTo>
                  <a:cubicBezTo>
                    <a:pt x="128" y="0"/>
                    <a:pt x="209" y="12"/>
                    <a:pt x="251" y="67"/>
                  </a:cubicBezTo>
                  <a:cubicBezTo>
                    <a:pt x="293" y="121"/>
                    <a:pt x="276" y="192"/>
                    <a:pt x="218" y="233"/>
                  </a:cubicBezTo>
                  <a:cubicBezTo>
                    <a:pt x="160" y="274"/>
                    <a:pt x="84" y="269"/>
                    <a:pt x="42" y="21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28" name="Group 727">
              <a:extLst>
                <a:ext uri="{FF2B5EF4-FFF2-40B4-BE49-F238E27FC236}">
                  <a16:creationId xmlns:a16="http://schemas.microsoft.com/office/drawing/2014/main" id="{BDBEB4CA-06D1-4B78-BDFD-469392A0DC97}"/>
                </a:ext>
              </a:extLst>
            </p:cNvPr>
            <p:cNvGrpSpPr/>
            <p:nvPr/>
          </p:nvGrpSpPr>
          <p:grpSpPr>
            <a:xfrm>
              <a:off x="1471572" y="5321006"/>
              <a:ext cx="392113" cy="393700"/>
              <a:chOff x="1471572" y="5321006"/>
              <a:chExt cx="392113" cy="393700"/>
            </a:xfrm>
          </p:grpSpPr>
          <p:grpSp>
            <p:nvGrpSpPr>
              <p:cNvPr id="777" name="Group 776">
                <a:extLst>
                  <a:ext uri="{FF2B5EF4-FFF2-40B4-BE49-F238E27FC236}">
                    <a16:creationId xmlns:a16="http://schemas.microsoft.com/office/drawing/2014/main" id="{C201724C-672C-4F2C-9BB6-C8AB8A0F3449}"/>
                  </a:ext>
                </a:extLst>
              </p:cNvPr>
              <p:cNvGrpSpPr/>
              <p:nvPr/>
            </p:nvGrpSpPr>
            <p:grpSpPr>
              <a:xfrm>
                <a:off x="1535072" y="5321006"/>
                <a:ext cx="265113" cy="106363"/>
                <a:chOff x="1535072" y="5321006"/>
                <a:chExt cx="265113" cy="106363"/>
              </a:xfrm>
            </p:grpSpPr>
            <p:sp>
              <p:nvSpPr>
                <p:cNvPr id="779" name="Freeform 340">
                  <a:extLst>
                    <a:ext uri="{FF2B5EF4-FFF2-40B4-BE49-F238E27FC236}">
                      <a16:creationId xmlns:a16="http://schemas.microsoft.com/office/drawing/2014/main" id="{71EC1A56-282E-4335-A86F-AF87AE0209B7}"/>
                    </a:ext>
                  </a:extLst>
                </p:cNvPr>
                <p:cNvSpPr>
                  <a:spLocks/>
                </p:cNvSpPr>
                <p:nvPr/>
              </p:nvSpPr>
              <p:spPr bwMode="auto">
                <a:xfrm>
                  <a:off x="1758910" y="5321006"/>
                  <a:ext cx="41275" cy="106363"/>
                </a:xfrm>
                <a:custGeom>
                  <a:avLst/>
                  <a:gdLst>
                    <a:gd name="T0" fmla="*/ 6 w 12"/>
                    <a:gd name="T1" fmla="*/ 31 h 31"/>
                    <a:gd name="T2" fmla="*/ 12 w 12"/>
                    <a:gd name="T3" fmla="*/ 25 h 31"/>
                    <a:gd name="T4" fmla="*/ 12 w 12"/>
                    <a:gd name="T5" fmla="*/ 6 h 31"/>
                    <a:gd name="T6" fmla="*/ 6 w 12"/>
                    <a:gd name="T7" fmla="*/ 0 h 31"/>
                    <a:gd name="T8" fmla="*/ 0 w 12"/>
                    <a:gd name="T9" fmla="*/ 6 h 31"/>
                    <a:gd name="T10" fmla="*/ 0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9" y="31"/>
                        <a:pt x="12" y="28"/>
                        <a:pt x="12" y="25"/>
                      </a:cubicBezTo>
                      <a:cubicBezTo>
                        <a:pt x="12" y="6"/>
                        <a:pt x="12" y="6"/>
                        <a:pt x="12" y="6"/>
                      </a:cubicBezTo>
                      <a:cubicBezTo>
                        <a:pt x="12" y="3"/>
                        <a:pt x="9" y="0"/>
                        <a:pt x="6" y="0"/>
                      </a:cubicBezTo>
                      <a:cubicBezTo>
                        <a:pt x="3" y="0"/>
                        <a:pt x="0" y="3"/>
                        <a:pt x="0" y="6"/>
                      </a:cubicBezTo>
                      <a:cubicBezTo>
                        <a:pt x="0" y="25"/>
                        <a:pt x="0" y="25"/>
                        <a:pt x="0" y="25"/>
                      </a:cubicBezTo>
                      <a:cubicBezTo>
                        <a:pt x="0" y="28"/>
                        <a:pt x="3" y="31"/>
                        <a:pt x="6" y="31"/>
                      </a:cubicBezTo>
                      <a:close/>
                    </a:path>
                  </a:pathLst>
                </a:custGeom>
                <a:solidFill>
                  <a:schemeClr val="bg1"/>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780" name="Freeform 341">
                  <a:extLst>
                    <a:ext uri="{FF2B5EF4-FFF2-40B4-BE49-F238E27FC236}">
                      <a16:creationId xmlns:a16="http://schemas.microsoft.com/office/drawing/2014/main" id="{847C5F3C-74F8-4DFA-B5DF-AF5947541424}"/>
                    </a:ext>
                  </a:extLst>
                </p:cNvPr>
                <p:cNvSpPr>
                  <a:spLocks/>
                </p:cNvSpPr>
                <p:nvPr/>
              </p:nvSpPr>
              <p:spPr bwMode="auto">
                <a:xfrm>
                  <a:off x="1535072" y="5321006"/>
                  <a:ext cx="41275" cy="106363"/>
                </a:xfrm>
                <a:custGeom>
                  <a:avLst/>
                  <a:gdLst>
                    <a:gd name="T0" fmla="*/ 6 w 12"/>
                    <a:gd name="T1" fmla="*/ 31 h 31"/>
                    <a:gd name="T2" fmla="*/ 12 w 12"/>
                    <a:gd name="T3" fmla="*/ 25 h 31"/>
                    <a:gd name="T4" fmla="*/ 12 w 12"/>
                    <a:gd name="T5" fmla="*/ 6 h 31"/>
                    <a:gd name="T6" fmla="*/ 6 w 12"/>
                    <a:gd name="T7" fmla="*/ 0 h 31"/>
                    <a:gd name="T8" fmla="*/ 0 w 12"/>
                    <a:gd name="T9" fmla="*/ 6 h 31"/>
                    <a:gd name="T10" fmla="*/ 0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9" y="31"/>
                        <a:pt x="12" y="28"/>
                        <a:pt x="12" y="25"/>
                      </a:cubicBezTo>
                      <a:cubicBezTo>
                        <a:pt x="12" y="6"/>
                        <a:pt x="12" y="6"/>
                        <a:pt x="12" y="6"/>
                      </a:cubicBezTo>
                      <a:cubicBezTo>
                        <a:pt x="12" y="3"/>
                        <a:pt x="9" y="0"/>
                        <a:pt x="6" y="0"/>
                      </a:cubicBezTo>
                      <a:cubicBezTo>
                        <a:pt x="3" y="0"/>
                        <a:pt x="0" y="3"/>
                        <a:pt x="0" y="6"/>
                      </a:cubicBezTo>
                      <a:cubicBezTo>
                        <a:pt x="0" y="25"/>
                        <a:pt x="0" y="25"/>
                        <a:pt x="0" y="25"/>
                      </a:cubicBezTo>
                      <a:cubicBezTo>
                        <a:pt x="0" y="28"/>
                        <a:pt x="3" y="31"/>
                        <a:pt x="6" y="31"/>
                      </a:cubicBezTo>
                      <a:close/>
                    </a:path>
                  </a:pathLst>
                </a:custGeom>
                <a:solidFill>
                  <a:schemeClr val="bg1"/>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grpSp>
          <p:sp>
            <p:nvSpPr>
              <p:cNvPr id="778" name="Freeform 342">
                <a:extLst>
                  <a:ext uri="{FF2B5EF4-FFF2-40B4-BE49-F238E27FC236}">
                    <a16:creationId xmlns:a16="http://schemas.microsoft.com/office/drawing/2014/main" id="{6E116C32-385D-4790-B6BE-00A3286C25AA}"/>
                  </a:ext>
                </a:extLst>
              </p:cNvPr>
              <p:cNvSpPr>
                <a:spLocks/>
              </p:cNvSpPr>
              <p:nvPr/>
            </p:nvSpPr>
            <p:spPr bwMode="auto">
              <a:xfrm>
                <a:off x="1471572" y="5359106"/>
                <a:ext cx="392113" cy="355600"/>
              </a:xfrm>
              <a:custGeom>
                <a:avLst/>
                <a:gdLst>
                  <a:gd name="T0" fmla="*/ 106 w 116"/>
                  <a:gd name="T1" fmla="*/ 0 h 104"/>
                  <a:gd name="T2" fmla="*/ 98 w 116"/>
                  <a:gd name="T3" fmla="*/ 0 h 104"/>
                  <a:gd name="T4" fmla="*/ 98 w 116"/>
                  <a:gd name="T5" fmla="*/ 7 h 104"/>
                  <a:gd name="T6" fmla="*/ 101 w 116"/>
                  <a:gd name="T7" fmla="*/ 13 h 104"/>
                  <a:gd name="T8" fmla="*/ 91 w 116"/>
                  <a:gd name="T9" fmla="*/ 23 h 104"/>
                  <a:gd name="T10" fmla="*/ 82 w 116"/>
                  <a:gd name="T11" fmla="*/ 13 h 104"/>
                  <a:gd name="T12" fmla="*/ 84 w 116"/>
                  <a:gd name="T13" fmla="*/ 7 h 104"/>
                  <a:gd name="T14" fmla="*/ 84 w 116"/>
                  <a:gd name="T15" fmla="*/ 0 h 104"/>
                  <a:gd name="T16" fmla="*/ 32 w 116"/>
                  <a:gd name="T17" fmla="*/ 0 h 104"/>
                  <a:gd name="T18" fmla="*/ 32 w 116"/>
                  <a:gd name="T19" fmla="*/ 7 h 104"/>
                  <a:gd name="T20" fmla="*/ 34 w 116"/>
                  <a:gd name="T21" fmla="*/ 13 h 104"/>
                  <a:gd name="T22" fmla="*/ 25 w 116"/>
                  <a:gd name="T23" fmla="*/ 23 h 104"/>
                  <a:gd name="T24" fmla="*/ 16 w 116"/>
                  <a:gd name="T25" fmla="*/ 13 h 104"/>
                  <a:gd name="T26" fmla="*/ 18 w 116"/>
                  <a:gd name="T27" fmla="*/ 7 h 104"/>
                  <a:gd name="T28" fmla="*/ 18 w 116"/>
                  <a:gd name="T29" fmla="*/ 0 h 104"/>
                  <a:gd name="T30" fmla="*/ 11 w 116"/>
                  <a:gd name="T31" fmla="*/ 0 h 104"/>
                  <a:gd name="T32" fmla="*/ 0 w 116"/>
                  <a:gd name="T33" fmla="*/ 11 h 104"/>
                  <a:gd name="T34" fmla="*/ 0 w 116"/>
                  <a:gd name="T35" fmla="*/ 94 h 104"/>
                  <a:gd name="T36" fmla="*/ 11 w 116"/>
                  <a:gd name="T37" fmla="*/ 104 h 104"/>
                  <a:gd name="T38" fmla="*/ 105 w 116"/>
                  <a:gd name="T39" fmla="*/ 104 h 104"/>
                  <a:gd name="T40" fmla="*/ 116 w 116"/>
                  <a:gd name="T41" fmla="*/ 94 h 104"/>
                  <a:gd name="T42" fmla="*/ 116 w 116"/>
                  <a:gd name="T43" fmla="*/ 11 h 104"/>
                  <a:gd name="T44" fmla="*/ 106 w 116"/>
                  <a:gd name="T4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104">
                    <a:moveTo>
                      <a:pt x="106" y="0"/>
                    </a:moveTo>
                    <a:cubicBezTo>
                      <a:pt x="98" y="0"/>
                      <a:pt x="98" y="0"/>
                      <a:pt x="98" y="0"/>
                    </a:cubicBezTo>
                    <a:cubicBezTo>
                      <a:pt x="98" y="7"/>
                      <a:pt x="98" y="7"/>
                      <a:pt x="98" y="7"/>
                    </a:cubicBezTo>
                    <a:cubicBezTo>
                      <a:pt x="100" y="9"/>
                      <a:pt x="101" y="11"/>
                      <a:pt x="101" y="13"/>
                    </a:cubicBezTo>
                    <a:cubicBezTo>
                      <a:pt x="101" y="19"/>
                      <a:pt x="96" y="23"/>
                      <a:pt x="91" y="23"/>
                    </a:cubicBezTo>
                    <a:cubicBezTo>
                      <a:pt x="86" y="23"/>
                      <a:pt x="82" y="19"/>
                      <a:pt x="82" y="13"/>
                    </a:cubicBezTo>
                    <a:cubicBezTo>
                      <a:pt x="82" y="11"/>
                      <a:pt x="83" y="9"/>
                      <a:pt x="84" y="7"/>
                    </a:cubicBezTo>
                    <a:cubicBezTo>
                      <a:pt x="84" y="0"/>
                      <a:pt x="84" y="0"/>
                      <a:pt x="84" y="0"/>
                    </a:cubicBezTo>
                    <a:cubicBezTo>
                      <a:pt x="32" y="0"/>
                      <a:pt x="32" y="0"/>
                      <a:pt x="32" y="0"/>
                    </a:cubicBezTo>
                    <a:cubicBezTo>
                      <a:pt x="32" y="7"/>
                      <a:pt x="32" y="7"/>
                      <a:pt x="32" y="7"/>
                    </a:cubicBezTo>
                    <a:cubicBezTo>
                      <a:pt x="34" y="9"/>
                      <a:pt x="34" y="11"/>
                      <a:pt x="34" y="13"/>
                    </a:cubicBezTo>
                    <a:cubicBezTo>
                      <a:pt x="34" y="19"/>
                      <a:pt x="30" y="23"/>
                      <a:pt x="25" y="23"/>
                    </a:cubicBezTo>
                    <a:cubicBezTo>
                      <a:pt x="20" y="23"/>
                      <a:pt x="16" y="19"/>
                      <a:pt x="16" y="13"/>
                    </a:cubicBezTo>
                    <a:cubicBezTo>
                      <a:pt x="16" y="11"/>
                      <a:pt x="17" y="9"/>
                      <a:pt x="18" y="7"/>
                    </a:cubicBezTo>
                    <a:cubicBezTo>
                      <a:pt x="18" y="0"/>
                      <a:pt x="18" y="0"/>
                      <a:pt x="18" y="0"/>
                    </a:cubicBezTo>
                    <a:cubicBezTo>
                      <a:pt x="11" y="0"/>
                      <a:pt x="11" y="0"/>
                      <a:pt x="11" y="0"/>
                    </a:cubicBezTo>
                    <a:cubicBezTo>
                      <a:pt x="5" y="0"/>
                      <a:pt x="0" y="5"/>
                      <a:pt x="0" y="11"/>
                    </a:cubicBezTo>
                    <a:cubicBezTo>
                      <a:pt x="0" y="94"/>
                      <a:pt x="0" y="94"/>
                      <a:pt x="0" y="94"/>
                    </a:cubicBezTo>
                    <a:cubicBezTo>
                      <a:pt x="0" y="100"/>
                      <a:pt x="5" y="104"/>
                      <a:pt x="11" y="104"/>
                    </a:cubicBezTo>
                    <a:cubicBezTo>
                      <a:pt x="105" y="104"/>
                      <a:pt x="105" y="104"/>
                      <a:pt x="105" y="104"/>
                    </a:cubicBezTo>
                    <a:cubicBezTo>
                      <a:pt x="111" y="104"/>
                      <a:pt x="116" y="100"/>
                      <a:pt x="116" y="94"/>
                    </a:cubicBezTo>
                    <a:cubicBezTo>
                      <a:pt x="116" y="11"/>
                      <a:pt x="116" y="11"/>
                      <a:pt x="116" y="11"/>
                    </a:cubicBezTo>
                    <a:cubicBezTo>
                      <a:pt x="116" y="5"/>
                      <a:pt x="111" y="0"/>
                      <a:pt x="1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29" name="Freeform 343">
              <a:extLst>
                <a:ext uri="{FF2B5EF4-FFF2-40B4-BE49-F238E27FC236}">
                  <a16:creationId xmlns:a16="http://schemas.microsoft.com/office/drawing/2014/main" id="{1A42D392-4AFD-42E5-943A-F105F5B557A2}"/>
                </a:ext>
              </a:extLst>
            </p:cNvPr>
            <p:cNvSpPr>
              <a:spLocks/>
            </p:cNvSpPr>
            <p:nvPr/>
          </p:nvSpPr>
          <p:spPr bwMode="auto">
            <a:xfrm>
              <a:off x="1498560" y="5465468"/>
              <a:ext cx="341313" cy="225425"/>
            </a:xfrm>
            <a:custGeom>
              <a:avLst/>
              <a:gdLst>
                <a:gd name="T0" fmla="*/ 101 w 101"/>
                <a:gd name="T1" fmla="*/ 56 h 66"/>
                <a:gd name="T2" fmla="*/ 91 w 101"/>
                <a:gd name="T3" fmla="*/ 66 h 66"/>
                <a:gd name="T4" fmla="*/ 10 w 101"/>
                <a:gd name="T5" fmla="*/ 66 h 66"/>
                <a:gd name="T6" fmla="*/ 0 w 101"/>
                <a:gd name="T7" fmla="*/ 56 h 66"/>
                <a:gd name="T8" fmla="*/ 0 w 101"/>
                <a:gd name="T9" fmla="*/ 0 h 66"/>
                <a:gd name="T10" fmla="*/ 101 w 101"/>
                <a:gd name="T11" fmla="*/ 0 h 66"/>
                <a:gd name="T12" fmla="*/ 101 w 101"/>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01" h="66">
                  <a:moveTo>
                    <a:pt x="101" y="56"/>
                  </a:moveTo>
                  <a:cubicBezTo>
                    <a:pt x="101" y="62"/>
                    <a:pt x="96" y="66"/>
                    <a:pt x="91" y="66"/>
                  </a:cubicBezTo>
                  <a:cubicBezTo>
                    <a:pt x="10" y="66"/>
                    <a:pt x="10" y="66"/>
                    <a:pt x="10" y="66"/>
                  </a:cubicBezTo>
                  <a:cubicBezTo>
                    <a:pt x="4" y="66"/>
                    <a:pt x="0" y="62"/>
                    <a:pt x="0" y="56"/>
                  </a:cubicBezTo>
                  <a:cubicBezTo>
                    <a:pt x="0" y="0"/>
                    <a:pt x="0" y="0"/>
                    <a:pt x="0" y="0"/>
                  </a:cubicBezTo>
                  <a:cubicBezTo>
                    <a:pt x="101" y="0"/>
                    <a:pt x="101" y="0"/>
                    <a:pt x="101" y="0"/>
                  </a:cubicBezTo>
                  <a:cubicBezTo>
                    <a:pt x="101" y="56"/>
                    <a:pt x="101" y="56"/>
                    <a:pt x="101" y="56"/>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2" name="Rectangle 347">
              <a:extLst>
                <a:ext uri="{FF2B5EF4-FFF2-40B4-BE49-F238E27FC236}">
                  <a16:creationId xmlns:a16="http://schemas.microsoft.com/office/drawing/2014/main" id="{D93FEA32-46A1-444E-AC34-74F1E9062C0D}"/>
                </a:ext>
              </a:extLst>
            </p:cNvPr>
            <p:cNvSpPr>
              <a:spLocks noChangeArrowheads="1"/>
            </p:cNvSpPr>
            <p:nvPr/>
          </p:nvSpPr>
          <p:spPr bwMode="auto">
            <a:xfrm>
              <a:off x="1708110" y="5498806"/>
              <a:ext cx="41275"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Rectangle 348">
              <a:extLst>
                <a:ext uri="{FF2B5EF4-FFF2-40B4-BE49-F238E27FC236}">
                  <a16:creationId xmlns:a16="http://schemas.microsoft.com/office/drawing/2014/main" id="{33572C7C-FD2F-455B-8AC7-C60E76D9C824}"/>
                </a:ext>
              </a:extLst>
            </p:cNvPr>
            <p:cNvSpPr>
              <a:spLocks noChangeArrowheads="1"/>
            </p:cNvSpPr>
            <p:nvPr/>
          </p:nvSpPr>
          <p:spPr bwMode="auto">
            <a:xfrm>
              <a:off x="1768435" y="5498806"/>
              <a:ext cx="38100"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45" name="Group 744">
              <a:extLst>
                <a:ext uri="{FF2B5EF4-FFF2-40B4-BE49-F238E27FC236}">
                  <a16:creationId xmlns:a16="http://schemas.microsoft.com/office/drawing/2014/main" id="{B928D728-2C77-443C-B1D4-A9D179BC7B77}"/>
                </a:ext>
              </a:extLst>
            </p:cNvPr>
            <p:cNvGrpSpPr/>
            <p:nvPr/>
          </p:nvGrpSpPr>
          <p:grpSpPr>
            <a:xfrm>
              <a:off x="1528722" y="5557543"/>
              <a:ext cx="277813" cy="101601"/>
              <a:chOff x="1528722" y="5557543"/>
              <a:chExt cx="277813" cy="101601"/>
            </a:xfrm>
          </p:grpSpPr>
          <p:sp>
            <p:nvSpPr>
              <p:cNvPr id="747" name="Rectangle 344">
                <a:extLst>
                  <a:ext uri="{FF2B5EF4-FFF2-40B4-BE49-F238E27FC236}">
                    <a16:creationId xmlns:a16="http://schemas.microsoft.com/office/drawing/2014/main" id="{E20B6511-E92B-45E7-A89B-5042378DF8A5}"/>
                  </a:ext>
                </a:extLst>
              </p:cNvPr>
              <p:cNvSpPr>
                <a:spLocks noChangeArrowheads="1"/>
              </p:cNvSpPr>
              <p:nvPr/>
            </p:nvSpPr>
            <p:spPr bwMode="auto">
              <a:xfrm>
                <a:off x="1708110" y="5619456"/>
                <a:ext cx="41275"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Rectangle 345">
                <a:extLst>
                  <a:ext uri="{FF2B5EF4-FFF2-40B4-BE49-F238E27FC236}">
                    <a16:creationId xmlns:a16="http://schemas.microsoft.com/office/drawing/2014/main" id="{41CC59A1-BE4A-4B1A-9636-2773785EA003}"/>
                  </a:ext>
                </a:extLst>
              </p:cNvPr>
              <p:cNvSpPr>
                <a:spLocks noChangeArrowheads="1"/>
              </p:cNvSpPr>
              <p:nvPr/>
            </p:nvSpPr>
            <p:spPr bwMode="auto">
              <a:xfrm>
                <a:off x="1708110" y="5557543"/>
                <a:ext cx="41275"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Rectangle 346">
                <a:extLst>
                  <a:ext uri="{FF2B5EF4-FFF2-40B4-BE49-F238E27FC236}">
                    <a16:creationId xmlns:a16="http://schemas.microsoft.com/office/drawing/2014/main" id="{CC5F2028-2619-4684-8009-DBEBE5000F51}"/>
                  </a:ext>
                </a:extLst>
              </p:cNvPr>
              <p:cNvSpPr>
                <a:spLocks noChangeArrowheads="1"/>
              </p:cNvSpPr>
              <p:nvPr/>
            </p:nvSpPr>
            <p:spPr bwMode="auto">
              <a:xfrm>
                <a:off x="1768435" y="5557543"/>
                <a:ext cx="38100"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Rectangle 349">
                <a:extLst>
                  <a:ext uri="{FF2B5EF4-FFF2-40B4-BE49-F238E27FC236}">
                    <a16:creationId xmlns:a16="http://schemas.microsoft.com/office/drawing/2014/main" id="{082F41B7-F883-4E14-A71B-980A41E58003}"/>
                  </a:ext>
                </a:extLst>
              </p:cNvPr>
              <p:cNvSpPr>
                <a:spLocks noChangeArrowheads="1"/>
              </p:cNvSpPr>
              <p:nvPr/>
            </p:nvSpPr>
            <p:spPr bwMode="auto">
              <a:xfrm>
                <a:off x="1528722" y="5619456"/>
                <a:ext cx="41275"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Rectangle 350">
                <a:extLst>
                  <a:ext uri="{FF2B5EF4-FFF2-40B4-BE49-F238E27FC236}">
                    <a16:creationId xmlns:a16="http://schemas.microsoft.com/office/drawing/2014/main" id="{4C553F23-86ED-468A-BFEB-12D1BA8594ED}"/>
                  </a:ext>
                </a:extLst>
              </p:cNvPr>
              <p:cNvSpPr>
                <a:spLocks noChangeArrowheads="1"/>
              </p:cNvSpPr>
              <p:nvPr/>
            </p:nvSpPr>
            <p:spPr bwMode="auto">
              <a:xfrm>
                <a:off x="1528722" y="5557543"/>
                <a:ext cx="41275"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Rectangle 351">
                <a:extLst>
                  <a:ext uri="{FF2B5EF4-FFF2-40B4-BE49-F238E27FC236}">
                    <a16:creationId xmlns:a16="http://schemas.microsoft.com/office/drawing/2014/main" id="{B278819B-DB99-45D2-BCFF-1D0270EA2A77}"/>
                  </a:ext>
                </a:extLst>
              </p:cNvPr>
              <p:cNvSpPr>
                <a:spLocks noChangeArrowheads="1"/>
              </p:cNvSpPr>
              <p:nvPr/>
            </p:nvSpPr>
            <p:spPr bwMode="auto">
              <a:xfrm>
                <a:off x="1589047" y="5619456"/>
                <a:ext cx="38100"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Rectangle 352">
                <a:extLst>
                  <a:ext uri="{FF2B5EF4-FFF2-40B4-BE49-F238E27FC236}">
                    <a16:creationId xmlns:a16="http://schemas.microsoft.com/office/drawing/2014/main" id="{103D1005-CD15-4ECF-B422-AFF3C1AE1270}"/>
                  </a:ext>
                </a:extLst>
              </p:cNvPr>
              <p:cNvSpPr>
                <a:spLocks noChangeArrowheads="1"/>
              </p:cNvSpPr>
              <p:nvPr/>
            </p:nvSpPr>
            <p:spPr bwMode="auto">
              <a:xfrm>
                <a:off x="1589047" y="5557543"/>
                <a:ext cx="38100"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Rectangle 353">
                <a:extLst>
                  <a:ext uri="{FF2B5EF4-FFF2-40B4-BE49-F238E27FC236}">
                    <a16:creationId xmlns:a16="http://schemas.microsoft.com/office/drawing/2014/main" id="{EB4BD08E-007F-4538-B07B-06CC277E4ACC}"/>
                  </a:ext>
                </a:extLst>
              </p:cNvPr>
              <p:cNvSpPr>
                <a:spLocks noChangeArrowheads="1"/>
              </p:cNvSpPr>
              <p:nvPr/>
            </p:nvSpPr>
            <p:spPr bwMode="auto">
              <a:xfrm>
                <a:off x="1647785" y="5557543"/>
                <a:ext cx="39688"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Rectangle 354">
                <a:extLst>
                  <a:ext uri="{FF2B5EF4-FFF2-40B4-BE49-F238E27FC236}">
                    <a16:creationId xmlns:a16="http://schemas.microsoft.com/office/drawing/2014/main" id="{F4A1D529-8696-4A42-9CB2-6F8F0CD9AC9A}"/>
                  </a:ext>
                </a:extLst>
              </p:cNvPr>
              <p:cNvSpPr>
                <a:spLocks noChangeArrowheads="1"/>
              </p:cNvSpPr>
              <p:nvPr/>
            </p:nvSpPr>
            <p:spPr bwMode="auto">
              <a:xfrm>
                <a:off x="1647785" y="5619456"/>
                <a:ext cx="39688"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6" name="Rectangle 355">
              <a:extLst>
                <a:ext uri="{FF2B5EF4-FFF2-40B4-BE49-F238E27FC236}">
                  <a16:creationId xmlns:a16="http://schemas.microsoft.com/office/drawing/2014/main" id="{EABD9404-DF0F-4AA7-B7EE-09E6A2908B89}"/>
                </a:ext>
              </a:extLst>
            </p:cNvPr>
            <p:cNvSpPr>
              <a:spLocks noChangeArrowheads="1"/>
            </p:cNvSpPr>
            <p:nvPr/>
          </p:nvSpPr>
          <p:spPr bwMode="auto">
            <a:xfrm>
              <a:off x="1647785" y="5498806"/>
              <a:ext cx="39688"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4" name="Group 783">
            <a:extLst>
              <a:ext uri="{FF2B5EF4-FFF2-40B4-BE49-F238E27FC236}">
                <a16:creationId xmlns:a16="http://schemas.microsoft.com/office/drawing/2014/main" id="{E6737951-255C-4CA6-ABB2-FE9B96005651}"/>
              </a:ext>
              <a:ext uri="{C183D7F6-B498-43B3-948B-1728B52AA6E4}">
                <adec:decorative xmlns:adec="http://schemas.microsoft.com/office/drawing/2017/decorative" val="1"/>
              </a:ext>
            </a:extLst>
          </p:cNvPr>
          <p:cNvGrpSpPr>
            <a:grpSpLocks noChangeAspect="1"/>
          </p:cNvGrpSpPr>
          <p:nvPr/>
        </p:nvGrpSpPr>
        <p:grpSpPr>
          <a:xfrm>
            <a:off x="1267176" y="3946128"/>
            <a:ext cx="671518" cy="633600"/>
            <a:chOff x="6660790" y="3471317"/>
            <a:chExt cx="763089" cy="720000"/>
          </a:xfrm>
        </p:grpSpPr>
        <p:sp>
          <p:nvSpPr>
            <p:cNvPr id="785" name="Freeform 7">
              <a:extLst>
                <a:ext uri="{FF2B5EF4-FFF2-40B4-BE49-F238E27FC236}">
                  <a16:creationId xmlns:a16="http://schemas.microsoft.com/office/drawing/2014/main" id="{8A17BA48-D42F-485B-88AE-8509E6E68F96}"/>
                </a:ext>
              </a:extLst>
            </p:cNvPr>
            <p:cNvSpPr>
              <a:spLocks/>
            </p:cNvSpPr>
            <p:nvPr/>
          </p:nvSpPr>
          <p:spPr bwMode="auto">
            <a:xfrm>
              <a:off x="6660790" y="3471317"/>
              <a:ext cx="763089" cy="720000"/>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8" y="53"/>
                  </a:cubicBezTo>
                  <a:cubicBezTo>
                    <a:pt x="232" y="96"/>
                    <a:pt x="218" y="152"/>
                    <a:pt x="172" y="185"/>
                  </a:cubicBezTo>
                  <a:cubicBezTo>
                    <a:pt x="127" y="217"/>
                    <a:pt x="66" y="213"/>
                    <a:pt x="33" y="17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6" name="Groupe 321">
              <a:extLst>
                <a:ext uri="{FF2B5EF4-FFF2-40B4-BE49-F238E27FC236}">
                  <a16:creationId xmlns:a16="http://schemas.microsoft.com/office/drawing/2014/main" id="{2CAACD4B-3AB4-485E-8A83-9B3FB03DB423}"/>
                </a:ext>
              </a:extLst>
            </p:cNvPr>
            <p:cNvGrpSpPr/>
            <p:nvPr/>
          </p:nvGrpSpPr>
          <p:grpSpPr>
            <a:xfrm>
              <a:off x="6913763" y="3667301"/>
              <a:ext cx="257143" cy="311351"/>
              <a:chOff x="2138363" y="871538"/>
              <a:chExt cx="293688" cy="355600"/>
            </a:xfrm>
            <a:solidFill>
              <a:schemeClr val="bg1"/>
            </a:solidFill>
          </p:grpSpPr>
          <p:sp>
            <p:nvSpPr>
              <p:cNvPr id="787" name="Freeform 33">
                <a:extLst>
                  <a:ext uri="{FF2B5EF4-FFF2-40B4-BE49-F238E27FC236}">
                    <a16:creationId xmlns:a16="http://schemas.microsoft.com/office/drawing/2014/main" id="{EE3C91AC-FF4E-4B14-A12C-24CD79AD825F}"/>
                  </a:ext>
                </a:extLst>
              </p:cNvPr>
              <p:cNvSpPr>
                <a:spLocks/>
              </p:cNvSpPr>
              <p:nvPr/>
            </p:nvSpPr>
            <p:spPr bwMode="auto">
              <a:xfrm>
                <a:off x="2319338" y="871538"/>
                <a:ext cx="112713" cy="98425"/>
              </a:xfrm>
              <a:custGeom>
                <a:avLst/>
                <a:gdLst>
                  <a:gd name="T0" fmla="*/ 71 w 71"/>
                  <a:gd name="T1" fmla="*/ 62 h 62"/>
                  <a:gd name="T2" fmla="*/ 0 w 71"/>
                  <a:gd name="T3" fmla="*/ 62 h 62"/>
                  <a:gd name="T4" fmla="*/ 0 w 71"/>
                  <a:gd name="T5" fmla="*/ 0 h 62"/>
                  <a:gd name="T6" fmla="*/ 71 w 71"/>
                  <a:gd name="T7" fmla="*/ 62 h 62"/>
                </a:gdLst>
                <a:ahLst/>
                <a:cxnLst>
                  <a:cxn ang="0">
                    <a:pos x="T0" y="T1"/>
                  </a:cxn>
                  <a:cxn ang="0">
                    <a:pos x="T2" y="T3"/>
                  </a:cxn>
                  <a:cxn ang="0">
                    <a:pos x="T4" y="T5"/>
                  </a:cxn>
                  <a:cxn ang="0">
                    <a:pos x="T6" y="T7"/>
                  </a:cxn>
                </a:cxnLst>
                <a:rect l="0" t="0" r="r" b="b"/>
                <a:pathLst>
                  <a:path w="71" h="62">
                    <a:moveTo>
                      <a:pt x="71" y="62"/>
                    </a:moveTo>
                    <a:lnTo>
                      <a:pt x="0" y="62"/>
                    </a:lnTo>
                    <a:lnTo>
                      <a:pt x="0" y="0"/>
                    </a:lnTo>
                    <a:lnTo>
                      <a:pt x="71" y="6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Freeform 34">
                <a:extLst>
                  <a:ext uri="{FF2B5EF4-FFF2-40B4-BE49-F238E27FC236}">
                    <a16:creationId xmlns:a16="http://schemas.microsoft.com/office/drawing/2014/main" id="{F32761DC-2243-4C36-BE0C-3FE22500E868}"/>
                  </a:ext>
                </a:extLst>
              </p:cNvPr>
              <p:cNvSpPr>
                <a:spLocks/>
              </p:cNvSpPr>
              <p:nvPr/>
            </p:nvSpPr>
            <p:spPr bwMode="auto">
              <a:xfrm>
                <a:off x="2138363" y="871538"/>
                <a:ext cx="293688" cy="355600"/>
              </a:xfrm>
              <a:custGeom>
                <a:avLst/>
                <a:gdLst>
                  <a:gd name="T0" fmla="*/ 78 w 78"/>
                  <a:gd name="T1" fmla="*/ 26 h 94"/>
                  <a:gd name="T2" fmla="*/ 78 w 78"/>
                  <a:gd name="T3" fmla="*/ 77 h 94"/>
                  <a:gd name="T4" fmla="*/ 61 w 78"/>
                  <a:gd name="T5" fmla="*/ 94 h 94"/>
                  <a:gd name="T6" fmla="*/ 0 w 78"/>
                  <a:gd name="T7" fmla="*/ 94 h 94"/>
                  <a:gd name="T8" fmla="*/ 0 w 78"/>
                  <a:gd name="T9" fmla="*/ 0 h 94"/>
                  <a:gd name="T10" fmla="*/ 48 w 78"/>
                  <a:gd name="T11" fmla="*/ 0 h 94"/>
                  <a:gd name="T12" fmla="*/ 48 w 78"/>
                  <a:gd name="T13" fmla="*/ 26 h 94"/>
                  <a:gd name="T14" fmla="*/ 78 w 78"/>
                  <a:gd name="T15" fmla="*/ 26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4">
                    <a:moveTo>
                      <a:pt x="78" y="26"/>
                    </a:moveTo>
                    <a:cubicBezTo>
                      <a:pt x="78" y="77"/>
                      <a:pt x="78" y="77"/>
                      <a:pt x="78" y="77"/>
                    </a:cubicBezTo>
                    <a:cubicBezTo>
                      <a:pt x="78" y="86"/>
                      <a:pt x="70" y="94"/>
                      <a:pt x="61" y="94"/>
                    </a:cubicBezTo>
                    <a:cubicBezTo>
                      <a:pt x="40" y="93"/>
                      <a:pt x="5" y="93"/>
                      <a:pt x="0" y="94"/>
                    </a:cubicBezTo>
                    <a:cubicBezTo>
                      <a:pt x="0" y="0"/>
                      <a:pt x="0" y="0"/>
                      <a:pt x="0" y="0"/>
                    </a:cubicBezTo>
                    <a:cubicBezTo>
                      <a:pt x="48" y="0"/>
                      <a:pt x="48" y="0"/>
                      <a:pt x="48" y="0"/>
                    </a:cubicBezTo>
                    <a:cubicBezTo>
                      <a:pt x="48" y="26"/>
                      <a:pt x="48" y="26"/>
                      <a:pt x="48" y="26"/>
                    </a:cubicBezTo>
                    <a:lnTo>
                      <a:pt x="78" y="2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94" name="Group 93">
            <a:extLst>
              <a:ext uri="{FF2B5EF4-FFF2-40B4-BE49-F238E27FC236}">
                <a16:creationId xmlns:a16="http://schemas.microsoft.com/office/drawing/2014/main" id="{73228957-ABCC-4A22-8565-0C190A7F713B}"/>
              </a:ext>
              <a:ext uri="{C183D7F6-B498-43B3-948B-1728B52AA6E4}">
                <adec:decorative xmlns:adec="http://schemas.microsoft.com/office/drawing/2017/decorative" val="1"/>
              </a:ext>
            </a:extLst>
          </p:cNvPr>
          <p:cNvGrpSpPr/>
          <p:nvPr/>
        </p:nvGrpSpPr>
        <p:grpSpPr>
          <a:xfrm>
            <a:off x="10818737" y="2027873"/>
            <a:ext cx="677863" cy="635000"/>
            <a:chOff x="10530705" y="2054765"/>
            <a:chExt cx="677863" cy="635000"/>
          </a:xfrm>
        </p:grpSpPr>
        <p:sp>
          <p:nvSpPr>
            <p:cNvPr id="392" name="Freeform 345">
              <a:extLst>
                <a:ext uri="{FF2B5EF4-FFF2-40B4-BE49-F238E27FC236}">
                  <a16:creationId xmlns:a16="http://schemas.microsoft.com/office/drawing/2014/main" id="{9D04B96C-3847-4336-986E-38F265541ED1}"/>
                </a:ext>
              </a:extLst>
            </p:cNvPr>
            <p:cNvSpPr>
              <a:spLocks/>
            </p:cNvSpPr>
            <p:nvPr/>
          </p:nvSpPr>
          <p:spPr bwMode="auto">
            <a:xfrm>
              <a:off x="10530705" y="2054765"/>
              <a:ext cx="677863" cy="635000"/>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20" y="153"/>
                    <a:pt x="174" y="185"/>
                  </a:cubicBezTo>
                  <a:cubicBezTo>
                    <a:pt x="128" y="218"/>
                    <a:pt x="67" y="214"/>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48" name="Group 47">
              <a:extLst>
                <a:ext uri="{FF2B5EF4-FFF2-40B4-BE49-F238E27FC236}">
                  <a16:creationId xmlns:a16="http://schemas.microsoft.com/office/drawing/2014/main" id="{CBF1B6E2-BFCB-436F-84E0-DA647F1D4DEE}"/>
                </a:ext>
              </a:extLst>
            </p:cNvPr>
            <p:cNvGrpSpPr>
              <a:grpSpLocks noChangeAspect="1"/>
            </p:cNvGrpSpPr>
            <p:nvPr/>
          </p:nvGrpSpPr>
          <p:grpSpPr>
            <a:xfrm>
              <a:off x="10683709" y="2231866"/>
              <a:ext cx="359999" cy="296399"/>
              <a:chOff x="10518283" y="2211987"/>
              <a:chExt cx="467025" cy="384516"/>
            </a:xfrm>
          </p:grpSpPr>
          <p:sp>
            <p:nvSpPr>
              <p:cNvPr id="46" name="Freeform: Shape 45">
                <a:extLst>
                  <a:ext uri="{FF2B5EF4-FFF2-40B4-BE49-F238E27FC236}">
                    <a16:creationId xmlns:a16="http://schemas.microsoft.com/office/drawing/2014/main" id="{AC4018BD-566A-4EE3-B8C4-C717360B8441}"/>
                  </a:ext>
                </a:extLst>
              </p:cNvPr>
              <p:cNvSpPr/>
              <p:nvPr/>
            </p:nvSpPr>
            <p:spPr>
              <a:xfrm>
                <a:off x="10779208" y="2383986"/>
                <a:ext cx="206100" cy="212517"/>
              </a:xfrm>
              <a:custGeom>
                <a:avLst/>
                <a:gdLst>
                  <a:gd name="connsiteX0" fmla="*/ 192001 w 206100"/>
                  <a:gd name="connsiteY0" fmla="*/ 122590 h 212517"/>
                  <a:gd name="connsiteX1" fmla="*/ 70865 w 206100"/>
                  <a:gd name="connsiteY1" fmla="*/ -264 h 212517"/>
                  <a:gd name="connsiteX2" fmla="*/ 55401 w 206100"/>
                  <a:gd name="connsiteY2" fmla="*/ 26476 h 212517"/>
                  <a:gd name="connsiteX3" fmla="*/ 164509 w 206100"/>
                  <a:gd name="connsiteY3" fmla="*/ 137088 h 212517"/>
                  <a:gd name="connsiteX4" fmla="*/ 164509 w 206100"/>
                  <a:gd name="connsiteY4" fmla="*/ 150189 h 212517"/>
                  <a:gd name="connsiteX5" fmla="*/ 157851 w 206100"/>
                  <a:gd name="connsiteY5" fmla="*/ 152660 h 212517"/>
                  <a:gd name="connsiteX6" fmla="*/ 151515 w 206100"/>
                  <a:gd name="connsiteY6" fmla="*/ 150189 h 212517"/>
                  <a:gd name="connsiteX7" fmla="*/ 43588 w 206100"/>
                  <a:gd name="connsiteY7" fmla="*/ 40330 h 212517"/>
                  <a:gd name="connsiteX8" fmla="*/ 43588 w 206100"/>
                  <a:gd name="connsiteY8" fmla="*/ 41296 h 212517"/>
                  <a:gd name="connsiteX9" fmla="*/ 43588 w 206100"/>
                  <a:gd name="connsiteY9" fmla="*/ 41296 h 212517"/>
                  <a:gd name="connsiteX10" fmla="*/ -334 w 206100"/>
                  <a:gd name="connsiteY10" fmla="*/ 70399 h 212517"/>
                  <a:gd name="connsiteX11" fmla="*/ 847 w 206100"/>
                  <a:gd name="connsiteY11" fmla="*/ 101971 h 212517"/>
                  <a:gd name="connsiteX12" fmla="*/ 11586 w 206100"/>
                  <a:gd name="connsiteY12" fmla="*/ 113677 h 212517"/>
                  <a:gd name="connsiteX13" fmla="*/ 46703 w 206100"/>
                  <a:gd name="connsiteY13" fmla="*/ 115073 h 212517"/>
                  <a:gd name="connsiteX14" fmla="*/ 47777 w 206100"/>
                  <a:gd name="connsiteY14" fmla="*/ 150189 h 212517"/>
                  <a:gd name="connsiteX15" fmla="*/ 59375 w 206100"/>
                  <a:gd name="connsiteY15" fmla="*/ 161895 h 212517"/>
                  <a:gd name="connsiteX16" fmla="*/ 94062 w 206100"/>
                  <a:gd name="connsiteY16" fmla="*/ 163291 h 212517"/>
                  <a:gd name="connsiteX17" fmla="*/ 95243 w 206100"/>
                  <a:gd name="connsiteY17" fmla="*/ 198515 h 212517"/>
                  <a:gd name="connsiteX18" fmla="*/ 98786 w 206100"/>
                  <a:gd name="connsiteY18" fmla="*/ 206462 h 212517"/>
                  <a:gd name="connsiteX19" fmla="*/ 106841 w 206100"/>
                  <a:gd name="connsiteY19" fmla="*/ 210220 h 212517"/>
                  <a:gd name="connsiteX20" fmla="*/ 152911 w 206100"/>
                  <a:gd name="connsiteY20" fmla="*/ 212153 h 212517"/>
                  <a:gd name="connsiteX21" fmla="*/ 152911 w 206100"/>
                  <a:gd name="connsiteY21" fmla="*/ 212153 h 212517"/>
                  <a:gd name="connsiteX22" fmla="*/ 154737 w 206100"/>
                  <a:gd name="connsiteY22" fmla="*/ 212153 h 212517"/>
                  <a:gd name="connsiteX23" fmla="*/ 191464 w 206100"/>
                  <a:gd name="connsiteY23" fmla="*/ 196582 h 212517"/>
                  <a:gd name="connsiteX24" fmla="*/ 205747 w 206100"/>
                  <a:gd name="connsiteY24" fmla="*/ 159210 h 212517"/>
                  <a:gd name="connsiteX25" fmla="*/ 192001 w 206100"/>
                  <a:gd name="connsiteY25" fmla="*/ 122590 h 21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6100" h="212517">
                    <a:moveTo>
                      <a:pt x="192001" y="122590"/>
                    </a:moveTo>
                    <a:cubicBezTo>
                      <a:pt x="181262" y="111851"/>
                      <a:pt x="114251" y="43444"/>
                      <a:pt x="70865" y="-264"/>
                    </a:cubicBezTo>
                    <a:cubicBezTo>
                      <a:pt x="66878" y="9276"/>
                      <a:pt x="61681" y="18263"/>
                      <a:pt x="55401" y="26476"/>
                    </a:cubicBezTo>
                    <a:lnTo>
                      <a:pt x="164509" y="137088"/>
                    </a:lnTo>
                    <a:cubicBezTo>
                      <a:pt x="167921" y="140789"/>
                      <a:pt x="167921" y="146488"/>
                      <a:pt x="164509" y="150189"/>
                    </a:cubicBezTo>
                    <a:cubicBezTo>
                      <a:pt x="162662" y="151792"/>
                      <a:pt x="160296" y="152670"/>
                      <a:pt x="157851" y="152660"/>
                    </a:cubicBezTo>
                    <a:cubicBezTo>
                      <a:pt x="155492" y="152730"/>
                      <a:pt x="153205" y="151839"/>
                      <a:pt x="151515" y="150189"/>
                    </a:cubicBezTo>
                    <a:lnTo>
                      <a:pt x="43588" y="40330"/>
                    </a:lnTo>
                    <a:cubicBezTo>
                      <a:pt x="43588" y="40330"/>
                      <a:pt x="43588" y="40974"/>
                      <a:pt x="43588" y="41296"/>
                    </a:cubicBezTo>
                    <a:lnTo>
                      <a:pt x="43588" y="41296"/>
                    </a:lnTo>
                    <a:cubicBezTo>
                      <a:pt x="30939" y="53711"/>
                      <a:pt x="16030" y="63590"/>
                      <a:pt x="-334" y="70399"/>
                    </a:cubicBezTo>
                    <a:lnTo>
                      <a:pt x="847" y="101971"/>
                    </a:lnTo>
                    <a:cubicBezTo>
                      <a:pt x="1021" y="107999"/>
                      <a:pt x="5595" y="112985"/>
                      <a:pt x="11586" y="113677"/>
                    </a:cubicBezTo>
                    <a:lnTo>
                      <a:pt x="46703" y="115073"/>
                    </a:lnTo>
                    <a:lnTo>
                      <a:pt x="47777" y="150189"/>
                    </a:lnTo>
                    <a:cubicBezTo>
                      <a:pt x="47995" y="156520"/>
                      <a:pt x="53046" y="161618"/>
                      <a:pt x="59375" y="161895"/>
                    </a:cubicBezTo>
                    <a:lnTo>
                      <a:pt x="94062" y="163291"/>
                    </a:lnTo>
                    <a:lnTo>
                      <a:pt x="95243" y="198515"/>
                    </a:lnTo>
                    <a:cubicBezTo>
                      <a:pt x="95250" y="201545"/>
                      <a:pt x="96537" y="204431"/>
                      <a:pt x="98786" y="206462"/>
                    </a:cubicBezTo>
                    <a:cubicBezTo>
                      <a:pt x="100802" y="208819"/>
                      <a:pt x="103739" y="210189"/>
                      <a:pt x="106841" y="210220"/>
                    </a:cubicBezTo>
                    <a:lnTo>
                      <a:pt x="152911" y="212153"/>
                    </a:lnTo>
                    <a:lnTo>
                      <a:pt x="152911" y="212153"/>
                    </a:lnTo>
                    <a:cubicBezTo>
                      <a:pt x="153512" y="212288"/>
                      <a:pt x="154135" y="212288"/>
                      <a:pt x="154737" y="212153"/>
                    </a:cubicBezTo>
                    <a:cubicBezTo>
                      <a:pt x="168580" y="212139"/>
                      <a:pt x="181829" y="206522"/>
                      <a:pt x="191464" y="196582"/>
                    </a:cubicBezTo>
                    <a:cubicBezTo>
                      <a:pt x="200990" y="186510"/>
                      <a:pt x="206127" y="173068"/>
                      <a:pt x="205747" y="159210"/>
                    </a:cubicBezTo>
                    <a:cubicBezTo>
                      <a:pt x="205997" y="145698"/>
                      <a:pt x="201080" y="132600"/>
                      <a:pt x="192001" y="122590"/>
                    </a:cubicBezTo>
                    <a:close/>
                  </a:path>
                </a:pathLst>
              </a:custGeom>
              <a:solidFill>
                <a:schemeClr val="bg1"/>
              </a:solidFill>
              <a:ln w="106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C78356E5-5FC3-42F3-8EB2-60807B850060}"/>
                  </a:ext>
                </a:extLst>
              </p:cNvPr>
              <p:cNvSpPr/>
              <p:nvPr/>
            </p:nvSpPr>
            <p:spPr>
              <a:xfrm>
                <a:off x="10518283" y="2211987"/>
                <a:ext cx="325247" cy="258150"/>
              </a:xfrm>
              <a:custGeom>
                <a:avLst/>
                <a:gdLst>
                  <a:gd name="connsiteX0" fmla="*/ 215058 w 325247"/>
                  <a:gd name="connsiteY0" fmla="*/ 119866 h 258150"/>
                  <a:gd name="connsiteX1" fmla="*/ 212159 w 325247"/>
                  <a:gd name="connsiteY1" fmla="*/ 122551 h 258150"/>
                  <a:gd name="connsiteX2" fmla="*/ 211192 w 325247"/>
                  <a:gd name="connsiteY2" fmla="*/ 123947 h 258150"/>
                  <a:gd name="connsiteX3" fmla="*/ 186815 w 325247"/>
                  <a:gd name="connsiteY3" fmla="*/ 133182 h 258150"/>
                  <a:gd name="connsiteX4" fmla="*/ 173928 w 325247"/>
                  <a:gd name="connsiteY4" fmla="*/ 131034 h 258150"/>
                  <a:gd name="connsiteX5" fmla="*/ 172532 w 325247"/>
                  <a:gd name="connsiteY5" fmla="*/ 134363 h 258150"/>
                  <a:gd name="connsiteX6" fmla="*/ 126676 w 325247"/>
                  <a:gd name="connsiteY6" fmla="*/ 186770 h 258150"/>
                  <a:gd name="connsiteX7" fmla="*/ 118085 w 325247"/>
                  <a:gd name="connsiteY7" fmla="*/ 192676 h 258150"/>
                  <a:gd name="connsiteX8" fmla="*/ 50000 w 325247"/>
                  <a:gd name="connsiteY8" fmla="*/ 220812 h 258150"/>
                  <a:gd name="connsiteX9" fmla="*/ 37221 w 325247"/>
                  <a:gd name="connsiteY9" fmla="*/ 216946 h 258150"/>
                  <a:gd name="connsiteX10" fmla="*/ 38187 w 325247"/>
                  <a:gd name="connsiteY10" fmla="*/ 199120 h 258150"/>
                  <a:gd name="connsiteX11" fmla="*/ 42268 w 325247"/>
                  <a:gd name="connsiteY11" fmla="*/ 189777 h 258150"/>
                  <a:gd name="connsiteX12" fmla="*/ 88016 w 325247"/>
                  <a:gd name="connsiteY12" fmla="*/ 137371 h 258150"/>
                  <a:gd name="connsiteX13" fmla="*/ 92526 w 325247"/>
                  <a:gd name="connsiteY13" fmla="*/ 134041 h 258150"/>
                  <a:gd name="connsiteX14" fmla="*/ 104876 w 325247"/>
                  <a:gd name="connsiteY14" fmla="*/ 172594 h 258150"/>
                  <a:gd name="connsiteX15" fmla="*/ 112071 w 325247"/>
                  <a:gd name="connsiteY15" fmla="*/ 167225 h 258150"/>
                  <a:gd name="connsiteX16" fmla="*/ 152879 w 325247"/>
                  <a:gd name="connsiteY16" fmla="*/ 122550 h 258150"/>
                  <a:gd name="connsiteX17" fmla="*/ 156209 w 325247"/>
                  <a:gd name="connsiteY17" fmla="*/ 116214 h 258150"/>
                  <a:gd name="connsiteX18" fmla="*/ 151806 w 325247"/>
                  <a:gd name="connsiteY18" fmla="*/ 104616 h 258150"/>
                  <a:gd name="connsiteX19" fmla="*/ 151054 w 325247"/>
                  <a:gd name="connsiteY19" fmla="*/ 96884 h 258150"/>
                  <a:gd name="connsiteX20" fmla="*/ 161793 w 325247"/>
                  <a:gd name="connsiteY20" fmla="*/ 71326 h 258150"/>
                  <a:gd name="connsiteX21" fmla="*/ 167914 w 325247"/>
                  <a:gd name="connsiteY21" fmla="*/ 66600 h 258150"/>
                  <a:gd name="connsiteX22" fmla="*/ 184774 w 325247"/>
                  <a:gd name="connsiteY22" fmla="*/ 61123 h 258150"/>
                  <a:gd name="connsiteX23" fmla="*/ 187137 w 325247"/>
                  <a:gd name="connsiteY23" fmla="*/ 61123 h 258150"/>
                  <a:gd name="connsiteX24" fmla="*/ 212910 w 325247"/>
                  <a:gd name="connsiteY24" fmla="*/ 71862 h 258150"/>
                  <a:gd name="connsiteX25" fmla="*/ 215380 w 325247"/>
                  <a:gd name="connsiteY25" fmla="*/ 120188 h 258150"/>
                  <a:gd name="connsiteX26" fmla="*/ 292057 w 325247"/>
                  <a:gd name="connsiteY26" fmla="*/ 198583 h 258150"/>
                  <a:gd name="connsiteX27" fmla="*/ 300326 w 325247"/>
                  <a:gd name="connsiteY27" fmla="*/ 188918 h 258150"/>
                  <a:gd name="connsiteX28" fmla="*/ 316864 w 325247"/>
                  <a:gd name="connsiteY28" fmla="*/ 158634 h 258150"/>
                  <a:gd name="connsiteX29" fmla="*/ 250926 w 325247"/>
                  <a:gd name="connsiteY29" fmla="*/ 7785 h 258150"/>
                  <a:gd name="connsiteX30" fmla="*/ 100078 w 325247"/>
                  <a:gd name="connsiteY30" fmla="*/ 73723 h 258150"/>
                  <a:gd name="connsiteX31" fmla="*/ 95318 w 325247"/>
                  <a:gd name="connsiteY31" fmla="*/ 88830 h 258150"/>
                  <a:gd name="connsiteX32" fmla="*/ 65679 w 325247"/>
                  <a:gd name="connsiteY32" fmla="*/ 108912 h 258150"/>
                  <a:gd name="connsiteX33" fmla="*/ 9943 w 325247"/>
                  <a:gd name="connsiteY33" fmla="*/ 173346 h 258150"/>
                  <a:gd name="connsiteX34" fmla="*/ 1459 w 325247"/>
                  <a:gd name="connsiteY34" fmla="*/ 226074 h 258150"/>
                  <a:gd name="connsiteX35" fmla="*/ 8547 w 325247"/>
                  <a:gd name="connsiteY35" fmla="*/ 240142 h 258150"/>
                  <a:gd name="connsiteX36" fmla="*/ 22830 w 325247"/>
                  <a:gd name="connsiteY36" fmla="*/ 251740 h 258150"/>
                  <a:gd name="connsiteX37" fmla="*/ 49999 w 325247"/>
                  <a:gd name="connsiteY37" fmla="*/ 257861 h 258150"/>
                  <a:gd name="connsiteX38" fmla="*/ 146651 w 325247"/>
                  <a:gd name="connsiteY38" fmla="*/ 218020 h 258150"/>
                  <a:gd name="connsiteX39" fmla="*/ 252323 w 325247"/>
                  <a:gd name="connsiteY39" fmla="*/ 226933 h 258150"/>
                  <a:gd name="connsiteX40" fmla="*/ 290231 w 325247"/>
                  <a:gd name="connsiteY40" fmla="*/ 201697 h 2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47" h="258150">
                    <a:moveTo>
                      <a:pt x="215058" y="119866"/>
                    </a:moveTo>
                    <a:cubicBezTo>
                      <a:pt x="214196" y="120868"/>
                      <a:pt x="213224" y="121768"/>
                      <a:pt x="212159" y="122551"/>
                    </a:cubicBezTo>
                    <a:cubicBezTo>
                      <a:pt x="212159" y="123195"/>
                      <a:pt x="211407" y="123517"/>
                      <a:pt x="211192" y="123947"/>
                    </a:cubicBezTo>
                    <a:cubicBezTo>
                      <a:pt x="204485" y="129929"/>
                      <a:pt x="195802" y="133218"/>
                      <a:pt x="186815" y="133182"/>
                    </a:cubicBezTo>
                    <a:cubicBezTo>
                      <a:pt x="182431" y="133166"/>
                      <a:pt x="178079" y="132441"/>
                      <a:pt x="173928" y="131034"/>
                    </a:cubicBezTo>
                    <a:cubicBezTo>
                      <a:pt x="173928" y="132001"/>
                      <a:pt x="173069" y="133182"/>
                      <a:pt x="172532" y="134363"/>
                    </a:cubicBezTo>
                    <a:cubicBezTo>
                      <a:pt x="160775" y="154630"/>
                      <a:pt x="145203" y="172426"/>
                      <a:pt x="126676" y="186770"/>
                    </a:cubicBezTo>
                    <a:cubicBezTo>
                      <a:pt x="123992" y="188595"/>
                      <a:pt x="121199" y="190850"/>
                      <a:pt x="118085" y="192676"/>
                    </a:cubicBezTo>
                    <a:cubicBezTo>
                      <a:pt x="94137" y="209966"/>
                      <a:pt x="68256" y="220812"/>
                      <a:pt x="50000" y="220812"/>
                    </a:cubicBezTo>
                    <a:cubicBezTo>
                      <a:pt x="45385" y="221390"/>
                      <a:pt x="40742" y="219985"/>
                      <a:pt x="37221" y="216946"/>
                    </a:cubicBezTo>
                    <a:cubicBezTo>
                      <a:pt x="35051" y="211128"/>
                      <a:pt x="35401" y="204669"/>
                      <a:pt x="38187" y="199120"/>
                    </a:cubicBezTo>
                    <a:cubicBezTo>
                      <a:pt x="39348" y="195922"/>
                      <a:pt x="40711" y="192801"/>
                      <a:pt x="42268" y="189777"/>
                    </a:cubicBezTo>
                    <a:cubicBezTo>
                      <a:pt x="53744" y="169343"/>
                      <a:pt x="69319" y="151502"/>
                      <a:pt x="88016" y="137371"/>
                    </a:cubicBezTo>
                    <a:lnTo>
                      <a:pt x="92526" y="134041"/>
                    </a:lnTo>
                    <a:cubicBezTo>
                      <a:pt x="94260" y="147537"/>
                      <a:pt x="98446" y="160603"/>
                      <a:pt x="104876" y="172594"/>
                    </a:cubicBezTo>
                    <a:cubicBezTo>
                      <a:pt x="107346" y="170876"/>
                      <a:pt x="109816" y="169050"/>
                      <a:pt x="112071" y="167225"/>
                    </a:cubicBezTo>
                    <a:cubicBezTo>
                      <a:pt x="128210" y="154864"/>
                      <a:pt x="142026" y="139738"/>
                      <a:pt x="152879" y="122550"/>
                    </a:cubicBezTo>
                    <a:cubicBezTo>
                      <a:pt x="154217" y="120566"/>
                      <a:pt x="155333" y="118441"/>
                      <a:pt x="156209" y="116214"/>
                    </a:cubicBezTo>
                    <a:cubicBezTo>
                      <a:pt x="154082" y="112632"/>
                      <a:pt x="152593" y="108707"/>
                      <a:pt x="151806" y="104616"/>
                    </a:cubicBezTo>
                    <a:cubicBezTo>
                      <a:pt x="151274" y="102074"/>
                      <a:pt x="151022" y="99481"/>
                      <a:pt x="151054" y="96884"/>
                    </a:cubicBezTo>
                    <a:cubicBezTo>
                      <a:pt x="151099" y="87277"/>
                      <a:pt x="154963" y="78082"/>
                      <a:pt x="161793" y="71326"/>
                    </a:cubicBezTo>
                    <a:cubicBezTo>
                      <a:pt x="163697" y="69582"/>
                      <a:pt x="165745" y="68001"/>
                      <a:pt x="167914" y="66600"/>
                    </a:cubicBezTo>
                    <a:cubicBezTo>
                      <a:pt x="172911" y="63234"/>
                      <a:pt x="178753" y="61336"/>
                      <a:pt x="184774" y="61123"/>
                    </a:cubicBezTo>
                    <a:cubicBezTo>
                      <a:pt x="185558" y="61017"/>
                      <a:pt x="186353" y="61017"/>
                      <a:pt x="187137" y="61123"/>
                    </a:cubicBezTo>
                    <a:cubicBezTo>
                      <a:pt x="196816" y="61123"/>
                      <a:pt x="206095" y="64989"/>
                      <a:pt x="212910" y="71862"/>
                    </a:cubicBezTo>
                    <a:cubicBezTo>
                      <a:pt x="225822" y="85035"/>
                      <a:pt x="226881" y="105768"/>
                      <a:pt x="215380" y="120188"/>
                    </a:cubicBezTo>
                    <a:close/>
                    <a:moveTo>
                      <a:pt x="292057" y="198583"/>
                    </a:moveTo>
                    <a:cubicBezTo>
                      <a:pt x="295044" y="195566"/>
                      <a:pt x="297808" y="192336"/>
                      <a:pt x="300326" y="188918"/>
                    </a:cubicBezTo>
                    <a:cubicBezTo>
                      <a:pt x="307381" y="179745"/>
                      <a:pt x="312961" y="169528"/>
                      <a:pt x="316864" y="158634"/>
                    </a:cubicBezTo>
                    <a:cubicBezTo>
                      <a:pt x="340311" y="98770"/>
                      <a:pt x="310790" y="31233"/>
                      <a:pt x="250926" y="7785"/>
                    </a:cubicBezTo>
                    <a:cubicBezTo>
                      <a:pt x="191063" y="-15662"/>
                      <a:pt x="123526" y="13859"/>
                      <a:pt x="100078" y="73723"/>
                    </a:cubicBezTo>
                    <a:cubicBezTo>
                      <a:pt x="98151" y="78644"/>
                      <a:pt x="96560" y="83692"/>
                      <a:pt x="95318" y="88830"/>
                    </a:cubicBezTo>
                    <a:cubicBezTo>
                      <a:pt x="85024" y="94890"/>
                      <a:pt x="75124" y="101598"/>
                      <a:pt x="65679" y="108912"/>
                    </a:cubicBezTo>
                    <a:cubicBezTo>
                      <a:pt x="42731" y="126183"/>
                      <a:pt x="23730" y="148150"/>
                      <a:pt x="9943" y="173346"/>
                    </a:cubicBezTo>
                    <a:cubicBezTo>
                      <a:pt x="381" y="189155"/>
                      <a:pt x="-2661" y="208063"/>
                      <a:pt x="1459" y="226074"/>
                    </a:cubicBezTo>
                    <a:cubicBezTo>
                      <a:pt x="2786" y="231217"/>
                      <a:pt x="5203" y="236015"/>
                      <a:pt x="8547" y="240142"/>
                    </a:cubicBezTo>
                    <a:cubicBezTo>
                      <a:pt x="12429" y="244980"/>
                      <a:pt x="17298" y="248934"/>
                      <a:pt x="22830" y="251740"/>
                    </a:cubicBezTo>
                    <a:cubicBezTo>
                      <a:pt x="31224" y="256042"/>
                      <a:pt x="40571" y="258148"/>
                      <a:pt x="49999" y="257861"/>
                    </a:cubicBezTo>
                    <a:cubicBezTo>
                      <a:pt x="77814" y="257862"/>
                      <a:pt x="113789" y="242935"/>
                      <a:pt x="146651" y="218020"/>
                    </a:cubicBezTo>
                    <a:cubicBezTo>
                      <a:pt x="178426" y="237709"/>
                      <a:pt x="217698" y="241021"/>
                      <a:pt x="252323" y="226933"/>
                    </a:cubicBezTo>
                    <a:cubicBezTo>
                      <a:pt x="266432" y="220978"/>
                      <a:pt x="279293" y="212416"/>
                      <a:pt x="290231" y="201697"/>
                    </a:cubicBezTo>
                    <a:close/>
                  </a:path>
                </a:pathLst>
              </a:custGeom>
              <a:solidFill>
                <a:schemeClr val="bg1"/>
              </a:solidFill>
              <a:ln w="10600" cap="flat">
                <a:noFill/>
                <a:prstDash val="solid"/>
                <a:miter/>
              </a:ln>
            </p:spPr>
            <p:txBody>
              <a:bodyPr rtlCol="0" anchor="ctr"/>
              <a:lstStyle/>
              <a:p>
                <a:endParaRPr lang="en-US"/>
              </a:p>
            </p:txBody>
          </p:sp>
        </p:grpSp>
      </p:grpSp>
      <p:grpSp>
        <p:nvGrpSpPr>
          <p:cNvPr id="51" name="Group 50">
            <a:extLst>
              <a:ext uri="{FF2B5EF4-FFF2-40B4-BE49-F238E27FC236}">
                <a16:creationId xmlns:a16="http://schemas.microsoft.com/office/drawing/2014/main" id="{C3F75656-FEF5-4054-9169-381FCBFCE762}"/>
              </a:ext>
              <a:ext uri="{C183D7F6-B498-43B3-948B-1728B52AA6E4}">
                <adec:decorative xmlns:adec="http://schemas.microsoft.com/office/drawing/2017/decorative" val="1"/>
              </a:ext>
            </a:extLst>
          </p:cNvPr>
          <p:cNvGrpSpPr/>
          <p:nvPr/>
        </p:nvGrpSpPr>
        <p:grpSpPr>
          <a:xfrm>
            <a:off x="8437828" y="1101944"/>
            <a:ext cx="676275" cy="633413"/>
            <a:chOff x="7438576" y="313027"/>
            <a:chExt cx="676275" cy="633413"/>
          </a:xfrm>
        </p:grpSpPr>
        <p:sp>
          <p:nvSpPr>
            <p:cNvPr id="796" name="Freeform 390">
              <a:extLst>
                <a:ext uri="{FF2B5EF4-FFF2-40B4-BE49-F238E27FC236}">
                  <a16:creationId xmlns:a16="http://schemas.microsoft.com/office/drawing/2014/main" id="{A3F70D2E-71A3-4E71-B414-258C7E1D739C}"/>
                </a:ext>
              </a:extLst>
            </p:cNvPr>
            <p:cNvSpPr>
              <a:spLocks/>
            </p:cNvSpPr>
            <p:nvPr/>
          </p:nvSpPr>
          <p:spPr bwMode="auto">
            <a:xfrm>
              <a:off x="7438576" y="313027"/>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pic>
          <p:nvPicPr>
            <p:cNvPr id="50" name="Graphic 49">
              <a:extLst>
                <a:ext uri="{FF2B5EF4-FFF2-40B4-BE49-F238E27FC236}">
                  <a16:creationId xmlns:a16="http://schemas.microsoft.com/office/drawing/2014/main" id="{86A309BF-AB15-4503-A1B5-720E7ADE6C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52349" y="471324"/>
              <a:ext cx="454154" cy="288000"/>
            </a:xfrm>
            <a:prstGeom prst="rect">
              <a:avLst/>
            </a:prstGeom>
          </p:spPr>
        </p:pic>
      </p:grpSp>
      <p:grpSp>
        <p:nvGrpSpPr>
          <p:cNvPr id="62" name="Group 61">
            <a:extLst>
              <a:ext uri="{FF2B5EF4-FFF2-40B4-BE49-F238E27FC236}">
                <a16:creationId xmlns:a16="http://schemas.microsoft.com/office/drawing/2014/main" id="{0FF51ADE-9787-4328-AC60-5048499AD9B1}"/>
              </a:ext>
              <a:ext uri="{C183D7F6-B498-43B3-948B-1728B52AA6E4}">
                <adec:decorative xmlns:adec="http://schemas.microsoft.com/office/drawing/2017/decorative" val="1"/>
              </a:ext>
            </a:extLst>
          </p:cNvPr>
          <p:cNvGrpSpPr/>
          <p:nvPr/>
        </p:nvGrpSpPr>
        <p:grpSpPr>
          <a:xfrm>
            <a:off x="2850138" y="1101944"/>
            <a:ext cx="681038" cy="633413"/>
            <a:chOff x="1843424" y="1115411"/>
            <a:chExt cx="681038" cy="633413"/>
          </a:xfrm>
        </p:grpSpPr>
        <p:sp>
          <p:nvSpPr>
            <p:cNvPr id="268" name="Freeform 233">
              <a:extLst>
                <a:ext uri="{FF2B5EF4-FFF2-40B4-BE49-F238E27FC236}">
                  <a16:creationId xmlns:a16="http://schemas.microsoft.com/office/drawing/2014/main" id="{5F1EA7ED-BEC7-4180-B0C9-8C3434C8087C}"/>
                </a:ext>
              </a:extLst>
            </p:cNvPr>
            <p:cNvSpPr>
              <a:spLocks/>
            </p:cNvSpPr>
            <p:nvPr/>
          </p:nvSpPr>
          <p:spPr bwMode="auto">
            <a:xfrm>
              <a:off x="1843424" y="1115411"/>
              <a:ext cx="681038"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pic>
          <p:nvPicPr>
            <p:cNvPr id="60" name="Graphic 59">
              <a:extLst>
                <a:ext uri="{FF2B5EF4-FFF2-40B4-BE49-F238E27FC236}">
                  <a16:creationId xmlns:a16="http://schemas.microsoft.com/office/drawing/2014/main" id="{C96ECBCE-307B-42E4-B18B-3935FD46E6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31558" y="1281309"/>
              <a:ext cx="318857" cy="288000"/>
            </a:xfrm>
            <a:prstGeom prst="rect">
              <a:avLst/>
            </a:prstGeom>
          </p:spPr>
        </p:pic>
      </p:grpSp>
      <p:grpSp>
        <p:nvGrpSpPr>
          <p:cNvPr id="90" name="Group 89">
            <a:extLst>
              <a:ext uri="{FF2B5EF4-FFF2-40B4-BE49-F238E27FC236}">
                <a16:creationId xmlns:a16="http://schemas.microsoft.com/office/drawing/2014/main" id="{EA9ED76A-3398-4E5A-90DC-915713143C38}"/>
              </a:ext>
              <a:ext uri="{C183D7F6-B498-43B3-948B-1728B52AA6E4}">
                <adec:decorative xmlns:adec="http://schemas.microsoft.com/office/drawing/2017/decorative" val="1"/>
              </a:ext>
            </a:extLst>
          </p:cNvPr>
          <p:cNvGrpSpPr/>
          <p:nvPr/>
        </p:nvGrpSpPr>
        <p:grpSpPr>
          <a:xfrm>
            <a:off x="1253192" y="1101944"/>
            <a:ext cx="679450" cy="633413"/>
            <a:chOff x="3216959" y="187612"/>
            <a:chExt cx="679450" cy="633413"/>
          </a:xfrm>
        </p:grpSpPr>
        <p:sp>
          <p:nvSpPr>
            <p:cNvPr id="797" name="Freeform 197">
              <a:extLst>
                <a:ext uri="{FF2B5EF4-FFF2-40B4-BE49-F238E27FC236}">
                  <a16:creationId xmlns:a16="http://schemas.microsoft.com/office/drawing/2014/main" id="{8DBDE208-3887-4454-8818-37A390C57DE9}"/>
                </a:ext>
              </a:extLst>
            </p:cNvPr>
            <p:cNvSpPr>
              <a:spLocks/>
            </p:cNvSpPr>
            <p:nvPr/>
          </p:nvSpPr>
          <p:spPr bwMode="auto">
            <a:xfrm>
              <a:off x="3216959" y="187612"/>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1" y="65"/>
                    <a:pt x="56" y="32"/>
                  </a:cubicBezTo>
                  <a:cubicBezTo>
                    <a:pt x="102" y="0"/>
                    <a:pt x="167" y="9"/>
                    <a:pt x="200" y="53"/>
                  </a:cubicBezTo>
                  <a:cubicBezTo>
                    <a:pt x="234" y="96"/>
                    <a:pt x="220" y="153"/>
                    <a:pt x="174" y="185"/>
                  </a:cubicBezTo>
                  <a:cubicBezTo>
                    <a:pt x="128" y="218"/>
                    <a:pt x="68"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pic>
          <p:nvPicPr>
            <p:cNvPr id="67" name="Graphic 66">
              <a:extLst>
                <a:ext uri="{FF2B5EF4-FFF2-40B4-BE49-F238E27FC236}">
                  <a16:creationId xmlns:a16="http://schemas.microsoft.com/office/drawing/2014/main" id="{4CE2E6A3-4458-49DF-821E-3AF74EAE9A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86642" y="317701"/>
              <a:ext cx="339428" cy="396000"/>
            </a:xfrm>
            <a:prstGeom prst="rect">
              <a:avLst/>
            </a:prstGeom>
          </p:spPr>
        </p:pic>
      </p:grpSp>
      <p:grpSp>
        <p:nvGrpSpPr>
          <p:cNvPr id="100" name="Group 99">
            <a:extLst>
              <a:ext uri="{FF2B5EF4-FFF2-40B4-BE49-F238E27FC236}">
                <a16:creationId xmlns:a16="http://schemas.microsoft.com/office/drawing/2014/main" id="{B1F61E74-088F-4F7D-AA44-D87B4150B8F6}"/>
              </a:ext>
              <a:ext uri="{C183D7F6-B498-43B3-948B-1728B52AA6E4}">
                <adec:decorative xmlns:adec="http://schemas.microsoft.com/office/drawing/2017/decorative" val="1"/>
              </a:ext>
            </a:extLst>
          </p:cNvPr>
          <p:cNvGrpSpPr/>
          <p:nvPr/>
        </p:nvGrpSpPr>
        <p:grpSpPr>
          <a:xfrm>
            <a:off x="6035729" y="2027873"/>
            <a:ext cx="680533" cy="633600"/>
            <a:chOff x="6639603" y="126869"/>
            <a:chExt cx="680533" cy="633600"/>
          </a:xfrm>
        </p:grpSpPr>
        <p:sp>
          <p:nvSpPr>
            <p:cNvPr id="812" name="Freeform 44">
              <a:extLst>
                <a:ext uri="{FF2B5EF4-FFF2-40B4-BE49-F238E27FC236}">
                  <a16:creationId xmlns:a16="http://schemas.microsoft.com/office/drawing/2014/main" id="{AAADDAC1-0882-40C8-A334-23CBBBD852FA}"/>
                </a:ext>
              </a:extLst>
            </p:cNvPr>
            <p:cNvSpPr>
              <a:spLocks/>
            </p:cNvSpPr>
            <p:nvPr/>
          </p:nvSpPr>
          <p:spPr bwMode="auto">
            <a:xfrm>
              <a:off x="6639603" y="126869"/>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00" name="Group 799">
              <a:extLst>
                <a:ext uri="{FF2B5EF4-FFF2-40B4-BE49-F238E27FC236}">
                  <a16:creationId xmlns:a16="http://schemas.microsoft.com/office/drawing/2014/main" id="{87EFFE7D-3326-4BC5-95C0-101C33257832}"/>
                </a:ext>
              </a:extLst>
            </p:cNvPr>
            <p:cNvGrpSpPr>
              <a:grpSpLocks noChangeAspect="1"/>
            </p:cNvGrpSpPr>
            <p:nvPr/>
          </p:nvGrpSpPr>
          <p:grpSpPr>
            <a:xfrm>
              <a:off x="6813178" y="232988"/>
              <a:ext cx="326188" cy="432000"/>
              <a:chOff x="4982323" y="2960051"/>
              <a:chExt cx="235042" cy="311287"/>
            </a:xfrm>
            <a:solidFill>
              <a:schemeClr val="bg1"/>
            </a:solidFill>
          </p:grpSpPr>
          <p:sp>
            <p:nvSpPr>
              <p:cNvPr id="801" name="Freeform: Shape 800">
                <a:extLst>
                  <a:ext uri="{FF2B5EF4-FFF2-40B4-BE49-F238E27FC236}">
                    <a16:creationId xmlns:a16="http://schemas.microsoft.com/office/drawing/2014/main" id="{4C1C02D9-C1F3-484F-B2C2-E0983377AEE3}"/>
                  </a:ext>
                </a:extLst>
              </p:cNvPr>
              <p:cNvSpPr/>
              <p:nvPr/>
            </p:nvSpPr>
            <p:spPr>
              <a:xfrm>
                <a:off x="4982323" y="3015985"/>
                <a:ext cx="223471" cy="255353"/>
              </a:xfrm>
              <a:custGeom>
                <a:avLst/>
                <a:gdLst>
                  <a:gd name="connsiteX0" fmla="*/ 32233 w 223471"/>
                  <a:gd name="connsiteY0" fmla="*/ 189991 h 255353"/>
                  <a:gd name="connsiteX1" fmla="*/ 52807 w 223471"/>
                  <a:gd name="connsiteY1" fmla="*/ 169607 h 255353"/>
                  <a:gd name="connsiteX2" fmla="*/ 56617 w 223471"/>
                  <a:gd name="connsiteY2" fmla="*/ 49650 h 255353"/>
                  <a:gd name="connsiteX3" fmla="*/ 111290 w 223471"/>
                  <a:gd name="connsiteY3" fmla="*/ 26732 h 255353"/>
                  <a:gd name="connsiteX4" fmla="*/ 169774 w 223471"/>
                  <a:gd name="connsiteY4" fmla="*/ 53022 h 255353"/>
                  <a:gd name="connsiteX5" fmla="*/ 193205 w 223471"/>
                  <a:gd name="connsiteY5" fmla="*/ 111505 h 255353"/>
                  <a:gd name="connsiteX6" fmla="*/ 169774 w 223471"/>
                  <a:gd name="connsiteY6" fmla="*/ 170084 h 255353"/>
                  <a:gd name="connsiteX7" fmla="*/ 114148 w 223471"/>
                  <a:gd name="connsiteY7" fmla="*/ 196373 h 255353"/>
                  <a:gd name="connsiteX8" fmla="*/ 114148 w 223471"/>
                  <a:gd name="connsiteY8" fmla="*/ 164274 h 255353"/>
                  <a:gd name="connsiteX9" fmla="*/ 67380 w 223471"/>
                  <a:gd name="connsiteY9" fmla="*/ 208089 h 255353"/>
                  <a:gd name="connsiteX10" fmla="*/ 114148 w 223471"/>
                  <a:gd name="connsiteY10" fmla="*/ 254856 h 255353"/>
                  <a:gd name="connsiteX11" fmla="*/ 114148 w 223471"/>
                  <a:gd name="connsiteY11" fmla="*/ 222757 h 255353"/>
                  <a:gd name="connsiteX12" fmla="*/ 190348 w 223471"/>
                  <a:gd name="connsiteY12" fmla="*/ 190467 h 255353"/>
                  <a:gd name="connsiteX13" fmla="*/ 190814 w 223471"/>
                  <a:gd name="connsiteY13" fmla="*/ 32457 h 255353"/>
                  <a:gd name="connsiteX14" fmla="*/ 32804 w 223471"/>
                  <a:gd name="connsiteY14" fmla="*/ 32000 h 255353"/>
                  <a:gd name="connsiteX15" fmla="*/ -152 w 223471"/>
                  <a:gd name="connsiteY15" fmla="*/ 111505 h 255353"/>
                  <a:gd name="connsiteX16" fmla="*/ 11563 w 223471"/>
                  <a:gd name="connsiteY16" fmla="*/ 164274 h 255353"/>
                  <a:gd name="connsiteX17" fmla="*/ 32233 w 223471"/>
                  <a:gd name="connsiteY17" fmla="*/ 189991 h 255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471" h="255353">
                    <a:moveTo>
                      <a:pt x="32233" y="189991"/>
                    </a:moveTo>
                    <a:lnTo>
                      <a:pt x="52807" y="169607"/>
                    </a:lnTo>
                    <a:cubicBezTo>
                      <a:pt x="20736" y="135432"/>
                      <a:pt x="22441" y="81720"/>
                      <a:pt x="56617" y="49650"/>
                    </a:cubicBezTo>
                    <a:cubicBezTo>
                      <a:pt x="71495" y="35686"/>
                      <a:pt x="90907" y="27552"/>
                      <a:pt x="111290" y="26732"/>
                    </a:cubicBezTo>
                    <a:cubicBezTo>
                      <a:pt x="133655" y="26685"/>
                      <a:pt x="154963" y="36257"/>
                      <a:pt x="169774" y="53022"/>
                    </a:cubicBezTo>
                    <a:cubicBezTo>
                      <a:pt x="187300" y="67690"/>
                      <a:pt x="193205" y="88074"/>
                      <a:pt x="193205" y="111505"/>
                    </a:cubicBezTo>
                    <a:cubicBezTo>
                      <a:pt x="193205" y="134937"/>
                      <a:pt x="187300" y="155415"/>
                      <a:pt x="169774" y="170084"/>
                    </a:cubicBezTo>
                    <a:cubicBezTo>
                      <a:pt x="156086" y="186715"/>
                      <a:pt x="135684" y="196354"/>
                      <a:pt x="114148" y="196373"/>
                    </a:cubicBezTo>
                    <a:lnTo>
                      <a:pt x="114148" y="164274"/>
                    </a:lnTo>
                    <a:lnTo>
                      <a:pt x="67380" y="208089"/>
                    </a:lnTo>
                    <a:lnTo>
                      <a:pt x="114148" y="254856"/>
                    </a:lnTo>
                    <a:lnTo>
                      <a:pt x="114148" y="222757"/>
                    </a:lnTo>
                    <a:cubicBezTo>
                      <a:pt x="142875" y="222748"/>
                      <a:pt x="170364" y="211099"/>
                      <a:pt x="190348" y="190467"/>
                    </a:cubicBezTo>
                    <a:cubicBezTo>
                      <a:pt x="234106" y="146967"/>
                      <a:pt x="234315" y="76225"/>
                      <a:pt x="190814" y="32457"/>
                    </a:cubicBezTo>
                    <a:cubicBezTo>
                      <a:pt x="147304" y="-11301"/>
                      <a:pt x="76562" y="-11510"/>
                      <a:pt x="32804" y="32000"/>
                    </a:cubicBezTo>
                    <a:cubicBezTo>
                      <a:pt x="11640" y="53031"/>
                      <a:pt x="-228" y="81663"/>
                      <a:pt x="-152" y="111505"/>
                    </a:cubicBezTo>
                    <a:cubicBezTo>
                      <a:pt x="-457" y="129774"/>
                      <a:pt x="3553" y="147852"/>
                      <a:pt x="11563" y="164274"/>
                    </a:cubicBezTo>
                    <a:cubicBezTo>
                      <a:pt x="16726" y="174104"/>
                      <a:pt x="23746" y="182838"/>
                      <a:pt x="32233" y="189991"/>
                    </a:cubicBezTo>
                    <a:close/>
                  </a:path>
                </a:pathLst>
              </a:custGeom>
              <a:grpFill/>
              <a:ln w="9525" cap="flat">
                <a:noFill/>
                <a:prstDash val="solid"/>
                <a:miter/>
              </a:ln>
            </p:spPr>
            <p:txBody>
              <a:bodyPr rtlCol="0" anchor="ctr"/>
              <a:lstStyle/>
              <a:p>
                <a:endParaRPr lang="en-US"/>
              </a:p>
            </p:txBody>
          </p:sp>
          <p:sp>
            <p:nvSpPr>
              <p:cNvPr id="802" name="Freeform: Shape 801">
                <a:extLst>
                  <a:ext uri="{FF2B5EF4-FFF2-40B4-BE49-F238E27FC236}">
                    <a16:creationId xmlns:a16="http://schemas.microsoft.com/office/drawing/2014/main" id="{41542763-E2E6-4384-A72A-AB63A8F59F7F}"/>
                  </a:ext>
                </a:extLst>
              </p:cNvPr>
              <p:cNvSpPr/>
              <p:nvPr/>
            </p:nvSpPr>
            <p:spPr>
              <a:xfrm>
                <a:off x="5172458" y="3011187"/>
                <a:ext cx="44907" cy="49362"/>
              </a:xfrm>
              <a:custGeom>
                <a:avLst/>
                <a:gdLst>
                  <a:gd name="connsiteX0" fmla="*/ 42790 w 44907"/>
                  <a:gd name="connsiteY0" fmla="*/ 22005 h 49362"/>
                  <a:gd name="connsiteX1" fmla="*/ 28407 w 44907"/>
                  <a:gd name="connsiteY1" fmla="*/ 4003 h 49362"/>
                  <a:gd name="connsiteX2" fmla="*/ 14119 w 44907"/>
                  <a:gd name="connsiteY2" fmla="*/ 4003 h 49362"/>
                  <a:gd name="connsiteX3" fmla="*/ 14119 w 44907"/>
                  <a:gd name="connsiteY3" fmla="*/ 4003 h 49362"/>
                  <a:gd name="connsiteX4" fmla="*/ -168 w 44907"/>
                  <a:gd name="connsiteY4" fmla="*/ 16004 h 49362"/>
                  <a:gd name="connsiteX5" fmla="*/ -168 w 44907"/>
                  <a:gd name="connsiteY5" fmla="*/ 18957 h 49362"/>
                  <a:gd name="connsiteX6" fmla="*/ 5547 w 44907"/>
                  <a:gd name="connsiteY6" fmla="*/ 27911 h 49362"/>
                  <a:gd name="connsiteX7" fmla="*/ 5547 w 44907"/>
                  <a:gd name="connsiteY7" fmla="*/ 27911 h 49362"/>
                  <a:gd name="connsiteX8" fmla="*/ 11262 w 44907"/>
                  <a:gd name="connsiteY8" fmla="*/ 30959 h 49362"/>
                  <a:gd name="connsiteX9" fmla="*/ 25454 w 44907"/>
                  <a:gd name="connsiteY9" fmla="*/ 45913 h 49362"/>
                  <a:gd name="connsiteX10" fmla="*/ 28311 w 44907"/>
                  <a:gd name="connsiteY10" fmla="*/ 48866 h 49362"/>
                  <a:gd name="connsiteX11" fmla="*/ 36789 w 44907"/>
                  <a:gd name="connsiteY11" fmla="*/ 40008 h 49362"/>
                  <a:gd name="connsiteX12" fmla="*/ 42504 w 44907"/>
                  <a:gd name="connsiteY12" fmla="*/ 33911 h 49362"/>
                  <a:gd name="connsiteX13" fmla="*/ 42790 w 44907"/>
                  <a:gd name="connsiteY13" fmla="*/ 22005 h 4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907" h="49362">
                    <a:moveTo>
                      <a:pt x="42790" y="22005"/>
                    </a:moveTo>
                    <a:lnTo>
                      <a:pt x="28407" y="4003"/>
                    </a:lnTo>
                    <a:cubicBezTo>
                      <a:pt x="22692" y="-1997"/>
                      <a:pt x="17072" y="-1997"/>
                      <a:pt x="14119" y="4003"/>
                    </a:cubicBezTo>
                    <a:lnTo>
                      <a:pt x="14119" y="4003"/>
                    </a:lnTo>
                    <a:lnTo>
                      <a:pt x="-168" y="16004"/>
                    </a:lnTo>
                    <a:lnTo>
                      <a:pt x="-168" y="18957"/>
                    </a:lnTo>
                    <a:cubicBezTo>
                      <a:pt x="2689" y="22005"/>
                      <a:pt x="5547" y="24863"/>
                      <a:pt x="5547" y="27911"/>
                    </a:cubicBezTo>
                    <a:lnTo>
                      <a:pt x="5547" y="27911"/>
                    </a:lnTo>
                    <a:cubicBezTo>
                      <a:pt x="8309" y="27911"/>
                      <a:pt x="8309" y="30959"/>
                      <a:pt x="11262" y="30959"/>
                    </a:cubicBezTo>
                    <a:cubicBezTo>
                      <a:pt x="17377" y="34417"/>
                      <a:pt x="22320" y="39627"/>
                      <a:pt x="25454" y="45913"/>
                    </a:cubicBezTo>
                    <a:lnTo>
                      <a:pt x="28311" y="48866"/>
                    </a:lnTo>
                    <a:lnTo>
                      <a:pt x="36789" y="40008"/>
                    </a:lnTo>
                    <a:lnTo>
                      <a:pt x="42504" y="33911"/>
                    </a:lnTo>
                    <a:cubicBezTo>
                      <a:pt x="45371" y="30502"/>
                      <a:pt x="45495" y="25549"/>
                      <a:pt x="42790" y="22005"/>
                    </a:cubicBezTo>
                    <a:close/>
                  </a:path>
                </a:pathLst>
              </a:custGeom>
              <a:grpFill/>
              <a:ln w="9525" cap="flat">
                <a:noFill/>
                <a:prstDash val="solid"/>
                <a:miter/>
              </a:ln>
            </p:spPr>
            <p:txBody>
              <a:bodyPr rtlCol="0" anchor="ctr"/>
              <a:lstStyle/>
              <a:p>
                <a:endParaRPr lang="en-US"/>
              </a:p>
            </p:txBody>
          </p:sp>
          <p:sp>
            <p:nvSpPr>
              <p:cNvPr id="803" name="Freeform: Shape 802">
                <a:extLst>
                  <a:ext uri="{FF2B5EF4-FFF2-40B4-BE49-F238E27FC236}">
                    <a16:creationId xmlns:a16="http://schemas.microsoft.com/office/drawing/2014/main" id="{9E0ECC7E-E64D-4AB6-8D34-7F6E6FCFB13E}"/>
                  </a:ext>
                </a:extLst>
              </p:cNvPr>
              <p:cNvSpPr/>
              <p:nvPr/>
            </p:nvSpPr>
            <p:spPr>
              <a:xfrm>
                <a:off x="5064182" y="2960051"/>
                <a:ext cx="64486" cy="47926"/>
              </a:xfrm>
              <a:custGeom>
                <a:avLst/>
                <a:gdLst>
                  <a:gd name="connsiteX0" fmla="*/ 55435 w 64486"/>
                  <a:gd name="connsiteY0" fmla="*/ -391 h 47926"/>
                  <a:gd name="connsiteX1" fmla="*/ 8762 w 64486"/>
                  <a:gd name="connsiteY1" fmla="*/ -391 h 47926"/>
                  <a:gd name="connsiteX2" fmla="*/ -68 w 64486"/>
                  <a:gd name="connsiteY2" fmla="*/ 6010 h 47926"/>
                  <a:gd name="connsiteX3" fmla="*/ -96 w 64486"/>
                  <a:gd name="connsiteY3" fmla="*/ 8277 h 47926"/>
                  <a:gd name="connsiteX4" fmla="*/ -96 w 64486"/>
                  <a:gd name="connsiteY4" fmla="*/ 31613 h 47926"/>
                  <a:gd name="connsiteX5" fmla="*/ 8762 w 64486"/>
                  <a:gd name="connsiteY5" fmla="*/ 31613 h 47926"/>
                  <a:gd name="connsiteX6" fmla="*/ 8762 w 64486"/>
                  <a:gd name="connsiteY6" fmla="*/ 46567 h 47926"/>
                  <a:gd name="connsiteX7" fmla="*/ 49624 w 64486"/>
                  <a:gd name="connsiteY7" fmla="*/ 46567 h 47926"/>
                  <a:gd name="connsiteX8" fmla="*/ 55435 w 64486"/>
                  <a:gd name="connsiteY8" fmla="*/ 46567 h 47926"/>
                  <a:gd name="connsiteX9" fmla="*/ 55435 w 64486"/>
                  <a:gd name="connsiteY9" fmla="*/ 31993 h 47926"/>
                  <a:gd name="connsiteX10" fmla="*/ 64198 w 64486"/>
                  <a:gd name="connsiteY10" fmla="*/ 31993 h 47926"/>
                  <a:gd name="connsiteX11" fmla="*/ 64198 w 64486"/>
                  <a:gd name="connsiteY11" fmla="*/ 8467 h 47926"/>
                  <a:gd name="connsiteX12" fmla="*/ 58044 w 64486"/>
                  <a:gd name="connsiteY12" fmla="*/ -382 h 47926"/>
                  <a:gd name="connsiteX13" fmla="*/ 55435 w 64486"/>
                  <a:gd name="connsiteY13" fmla="*/ -391 h 4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486" h="47926">
                    <a:moveTo>
                      <a:pt x="55435" y="-391"/>
                    </a:moveTo>
                    <a:lnTo>
                      <a:pt x="8762" y="-391"/>
                    </a:lnTo>
                    <a:cubicBezTo>
                      <a:pt x="4552" y="-1058"/>
                      <a:pt x="599" y="1809"/>
                      <a:pt x="-68" y="6010"/>
                    </a:cubicBezTo>
                    <a:cubicBezTo>
                      <a:pt x="-191" y="6762"/>
                      <a:pt x="-201" y="7524"/>
                      <a:pt x="-96" y="8277"/>
                    </a:cubicBezTo>
                    <a:lnTo>
                      <a:pt x="-96" y="31613"/>
                    </a:lnTo>
                    <a:lnTo>
                      <a:pt x="8762" y="31613"/>
                    </a:lnTo>
                    <a:lnTo>
                      <a:pt x="8762" y="46567"/>
                    </a:lnTo>
                    <a:cubicBezTo>
                      <a:pt x="20383" y="43710"/>
                      <a:pt x="32098" y="49520"/>
                      <a:pt x="49624" y="46567"/>
                    </a:cubicBezTo>
                    <a:lnTo>
                      <a:pt x="55435" y="46567"/>
                    </a:lnTo>
                    <a:lnTo>
                      <a:pt x="55435" y="31993"/>
                    </a:lnTo>
                    <a:lnTo>
                      <a:pt x="64198" y="31993"/>
                    </a:lnTo>
                    <a:lnTo>
                      <a:pt x="64198" y="8467"/>
                    </a:lnTo>
                    <a:cubicBezTo>
                      <a:pt x="64940" y="4324"/>
                      <a:pt x="62178" y="361"/>
                      <a:pt x="58044" y="-382"/>
                    </a:cubicBezTo>
                    <a:cubicBezTo>
                      <a:pt x="57178" y="-534"/>
                      <a:pt x="56301" y="-534"/>
                      <a:pt x="55435" y="-391"/>
                    </a:cubicBezTo>
                    <a:close/>
                  </a:path>
                </a:pathLst>
              </a:custGeom>
              <a:grpFill/>
              <a:ln w="9525" cap="flat">
                <a:noFill/>
                <a:prstDash val="solid"/>
                <a:miter/>
              </a:ln>
            </p:spPr>
            <p:txBody>
              <a:bodyPr rtlCol="0" anchor="ctr"/>
              <a:lstStyle/>
              <a:p>
                <a:endParaRPr lang="en-US"/>
              </a:p>
            </p:txBody>
          </p:sp>
          <p:sp>
            <p:nvSpPr>
              <p:cNvPr id="804" name="Freeform: Shape 803">
                <a:extLst>
                  <a:ext uri="{FF2B5EF4-FFF2-40B4-BE49-F238E27FC236}">
                    <a16:creationId xmlns:a16="http://schemas.microsoft.com/office/drawing/2014/main" id="{2C8AC101-589E-401F-A25E-A8F6C5FFB337}"/>
                  </a:ext>
                </a:extLst>
              </p:cNvPr>
              <p:cNvSpPr/>
              <p:nvPr/>
            </p:nvSpPr>
            <p:spPr>
              <a:xfrm>
                <a:off x="5064254" y="3073790"/>
                <a:ext cx="48443" cy="72213"/>
              </a:xfrm>
              <a:custGeom>
                <a:avLst/>
                <a:gdLst>
                  <a:gd name="connsiteX0" fmla="*/ 34788 w 48443"/>
                  <a:gd name="connsiteY0" fmla="*/ 41698 h 72213"/>
                  <a:gd name="connsiteX1" fmla="*/ -168 w 48443"/>
                  <a:gd name="connsiteY1" fmla="*/ -497 h 72213"/>
                  <a:gd name="connsiteX2" fmla="*/ -168 w 48443"/>
                  <a:gd name="connsiteY2" fmla="*/ -497 h 72213"/>
                  <a:gd name="connsiteX3" fmla="*/ 20310 w 48443"/>
                  <a:gd name="connsiteY3" fmla="*/ 50557 h 72213"/>
                  <a:gd name="connsiteX4" fmla="*/ 20310 w 48443"/>
                  <a:gd name="connsiteY4" fmla="*/ 62463 h 72213"/>
                  <a:gd name="connsiteX5" fmla="*/ 40694 w 48443"/>
                  <a:gd name="connsiteY5" fmla="*/ 68464 h 72213"/>
                  <a:gd name="connsiteX6" fmla="*/ 46504 w 48443"/>
                  <a:gd name="connsiteY6" fmla="*/ 47509 h 72213"/>
                  <a:gd name="connsiteX7" fmla="*/ 34788 w 48443"/>
                  <a:gd name="connsiteY7" fmla="*/ 41698 h 7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43" h="72213">
                    <a:moveTo>
                      <a:pt x="34788" y="41698"/>
                    </a:moveTo>
                    <a:lnTo>
                      <a:pt x="-168" y="-497"/>
                    </a:lnTo>
                    <a:lnTo>
                      <a:pt x="-168" y="-497"/>
                    </a:lnTo>
                    <a:lnTo>
                      <a:pt x="20310" y="50557"/>
                    </a:lnTo>
                    <a:cubicBezTo>
                      <a:pt x="17520" y="54033"/>
                      <a:pt x="17520" y="58986"/>
                      <a:pt x="20310" y="62463"/>
                    </a:cubicBezTo>
                    <a:cubicBezTo>
                      <a:pt x="26121" y="71988"/>
                      <a:pt x="34788" y="74464"/>
                      <a:pt x="40694" y="68464"/>
                    </a:cubicBezTo>
                    <a:cubicBezTo>
                      <a:pt x="49457" y="65511"/>
                      <a:pt x="49457" y="56557"/>
                      <a:pt x="46504" y="47509"/>
                    </a:cubicBezTo>
                    <a:cubicBezTo>
                      <a:pt x="43713" y="43851"/>
                      <a:pt x="39389" y="41708"/>
                      <a:pt x="34788" y="41698"/>
                    </a:cubicBezTo>
                    <a:close/>
                  </a:path>
                </a:pathLst>
              </a:custGeom>
              <a:grpFill/>
              <a:ln w="9525" cap="flat">
                <a:noFill/>
                <a:prstDash val="solid"/>
                <a:miter/>
              </a:ln>
            </p:spPr>
            <p:txBody>
              <a:bodyPr rtlCol="0" anchor="ctr"/>
              <a:lstStyle/>
              <a:p>
                <a:endParaRPr lang="en-US"/>
              </a:p>
            </p:txBody>
          </p:sp>
        </p:grpSp>
      </p:grpSp>
      <p:grpSp>
        <p:nvGrpSpPr>
          <p:cNvPr id="99" name="Group 98">
            <a:extLst>
              <a:ext uri="{FF2B5EF4-FFF2-40B4-BE49-F238E27FC236}">
                <a16:creationId xmlns:a16="http://schemas.microsoft.com/office/drawing/2014/main" id="{C28B6924-FB38-4ACD-AEF1-2481B40255A3}"/>
              </a:ext>
              <a:ext uri="{C183D7F6-B498-43B3-948B-1728B52AA6E4}">
                <adec:decorative xmlns:adec="http://schemas.microsoft.com/office/drawing/2017/decorative" val="1"/>
              </a:ext>
            </a:extLst>
          </p:cNvPr>
          <p:cNvGrpSpPr/>
          <p:nvPr/>
        </p:nvGrpSpPr>
        <p:grpSpPr>
          <a:xfrm>
            <a:off x="5236904" y="2027873"/>
            <a:ext cx="680533" cy="633600"/>
            <a:chOff x="5744204" y="140604"/>
            <a:chExt cx="680533" cy="633600"/>
          </a:xfrm>
        </p:grpSpPr>
        <p:sp>
          <p:nvSpPr>
            <p:cNvPr id="813"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0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8" y="281429"/>
              <a:ext cx="237800" cy="360000"/>
              <a:chOff x="4225863" y="2980826"/>
              <a:chExt cx="168116" cy="254508"/>
            </a:xfrm>
            <a:solidFill>
              <a:schemeClr val="bg1"/>
            </a:solidFill>
          </p:grpSpPr>
          <p:sp>
            <p:nvSpPr>
              <p:cNvPr id="80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grpFill/>
              <a:ln w="9525" cap="flat">
                <a:noFill/>
                <a:prstDash val="solid"/>
                <a:miter/>
              </a:ln>
            </p:spPr>
            <p:txBody>
              <a:bodyPr rtlCol="0" anchor="ctr"/>
              <a:lstStyle/>
              <a:p>
                <a:endParaRPr lang="en-US"/>
              </a:p>
            </p:txBody>
          </p:sp>
          <p:sp>
            <p:nvSpPr>
              <p:cNvPr id="809"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grpFill/>
              <a:ln w="9525" cap="flat">
                <a:noFill/>
                <a:prstDash val="solid"/>
                <a:miter/>
              </a:ln>
            </p:spPr>
            <p:txBody>
              <a:bodyPr rtlCol="0" anchor="ctr"/>
              <a:lstStyle/>
              <a:p>
                <a:endParaRPr lang="en-US"/>
              </a:p>
            </p:txBody>
          </p:sp>
          <p:sp>
            <p:nvSpPr>
              <p:cNvPr id="810" name="Freeform: Shape 809">
                <a:extLst>
                  <a:ext uri="{FF2B5EF4-FFF2-40B4-BE49-F238E27FC236}">
                    <a16:creationId xmlns:a16="http://schemas.microsoft.com/office/drawing/2014/main" id="{3CCB1528-4625-44AB-B97E-CD87E89CC28D}"/>
                  </a:ext>
                </a:extLst>
              </p:cNvPr>
              <p:cNvSpPr/>
              <p:nvPr/>
            </p:nvSpPr>
            <p:spPr>
              <a:xfrm>
                <a:off x="4225863" y="2980826"/>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grpFill/>
              <a:ln w="9525" cap="flat">
                <a:noFill/>
                <a:prstDash val="solid"/>
                <a:miter/>
              </a:ln>
            </p:spPr>
            <p:txBody>
              <a:bodyPr rtlCol="0" anchor="ctr"/>
              <a:lstStyle/>
              <a:p>
                <a:endParaRPr lang="en-US"/>
              </a:p>
            </p:txBody>
          </p:sp>
        </p:grpSp>
      </p:grpSp>
      <p:grpSp>
        <p:nvGrpSpPr>
          <p:cNvPr id="816" name="Group 815">
            <a:extLst>
              <a:ext uri="{FF2B5EF4-FFF2-40B4-BE49-F238E27FC236}">
                <a16:creationId xmlns:a16="http://schemas.microsoft.com/office/drawing/2014/main" id="{AFF5C86D-C05E-4F49-9128-5BD2CD0BCD14}"/>
              </a:ext>
              <a:ext uri="{C183D7F6-B498-43B3-948B-1728B52AA6E4}">
                <adec:decorative xmlns:adec="http://schemas.microsoft.com/office/drawing/2017/decorative" val="1"/>
              </a:ext>
            </a:extLst>
          </p:cNvPr>
          <p:cNvGrpSpPr/>
          <p:nvPr/>
        </p:nvGrpSpPr>
        <p:grpSpPr>
          <a:xfrm>
            <a:off x="7629591" y="2027873"/>
            <a:ext cx="679450" cy="633413"/>
            <a:chOff x="7500492" y="860048"/>
            <a:chExt cx="679450" cy="633413"/>
          </a:xfrm>
        </p:grpSpPr>
        <p:sp>
          <p:nvSpPr>
            <p:cNvPr id="817" name="Freeform 289">
              <a:extLst>
                <a:ext uri="{FF2B5EF4-FFF2-40B4-BE49-F238E27FC236}">
                  <a16:creationId xmlns:a16="http://schemas.microsoft.com/office/drawing/2014/main" id="{A6D2D780-6874-41EB-B766-AED8AEE5E82D}"/>
                </a:ext>
              </a:extLst>
            </p:cNvPr>
            <p:cNvSpPr>
              <a:spLocks/>
            </p:cNvSpPr>
            <p:nvPr/>
          </p:nvSpPr>
          <p:spPr bwMode="auto">
            <a:xfrm>
              <a:off x="7500492" y="860048"/>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818" name="Group 817">
              <a:extLst>
                <a:ext uri="{FF2B5EF4-FFF2-40B4-BE49-F238E27FC236}">
                  <a16:creationId xmlns:a16="http://schemas.microsoft.com/office/drawing/2014/main" id="{02FBE660-F19F-47F8-861B-F9273CC7CCAB}"/>
                </a:ext>
              </a:extLst>
            </p:cNvPr>
            <p:cNvGrpSpPr/>
            <p:nvPr/>
          </p:nvGrpSpPr>
          <p:grpSpPr>
            <a:xfrm>
              <a:off x="7633524" y="978090"/>
              <a:ext cx="400050" cy="400050"/>
              <a:chOff x="7653242" y="1823466"/>
              <a:chExt cx="400050" cy="400050"/>
            </a:xfrm>
          </p:grpSpPr>
          <p:sp>
            <p:nvSpPr>
              <p:cNvPr id="819" name="Freeform: Shape 818">
                <a:extLst>
                  <a:ext uri="{FF2B5EF4-FFF2-40B4-BE49-F238E27FC236}">
                    <a16:creationId xmlns:a16="http://schemas.microsoft.com/office/drawing/2014/main" id="{31FB00FD-4EE9-4289-97B8-B819D2D0F2F6}"/>
                  </a:ext>
                </a:extLst>
              </p:cNvPr>
              <p:cNvSpPr/>
              <p:nvPr/>
            </p:nvSpPr>
            <p:spPr>
              <a:xfrm>
                <a:off x="7653242" y="1823466"/>
                <a:ext cx="400050" cy="400050"/>
              </a:xfrm>
              <a:custGeom>
                <a:avLst/>
                <a:gdLst>
                  <a:gd name="connsiteX0" fmla="*/ 200025 w 400050"/>
                  <a:gd name="connsiteY0" fmla="*/ 400050 h 400050"/>
                  <a:gd name="connsiteX1" fmla="*/ 0 w 400050"/>
                  <a:gd name="connsiteY1" fmla="*/ 200025 h 400050"/>
                  <a:gd name="connsiteX2" fmla="*/ 200025 w 400050"/>
                  <a:gd name="connsiteY2" fmla="*/ 0 h 400050"/>
                  <a:gd name="connsiteX3" fmla="*/ 400050 w 400050"/>
                  <a:gd name="connsiteY3" fmla="*/ 200025 h 400050"/>
                  <a:gd name="connsiteX4" fmla="*/ 200025 w 400050"/>
                  <a:gd name="connsiteY4" fmla="*/ 400050 h 400050"/>
                  <a:gd name="connsiteX5" fmla="*/ 200025 w 400050"/>
                  <a:gd name="connsiteY5" fmla="*/ 34671 h 400050"/>
                  <a:gd name="connsiteX6" fmla="*/ 35052 w 400050"/>
                  <a:gd name="connsiteY6" fmla="*/ 199644 h 400050"/>
                  <a:gd name="connsiteX7" fmla="*/ 200025 w 400050"/>
                  <a:gd name="connsiteY7" fmla="*/ 364617 h 400050"/>
                  <a:gd name="connsiteX8" fmla="*/ 364998 w 400050"/>
                  <a:gd name="connsiteY8" fmla="*/ 199644 h 400050"/>
                  <a:gd name="connsiteX9" fmla="*/ 200025 w 400050"/>
                  <a:gd name="connsiteY9" fmla="*/ 346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050" h="400050">
                    <a:moveTo>
                      <a:pt x="200025" y="400050"/>
                    </a:moveTo>
                    <a:cubicBezTo>
                      <a:pt x="89554" y="400050"/>
                      <a:pt x="0" y="310496"/>
                      <a:pt x="0" y="200025"/>
                    </a:cubicBezTo>
                    <a:cubicBezTo>
                      <a:pt x="0" y="89554"/>
                      <a:pt x="89554" y="0"/>
                      <a:pt x="200025" y="0"/>
                    </a:cubicBezTo>
                    <a:cubicBezTo>
                      <a:pt x="310496" y="0"/>
                      <a:pt x="400050" y="89554"/>
                      <a:pt x="400050" y="200025"/>
                    </a:cubicBezTo>
                    <a:cubicBezTo>
                      <a:pt x="399684" y="310344"/>
                      <a:pt x="310344" y="399684"/>
                      <a:pt x="200025" y="400050"/>
                    </a:cubicBezTo>
                    <a:close/>
                    <a:moveTo>
                      <a:pt x="200025" y="34671"/>
                    </a:moveTo>
                    <a:cubicBezTo>
                      <a:pt x="108913" y="34671"/>
                      <a:pt x="35052" y="108532"/>
                      <a:pt x="35052" y="199644"/>
                    </a:cubicBezTo>
                    <a:cubicBezTo>
                      <a:pt x="35052" y="290756"/>
                      <a:pt x="108913" y="364617"/>
                      <a:pt x="200025" y="364617"/>
                    </a:cubicBezTo>
                    <a:cubicBezTo>
                      <a:pt x="291137" y="364617"/>
                      <a:pt x="364998" y="290756"/>
                      <a:pt x="364998" y="199644"/>
                    </a:cubicBezTo>
                    <a:cubicBezTo>
                      <a:pt x="364893" y="108575"/>
                      <a:pt x="291094" y="34776"/>
                      <a:pt x="200025" y="34671"/>
                    </a:cubicBezTo>
                    <a:close/>
                  </a:path>
                </a:pathLst>
              </a:custGeom>
              <a:solidFill>
                <a:srgbClr val="FFFFFF"/>
              </a:solidFill>
              <a:ln w="9525" cap="flat">
                <a:noFill/>
                <a:prstDash val="solid"/>
                <a:miter/>
              </a:ln>
            </p:spPr>
            <p:txBody>
              <a:bodyPr rtlCol="0" anchor="ctr"/>
              <a:lstStyle/>
              <a:p>
                <a:endParaRPr lang="en-US"/>
              </a:p>
            </p:txBody>
          </p:sp>
          <p:sp>
            <p:nvSpPr>
              <p:cNvPr id="820" name="Freeform: Shape 819">
                <a:extLst>
                  <a:ext uri="{FF2B5EF4-FFF2-40B4-BE49-F238E27FC236}">
                    <a16:creationId xmlns:a16="http://schemas.microsoft.com/office/drawing/2014/main" id="{24FF56D7-3348-4624-8924-40CB5DBEE46D}"/>
                  </a:ext>
                </a:extLst>
              </p:cNvPr>
              <p:cNvSpPr/>
              <p:nvPr/>
            </p:nvSpPr>
            <p:spPr>
              <a:xfrm>
                <a:off x="7840217" y="1856232"/>
                <a:ext cx="28575" cy="39242"/>
              </a:xfrm>
              <a:custGeom>
                <a:avLst/>
                <a:gdLst>
                  <a:gd name="connsiteX0" fmla="*/ 12764 w 28575"/>
                  <a:gd name="connsiteY0" fmla="*/ 39243 h 39242"/>
                  <a:gd name="connsiteX1" fmla="*/ 16002 w 28575"/>
                  <a:gd name="connsiteY1" fmla="*/ 39243 h 39242"/>
                  <a:gd name="connsiteX2" fmla="*/ 28575 w 28575"/>
                  <a:gd name="connsiteY2" fmla="*/ 26194 h 39242"/>
                  <a:gd name="connsiteX3" fmla="*/ 28575 w 28575"/>
                  <a:gd name="connsiteY3" fmla="*/ 0 h 39242"/>
                  <a:gd name="connsiteX4" fmla="*/ 0 w 28575"/>
                  <a:gd name="connsiteY4" fmla="*/ 0 h 39242"/>
                  <a:gd name="connsiteX5" fmla="*/ 0 w 28575"/>
                  <a:gd name="connsiteY5" fmla="*/ 26194 h 39242"/>
                  <a:gd name="connsiteX6" fmla="*/ 12764 w 28575"/>
                  <a:gd name="connsiteY6" fmla="*/ 39243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39242">
                    <a:moveTo>
                      <a:pt x="12764" y="39243"/>
                    </a:moveTo>
                    <a:lnTo>
                      <a:pt x="16002" y="39243"/>
                    </a:lnTo>
                    <a:cubicBezTo>
                      <a:pt x="22879" y="38675"/>
                      <a:pt x="28263" y="33087"/>
                      <a:pt x="28575" y="26194"/>
                    </a:cubicBezTo>
                    <a:lnTo>
                      <a:pt x="28575" y="0"/>
                    </a:lnTo>
                    <a:lnTo>
                      <a:pt x="0" y="0"/>
                    </a:lnTo>
                    <a:lnTo>
                      <a:pt x="0" y="26194"/>
                    </a:lnTo>
                    <a:cubicBezTo>
                      <a:pt x="323" y="33154"/>
                      <a:pt x="5812" y="38767"/>
                      <a:pt x="12764" y="39243"/>
                    </a:cubicBezTo>
                    <a:close/>
                  </a:path>
                </a:pathLst>
              </a:custGeom>
              <a:solidFill>
                <a:srgbClr val="FFFFFF"/>
              </a:solidFill>
              <a:ln w="9525" cap="flat">
                <a:noFill/>
                <a:prstDash val="solid"/>
                <a:miter/>
              </a:ln>
            </p:spPr>
            <p:txBody>
              <a:bodyPr rtlCol="0" anchor="ctr"/>
              <a:lstStyle/>
              <a:p>
                <a:endParaRPr lang="en-US"/>
              </a:p>
            </p:txBody>
          </p:sp>
          <p:sp>
            <p:nvSpPr>
              <p:cNvPr id="821" name="Freeform: Shape 820">
                <a:extLst>
                  <a:ext uri="{FF2B5EF4-FFF2-40B4-BE49-F238E27FC236}">
                    <a16:creationId xmlns:a16="http://schemas.microsoft.com/office/drawing/2014/main" id="{A141DFF3-7809-40B3-80F1-3145E1E12C0E}"/>
                  </a:ext>
                </a:extLst>
              </p:cNvPr>
              <p:cNvSpPr/>
              <p:nvPr/>
            </p:nvSpPr>
            <p:spPr>
              <a:xfrm>
                <a:off x="7840408" y="2146934"/>
                <a:ext cx="28575" cy="39243"/>
              </a:xfrm>
              <a:custGeom>
                <a:avLst/>
                <a:gdLst>
                  <a:gd name="connsiteX0" fmla="*/ 15811 w 28575"/>
                  <a:gd name="connsiteY0" fmla="*/ 0 h 39243"/>
                  <a:gd name="connsiteX1" fmla="*/ 12573 w 28575"/>
                  <a:gd name="connsiteY1" fmla="*/ 0 h 39243"/>
                  <a:gd name="connsiteX2" fmla="*/ 0 w 28575"/>
                  <a:gd name="connsiteY2" fmla="*/ 13049 h 39243"/>
                  <a:gd name="connsiteX3" fmla="*/ 0 w 28575"/>
                  <a:gd name="connsiteY3" fmla="*/ 39243 h 39243"/>
                  <a:gd name="connsiteX4" fmla="*/ 28575 w 28575"/>
                  <a:gd name="connsiteY4" fmla="*/ 39243 h 39243"/>
                  <a:gd name="connsiteX5" fmla="*/ 28575 w 28575"/>
                  <a:gd name="connsiteY5" fmla="*/ 13049 h 39243"/>
                  <a:gd name="connsiteX6" fmla="*/ 15811 w 28575"/>
                  <a:gd name="connsiteY6" fmla="*/ 0 h 3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39243">
                    <a:moveTo>
                      <a:pt x="15811" y="0"/>
                    </a:moveTo>
                    <a:lnTo>
                      <a:pt x="12573" y="0"/>
                    </a:lnTo>
                    <a:cubicBezTo>
                      <a:pt x="5715" y="608"/>
                      <a:pt x="353" y="6174"/>
                      <a:pt x="0" y="13049"/>
                    </a:cubicBezTo>
                    <a:lnTo>
                      <a:pt x="0" y="39243"/>
                    </a:lnTo>
                    <a:lnTo>
                      <a:pt x="28575" y="39243"/>
                    </a:lnTo>
                    <a:lnTo>
                      <a:pt x="28575" y="13049"/>
                    </a:lnTo>
                    <a:cubicBezTo>
                      <a:pt x="28211" y="6107"/>
                      <a:pt x="22744" y="518"/>
                      <a:pt x="15811" y="0"/>
                    </a:cubicBezTo>
                    <a:close/>
                  </a:path>
                </a:pathLst>
              </a:custGeom>
              <a:solidFill>
                <a:srgbClr val="FFFFFF"/>
              </a:solidFill>
              <a:ln w="9525" cap="flat">
                <a:noFill/>
                <a:prstDash val="solid"/>
                <a:miter/>
              </a:ln>
            </p:spPr>
            <p:txBody>
              <a:bodyPr rtlCol="0" anchor="ctr"/>
              <a:lstStyle/>
              <a:p>
                <a:endParaRPr lang="en-US"/>
              </a:p>
            </p:txBody>
          </p:sp>
          <p:sp>
            <p:nvSpPr>
              <p:cNvPr id="822" name="Freeform: Shape 821">
                <a:extLst>
                  <a:ext uri="{FF2B5EF4-FFF2-40B4-BE49-F238E27FC236}">
                    <a16:creationId xmlns:a16="http://schemas.microsoft.com/office/drawing/2014/main" id="{65F98722-4356-4C38-89B1-39C374ED05CA}"/>
                  </a:ext>
                </a:extLst>
              </p:cNvPr>
              <p:cNvSpPr/>
              <p:nvPr/>
            </p:nvSpPr>
            <p:spPr>
              <a:xfrm>
                <a:off x="7690199" y="2008917"/>
                <a:ext cx="36129" cy="25717"/>
              </a:xfrm>
              <a:custGeom>
                <a:avLst/>
                <a:gdLst>
                  <a:gd name="connsiteX0" fmla="*/ 26575 w 36129"/>
                  <a:gd name="connsiteY0" fmla="*/ 0 h 25717"/>
                  <a:gd name="connsiteX1" fmla="*/ 0 w 36129"/>
                  <a:gd name="connsiteY1" fmla="*/ 0 h 25717"/>
                  <a:gd name="connsiteX2" fmla="*/ 0 w 36129"/>
                  <a:gd name="connsiteY2" fmla="*/ 25717 h 25717"/>
                  <a:gd name="connsiteX3" fmla="*/ 26575 w 36129"/>
                  <a:gd name="connsiteY3" fmla="*/ 25717 h 25717"/>
                  <a:gd name="connsiteX4" fmla="*/ 36100 w 36129"/>
                  <a:gd name="connsiteY4" fmla="*/ 12859 h 25717"/>
                  <a:gd name="connsiteX5" fmla="*/ 36100 w 36129"/>
                  <a:gd name="connsiteY5" fmla="*/ 9525 h 25717"/>
                  <a:gd name="connsiteX6" fmla="*/ 26575 w 36129"/>
                  <a:gd name="connsiteY6" fmla="*/ 0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29" h="25717">
                    <a:moveTo>
                      <a:pt x="26575" y="0"/>
                    </a:moveTo>
                    <a:lnTo>
                      <a:pt x="0" y="0"/>
                    </a:lnTo>
                    <a:lnTo>
                      <a:pt x="0" y="25717"/>
                    </a:lnTo>
                    <a:lnTo>
                      <a:pt x="26575" y="25717"/>
                    </a:lnTo>
                    <a:cubicBezTo>
                      <a:pt x="33242" y="25717"/>
                      <a:pt x="36100" y="22384"/>
                      <a:pt x="36100" y="12859"/>
                    </a:cubicBezTo>
                    <a:lnTo>
                      <a:pt x="36100" y="9525"/>
                    </a:lnTo>
                    <a:cubicBezTo>
                      <a:pt x="36481" y="3143"/>
                      <a:pt x="33242" y="0"/>
                      <a:pt x="26575" y="0"/>
                    </a:cubicBezTo>
                    <a:close/>
                  </a:path>
                </a:pathLst>
              </a:custGeom>
              <a:solidFill>
                <a:srgbClr val="FFFFFF"/>
              </a:solidFill>
              <a:ln w="9525" cap="flat">
                <a:noFill/>
                <a:prstDash val="solid"/>
                <a:miter/>
              </a:ln>
            </p:spPr>
            <p:txBody>
              <a:bodyPr rtlCol="0" anchor="ctr"/>
              <a:lstStyle/>
              <a:p>
                <a:endParaRPr lang="en-US"/>
              </a:p>
            </p:txBody>
          </p:sp>
          <p:sp>
            <p:nvSpPr>
              <p:cNvPr id="823" name="Freeform: Shape 822">
                <a:extLst>
                  <a:ext uri="{FF2B5EF4-FFF2-40B4-BE49-F238E27FC236}">
                    <a16:creationId xmlns:a16="http://schemas.microsoft.com/office/drawing/2014/main" id="{B537AAC6-FCE6-4F6C-8214-14E16DD77AB1}"/>
                  </a:ext>
                </a:extLst>
              </p:cNvPr>
              <p:cNvSpPr/>
              <p:nvPr/>
            </p:nvSpPr>
            <p:spPr>
              <a:xfrm>
                <a:off x="7982477" y="2008917"/>
                <a:ext cx="39386" cy="25776"/>
              </a:xfrm>
              <a:custGeom>
                <a:avLst/>
                <a:gdLst>
                  <a:gd name="connsiteX0" fmla="*/ 35953 w 39386"/>
                  <a:gd name="connsiteY0" fmla="*/ 0 h 25776"/>
                  <a:gd name="connsiteX1" fmla="*/ 13093 w 39386"/>
                  <a:gd name="connsiteY1" fmla="*/ 0 h 25776"/>
                  <a:gd name="connsiteX2" fmla="*/ 44 w 39386"/>
                  <a:gd name="connsiteY2" fmla="*/ 9525 h 25776"/>
                  <a:gd name="connsiteX3" fmla="*/ 44 w 39386"/>
                  <a:gd name="connsiteY3" fmla="*/ 12859 h 25776"/>
                  <a:gd name="connsiteX4" fmla="*/ 10895 w 39386"/>
                  <a:gd name="connsiteY4" fmla="*/ 25734 h 25776"/>
                  <a:gd name="connsiteX5" fmla="*/ 13093 w 39386"/>
                  <a:gd name="connsiteY5" fmla="*/ 25717 h 25776"/>
                  <a:gd name="connsiteX6" fmla="*/ 35953 w 39386"/>
                  <a:gd name="connsiteY6" fmla="*/ 25717 h 25776"/>
                  <a:gd name="connsiteX7" fmla="*/ 39287 w 39386"/>
                  <a:gd name="connsiteY7" fmla="*/ 12859 h 25776"/>
                  <a:gd name="connsiteX8" fmla="*/ 35953 w 39386"/>
                  <a:gd name="connsiteY8" fmla="*/ 0 h 25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86" h="25776">
                    <a:moveTo>
                      <a:pt x="35953" y="0"/>
                    </a:moveTo>
                    <a:lnTo>
                      <a:pt x="13093" y="0"/>
                    </a:lnTo>
                    <a:cubicBezTo>
                      <a:pt x="6521" y="0"/>
                      <a:pt x="44" y="3143"/>
                      <a:pt x="44" y="9525"/>
                    </a:cubicBezTo>
                    <a:lnTo>
                      <a:pt x="44" y="12859"/>
                    </a:lnTo>
                    <a:cubicBezTo>
                      <a:pt x="-515" y="19411"/>
                      <a:pt x="4343" y="25175"/>
                      <a:pt x="10895" y="25734"/>
                    </a:cubicBezTo>
                    <a:cubicBezTo>
                      <a:pt x="11627" y="25796"/>
                      <a:pt x="12363" y="25791"/>
                      <a:pt x="13093" y="25717"/>
                    </a:cubicBezTo>
                    <a:lnTo>
                      <a:pt x="35953" y="25717"/>
                    </a:lnTo>
                    <a:cubicBezTo>
                      <a:pt x="38571" y="21970"/>
                      <a:pt x="39755" y="17406"/>
                      <a:pt x="39287" y="12859"/>
                    </a:cubicBezTo>
                    <a:cubicBezTo>
                      <a:pt x="39287" y="6382"/>
                      <a:pt x="39287" y="3143"/>
                      <a:pt x="35953" y="0"/>
                    </a:cubicBezTo>
                    <a:close/>
                  </a:path>
                </a:pathLst>
              </a:custGeom>
              <a:solidFill>
                <a:srgbClr val="FFFFFF"/>
              </a:solidFill>
              <a:ln w="9525" cap="flat">
                <a:noFill/>
                <a:prstDash val="solid"/>
                <a:miter/>
              </a:ln>
            </p:spPr>
            <p:txBody>
              <a:bodyPr rtlCol="0" anchor="ctr"/>
              <a:lstStyle/>
              <a:p>
                <a:endParaRPr lang="en-US"/>
              </a:p>
            </p:txBody>
          </p:sp>
          <p:sp>
            <p:nvSpPr>
              <p:cNvPr id="824" name="Freeform: Shape 823">
                <a:extLst>
                  <a:ext uri="{FF2B5EF4-FFF2-40B4-BE49-F238E27FC236}">
                    <a16:creationId xmlns:a16="http://schemas.microsoft.com/office/drawing/2014/main" id="{E83C5445-8382-4E29-9B0F-CD035A39B6CD}"/>
                  </a:ext>
                </a:extLst>
              </p:cNvPr>
              <p:cNvSpPr/>
              <p:nvPr/>
            </p:nvSpPr>
            <p:spPr>
              <a:xfrm>
                <a:off x="7774590" y="2057590"/>
                <a:ext cx="39242" cy="52387"/>
              </a:xfrm>
              <a:custGeom>
                <a:avLst/>
                <a:gdLst>
                  <a:gd name="connsiteX0" fmla="*/ 35909 w 39242"/>
                  <a:gd name="connsiteY0" fmla="*/ 13240 h 52387"/>
                  <a:gd name="connsiteX1" fmla="*/ 35909 w 39242"/>
                  <a:gd name="connsiteY1" fmla="*/ 19812 h 52387"/>
                  <a:gd name="connsiteX2" fmla="*/ 32671 w 39242"/>
                  <a:gd name="connsiteY2" fmla="*/ 26384 h 52387"/>
                  <a:gd name="connsiteX3" fmla="*/ 29433 w 39242"/>
                  <a:gd name="connsiteY3" fmla="*/ 29718 h 52387"/>
                  <a:gd name="connsiteX4" fmla="*/ 22860 w 39242"/>
                  <a:gd name="connsiteY4" fmla="*/ 32956 h 52387"/>
                  <a:gd name="connsiteX5" fmla="*/ 19621 w 39242"/>
                  <a:gd name="connsiteY5" fmla="*/ 36385 h 52387"/>
                  <a:gd name="connsiteX6" fmla="*/ 19621 w 39242"/>
                  <a:gd name="connsiteY6" fmla="*/ 39624 h 52387"/>
                  <a:gd name="connsiteX7" fmla="*/ 16289 w 39242"/>
                  <a:gd name="connsiteY7" fmla="*/ 42766 h 52387"/>
                  <a:gd name="connsiteX8" fmla="*/ 16288 w 39242"/>
                  <a:gd name="connsiteY8" fmla="*/ 42862 h 52387"/>
                  <a:gd name="connsiteX9" fmla="*/ 39243 w 39242"/>
                  <a:gd name="connsiteY9" fmla="*/ 42863 h 52387"/>
                  <a:gd name="connsiteX10" fmla="*/ 39243 w 39242"/>
                  <a:gd name="connsiteY10" fmla="*/ 52388 h 52387"/>
                  <a:gd name="connsiteX11" fmla="*/ 3239 w 39242"/>
                  <a:gd name="connsiteY11" fmla="*/ 52388 h 52387"/>
                  <a:gd name="connsiteX12" fmla="*/ 3239 w 39242"/>
                  <a:gd name="connsiteY12" fmla="*/ 42863 h 52387"/>
                  <a:gd name="connsiteX13" fmla="*/ 6477 w 39242"/>
                  <a:gd name="connsiteY13" fmla="*/ 36385 h 52387"/>
                  <a:gd name="connsiteX14" fmla="*/ 9811 w 39242"/>
                  <a:gd name="connsiteY14" fmla="*/ 32956 h 52387"/>
                  <a:gd name="connsiteX15" fmla="*/ 16288 w 39242"/>
                  <a:gd name="connsiteY15" fmla="*/ 26384 h 52387"/>
                  <a:gd name="connsiteX16" fmla="*/ 19620 w 39242"/>
                  <a:gd name="connsiteY16" fmla="*/ 23242 h 52387"/>
                  <a:gd name="connsiteX17" fmla="*/ 19621 w 39242"/>
                  <a:gd name="connsiteY17" fmla="*/ 23146 h 52387"/>
                  <a:gd name="connsiteX18" fmla="*/ 22861 w 39242"/>
                  <a:gd name="connsiteY18" fmla="*/ 19909 h 52387"/>
                  <a:gd name="connsiteX19" fmla="*/ 22860 w 39242"/>
                  <a:gd name="connsiteY19" fmla="*/ 19812 h 52387"/>
                  <a:gd name="connsiteX20" fmla="*/ 22860 w 39242"/>
                  <a:gd name="connsiteY20" fmla="*/ 16478 h 52387"/>
                  <a:gd name="connsiteX21" fmla="*/ 26098 w 39242"/>
                  <a:gd name="connsiteY21" fmla="*/ 16478 h 52387"/>
                  <a:gd name="connsiteX22" fmla="*/ 22860 w 39242"/>
                  <a:gd name="connsiteY22" fmla="*/ 10001 h 52387"/>
                  <a:gd name="connsiteX23" fmla="*/ 9811 w 39242"/>
                  <a:gd name="connsiteY23" fmla="*/ 10001 h 52387"/>
                  <a:gd name="connsiteX24" fmla="*/ 6477 w 39242"/>
                  <a:gd name="connsiteY24" fmla="*/ 13240 h 52387"/>
                  <a:gd name="connsiteX25" fmla="*/ 6477 w 39242"/>
                  <a:gd name="connsiteY25" fmla="*/ 13240 h 52387"/>
                  <a:gd name="connsiteX26" fmla="*/ 0 w 39242"/>
                  <a:gd name="connsiteY26" fmla="*/ 6667 h 52387"/>
                  <a:gd name="connsiteX27" fmla="*/ 9525 w 39242"/>
                  <a:gd name="connsiteY27" fmla="*/ 0 h 52387"/>
                  <a:gd name="connsiteX28" fmla="*/ 25813 w 39242"/>
                  <a:gd name="connsiteY28" fmla="*/ 0 h 52387"/>
                  <a:gd name="connsiteX29" fmla="*/ 32385 w 39242"/>
                  <a:gd name="connsiteY29" fmla="*/ 3334 h 52387"/>
                  <a:gd name="connsiteX30" fmla="*/ 35623 w 39242"/>
                  <a:gd name="connsiteY30" fmla="*/ 6667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9242" h="52387">
                    <a:moveTo>
                      <a:pt x="35909" y="13240"/>
                    </a:moveTo>
                    <a:lnTo>
                      <a:pt x="35909" y="19812"/>
                    </a:lnTo>
                    <a:cubicBezTo>
                      <a:pt x="35909" y="23146"/>
                      <a:pt x="32671" y="23146"/>
                      <a:pt x="32671" y="26384"/>
                    </a:cubicBezTo>
                    <a:lnTo>
                      <a:pt x="29433" y="29718"/>
                    </a:lnTo>
                    <a:cubicBezTo>
                      <a:pt x="26098" y="32956"/>
                      <a:pt x="26098" y="32956"/>
                      <a:pt x="22860" y="32956"/>
                    </a:cubicBezTo>
                    <a:cubicBezTo>
                      <a:pt x="22860" y="36385"/>
                      <a:pt x="22860" y="36385"/>
                      <a:pt x="19621" y="36385"/>
                    </a:cubicBezTo>
                    <a:lnTo>
                      <a:pt x="19621" y="39624"/>
                    </a:lnTo>
                    <a:cubicBezTo>
                      <a:pt x="17834" y="39571"/>
                      <a:pt x="16341" y="40978"/>
                      <a:pt x="16289" y="42766"/>
                    </a:cubicBezTo>
                    <a:cubicBezTo>
                      <a:pt x="16288" y="42798"/>
                      <a:pt x="16288" y="42830"/>
                      <a:pt x="16288" y="42862"/>
                    </a:cubicBezTo>
                    <a:lnTo>
                      <a:pt x="39243" y="42863"/>
                    </a:lnTo>
                    <a:lnTo>
                      <a:pt x="39243" y="52388"/>
                    </a:lnTo>
                    <a:lnTo>
                      <a:pt x="3239" y="52388"/>
                    </a:lnTo>
                    <a:lnTo>
                      <a:pt x="3239" y="42863"/>
                    </a:lnTo>
                    <a:cubicBezTo>
                      <a:pt x="3239" y="39624"/>
                      <a:pt x="6477" y="39624"/>
                      <a:pt x="6477" y="36385"/>
                    </a:cubicBezTo>
                    <a:lnTo>
                      <a:pt x="9811" y="32956"/>
                    </a:lnTo>
                    <a:lnTo>
                      <a:pt x="16288" y="26384"/>
                    </a:lnTo>
                    <a:cubicBezTo>
                      <a:pt x="18076" y="26437"/>
                      <a:pt x="19568" y="25030"/>
                      <a:pt x="19620" y="23242"/>
                    </a:cubicBezTo>
                    <a:cubicBezTo>
                      <a:pt x="19621" y="23210"/>
                      <a:pt x="19621" y="23178"/>
                      <a:pt x="19621" y="23146"/>
                    </a:cubicBezTo>
                    <a:cubicBezTo>
                      <a:pt x="21410" y="23146"/>
                      <a:pt x="22861" y="21697"/>
                      <a:pt x="22861" y="19909"/>
                    </a:cubicBezTo>
                    <a:cubicBezTo>
                      <a:pt x="22861" y="19876"/>
                      <a:pt x="22861" y="19844"/>
                      <a:pt x="22860" y="19812"/>
                    </a:cubicBezTo>
                    <a:lnTo>
                      <a:pt x="22860" y="16478"/>
                    </a:lnTo>
                    <a:lnTo>
                      <a:pt x="26098" y="16478"/>
                    </a:lnTo>
                    <a:cubicBezTo>
                      <a:pt x="25756" y="14023"/>
                      <a:pt x="24619" y="11748"/>
                      <a:pt x="22860" y="10001"/>
                    </a:cubicBezTo>
                    <a:lnTo>
                      <a:pt x="9811" y="10001"/>
                    </a:lnTo>
                    <a:cubicBezTo>
                      <a:pt x="9811" y="13240"/>
                      <a:pt x="9811" y="13240"/>
                      <a:pt x="6477" y="13240"/>
                    </a:cubicBezTo>
                    <a:lnTo>
                      <a:pt x="6477" y="13240"/>
                    </a:lnTo>
                    <a:lnTo>
                      <a:pt x="0" y="6667"/>
                    </a:lnTo>
                    <a:cubicBezTo>
                      <a:pt x="3239" y="3334"/>
                      <a:pt x="6477" y="3334"/>
                      <a:pt x="9525" y="0"/>
                    </a:cubicBezTo>
                    <a:lnTo>
                      <a:pt x="25813" y="0"/>
                    </a:lnTo>
                    <a:cubicBezTo>
                      <a:pt x="29146" y="0"/>
                      <a:pt x="29146" y="0"/>
                      <a:pt x="32385" y="3334"/>
                    </a:cubicBezTo>
                    <a:lnTo>
                      <a:pt x="35623" y="6667"/>
                    </a:lnTo>
                    <a:close/>
                  </a:path>
                </a:pathLst>
              </a:custGeom>
              <a:solidFill>
                <a:srgbClr val="FFFFFF"/>
              </a:solidFill>
              <a:ln w="9525" cap="flat">
                <a:noFill/>
                <a:prstDash val="solid"/>
                <a:miter/>
              </a:ln>
            </p:spPr>
            <p:txBody>
              <a:bodyPr rtlCol="0" anchor="ctr"/>
              <a:lstStyle/>
              <a:p>
                <a:endParaRPr lang="en-US"/>
              </a:p>
            </p:txBody>
          </p:sp>
          <p:sp>
            <p:nvSpPr>
              <p:cNvPr id="825" name="Freeform: Shape 824">
                <a:extLst>
                  <a:ext uri="{FF2B5EF4-FFF2-40B4-BE49-F238E27FC236}">
                    <a16:creationId xmlns:a16="http://schemas.microsoft.com/office/drawing/2014/main" id="{908815F2-CC7D-4A3D-A7D7-B38A2C7312A5}"/>
                  </a:ext>
                </a:extLst>
              </p:cNvPr>
              <p:cNvSpPr/>
              <p:nvPr/>
            </p:nvSpPr>
            <p:spPr>
              <a:xfrm>
                <a:off x="7815738" y="2057590"/>
                <a:ext cx="43338" cy="52006"/>
              </a:xfrm>
              <a:custGeom>
                <a:avLst/>
                <a:gdLst>
                  <a:gd name="connsiteX0" fmla="*/ 23336 w 43338"/>
                  <a:gd name="connsiteY0" fmla="*/ 13240 h 52006"/>
                  <a:gd name="connsiteX1" fmla="*/ 20003 w 43338"/>
                  <a:gd name="connsiteY1" fmla="*/ 22765 h 52006"/>
                  <a:gd name="connsiteX2" fmla="*/ 13335 w 43338"/>
                  <a:gd name="connsiteY2" fmla="*/ 32290 h 52006"/>
                  <a:gd name="connsiteX3" fmla="*/ 22860 w 43338"/>
                  <a:gd name="connsiteY3" fmla="*/ 32290 h 52006"/>
                  <a:gd name="connsiteX4" fmla="*/ 36672 w 43338"/>
                  <a:gd name="connsiteY4" fmla="*/ 0 h 52006"/>
                  <a:gd name="connsiteX5" fmla="*/ 36672 w 43338"/>
                  <a:gd name="connsiteY5" fmla="*/ 32956 h 52006"/>
                  <a:gd name="connsiteX6" fmla="*/ 43339 w 43338"/>
                  <a:gd name="connsiteY6" fmla="*/ 32956 h 52006"/>
                  <a:gd name="connsiteX7" fmla="*/ 43339 w 43338"/>
                  <a:gd name="connsiteY7" fmla="*/ 42481 h 52006"/>
                  <a:gd name="connsiteX8" fmla="*/ 36672 w 43338"/>
                  <a:gd name="connsiteY8" fmla="*/ 42481 h 52006"/>
                  <a:gd name="connsiteX9" fmla="*/ 36672 w 43338"/>
                  <a:gd name="connsiteY9" fmla="*/ 52006 h 52006"/>
                  <a:gd name="connsiteX10" fmla="*/ 23336 w 43338"/>
                  <a:gd name="connsiteY10" fmla="*/ 52006 h 52006"/>
                  <a:gd name="connsiteX11" fmla="*/ 23336 w 43338"/>
                  <a:gd name="connsiteY11" fmla="*/ 42481 h 52006"/>
                  <a:gd name="connsiteX12" fmla="*/ 0 w 43338"/>
                  <a:gd name="connsiteY12" fmla="*/ 42481 h 52006"/>
                  <a:gd name="connsiteX13" fmla="*/ 0 w 43338"/>
                  <a:gd name="connsiteY13" fmla="*/ 32956 h 52006"/>
                  <a:gd name="connsiteX14" fmla="*/ 6668 w 43338"/>
                  <a:gd name="connsiteY14" fmla="*/ 26384 h 52006"/>
                  <a:gd name="connsiteX15" fmla="*/ 10096 w 43338"/>
                  <a:gd name="connsiteY15" fmla="*/ 16859 h 52006"/>
                  <a:gd name="connsiteX16" fmla="*/ 16669 w 43338"/>
                  <a:gd name="connsiteY16" fmla="*/ 7334 h 52006"/>
                  <a:gd name="connsiteX17" fmla="*/ 26194 w 43338"/>
                  <a:gd name="connsiteY17" fmla="*/ 667 h 5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338" h="52006">
                    <a:moveTo>
                      <a:pt x="23336" y="13240"/>
                    </a:moveTo>
                    <a:cubicBezTo>
                      <a:pt x="23336" y="16478"/>
                      <a:pt x="20003" y="19812"/>
                      <a:pt x="20003" y="22765"/>
                    </a:cubicBezTo>
                    <a:cubicBezTo>
                      <a:pt x="16669" y="26003"/>
                      <a:pt x="13335" y="29337"/>
                      <a:pt x="13335" y="32290"/>
                    </a:cubicBezTo>
                    <a:lnTo>
                      <a:pt x="22860" y="32290"/>
                    </a:lnTo>
                    <a:close/>
                    <a:moveTo>
                      <a:pt x="36672" y="0"/>
                    </a:moveTo>
                    <a:lnTo>
                      <a:pt x="36672" y="32956"/>
                    </a:lnTo>
                    <a:lnTo>
                      <a:pt x="43339" y="32956"/>
                    </a:lnTo>
                    <a:lnTo>
                      <a:pt x="43339" y="42481"/>
                    </a:lnTo>
                    <a:lnTo>
                      <a:pt x="36672" y="42481"/>
                    </a:lnTo>
                    <a:lnTo>
                      <a:pt x="36672" y="52006"/>
                    </a:lnTo>
                    <a:lnTo>
                      <a:pt x="23336" y="52006"/>
                    </a:lnTo>
                    <a:lnTo>
                      <a:pt x="23336" y="42481"/>
                    </a:lnTo>
                    <a:lnTo>
                      <a:pt x="0" y="42481"/>
                    </a:lnTo>
                    <a:lnTo>
                      <a:pt x="0" y="32956"/>
                    </a:lnTo>
                    <a:cubicBezTo>
                      <a:pt x="3429" y="29718"/>
                      <a:pt x="3429" y="29718"/>
                      <a:pt x="6668" y="26384"/>
                    </a:cubicBezTo>
                    <a:cubicBezTo>
                      <a:pt x="6668" y="23146"/>
                      <a:pt x="10096" y="19812"/>
                      <a:pt x="10096" y="16859"/>
                    </a:cubicBezTo>
                    <a:cubicBezTo>
                      <a:pt x="13335" y="13621"/>
                      <a:pt x="16669" y="10382"/>
                      <a:pt x="16669" y="7334"/>
                    </a:cubicBezTo>
                    <a:cubicBezTo>
                      <a:pt x="20003" y="4000"/>
                      <a:pt x="23336" y="4000"/>
                      <a:pt x="26194" y="667"/>
                    </a:cubicBezTo>
                    <a:close/>
                  </a:path>
                </a:pathLst>
              </a:custGeom>
              <a:solidFill>
                <a:srgbClr val="FFFFFF"/>
              </a:solidFill>
              <a:ln w="9525" cap="flat">
                <a:noFill/>
                <a:prstDash val="solid"/>
                <a:miter/>
              </a:ln>
            </p:spPr>
            <p:txBody>
              <a:bodyPr rtlCol="0" anchor="ctr"/>
              <a:lstStyle/>
              <a:p>
                <a:endParaRPr lang="en-US"/>
              </a:p>
            </p:txBody>
          </p:sp>
          <p:sp>
            <p:nvSpPr>
              <p:cNvPr id="826" name="Freeform: Shape 825">
                <a:extLst>
                  <a:ext uri="{FF2B5EF4-FFF2-40B4-BE49-F238E27FC236}">
                    <a16:creationId xmlns:a16="http://schemas.microsoft.com/office/drawing/2014/main" id="{3AFA0E22-B524-475E-B513-EBCC3C898A8B}"/>
                  </a:ext>
                </a:extLst>
              </p:cNvPr>
              <p:cNvSpPr/>
              <p:nvPr/>
            </p:nvSpPr>
            <p:spPr>
              <a:xfrm>
                <a:off x="7859363" y="2049494"/>
                <a:ext cx="36480" cy="77152"/>
              </a:xfrm>
              <a:custGeom>
                <a:avLst/>
                <a:gdLst>
                  <a:gd name="connsiteX0" fmla="*/ 9810 w 36480"/>
                  <a:gd name="connsiteY0" fmla="*/ 77153 h 77152"/>
                  <a:gd name="connsiteX1" fmla="*/ 0 w 36480"/>
                  <a:gd name="connsiteY1" fmla="*/ 77153 h 77152"/>
                  <a:gd name="connsiteX2" fmla="*/ 26670 w 36480"/>
                  <a:gd name="connsiteY2" fmla="*/ 0 h 77152"/>
                  <a:gd name="connsiteX3" fmla="*/ 36481 w 36480"/>
                  <a:gd name="connsiteY3" fmla="*/ 0 h 77152"/>
                  <a:gd name="connsiteX4" fmla="*/ 9810 w 36480"/>
                  <a:gd name="connsiteY4" fmla="*/ 77153 h 77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80" h="77152">
                    <a:moveTo>
                      <a:pt x="9810" y="77153"/>
                    </a:moveTo>
                    <a:lnTo>
                      <a:pt x="0" y="77153"/>
                    </a:lnTo>
                    <a:lnTo>
                      <a:pt x="26670" y="0"/>
                    </a:lnTo>
                    <a:lnTo>
                      <a:pt x="36481" y="0"/>
                    </a:lnTo>
                    <a:lnTo>
                      <a:pt x="9810" y="77153"/>
                    </a:lnTo>
                    <a:close/>
                  </a:path>
                </a:pathLst>
              </a:custGeom>
              <a:solidFill>
                <a:srgbClr val="FFFFFF"/>
              </a:solidFill>
              <a:ln w="9525" cap="flat">
                <a:noFill/>
                <a:prstDash val="solid"/>
                <a:miter/>
              </a:ln>
            </p:spPr>
            <p:txBody>
              <a:bodyPr rtlCol="0" anchor="ctr"/>
              <a:lstStyle/>
              <a:p>
                <a:endParaRPr lang="en-US"/>
              </a:p>
            </p:txBody>
          </p:sp>
          <p:sp>
            <p:nvSpPr>
              <p:cNvPr id="827" name="Freeform: Shape 826">
                <a:extLst>
                  <a:ext uri="{FF2B5EF4-FFF2-40B4-BE49-F238E27FC236}">
                    <a16:creationId xmlns:a16="http://schemas.microsoft.com/office/drawing/2014/main" id="{4ABDBE80-E908-4B00-A334-4AE56F81DCB5}"/>
                  </a:ext>
                </a:extLst>
              </p:cNvPr>
              <p:cNvSpPr/>
              <p:nvPr/>
            </p:nvSpPr>
            <p:spPr>
              <a:xfrm>
                <a:off x="7899082" y="2059114"/>
                <a:ext cx="36480" cy="51911"/>
              </a:xfrm>
              <a:custGeom>
                <a:avLst/>
                <a:gdLst>
                  <a:gd name="connsiteX0" fmla="*/ 6668 w 36480"/>
                  <a:gd name="connsiteY0" fmla="*/ 51245 h 51911"/>
                  <a:gd name="connsiteX1" fmla="*/ 9906 w 36480"/>
                  <a:gd name="connsiteY1" fmla="*/ 41720 h 51911"/>
                  <a:gd name="connsiteX2" fmla="*/ 13335 w 36480"/>
                  <a:gd name="connsiteY2" fmla="*/ 28575 h 51911"/>
                  <a:gd name="connsiteX3" fmla="*/ 16573 w 36480"/>
                  <a:gd name="connsiteY3" fmla="*/ 19050 h 51911"/>
                  <a:gd name="connsiteX4" fmla="*/ 23241 w 36480"/>
                  <a:gd name="connsiteY4" fmla="*/ 9525 h 51911"/>
                  <a:gd name="connsiteX5" fmla="*/ 0 w 36480"/>
                  <a:gd name="connsiteY5" fmla="*/ 9525 h 51911"/>
                  <a:gd name="connsiteX6" fmla="*/ 0 w 36480"/>
                  <a:gd name="connsiteY6" fmla="*/ 0 h 51911"/>
                  <a:gd name="connsiteX7" fmla="*/ 36481 w 36480"/>
                  <a:gd name="connsiteY7" fmla="*/ 0 h 51911"/>
                  <a:gd name="connsiteX8" fmla="*/ 36481 w 36480"/>
                  <a:gd name="connsiteY8" fmla="*/ 9525 h 51911"/>
                  <a:gd name="connsiteX9" fmla="*/ 33242 w 36480"/>
                  <a:gd name="connsiteY9" fmla="*/ 16002 h 51911"/>
                  <a:gd name="connsiteX10" fmla="*/ 26575 w 36480"/>
                  <a:gd name="connsiteY10" fmla="*/ 25527 h 51911"/>
                  <a:gd name="connsiteX11" fmla="*/ 23242 w 36480"/>
                  <a:gd name="connsiteY11" fmla="*/ 38767 h 51911"/>
                  <a:gd name="connsiteX12" fmla="*/ 19908 w 36480"/>
                  <a:gd name="connsiteY12" fmla="*/ 51911 h 5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480" h="51911">
                    <a:moveTo>
                      <a:pt x="6668" y="51245"/>
                    </a:moveTo>
                    <a:cubicBezTo>
                      <a:pt x="6351" y="47754"/>
                      <a:pt x="7527" y="44293"/>
                      <a:pt x="9906" y="41720"/>
                    </a:cubicBezTo>
                    <a:cubicBezTo>
                      <a:pt x="9395" y="37065"/>
                      <a:pt x="10616" y="32386"/>
                      <a:pt x="13335" y="28575"/>
                    </a:cubicBezTo>
                    <a:cubicBezTo>
                      <a:pt x="13335" y="25241"/>
                      <a:pt x="16573" y="22003"/>
                      <a:pt x="16573" y="19050"/>
                    </a:cubicBezTo>
                    <a:cubicBezTo>
                      <a:pt x="19908" y="15716"/>
                      <a:pt x="19908" y="12478"/>
                      <a:pt x="23241" y="9525"/>
                    </a:cubicBezTo>
                    <a:lnTo>
                      <a:pt x="0" y="9525"/>
                    </a:lnTo>
                    <a:lnTo>
                      <a:pt x="0" y="0"/>
                    </a:lnTo>
                    <a:lnTo>
                      <a:pt x="36481" y="0"/>
                    </a:lnTo>
                    <a:lnTo>
                      <a:pt x="36481" y="9525"/>
                    </a:lnTo>
                    <a:cubicBezTo>
                      <a:pt x="34722" y="11272"/>
                      <a:pt x="33585" y="13547"/>
                      <a:pt x="33242" y="16002"/>
                    </a:cubicBezTo>
                    <a:cubicBezTo>
                      <a:pt x="29909" y="19336"/>
                      <a:pt x="26575" y="22670"/>
                      <a:pt x="26575" y="25527"/>
                    </a:cubicBezTo>
                    <a:cubicBezTo>
                      <a:pt x="23938" y="29409"/>
                      <a:pt x="22757" y="34099"/>
                      <a:pt x="23242" y="38767"/>
                    </a:cubicBezTo>
                    <a:cubicBezTo>
                      <a:pt x="20924" y="42751"/>
                      <a:pt x="19769" y="47304"/>
                      <a:pt x="19908" y="51911"/>
                    </a:cubicBezTo>
                    <a:close/>
                  </a:path>
                </a:pathLst>
              </a:custGeom>
              <a:solidFill>
                <a:srgbClr val="FFFFFF"/>
              </a:solidFill>
              <a:ln w="9525" cap="flat">
                <a:noFill/>
                <a:prstDash val="solid"/>
                <a:miter/>
              </a:ln>
            </p:spPr>
            <p:txBody>
              <a:bodyPr rtlCol="0" anchor="ctr"/>
              <a:lstStyle/>
              <a:p>
                <a:endParaRPr lang="en-US"/>
              </a:p>
            </p:txBody>
          </p:sp>
          <p:sp>
            <p:nvSpPr>
              <p:cNvPr id="828" name="Freeform: Shape 827">
                <a:extLst>
                  <a:ext uri="{FF2B5EF4-FFF2-40B4-BE49-F238E27FC236}">
                    <a16:creationId xmlns:a16="http://schemas.microsoft.com/office/drawing/2014/main" id="{655D6DD0-218B-451B-BFEB-937F43D4A892}"/>
                  </a:ext>
                </a:extLst>
              </p:cNvPr>
              <p:cNvSpPr/>
              <p:nvPr/>
            </p:nvSpPr>
            <p:spPr>
              <a:xfrm>
                <a:off x="7776131" y="1901311"/>
                <a:ext cx="156288" cy="136002"/>
              </a:xfrm>
              <a:custGeom>
                <a:avLst/>
                <a:gdLst>
                  <a:gd name="connsiteX0" fmla="*/ 143144 w 156288"/>
                  <a:gd name="connsiteY0" fmla="*/ 1212 h 136002"/>
                  <a:gd name="connsiteX1" fmla="*/ 123236 w 156288"/>
                  <a:gd name="connsiteY1" fmla="*/ 7785 h 136002"/>
                  <a:gd name="connsiteX2" fmla="*/ 77135 w 156288"/>
                  <a:gd name="connsiteY2" fmla="*/ 96558 h 136002"/>
                  <a:gd name="connsiteX3" fmla="*/ 70468 w 156288"/>
                  <a:gd name="connsiteY3" fmla="*/ 99796 h 136002"/>
                  <a:gd name="connsiteX4" fmla="*/ 7888 w 156288"/>
                  <a:gd name="connsiteY4" fmla="*/ 67030 h 136002"/>
                  <a:gd name="connsiteX5" fmla="*/ 1221 w 156288"/>
                  <a:gd name="connsiteY5" fmla="*/ 80175 h 136002"/>
                  <a:gd name="connsiteX6" fmla="*/ 7889 w 156288"/>
                  <a:gd name="connsiteY6" fmla="*/ 99796 h 136002"/>
                  <a:gd name="connsiteX7" fmla="*/ 70468 w 156288"/>
                  <a:gd name="connsiteY7" fmla="*/ 132753 h 136002"/>
                  <a:gd name="connsiteX8" fmla="*/ 83708 w 156288"/>
                  <a:gd name="connsiteY8" fmla="*/ 135991 h 136002"/>
                  <a:gd name="connsiteX9" fmla="*/ 83708 w 156288"/>
                  <a:gd name="connsiteY9" fmla="*/ 132753 h 136002"/>
                  <a:gd name="connsiteX10" fmla="*/ 96852 w 156288"/>
                  <a:gd name="connsiteY10" fmla="*/ 126180 h 136002"/>
                  <a:gd name="connsiteX11" fmla="*/ 156288 w 156288"/>
                  <a:gd name="connsiteY11" fmla="*/ 7785 h 136002"/>
                  <a:gd name="connsiteX12" fmla="*/ 143144 w 156288"/>
                  <a:gd name="connsiteY12" fmla="*/ 1212 h 1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288" h="136002">
                    <a:moveTo>
                      <a:pt x="143144" y="1212"/>
                    </a:moveTo>
                    <a:cubicBezTo>
                      <a:pt x="135795" y="-1810"/>
                      <a:pt x="127340" y="981"/>
                      <a:pt x="123236" y="7785"/>
                    </a:cubicBezTo>
                    <a:lnTo>
                      <a:pt x="77135" y="96558"/>
                    </a:lnTo>
                    <a:cubicBezTo>
                      <a:pt x="77135" y="99796"/>
                      <a:pt x="73897" y="99796"/>
                      <a:pt x="70468" y="99796"/>
                    </a:cubicBezTo>
                    <a:lnTo>
                      <a:pt x="7888" y="67030"/>
                    </a:lnTo>
                    <a:cubicBezTo>
                      <a:pt x="7888" y="67030"/>
                      <a:pt x="4460" y="73507"/>
                      <a:pt x="1221" y="80175"/>
                    </a:cubicBezTo>
                    <a:cubicBezTo>
                      <a:pt x="-1839" y="87460"/>
                      <a:pt x="1023" y="95884"/>
                      <a:pt x="7889" y="99796"/>
                    </a:cubicBezTo>
                    <a:lnTo>
                      <a:pt x="70468" y="132753"/>
                    </a:lnTo>
                    <a:cubicBezTo>
                      <a:pt x="74506" y="135012"/>
                      <a:pt x="79082" y="136132"/>
                      <a:pt x="83708" y="135991"/>
                    </a:cubicBezTo>
                    <a:lnTo>
                      <a:pt x="83708" y="132753"/>
                    </a:lnTo>
                    <a:cubicBezTo>
                      <a:pt x="88864" y="132687"/>
                      <a:pt x="93706" y="130266"/>
                      <a:pt x="96852" y="126180"/>
                    </a:cubicBezTo>
                    <a:lnTo>
                      <a:pt x="156288" y="7785"/>
                    </a:lnTo>
                    <a:cubicBezTo>
                      <a:pt x="152401" y="4720"/>
                      <a:pt x="147928" y="2484"/>
                      <a:pt x="143144" y="1212"/>
                    </a:cubicBezTo>
                    <a:close/>
                  </a:path>
                </a:pathLst>
              </a:custGeom>
              <a:solidFill>
                <a:srgbClr val="FFFFFF"/>
              </a:solidFill>
              <a:ln w="9525" cap="flat">
                <a:noFill/>
                <a:prstDash val="solid"/>
                <a:miter/>
              </a:ln>
            </p:spPr>
            <p:txBody>
              <a:bodyPr rtlCol="0" anchor="ctr"/>
              <a:lstStyle/>
              <a:p>
                <a:endParaRPr lang="en-US"/>
              </a:p>
            </p:txBody>
          </p:sp>
        </p:grpSp>
      </p:grpSp>
      <p:grpSp>
        <p:nvGrpSpPr>
          <p:cNvPr id="829" name="Group 828">
            <a:extLst>
              <a:ext uri="{FF2B5EF4-FFF2-40B4-BE49-F238E27FC236}">
                <a16:creationId xmlns:a16="http://schemas.microsoft.com/office/drawing/2014/main" id="{6F945623-7D1C-4B92-8593-E3213C7C726C}"/>
              </a:ext>
              <a:ext uri="{C183D7F6-B498-43B3-948B-1728B52AA6E4}">
                <adec:decorative xmlns:adec="http://schemas.microsoft.com/office/drawing/2017/decorative" val="1"/>
              </a:ext>
            </a:extLst>
          </p:cNvPr>
          <p:cNvGrpSpPr/>
          <p:nvPr/>
        </p:nvGrpSpPr>
        <p:grpSpPr>
          <a:xfrm>
            <a:off x="8427333" y="2027873"/>
            <a:ext cx="679450" cy="633413"/>
            <a:chOff x="9325061" y="1702687"/>
            <a:chExt cx="679450" cy="633413"/>
          </a:xfrm>
        </p:grpSpPr>
        <p:sp>
          <p:nvSpPr>
            <p:cNvPr id="830" name="Freeform 289">
              <a:extLst>
                <a:ext uri="{FF2B5EF4-FFF2-40B4-BE49-F238E27FC236}">
                  <a16:creationId xmlns:a16="http://schemas.microsoft.com/office/drawing/2014/main" id="{89B5A1CB-B1EE-4946-857D-A51E3DE88139}"/>
                </a:ext>
              </a:extLst>
            </p:cNvPr>
            <p:cNvSpPr>
              <a:spLocks/>
            </p:cNvSpPr>
            <p:nvPr/>
          </p:nvSpPr>
          <p:spPr bwMode="auto">
            <a:xfrm>
              <a:off x="9325061" y="1702687"/>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831" name="Group 830">
              <a:extLst>
                <a:ext uri="{FF2B5EF4-FFF2-40B4-BE49-F238E27FC236}">
                  <a16:creationId xmlns:a16="http://schemas.microsoft.com/office/drawing/2014/main" id="{B4AFA477-1D8E-43C1-9752-01FAC12284FC}"/>
                </a:ext>
              </a:extLst>
            </p:cNvPr>
            <p:cNvGrpSpPr/>
            <p:nvPr/>
          </p:nvGrpSpPr>
          <p:grpSpPr>
            <a:xfrm>
              <a:off x="9400939" y="1914349"/>
              <a:ext cx="474112" cy="244508"/>
              <a:chOff x="9366304" y="1893568"/>
              <a:chExt cx="474112" cy="244508"/>
            </a:xfrm>
          </p:grpSpPr>
          <p:sp>
            <p:nvSpPr>
              <p:cNvPr id="832" name="Freeform: Shape 831">
                <a:extLst>
                  <a:ext uri="{FF2B5EF4-FFF2-40B4-BE49-F238E27FC236}">
                    <a16:creationId xmlns:a16="http://schemas.microsoft.com/office/drawing/2014/main" id="{8D9464CF-14A0-47CD-A2DE-40FF71946B11}"/>
                  </a:ext>
                </a:extLst>
              </p:cNvPr>
              <p:cNvSpPr/>
              <p:nvPr/>
            </p:nvSpPr>
            <p:spPr>
              <a:xfrm>
                <a:off x="9366304" y="1893568"/>
                <a:ext cx="474112" cy="206891"/>
              </a:xfrm>
              <a:custGeom>
                <a:avLst/>
                <a:gdLst>
                  <a:gd name="connsiteX0" fmla="*/ 372819 w 474112"/>
                  <a:gd name="connsiteY0" fmla="*/ 122302 h 206891"/>
                  <a:gd name="connsiteX1" fmla="*/ 372819 w 474112"/>
                  <a:gd name="connsiteY1" fmla="*/ 73915 h 206891"/>
                  <a:gd name="connsiteX2" fmla="*/ 391869 w 474112"/>
                  <a:gd name="connsiteY2" fmla="*/ 73915 h 206891"/>
                  <a:gd name="connsiteX3" fmla="*/ 413586 w 474112"/>
                  <a:gd name="connsiteY3" fmla="*/ 90965 h 206891"/>
                  <a:gd name="connsiteX4" fmla="*/ 421492 w 474112"/>
                  <a:gd name="connsiteY4" fmla="*/ 122302 h 206891"/>
                  <a:gd name="connsiteX5" fmla="*/ 299000 w 474112"/>
                  <a:gd name="connsiteY5" fmla="*/ 106681 h 206891"/>
                  <a:gd name="connsiteX6" fmla="*/ 287094 w 474112"/>
                  <a:gd name="connsiteY6" fmla="*/ 106681 h 206891"/>
                  <a:gd name="connsiteX7" fmla="*/ 287094 w 474112"/>
                  <a:gd name="connsiteY7" fmla="*/ 127064 h 206891"/>
                  <a:gd name="connsiteX8" fmla="*/ 264996 w 474112"/>
                  <a:gd name="connsiteY8" fmla="*/ 127064 h 206891"/>
                  <a:gd name="connsiteX9" fmla="*/ 264996 w 474112"/>
                  <a:gd name="connsiteY9" fmla="*/ 106681 h 206891"/>
                  <a:gd name="connsiteX10" fmla="*/ 225658 w 474112"/>
                  <a:gd name="connsiteY10" fmla="*/ 106681 h 206891"/>
                  <a:gd name="connsiteX11" fmla="*/ 225658 w 474112"/>
                  <a:gd name="connsiteY11" fmla="*/ 86012 h 206891"/>
                  <a:gd name="connsiteX12" fmla="*/ 266425 w 474112"/>
                  <a:gd name="connsiteY12" fmla="*/ 36101 h 206891"/>
                  <a:gd name="connsiteX13" fmla="*/ 287570 w 474112"/>
                  <a:gd name="connsiteY13" fmla="*/ 36101 h 206891"/>
                  <a:gd name="connsiteX14" fmla="*/ 287570 w 474112"/>
                  <a:gd name="connsiteY14" fmla="*/ 87631 h 206891"/>
                  <a:gd name="connsiteX15" fmla="*/ 299476 w 474112"/>
                  <a:gd name="connsiteY15" fmla="*/ 87631 h 206891"/>
                  <a:gd name="connsiteX16" fmla="*/ 154601 w 474112"/>
                  <a:gd name="connsiteY16" fmla="*/ 96680 h 206891"/>
                  <a:gd name="connsiteX17" fmla="*/ 178413 w 474112"/>
                  <a:gd name="connsiteY17" fmla="*/ 80678 h 206891"/>
                  <a:gd name="connsiteX18" fmla="*/ 190320 w 474112"/>
                  <a:gd name="connsiteY18" fmla="*/ 65628 h 206891"/>
                  <a:gd name="connsiteX19" fmla="*/ 179984 w 474112"/>
                  <a:gd name="connsiteY19" fmla="*/ 54271 h 206891"/>
                  <a:gd name="connsiteX20" fmla="*/ 178604 w 474112"/>
                  <a:gd name="connsiteY20" fmla="*/ 54294 h 206891"/>
                  <a:gd name="connsiteX21" fmla="*/ 163364 w 474112"/>
                  <a:gd name="connsiteY21" fmla="*/ 72677 h 206891"/>
                  <a:gd name="connsiteX22" fmla="*/ 142695 w 474112"/>
                  <a:gd name="connsiteY22" fmla="*/ 72677 h 206891"/>
                  <a:gd name="connsiteX23" fmla="*/ 171014 w 474112"/>
                  <a:gd name="connsiteY23" fmla="*/ 34815 h 206891"/>
                  <a:gd name="connsiteX24" fmla="*/ 178413 w 474112"/>
                  <a:gd name="connsiteY24" fmla="*/ 34577 h 206891"/>
                  <a:gd name="connsiteX25" fmla="*/ 212513 w 474112"/>
                  <a:gd name="connsiteY25" fmla="*/ 63152 h 206891"/>
                  <a:gd name="connsiteX26" fmla="*/ 186605 w 474112"/>
                  <a:gd name="connsiteY26" fmla="*/ 95537 h 206891"/>
                  <a:gd name="connsiteX27" fmla="*/ 170223 w 474112"/>
                  <a:gd name="connsiteY27" fmla="*/ 107729 h 206891"/>
                  <a:gd name="connsiteX28" fmla="*/ 213371 w 474112"/>
                  <a:gd name="connsiteY28" fmla="*/ 107729 h 206891"/>
                  <a:gd name="connsiteX29" fmla="*/ 213371 w 474112"/>
                  <a:gd name="connsiteY29" fmla="*/ 126779 h 206891"/>
                  <a:gd name="connsiteX30" fmla="*/ 139933 w 474112"/>
                  <a:gd name="connsiteY30" fmla="*/ 126779 h 206891"/>
                  <a:gd name="connsiteX31" fmla="*/ 154601 w 474112"/>
                  <a:gd name="connsiteY31" fmla="*/ 96299 h 206891"/>
                  <a:gd name="connsiteX32" fmla="*/ 468926 w 474112"/>
                  <a:gd name="connsiteY32" fmla="*/ 135732 h 206891"/>
                  <a:gd name="connsiteX33" fmla="*/ 448161 w 474112"/>
                  <a:gd name="connsiteY33" fmla="*/ 119254 h 206891"/>
                  <a:gd name="connsiteX34" fmla="*/ 437494 w 474112"/>
                  <a:gd name="connsiteY34" fmla="*/ 79344 h 206891"/>
                  <a:gd name="connsiteX35" fmla="*/ 391392 w 474112"/>
                  <a:gd name="connsiteY35" fmla="*/ 46959 h 206891"/>
                  <a:gd name="connsiteX36" fmla="*/ 350435 w 474112"/>
                  <a:gd name="connsiteY36" fmla="*/ 46959 h 206891"/>
                  <a:gd name="connsiteX37" fmla="*/ 344910 w 474112"/>
                  <a:gd name="connsiteY37" fmla="*/ 49626 h 206891"/>
                  <a:gd name="connsiteX38" fmla="*/ 342243 w 474112"/>
                  <a:gd name="connsiteY38" fmla="*/ 55436 h 206891"/>
                  <a:gd name="connsiteX39" fmla="*/ 342244 w 474112"/>
                  <a:gd name="connsiteY39" fmla="*/ 158306 h 206891"/>
                  <a:gd name="connsiteX40" fmla="*/ 335576 w 474112"/>
                  <a:gd name="connsiteY40" fmla="*/ 164974 h 206891"/>
                  <a:gd name="connsiteX41" fmla="*/ 328908 w 474112"/>
                  <a:gd name="connsiteY41" fmla="*/ 158693 h 206891"/>
                  <a:gd name="connsiteX42" fmla="*/ 328908 w 474112"/>
                  <a:gd name="connsiteY42" fmla="*/ 158306 h 206891"/>
                  <a:gd name="connsiteX43" fmla="*/ 328909 w 474112"/>
                  <a:gd name="connsiteY43" fmla="*/ 9717 h 206891"/>
                  <a:gd name="connsiteX44" fmla="*/ 326051 w 474112"/>
                  <a:gd name="connsiteY44" fmla="*/ 2763 h 206891"/>
                  <a:gd name="connsiteX45" fmla="*/ 319194 w 474112"/>
                  <a:gd name="connsiteY45" fmla="*/ 1 h 206891"/>
                  <a:gd name="connsiteX46" fmla="*/ 52017 w 474112"/>
                  <a:gd name="connsiteY46" fmla="*/ 1 h 206891"/>
                  <a:gd name="connsiteX47" fmla="*/ 44206 w 474112"/>
                  <a:gd name="connsiteY47" fmla="*/ 7050 h 206891"/>
                  <a:gd name="connsiteX48" fmla="*/ 44206 w 474112"/>
                  <a:gd name="connsiteY48" fmla="*/ 7049 h 206891"/>
                  <a:gd name="connsiteX49" fmla="*/ 51636 w 474112"/>
                  <a:gd name="connsiteY49" fmla="*/ 15622 h 206891"/>
                  <a:gd name="connsiteX50" fmla="*/ 51636 w 474112"/>
                  <a:gd name="connsiteY50" fmla="*/ 15622 h 206891"/>
                  <a:gd name="connsiteX51" fmla="*/ 121740 w 474112"/>
                  <a:gd name="connsiteY51" fmla="*/ 20099 h 206891"/>
                  <a:gd name="connsiteX52" fmla="*/ 111358 w 474112"/>
                  <a:gd name="connsiteY52" fmla="*/ 43244 h 206891"/>
                  <a:gd name="connsiteX53" fmla="*/ 82306 w 474112"/>
                  <a:gd name="connsiteY53" fmla="*/ 43244 h 206891"/>
                  <a:gd name="connsiteX54" fmla="*/ 82306 w 474112"/>
                  <a:gd name="connsiteY54" fmla="*/ 66295 h 206891"/>
                  <a:gd name="connsiteX55" fmla="*/ 30395 w 474112"/>
                  <a:gd name="connsiteY55" fmla="*/ 66295 h 206891"/>
                  <a:gd name="connsiteX56" fmla="*/ 22871 w 474112"/>
                  <a:gd name="connsiteY56" fmla="*/ 73439 h 206891"/>
                  <a:gd name="connsiteX57" fmla="*/ 22871 w 474112"/>
                  <a:gd name="connsiteY57" fmla="*/ 73439 h 206891"/>
                  <a:gd name="connsiteX58" fmla="*/ 29385 w 474112"/>
                  <a:gd name="connsiteY58" fmla="*/ 81682 h 206891"/>
                  <a:gd name="connsiteX59" fmla="*/ 29919 w 474112"/>
                  <a:gd name="connsiteY59" fmla="*/ 81726 h 206891"/>
                  <a:gd name="connsiteX60" fmla="*/ 30395 w 474112"/>
                  <a:gd name="connsiteY60" fmla="*/ 81726 h 206891"/>
                  <a:gd name="connsiteX61" fmla="*/ 122406 w 474112"/>
                  <a:gd name="connsiteY61" fmla="*/ 88107 h 206891"/>
                  <a:gd name="connsiteX62" fmla="*/ 111358 w 474112"/>
                  <a:gd name="connsiteY62" fmla="*/ 109824 h 206891"/>
                  <a:gd name="connsiteX63" fmla="*/ 81640 w 474112"/>
                  <a:gd name="connsiteY63" fmla="*/ 109824 h 206891"/>
                  <a:gd name="connsiteX64" fmla="*/ 81640 w 474112"/>
                  <a:gd name="connsiteY64" fmla="*/ 132875 h 206891"/>
                  <a:gd name="connsiteX65" fmla="*/ 7821 w 474112"/>
                  <a:gd name="connsiteY65" fmla="*/ 132875 h 206891"/>
                  <a:gd name="connsiteX66" fmla="*/ 10 w 474112"/>
                  <a:gd name="connsiteY66" fmla="*/ 140019 h 206891"/>
                  <a:gd name="connsiteX67" fmla="*/ 10 w 474112"/>
                  <a:gd name="connsiteY67" fmla="*/ 140019 h 206891"/>
                  <a:gd name="connsiteX68" fmla="*/ 7345 w 474112"/>
                  <a:gd name="connsiteY68" fmla="*/ 148305 h 206891"/>
                  <a:gd name="connsiteX69" fmla="*/ 7345 w 474112"/>
                  <a:gd name="connsiteY69" fmla="*/ 148305 h 206891"/>
                  <a:gd name="connsiteX70" fmla="*/ 121645 w 474112"/>
                  <a:gd name="connsiteY70" fmla="*/ 155068 h 206891"/>
                  <a:gd name="connsiteX71" fmla="*/ 111453 w 474112"/>
                  <a:gd name="connsiteY71" fmla="*/ 176023 h 206891"/>
                  <a:gd name="connsiteX72" fmla="*/ 81068 w 474112"/>
                  <a:gd name="connsiteY72" fmla="*/ 176023 h 206891"/>
                  <a:gd name="connsiteX73" fmla="*/ 81068 w 474112"/>
                  <a:gd name="connsiteY73" fmla="*/ 197169 h 206891"/>
                  <a:gd name="connsiteX74" fmla="*/ 84116 w 474112"/>
                  <a:gd name="connsiteY74" fmla="*/ 204122 h 206891"/>
                  <a:gd name="connsiteX75" fmla="*/ 90784 w 474112"/>
                  <a:gd name="connsiteY75" fmla="*/ 206884 h 206891"/>
                  <a:gd name="connsiteX76" fmla="*/ 142123 w 474112"/>
                  <a:gd name="connsiteY76" fmla="*/ 206884 h 206891"/>
                  <a:gd name="connsiteX77" fmla="*/ 142123 w 474112"/>
                  <a:gd name="connsiteY77" fmla="*/ 205265 h 206891"/>
                  <a:gd name="connsiteX78" fmla="*/ 189748 w 474112"/>
                  <a:gd name="connsiteY78" fmla="*/ 159354 h 206891"/>
                  <a:gd name="connsiteX79" fmla="*/ 189748 w 474112"/>
                  <a:gd name="connsiteY79" fmla="*/ 159354 h 206891"/>
                  <a:gd name="connsiteX80" fmla="*/ 237849 w 474112"/>
                  <a:gd name="connsiteY80" fmla="*/ 205265 h 206891"/>
                  <a:gd name="connsiteX81" fmla="*/ 237850 w 474112"/>
                  <a:gd name="connsiteY81" fmla="*/ 206884 h 206891"/>
                  <a:gd name="connsiteX82" fmla="*/ 354721 w 474112"/>
                  <a:gd name="connsiteY82" fmla="*/ 206884 h 206891"/>
                  <a:gd name="connsiteX83" fmla="*/ 354721 w 474112"/>
                  <a:gd name="connsiteY83" fmla="*/ 206217 h 206891"/>
                  <a:gd name="connsiteX84" fmla="*/ 369295 w 474112"/>
                  <a:gd name="connsiteY84" fmla="*/ 173451 h 206891"/>
                  <a:gd name="connsiteX85" fmla="*/ 403013 w 474112"/>
                  <a:gd name="connsiteY85" fmla="*/ 159640 h 206891"/>
                  <a:gd name="connsiteX86" fmla="*/ 403013 w 474112"/>
                  <a:gd name="connsiteY86" fmla="*/ 159640 h 206891"/>
                  <a:gd name="connsiteX87" fmla="*/ 436637 w 474112"/>
                  <a:gd name="connsiteY87" fmla="*/ 173451 h 206891"/>
                  <a:gd name="connsiteX88" fmla="*/ 451115 w 474112"/>
                  <a:gd name="connsiteY88" fmla="*/ 206027 h 206891"/>
                  <a:gd name="connsiteX89" fmla="*/ 451114 w 474112"/>
                  <a:gd name="connsiteY89" fmla="*/ 206884 h 206891"/>
                  <a:gd name="connsiteX90" fmla="*/ 460639 w 474112"/>
                  <a:gd name="connsiteY90" fmla="*/ 206884 h 206891"/>
                  <a:gd name="connsiteX91" fmla="*/ 470164 w 474112"/>
                  <a:gd name="connsiteY91" fmla="*/ 202979 h 206891"/>
                  <a:gd name="connsiteX92" fmla="*/ 474069 w 474112"/>
                  <a:gd name="connsiteY92" fmla="*/ 193454 h 206891"/>
                  <a:gd name="connsiteX93" fmla="*/ 474070 w 474112"/>
                  <a:gd name="connsiteY93" fmla="*/ 151258 h 206891"/>
                  <a:gd name="connsiteX94" fmla="*/ 469212 w 474112"/>
                  <a:gd name="connsiteY94" fmla="*/ 135256 h 206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74112" h="206891">
                    <a:moveTo>
                      <a:pt x="372819" y="122302"/>
                    </a:moveTo>
                    <a:lnTo>
                      <a:pt x="372819" y="73915"/>
                    </a:lnTo>
                    <a:lnTo>
                      <a:pt x="391869" y="73915"/>
                    </a:lnTo>
                    <a:cubicBezTo>
                      <a:pt x="401394" y="73915"/>
                      <a:pt x="407585" y="79439"/>
                      <a:pt x="413586" y="90965"/>
                    </a:cubicBezTo>
                    <a:cubicBezTo>
                      <a:pt x="418038" y="100866"/>
                      <a:pt x="420714" y="111474"/>
                      <a:pt x="421492" y="122302"/>
                    </a:cubicBezTo>
                    <a:close/>
                    <a:moveTo>
                      <a:pt x="299000" y="106681"/>
                    </a:moveTo>
                    <a:lnTo>
                      <a:pt x="287094" y="106681"/>
                    </a:lnTo>
                    <a:lnTo>
                      <a:pt x="287094" y="127064"/>
                    </a:lnTo>
                    <a:lnTo>
                      <a:pt x="264996" y="127064"/>
                    </a:lnTo>
                    <a:lnTo>
                      <a:pt x="264996" y="106681"/>
                    </a:lnTo>
                    <a:lnTo>
                      <a:pt x="225658" y="106681"/>
                    </a:lnTo>
                    <a:lnTo>
                      <a:pt x="225658" y="86012"/>
                    </a:lnTo>
                    <a:lnTo>
                      <a:pt x="266425" y="36101"/>
                    </a:lnTo>
                    <a:lnTo>
                      <a:pt x="287570" y="36101"/>
                    </a:lnTo>
                    <a:lnTo>
                      <a:pt x="287570" y="87631"/>
                    </a:lnTo>
                    <a:lnTo>
                      <a:pt x="299476" y="87631"/>
                    </a:lnTo>
                    <a:close/>
                    <a:moveTo>
                      <a:pt x="154601" y="96680"/>
                    </a:moveTo>
                    <a:cubicBezTo>
                      <a:pt x="162138" y="90773"/>
                      <a:pt x="170097" y="85425"/>
                      <a:pt x="178413" y="80678"/>
                    </a:cubicBezTo>
                    <a:cubicBezTo>
                      <a:pt x="185272" y="76106"/>
                      <a:pt x="190320" y="71819"/>
                      <a:pt x="190320" y="65628"/>
                    </a:cubicBezTo>
                    <a:cubicBezTo>
                      <a:pt x="190602" y="59638"/>
                      <a:pt x="185975" y="54553"/>
                      <a:pt x="179984" y="54271"/>
                    </a:cubicBezTo>
                    <a:cubicBezTo>
                      <a:pt x="179524" y="54249"/>
                      <a:pt x="179063" y="54257"/>
                      <a:pt x="178604" y="54294"/>
                    </a:cubicBezTo>
                    <a:cubicBezTo>
                      <a:pt x="166889" y="54294"/>
                      <a:pt x="163554" y="62771"/>
                      <a:pt x="163364" y="72677"/>
                    </a:cubicBezTo>
                    <a:lnTo>
                      <a:pt x="142695" y="72677"/>
                    </a:lnTo>
                    <a:cubicBezTo>
                      <a:pt x="140060" y="54401"/>
                      <a:pt x="152739" y="37450"/>
                      <a:pt x="171014" y="34815"/>
                    </a:cubicBezTo>
                    <a:cubicBezTo>
                      <a:pt x="173464" y="34462"/>
                      <a:pt x="175946" y="34382"/>
                      <a:pt x="178413" y="34577"/>
                    </a:cubicBezTo>
                    <a:cubicBezTo>
                      <a:pt x="196320" y="34577"/>
                      <a:pt x="212513" y="44102"/>
                      <a:pt x="212513" y="63152"/>
                    </a:cubicBezTo>
                    <a:cubicBezTo>
                      <a:pt x="212513" y="80678"/>
                      <a:pt x="199940" y="87155"/>
                      <a:pt x="186605" y="95537"/>
                    </a:cubicBezTo>
                    <a:cubicBezTo>
                      <a:pt x="180617" y="98840"/>
                      <a:pt x="175106" y="102942"/>
                      <a:pt x="170223" y="107729"/>
                    </a:cubicBezTo>
                    <a:lnTo>
                      <a:pt x="213371" y="107729"/>
                    </a:lnTo>
                    <a:lnTo>
                      <a:pt x="213371" y="126779"/>
                    </a:lnTo>
                    <a:lnTo>
                      <a:pt x="139933" y="126779"/>
                    </a:lnTo>
                    <a:cubicBezTo>
                      <a:pt x="140190" y="114977"/>
                      <a:pt x="145539" y="103863"/>
                      <a:pt x="154601" y="96299"/>
                    </a:cubicBezTo>
                    <a:close/>
                    <a:moveTo>
                      <a:pt x="468926" y="135732"/>
                    </a:moveTo>
                    <a:cubicBezTo>
                      <a:pt x="462682" y="129436"/>
                      <a:pt x="455711" y="123905"/>
                      <a:pt x="448161" y="119254"/>
                    </a:cubicBezTo>
                    <a:cubicBezTo>
                      <a:pt x="447155" y="105397"/>
                      <a:pt x="443536" y="91855"/>
                      <a:pt x="437494" y="79344"/>
                    </a:cubicBezTo>
                    <a:cubicBezTo>
                      <a:pt x="429870" y="60393"/>
                      <a:pt x="411807" y="47703"/>
                      <a:pt x="391392" y="46959"/>
                    </a:cubicBezTo>
                    <a:lnTo>
                      <a:pt x="350435" y="46959"/>
                    </a:lnTo>
                    <a:cubicBezTo>
                      <a:pt x="348361" y="47254"/>
                      <a:pt x="346430" y="48186"/>
                      <a:pt x="344910" y="49626"/>
                    </a:cubicBezTo>
                    <a:cubicBezTo>
                      <a:pt x="343378" y="51198"/>
                      <a:pt x="342437" y="53250"/>
                      <a:pt x="342243" y="55436"/>
                    </a:cubicBezTo>
                    <a:lnTo>
                      <a:pt x="342244" y="158306"/>
                    </a:lnTo>
                    <a:cubicBezTo>
                      <a:pt x="342244" y="161989"/>
                      <a:pt x="339258" y="164974"/>
                      <a:pt x="335576" y="164974"/>
                    </a:cubicBezTo>
                    <a:cubicBezTo>
                      <a:pt x="332001" y="165081"/>
                      <a:pt x="329015" y="162269"/>
                      <a:pt x="328908" y="158693"/>
                    </a:cubicBezTo>
                    <a:cubicBezTo>
                      <a:pt x="328904" y="158564"/>
                      <a:pt x="328904" y="158435"/>
                      <a:pt x="328908" y="158306"/>
                    </a:cubicBezTo>
                    <a:lnTo>
                      <a:pt x="328909" y="9717"/>
                    </a:lnTo>
                    <a:cubicBezTo>
                      <a:pt x="328887" y="7117"/>
                      <a:pt x="327864" y="4627"/>
                      <a:pt x="326051" y="2763"/>
                    </a:cubicBezTo>
                    <a:cubicBezTo>
                      <a:pt x="324231" y="957"/>
                      <a:pt x="321758" y="-39"/>
                      <a:pt x="319194" y="1"/>
                    </a:cubicBezTo>
                    <a:lnTo>
                      <a:pt x="52017" y="1"/>
                    </a:lnTo>
                    <a:cubicBezTo>
                      <a:pt x="48001" y="26"/>
                      <a:pt x="44642" y="3057"/>
                      <a:pt x="44206" y="7050"/>
                    </a:cubicBezTo>
                    <a:lnTo>
                      <a:pt x="44206" y="7049"/>
                    </a:lnTo>
                    <a:cubicBezTo>
                      <a:pt x="43933" y="11454"/>
                      <a:pt x="47237" y="15267"/>
                      <a:pt x="51636" y="15622"/>
                    </a:cubicBezTo>
                    <a:lnTo>
                      <a:pt x="51636" y="15622"/>
                    </a:lnTo>
                    <a:lnTo>
                      <a:pt x="121740" y="20099"/>
                    </a:lnTo>
                    <a:lnTo>
                      <a:pt x="111358" y="43244"/>
                    </a:lnTo>
                    <a:lnTo>
                      <a:pt x="82306" y="43244"/>
                    </a:lnTo>
                    <a:lnTo>
                      <a:pt x="82306" y="66295"/>
                    </a:lnTo>
                    <a:lnTo>
                      <a:pt x="30395" y="66295"/>
                    </a:lnTo>
                    <a:cubicBezTo>
                      <a:pt x="26364" y="66240"/>
                      <a:pt x="23025" y="69410"/>
                      <a:pt x="22871" y="73439"/>
                    </a:cubicBezTo>
                    <a:lnTo>
                      <a:pt x="22871" y="73439"/>
                    </a:lnTo>
                    <a:cubicBezTo>
                      <a:pt x="22393" y="77514"/>
                      <a:pt x="25309" y="81205"/>
                      <a:pt x="29385" y="81682"/>
                    </a:cubicBezTo>
                    <a:cubicBezTo>
                      <a:pt x="29562" y="81703"/>
                      <a:pt x="29740" y="81718"/>
                      <a:pt x="29919" y="81726"/>
                    </a:cubicBezTo>
                    <a:lnTo>
                      <a:pt x="30395" y="81726"/>
                    </a:lnTo>
                    <a:lnTo>
                      <a:pt x="122406" y="88107"/>
                    </a:lnTo>
                    <a:lnTo>
                      <a:pt x="111358" y="109824"/>
                    </a:lnTo>
                    <a:lnTo>
                      <a:pt x="81640" y="109824"/>
                    </a:lnTo>
                    <a:lnTo>
                      <a:pt x="81640" y="132875"/>
                    </a:lnTo>
                    <a:lnTo>
                      <a:pt x="7821" y="132875"/>
                    </a:lnTo>
                    <a:cubicBezTo>
                      <a:pt x="3789" y="132948"/>
                      <a:pt x="442" y="136009"/>
                      <a:pt x="10" y="140019"/>
                    </a:cubicBezTo>
                    <a:lnTo>
                      <a:pt x="10" y="140019"/>
                    </a:lnTo>
                    <a:cubicBezTo>
                      <a:pt x="-208" y="144317"/>
                      <a:pt x="3052" y="148000"/>
                      <a:pt x="7345" y="148305"/>
                    </a:cubicBezTo>
                    <a:lnTo>
                      <a:pt x="7345" y="148305"/>
                    </a:lnTo>
                    <a:lnTo>
                      <a:pt x="121645" y="155068"/>
                    </a:lnTo>
                    <a:lnTo>
                      <a:pt x="111453" y="176023"/>
                    </a:lnTo>
                    <a:lnTo>
                      <a:pt x="81068" y="176023"/>
                    </a:lnTo>
                    <a:lnTo>
                      <a:pt x="81068" y="197169"/>
                    </a:lnTo>
                    <a:cubicBezTo>
                      <a:pt x="81077" y="199808"/>
                      <a:pt x="82180" y="202327"/>
                      <a:pt x="84116" y="204122"/>
                    </a:cubicBezTo>
                    <a:cubicBezTo>
                      <a:pt x="85824" y="205979"/>
                      <a:pt x="88263" y="206989"/>
                      <a:pt x="90784" y="206884"/>
                    </a:cubicBezTo>
                    <a:lnTo>
                      <a:pt x="142123" y="206884"/>
                    </a:lnTo>
                    <a:cubicBezTo>
                      <a:pt x="142245" y="206351"/>
                      <a:pt x="142245" y="205798"/>
                      <a:pt x="142123" y="205265"/>
                    </a:cubicBezTo>
                    <a:cubicBezTo>
                      <a:pt x="143332" y="179763"/>
                      <a:pt x="164219" y="159628"/>
                      <a:pt x="189748" y="159354"/>
                    </a:cubicBezTo>
                    <a:lnTo>
                      <a:pt x="189748" y="159354"/>
                    </a:lnTo>
                    <a:cubicBezTo>
                      <a:pt x="215462" y="159376"/>
                      <a:pt x="236630" y="179580"/>
                      <a:pt x="237849" y="205265"/>
                    </a:cubicBezTo>
                    <a:lnTo>
                      <a:pt x="237850" y="206884"/>
                    </a:lnTo>
                    <a:lnTo>
                      <a:pt x="354721" y="206884"/>
                    </a:lnTo>
                    <a:lnTo>
                      <a:pt x="354721" y="206217"/>
                    </a:lnTo>
                    <a:cubicBezTo>
                      <a:pt x="355361" y="193869"/>
                      <a:pt x="360553" y="182196"/>
                      <a:pt x="369295" y="173451"/>
                    </a:cubicBezTo>
                    <a:cubicBezTo>
                      <a:pt x="378259" y="164560"/>
                      <a:pt x="390387" y="159592"/>
                      <a:pt x="403013" y="159640"/>
                    </a:cubicBezTo>
                    <a:lnTo>
                      <a:pt x="403013" y="159640"/>
                    </a:lnTo>
                    <a:cubicBezTo>
                      <a:pt x="415606" y="159617"/>
                      <a:pt x="427695" y="164583"/>
                      <a:pt x="436637" y="173451"/>
                    </a:cubicBezTo>
                    <a:cubicBezTo>
                      <a:pt x="445346" y="182131"/>
                      <a:pt x="450508" y="193745"/>
                      <a:pt x="451115" y="206027"/>
                    </a:cubicBezTo>
                    <a:lnTo>
                      <a:pt x="451114" y="206884"/>
                    </a:lnTo>
                    <a:lnTo>
                      <a:pt x="460639" y="206884"/>
                    </a:lnTo>
                    <a:cubicBezTo>
                      <a:pt x="464203" y="206878"/>
                      <a:pt x="467622" y="205476"/>
                      <a:pt x="470164" y="202979"/>
                    </a:cubicBezTo>
                    <a:cubicBezTo>
                      <a:pt x="472688" y="200454"/>
                      <a:pt x="474095" y="197023"/>
                      <a:pt x="474069" y="193454"/>
                    </a:cubicBezTo>
                    <a:lnTo>
                      <a:pt x="474070" y="151258"/>
                    </a:lnTo>
                    <a:cubicBezTo>
                      <a:pt x="474413" y="145515"/>
                      <a:pt x="472690" y="139839"/>
                      <a:pt x="469212" y="135256"/>
                    </a:cubicBezTo>
                    <a:close/>
                  </a:path>
                </a:pathLst>
              </a:custGeom>
              <a:solidFill>
                <a:srgbClr val="FFFFFF"/>
              </a:solidFill>
              <a:ln w="9525" cap="flat">
                <a:noFill/>
                <a:prstDash val="solid"/>
                <a:miter/>
              </a:ln>
            </p:spPr>
            <p:txBody>
              <a:bodyPr rtlCol="0" anchor="ctr"/>
              <a:lstStyle/>
              <a:p>
                <a:endParaRPr lang="en-US"/>
              </a:p>
            </p:txBody>
          </p:sp>
          <p:sp>
            <p:nvSpPr>
              <p:cNvPr id="833" name="Freeform: Shape 832">
                <a:extLst>
                  <a:ext uri="{FF2B5EF4-FFF2-40B4-BE49-F238E27FC236}">
                    <a16:creationId xmlns:a16="http://schemas.microsoft.com/office/drawing/2014/main" id="{4F94E89F-B4AF-405D-882B-4D764A65947B}"/>
                  </a:ext>
                </a:extLst>
              </p:cNvPr>
              <p:cNvSpPr/>
              <p:nvPr/>
            </p:nvSpPr>
            <p:spPr>
              <a:xfrm>
                <a:off x="9609202" y="1951672"/>
                <a:ext cx="23050" cy="29813"/>
              </a:xfrm>
              <a:custGeom>
                <a:avLst/>
                <a:gdLst>
                  <a:gd name="connsiteX0" fmla="*/ 0 w 23050"/>
                  <a:gd name="connsiteY0" fmla="*/ 29813 h 29813"/>
                  <a:gd name="connsiteX1" fmla="*/ 23050 w 23050"/>
                  <a:gd name="connsiteY1" fmla="*/ 29813 h 29813"/>
                  <a:gd name="connsiteX2" fmla="*/ 23050 w 23050"/>
                  <a:gd name="connsiteY2" fmla="*/ 0 h 29813"/>
                  <a:gd name="connsiteX3" fmla="*/ 0 w 23050"/>
                  <a:gd name="connsiteY3" fmla="*/ 29813 h 29813"/>
                </a:gdLst>
                <a:ahLst/>
                <a:cxnLst>
                  <a:cxn ang="0">
                    <a:pos x="connsiteX0" y="connsiteY0"/>
                  </a:cxn>
                  <a:cxn ang="0">
                    <a:pos x="connsiteX1" y="connsiteY1"/>
                  </a:cxn>
                  <a:cxn ang="0">
                    <a:pos x="connsiteX2" y="connsiteY2"/>
                  </a:cxn>
                  <a:cxn ang="0">
                    <a:pos x="connsiteX3" y="connsiteY3"/>
                  </a:cxn>
                </a:cxnLst>
                <a:rect l="l" t="t" r="r" b="b"/>
                <a:pathLst>
                  <a:path w="23050" h="29813">
                    <a:moveTo>
                      <a:pt x="0" y="29813"/>
                    </a:moveTo>
                    <a:lnTo>
                      <a:pt x="23050" y="29813"/>
                    </a:lnTo>
                    <a:lnTo>
                      <a:pt x="23050" y="0"/>
                    </a:lnTo>
                    <a:lnTo>
                      <a:pt x="0" y="29813"/>
                    </a:lnTo>
                    <a:close/>
                  </a:path>
                </a:pathLst>
              </a:custGeom>
              <a:solidFill>
                <a:srgbClr val="FFFFFF"/>
              </a:solidFill>
              <a:ln w="9525" cap="flat">
                <a:noFill/>
                <a:prstDash val="solid"/>
                <a:miter/>
              </a:ln>
            </p:spPr>
            <p:txBody>
              <a:bodyPr rtlCol="0" anchor="ctr"/>
              <a:lstStyle/>
              <a:p>
                <a:endParaRPr lang="en-US"/>
              </a:p>
            </p:txBody>
          </p:sp>
          <p:sp>
            <p:nvSpPr>
              <p:cNvPr id="834" name="Freeform: Shape 833">
                <a:extLst>
                  <a:ext uri="{FF2B5EF4-FFF2-40B4-BE49-F238E27FC236}">
                    <a16:creationId xmlns:a16="http://schemas.microsoft.com/office/drawing/2014/main" id="{60412447-8D3D-4140-8AD0-1E764FC8F911}"/>
                  </a:ext>
                </a:extLst>
              </p:cNvPr>
              <p:cNvSpPr/>
              <p:nvPr/>
            </p:nvSpPr>
            <p:spPr>
              <a:xfrm>
                <a:off x="9733884" y="2065590"/>
                <a:ext cx="71913" cy="70064"/>
              </a:xfrm>
              <a:custGeom>
                <a:avLst/>
                <a:gdLst>
                  <a:gd name="connsiteX0" fmla="*/ 50768 w 71913"/>
                  <a:gd name="connsiteY0" fmla="*/ 35911 h 70064"/>
                  <a:gd name="connsiteX1" fmla="*/ 34768 w 71913"/>
                  <a:gd name="connsiteY1" fmla="*/ 49533 h 70064"/>
                  <a:gd name="connsiteX2" fmla="*/ 21145 w 71913"/>
                  <a:gd name="connsiteY2" fmla="*/ 35911 h 70064"/>
                  <a:gd name="connsiteX3" fmla="*/ 21145 w 71913"/>
                  <a:gd name="connsiteY3" fmla="*/ 34291 h 70064"/>
                  <a:gd name="connsiteX4" fmla="*/ 37387 w 71913"/>
                  <a:gd name="connsiteY4" fmla="*/ 21387 h 70064"/>
                  <a:gd name="connsiteX5" fmla="*/ 50292 w 71913"/>
                  <a:gd name="connsiteY5" fmla="*/ 34291 h 70064"/>
                  <a:gd name="connsiteX6" fmla="*/ 50768 w 71913"/>
                  <a:gd name="connsiteY6" fmla="*/ 35911 h 70064"/>
                  <a:gd name="connsiteX7" fmla="*/ 36100 w 71913"/>
                  <a:gd name="connsiteY7" fmla="*/ 1 h 70064"/>
                  <a:gd name="connsiteX8" fmla="*/ 0 w 71913"/>
                  <a:gd name="connsiteY8" fmla="*/ 34767 h 70064"/>
                  <a:gd name="connsiteX9" fmla="*/ 0 w 71913"/>
                  <a:gd name="connsiteY9" fmla="*/ 35911 h 70064"/>
                  <a:gd name="connsiteX10" fmla="*/ 37808 w 71913"/>
                  <a:gd name="connsiteY10" fmla="*/ 70016 h 70064"/>
                  <a:gd name="connsiteX11" fmla="*/ 71914 w 71913"/>
                  <a:gd name="connsiteY11" fmla="*/ 35911 h 70064"/>
                  <a:gd name="connsiteX12" fmla="*/ 71914 w 71913"/>
                  <a:gd name="connsiteY12" fmla="*/ 34767 h 70064"/>
                  <a:gd name="connsiteX13" fmla="*/ 36100 w 71913"/>
                  <a:gd name="connsiteY13" fmla="*/ 1 h 7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913" h="70064">
                    <a:moveTo>
                      <a:pt x="50768" y="35911"/>
                    </a:moveTo>
                    <a:cubicBezTo>
                      <a:pt x="50111" y="44091"/>
                      <a:pt x="42948" y="50190"/>
                      <a:pt x="34768" y="49533"/>
                    </a:cubicBezTo>
                    <a:cubicBezTo>
                      <a:pt x="27499" y="48950"/>
                      <a:pt x="21728" y="43179"/>
                      <a:pt x="21145" y="35911"/>
                    </a:cubicBezTo>
                    <a:cubicBezTo>
                      <a:pt x="21112" y="35371"/>
                      <a:pt x="21112" y="34831"/>
                      <a:pt x="21145" y="34291"/>
                    </a:cubicBezTo>
                    <a:cubicBezTo>
                      <a:pt x="22067" y="26243"/>
                      <a:pt x="29339" y="20465"/>
                      <a:pt x="37387" y="21387"/>
                    </a:cubicBezTo>
                    <a:cubicBezTo>
                      <a:pt x="44166" y="22163"/>
                      <a:pt x="49515" y="27512"/>
                      <a:pt x="50292" y="34291"/>
                    </a:cubicBezTo>
                    <a:cubicBezTo>
                      <a:pt x="50572" y="34787"/>
                      <a:pt x="50735" y="35341"/>
                      <a:pt x="50768" y="35911"/>
                    </a:cubicBezTo>
                    <a:close/>
                    <a:moveTo>
                      <a:pt x="36100" y="1"/>
                    </a:moveTo>
                    <a:cubicBezTo>
                      <a:pt x="16611" y="-163"/>
                      <a:pt x="569" y="15287"/>
                      <a:pt x="0" y="34767"/>
                    </a:cubicBezTo>
                    <a:lnTo>
                      <a:pt x="0" y="35911"/>
                    </a:lnTo>
                    <a:cubicBezTo>
                      <a:pt x="1023" y="55769"/>
                      <a:pt x="17949" y="71039"/>
                      <a:pt x="37808" y="70016"/>
                    </a:cubicBezTo>
                    <a:cubicBezTo>
                      <a:pt x="56237" y="69067"/>
                      <a:pt x="70965" y="54339"/>
                      <a:pt x="71914" y="35911"/>
                    </a:cubicBezTo>
                    <a:lnTo>
                      <a:pt x="71914" y="34767"/>
                    </a:lnTo>
                    <a:cubicBezTo>
                      <a:pt x="71396" y="15377"/>
                      <a:pt x="55497" y="-57"/>
                      <a:pt x="36100" y="1"/>
                    </a:cubicBezTo>
                    <a:close/>
                  </a:path>
                </a:pathLst>
              </a:custGeom>
              <a:solidFill>
                <a:srgbClr val="FFFFFF"/>
              </a:solidFill>
              <a:ln w="9525" cap="flat">
                <a:noFill/>
                <a:prstDash val="solid"/>
                <a:miter/>
              </a:ln>
            </p:spPr>
            <p:txBody>
              <a:bodyPr rtlCol="0" anchor="ctr"/>
              <a:lstStyle/>
              <a:p>
                <a:endParaRPr lang="en-US"/>
              </a:p>
            </p:txBody>
          </p:sp>
          <p:sp>
            <p:nvSpPr>
              <p:cNvPr id="835" name="Freeform: Shape 834">
                <a:extLst>
                  <a:ext uri="{FF2B5EF4-FFF2-40B4-BE49-F238E27FC236}">
                    <a16:creationId xmlns:a16="http://schemas.microsoft.com/office/drawing/2014/main" id="{E8841AE0-9B50-4C6B-AF6F-A8358EF38F32}"/>
                  </a:ext>
                </a:extLst>
              </p:cNvPr>
              <p:cNvSpPr/>
              <p:nvPr/>
            </p:nvSpPr>
            <p:spPr>
              <a:xfrm>
                <a:off x="9521207" y="2066033"/>
                <a:ext cx="73231" cy="72043"/>
              </a:xfrm>
              <a:custGeom>
                <a:avLst/>
                <a:gdLst>
                  <a:gd name="connsiteX0" fmla="*/ 36464 w 73231"/>
                  <a:gd name="connsiteY0" fmla="*/ 50136 h 72043"/>
                  <a:gd name="connsiteX1" fmla="*/ 21319 w 73231"/>
                  <a:gd name="connsiteY1" fmla="*/ 35467 h 72043"/>
                  <a:gd name="connsiteX2" fmla="*/ 21319 w 73231"/>
                  <a:gd name="connsiteY2" fmla="*/ 33657 h 72043"/>
                  <a:gd name="connsiteX3" fmla="*/ 21319 w 73231"/>
                  <a:gd name="connsiteY3" fmla="*/ 33657 h 72043"/>
                  <a:gd name="connsiteX4" fmla="*/ 37662 w 73231"/>
                  <a:gd name="connsiteY4" fmla="*/ 20663 h 72043"/>
                  <a:gd name="connsiteX5" fmla="*/ 50656 w 73231"/>
                  <a:gd name="connsiteY5" fmla="*/ 33657 h 72043"/>
                  <a:gd name="connsiteX6" fmla="*/ 50657 w 73231"/>
                  <a:gd name="connsiteY6" fmla="*/ 33657 h 72043"/>
                  <a:gd name="connsiteX7" fmla="*/ 50657 w 73231"/>
                  <a:gd name="connsiteY7" fmla="*/ 35467 h 72043"/>
                  <a:gd name="connsiteX8" fmla="*/ 36464 w 73231"/>
                  <a:gd name="connsiteY8" fmla="*/ 50136 h 72043"/>
                  <a:gd name="connsiteX9" fmla="*/ 72849 w 73231"/>
                  <a:gd name="connsiteY9" fmla="*/ 33848 h 72043"/>
                  <a:gd name="connsiteX10" fmla="*/ 33830 w 73231"/>
                  <a:gd name="connsiteY10" fmla="*/ 97 h 72043"/>
                  <a:gd name="connsiteX11" fmla="*/ 79 w 73231"/>
                  <a:gd name="connsiteY11" fmla="*/ 33848 h 72043"/>
                  <a:gd name="connsiteX12" fmla="*/ 79 w 73231"/>
                  <a:gd name="connsiteY12" fmla="*/ 35467 h 72043"/>
                  <a:gd name="connsiteX13" fmla="*/ 36655 w 73231"/>
                  <a:gd name="connsiteY13" fmla="*/ 72043 h 72043"/>
                  <a:gd name="connsiteX14" fmla="*/ 73231 w 73231"/>
                  <a:gd name="connsiteY14" fmla="*/ 35467 h 72043"/>
                  <a:gd name="connsiteX15" fmla="*/ 72849 w 73231"/>
                  <a:gd name="connsiteY15" fmla="*/ 33848 h 7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231" h="72043">
                    <a:moveTo>
                      <a:pt x="36464" y="50136"/>
                    </a:moveTo>
                    <a:cubicBezTo>
                      <a:pt x="28242" y="50242"/>
                      <a:pt x="21476" y="43689"/>
                      <a:pt x="21319" y="35467"/>
                    </a:cubicBezTo>
                    <a:cubicBezTo>
                      <a:pt x="21319" y="34515"/>
                      <a:pt x="21319" y="34134"/>
                      <a:pt x="21319" y="33657"/>
                    </a:cubicBezTo>
                    <a:lnTo>
                      <a:pt x="21319" y="33657"/>
                    </a:lnTo>
                    <a:cubicBezTo>
                      <a:pt x="22244" y="25556"/>
                      <a:pt x="29561" y="19738"/>
                      <a:pt x="37662" y="20663"/>
                    </a:cubicBezTo>
                    <a:cubicBezTo>
                      <a:pt x="44490" y="21442"/>
                      <a:pt x="49877" y="26830"/>
                      <a:pt x="50656" y="33657"/>
                    </a:cubicBezTo>
                    <a:lnTo>
                      <a:pt x="50657" y="33657"/>
                    </a:lnTo>
                    <a:cubicBezTo>
                      <a:pt x="50846" y="34246"/>
                      <a:pt x="50846" y="34879"/>
                      <a:pt x="50657" y="35467"/>
                    </a:cubicBezTo>
                    <a:cubicBezTo>
                      <a:pt x="50382" y="43270"/>
                      <a:pt x="44254" y="49604"/>
                      <a:pt x="36464" y="50136"/>
                    </a:cubicBezTo>
                    <a:close/>
                    <a:moveTo>
                      <a:pt x="72849" y="33848"/>
                    </a:moveTo>
                    <a:cubicBezTo>
                      <a:pt x="71394" y="13753"/>
                      <a:pt x="53924" y="-1358"/>
                      <a:pt x="33830" y="97"/>
                    </a:cubicBezTo>
                    <a:cubicBezTo>
                      <a:pt x="15759" y="1405"/>
                      <a:pt x="1387" y="15777"/>
                      <a:pt x="79" y="33848"/>
                    </a:cubicBezTo>
                    <a:cubicBezTo>
                      <a:pt x="-26" y="34382"/>
                      <a:pt x="-26" y="34933"/>
                      <a:pt x="79" y="35467"/>
                    </a:cubicBezTo>
                    <a:cubicBezTo>
                      <a:pt x="79" y="55667"/>
                      <a:pt x="16455" y="72043"/>
                      <a:pt x="36655" y="72043"/>
                    </a:cubicBezTo>
                    <a:cubicBezTo>
                      <a:pt x="56856" y="72043"/>
                      <a:pt x="73231" y="55667"/>
                      <a:pt x="73231" y="35467"/>
                    </a:cubicBezTo>
                    <a:cubicBezTo>
                      <a:pt x="73040" y="34800"/>
                      <a:pt x="72849" y="34324"/>
                      <a:pt x="72849" y="33848"/>
                    </a:cubicBezTo>
                    <a:close/>
                  </a:path>
                </a:pathLst>
              </a:custGeom>
              <a:solidFill>
                <a:srgbClr val="FFFFFF"/>
              </a:solidFill>
              <a:ln w="9525" cap="flat">
                <a:noFill/>
                <a:prstDash val="solid"/>
                <a:miter/>
              </a:ln>
            </p:spPr>
            <p:txBody>
              <a:bodyPr rtlCol="0" anchor="ctr"/>
              <a:lstStyle/>
              <a:p>
                <a:endParaRPr lang="en-US"/>
              </a:p>
            </p:txBody>
          </p:sp>
        </p:grpSp>
      </p:grpSp>
      <p:grpSp>
        <p:nvGrpSpPr>
          <p:cNvPr id="114" name="Group 113">
            <a:extLst>
              <a:ext uri="{FF2B5EF4-FFF2-40B4-BE49-F238E27FC236}">
                <a16:creationId xmlns:a16="http://schemas.microsoft.com/office/drawing/2014/main" id="{BC72605A-FEEB-46A1-88F0-FA90E4A5CDC3}"/>
              </a:ext>
              <a:ext uri="{C183D7F6-B498-43B3-948B-1728B52AA6E4}">
                <adec:decorative xmlns:adec="http://schemas.microsoft.com/office/drawing/2017/decorative" val="1"/>
              </a:ext>
            </a:extLst>
          </p:cNvPr>
          <p:cNvGrpSpPr>
            <a:grpSpLocks noChangeAspect="1"/>
          </p:cNvGrpSpPr>
          <p:nvPr/>
        </p:nvGrpSpPr>
        <p:grpSpPr>
          <a:xfrm>
            <a:off x="4442137" y="2027873"/>
            <a:ext cx="676475" cy="633600"/>
            <a:chOff x="2965692" y="-786285"/>
            <a:chExt cx="2940061" cy="2753721"/>
          </a:xfrm>
        </p:grpSpPr>
        <p:sp>
          <p:nvSpPr>
            <p:cNvPr id="837" name="Freeform 206">
              <a:extLst>
                <a:ext uri="{FF2B5EF4-FFF2-40B4-BE49-F238E27FC236}">
                  <a16:creationId xmlns:a16="http://schemas.microsoft.com/office/drawing/2014/main" id="{50CD18D0-2E29-472D-8C23-A3761A0288A3}"/>
                </a:ext>
              </a:extLst>
            </p:cNvPr>
            <p:cNvSpPr>
              <a:spLocks/>
            </p:cNvSpPr>
            <p:nvPr/>
          </p:nvSpPr>
          <p:spPr bwMode="auto">
            <a:xfrm>
              <a:off x="2965692" y="-786285"/>
              <a:ext cx="2940061" cy="2753721"/>
            </a:xfrm>
            <a:custGeom>
              <a:avLst/>
              <a:gdLst>
                <a:gd name="T0" fmla="*/ 33 w 233"/>
                <a:gd name="T1" fmla="*/ 170 h 218"/>
                <a:gd name="T2" fmla="*/ 56 w 233"/>
                <a:gd name="T3" fmla="*/ 32 h 218"/>
                <a:gd name="T4" fmla="*/ 200 w 233"/>
                <a:gd name="T5" fmla="*/ 53 h 218"/>
                <a:gd name="T6" fmla="*/ 173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3" y="185"/>
                  </a:cubicBezTo>
                  <a:cubicBezTo>
                    <a:pt x="128" y="218"/>
                    <a:pt x="67" y="214"/>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113" name="Group 112">
              <a:extLst>
                <a:ext uri="{FF2B5EF4-FFF2-40B4-BE49-F238E27FC236}">
                  <a16:creationId xmlns:a16="http://schemas.microsoft.com/office/drawing/2014/main" id="{6E4DFD71-6C46-4BAE-9756-3092A675898B}"/>
                </a:ext>
              </a:extLst>
            </p:cNvPr>
            <p:cNvGrpSpPr/>
            <p:nvPr/>
          </p:nvGrpSpPr>
          <p:grpSpPr>
            <a:xfrm>
              <a:off x="3469507" y="-365288"/>
              <a:ext cx="1994551" cy="1884126"/>
              <a:chOff x="3469507" y="-365288"/>
              <a:chExt cx="1994551" cy="1884126"/>
            </a:xfrm>
          </p:grpSpPr>
          <p:sp>
            <p:nvSpPr>
              <p:cNvPr id="839" name="Freeform 207">
                <a:extLst>
                  <a:ext uri="{FF2B5EF4-FFF2-40B4-BE49-F238E27FC236}">
                    <a16:creationId xmlns:a16="http://schemas.microsoft.com/office/drawing/2014/main" id="{402A4C21-367C-49E0-B261-C85F2DAE0491}"/>
                  </a:ext>
                </a:extLst>
              </p:cNvPr>
              <p:cNvSpPr>
                <a:spLocks/>
              </p:cNvSpPr>
              <p:nvPr/>
            </p:nvSpPr>
            <p:spPr bwMode="auto">
              <a:xfrm>
                <a:off x="3469507" y="-365288"/>
                <a:ext cx="1994551" cy="1884126"/>
              </a:xfrm>
              <a:custGeom>
                <a:avLst/>
                <a:gdLst>
                  <a:gd name="T0" fmla="*/ 22 w 158"/>
                  <a:gd name="T1" fmla="*/ 116 h 149"/>
                  <a:gd name="T2" fmla="*/ 38 w 158"/>
                  <a:gd name="T3" fmla="*/ 23 h 149"/>
                  <a:gd name="T4" fmla="*/ 135 w 158"/>
                  <a:gd name="T5" fmla="*/ 36 h 149"/>
                  <a:gd name="T6" fmla="*/ 118 w 158"/>
                  <a:gd name="T7" fmla="*/ 127 h 149"/>
                  <a:gd name="T8" fmla="*/ 22 w 158"/>
                  <a:gd name="T9" fmla="*/ 116 h 149"/>
                </a:gdLst>
                <a:ahLst/>
                <a:cxnLst>
                  <a:cxn ang="0">
                    <a:pos x="T0" y="T1"/>
                  </a:cxn>
                  <a:cxn ang="0">
                    <a:pos x="T2" y="T3"/>
                  </a:cxn>
                  <a:cxn ang="0">
                    <a:pos x="T4" y="T5"/>
                  </a:cxn>
                  <a:cxn ang="0">
                    <a:pos x="T6" y="T7"/>
                  </a:cxn>
                  <a:cxn ang="0">
                    <a:pos x="T8" y="T9"/>
                  </a:cxn>
                </a:cxnLst>
                <a:rect l="0" t="0" r="r" b="b"/>
                <a:pathLst>
                  <a:path w="158" h="149">
                    <a:moveTo>
                      <a:pt x="22" y="116"/>
                    </a:moveTo>
                    <a:cubicBezTo>
                      <a:pt x="0" y="87"/>
                      <a:pt x="6" y="45"/>
                      <a:pt x="38" y="23"/>
                    </a:cubicBezTo>
                    <a:cubicBezTo>
                      <a:pt x="69" y="0"/>
                      <a:pt x="113" y="7"/>
                      <a:pt x="135" y="36"/>
                    </a:cubicBezTo>
                    <a:cubicBezTo>
                      <a:pt x="158" y="66"/>
                      <a:pt x="149" y="105"/>
                      <a:pt x="118" y="127"/>
                    </a:cubicBezTo>
                    <a:cubicBezTo>
                      <a:pt x="86" y="149"/>
                      <a:pt x="45" y="146"/>
                      <a:pt x="22" y="116"/>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40" name="Oval 208">
                <a:extLst>
                  <a:ext uri="{FF2B5EF4-FFF2-40B4-BE49-F238E27FC236}">
                    <a16:creationId xmlns:a16="http://schemas.microsoft.com/office/drawing/2014/main" id="{B8B3A04E-EA07-43FF-9469-53A1BCAF0373}"/>
                  </a:ext>
                </a:extLst>
              </p:cNvPr>
              <p:cNvSpPr>
                <a:spLocks noChangeArrowheads="1"/>
              </p:cNvSpPr>
              <p:nvPr/>
            </p:nvSpPr>
            <p:spPr bwMode="auto">
              <a:xfrm>
                <a:off x="3731766" y="-75423"/>
                <a:ext cx="1380311" cy="1366507"/>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111" name="Group 110">
                <a:extLst>
                  <a:ext uri="{FF2B5EF4-FFF2-40B4-BE49-F238E27FC236}">
                    <a16:creationId xmlns:a16="http://schemas.microsoft.com/office/drawing/2014/main" id="{9504FE22-5B42-4A14-8BCC-2E5E959CD631}"/>
                  </a:ext>
                </a:extLst>
              </p:cNvPr>
              <p:cNvGrpSpPr/>
              <p:nvPr/>
            </p:nvGrpSpPr>
            <p:grpSpPr>
              <a:xfrm>
                <a:off x="4076844" y="-13311"/>
                <a:ext cx="869595" cy="973121"/>
                <a:chOff x="4076844" y="-13311"/>
                <a:chExt cx="869595" cy="973121"/>
              </a:xfrm>
            </p:grpSpPr>
            <p:sp>
              <p:nvSpPr>
                <p:cNvPr id="841" name="Freeform 209">
                  <a:extLst>
                    <a:ext uri="{FF2B5EF4-FFF2-40B4-BE49-F238E27FC236}">
                      <a16:creationId xmlns:a16="http://schemas.microsoft.com/office/drawing/2014/main" id="{4646E460-D339-4F47-BD27-735ED994B9AB}"/>
                    </a:ext>
                  </a:extLst>
                </p:cNvPr>
                <p:cNvSpPr>
                  <a:spLocks/>
                </p:cNvSpPr>
                <p:nvPr/>
              </p:nvSpPr>
              <p:spPr bwMode="auto">
                <a:xfrm>
                  <a:off x="4366709" y="-13311"/>
                  <a:ext cx="110425" cy="655650"/>
                </a:xfrm>
                <a:custGeom>
                  <a:avLst/>
                  <a:gdLst>
                    <a:gd name="T0" fmla="*/ 4 w 9"/>
                    <a:gd name="T1" fmla="*/ 52 h 52"/>
                    <a:gd name="T2" fmla="*/ 0 w 9"/>
                    <a:gd name="T3" fmla="*/ 48 h 52"/>
                    <a:gd name="T4" fmla="*/ 0 w 9"/>
                    <a:gd name="T5" fmla="*/ 4 h 52"/>
                    <a:gd name="T6" fmla="*/ 4 w 9"/>
                    <a:gd name="T7" fmla="*/ 0 h 52"/>
                    <a:gd name="T8" fmla="*/ 9 w 9"/>
                    <a:gd name="T9" fmla="*/ 4 h 52"/>
                    <a:gd name="T10" fmla="*/ 9 w 9"/>
                    <a:gd name="T11" fmla="*/ 48 h 52"/>
                    <a:gd name="T12" fmla="*/ 4 w 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 h="52">
                      <a:moveTo>
                        <a:pt x="4" y="52"/>
                      </a:moveTo>
                      <a:cubicBezTo>
                        <a:pt x="2" y="52"/>
                        <a:pt x="0" y="50"/>
                        <a:pt x="0" y="48"/>
                      </a:cubicBezTo>
                      <a:cubicBezTo>
                        <a:pt x="0" y="4"/>
                        <a:pt x="0" y="4"/>
                        <a:pt x="0" y="4"/>
                      </a:cubicBezTo>
                      <a:cubicBezTo>
                        <a:pt x="0" y="2"/>
                        <a:pt x="2" y="0"/>
                        <a:pt x="4" y="0"/>
                      </a:cubicBezTo>
                      <a:cubicBezTo>
                        <a:pt x="7" y="0"/>
                        <a:pt x="9" y="2"/>
                        <a:pt x="9" y="4"/>
                      </a:cubicBezTo>
                      <a:cubicBezTo>
                        <a:pt x="9" y="48"/>
                        <a:pt x="9" y="48"/>
                        <a:pt x="9" y="48"/>
                      </a:cubicBezTo>
                      <a:cubicBezTo>
                        <a:pt x="9" y="50"/>
                        <a:pt x="7" y="52"/>
                        <a:pt x="4" y="5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42" name="Freeform 210">
                  <a:extLst>
                    <a:ext uri="{FF2B5EF4-FFF2-40B4-BE49-F238E27FC236}">
                      <a16:creationId xmlns:a16="http://schemas.microsoft.com/office/drawing/2014/main" id="{E88A7125-519F-496B-A7A8-2E7866C04CBA}"/>
                    </a:ext>
                  </a:extLst>
                </p:cNvPr>
                <p:cNvSpPr>
                  <a:spLocks/>
                </p:cNvSpPr>
                <p:nvPr/>
              </p:nvSpPr>
              <p:spPr bwMode="auto">
                <a:xfrm>
                  <a:off x="4076844" y="552616"/>
                  <a:ext cx="400290" cy="407194"/>
                </a:xfrm>
                <a:custGeom>
                  <a:avLst/>
                  <a:gdLst>
                    <a:gd name="T0" fmla="*/ 4 w 32"/>
                    <a:gd name="T1" fmla="*/ 32 h 32"/>
                    <a:gd name="T2" fmla="*/ 1 w 32"/>
                    <a:gd name="T3" fmla="*/ 31 h 32"/>
                    <a:gd name="T4" fmla="*/ 1 w 32"/>
                    <a:gd name="T5" fmla="*/ 25 h 32"/>
                    <a:gd name="T6" fmla="*/ 25 w 32"/>
                    <a:gd name="T7" fmla="*/ 1 h 32"/>
                    <a:gd name="T8" fmla="*/ 31 w 32"/>
                    <a:gd name="T9" fmla="*/ 1 h 32"/>
                    <a:gd name="T10" fmla="*/ 31 w 32"/>
                    <a:gd name="T11" fmla="*/ 7 h 32"/>
                    <a:gd name="T12" fmla="*/ 7 w 32"/>
                    <a:gd name="T13" fmla="*/ 31 h 32"/>
                    <a:gd name="T14" fmla="*/ 4 w 32"/>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4" y="32"/>
                      </a:moveTo>
                      <a:cubicBezTo>
                        <a:pt x="3" y="32"/>
                        <a:pt x="2" y="31"/>
                        <a:pt x="1" y="31"/>
                      </a:cubicBezTo>
                      <a:cubicBezTo>
                        <a:pt x="0" y="29"/>
                        <a:pt x="0" y="27"/>
                        <a:pt x="1" y="25"/>
                      </a:cubicBezTo>
                      <a:cubicBezTo>
                        <a:pt x="25" y="1"/>
                        <a:pt x="25" y="1"/>
                        <a:pt x="25" y="1"/>
                      </a:cubicBezTo>
                      <a:cubicBezTo>
                        <a:pt x="27" y="0"/>
                        <a:pt x="29" y="0"/>
                        <a:pt x="31" y="1"/>
                      </a:cubicBezTo>
                      <a:cubicBezTo>
                        <a:pt x="32" y="3"/>
                        <a:pt x="32" y="5"/>
                        <a:pt x="31" y="7"/>
                      </a:cubicBezTo>
                      <a:cubicBezTo>
                        <a:pt x="7" y="31"/>
                        <a:pt x="7" y="31"/>
                        <a:pt x="7" y="31"/>
                      </a:cubicBezTo>
                      <a:cubicBezTo>
                        <a:pt x="6" y="31"/>
                        <a:pt x="5" y="32"/>
                        <a:pt x="4" y="3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45" name="Freeform 213">
                  <a:extLst>
                    <a:ext uri="{FF2B5EF4-FFF2-40B4-BE49-F238E27FC236}">
                      <a16:creationId xmlns:a16="http://schemas.microsoft.com/office/drawing/2014/main" id="{A4C3B70B-9D0E-4568-A3E8-80089C922A92}"/>
                    </a:ext>
                  </a:extLst>
                </p:cNvPr>
                <p:cNvSpPr>
                  <a:spLocks/>
                </p:cNvSpPr>
                <p:nvPr/>
              </p:nvSpPr>
              <p:spPr bwMode="auto">
                <a:xfrm>
                  <a:off x="4380512" y="414585"/>
                  <a:ext cx="565927" cy="227753"/>
                </a:xfrm>
                <a:custGeom>
                  <a:avLst/>
                  <a:gdLst>
                    <a:gd name="T0" fmla="*/ 3 w 45"/>
                    <a:gd name="T1" fmla="*/ 18 h 18"/>
                    <a:gd name="T2" fmla="*/ 1 w 45"/>
                    <a:gd name="T3" fmla="*/ 16 h 18"/>
                    <a:gd name="T4" fmla="*/ 2 w 45"/>
                    <a:gd name="T5" fmla="*/ 12 h 18"/>
                    <a:gd name="T6" fmla="*/ 41 w 45"/>
                    <a:gd name="T7" fmla="*/ 1 h 18"/>
                    <a:gd name="T8" fmla="*/ 45 w 45"/>
                    <a:gd name="T9" fmla="*/ 3 h 18"/>
                    <a:gd name="T10" fmla="*/ 43 w 45"/>
                    <a:gd name="T11" fmla="*/ 6 h 18"/>
                    <a:gd name="T12" fmla="*/ 4 w 45"/>
                    <a:gd name="T13" fmla="*/ 18 h 18"/>
                    <a:gd name="T14" fmla="*/ 3 w 45"/>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8">
                      <a:moveTo>
                        <a:pt x="3" y="18"/>
                      </a:moveTo>
                      <a:cubicBezTo>
                        <a:pt x="2" y="18"/>
                        <a:pt x="1" y="17"/>
                        <a:pt x="1" y="16"/>
                      </a:cubicBezTo>
                      <a:cubicBezTo>
                        <a:pt x="0" y="14"/>
                        <a:pt x="1" y="13"/>
                        <a:pt x="2" y="12"/>
                      </a:cubicBezTo>
                      <a:cubicBezTo>
                        <a:pt x="41" y="1"/>
                        <a:pt x="41" y="1"/>
                        <a:pt x="41" y="1"/>
                      </a:cubicBezTo>
                      <a:cubicBezTo>
                        <a:pt x="43" y="0"/>
                        <a:pt x="44" y="1"/>
                        <a:pt x="45" y="3"/>
                      </a:cubicBezTo>
                      <a:cubicBezTo>
                        <a:pt x="45" y="4"/>
                        <a:pt x="44" y="6"/>
                        <a:pt x="43" y="6"/>
                      </a:cubicBezTo>
                      <a:cubicBezTo>
                        <a:pt x="4" y="18"/>
                        <a:pt x="4" y="18"/>
                        <a:pt x="4" y="18"/>
                      </a:cubicBezTo>
                      <a:cubicBezTo>
                        <a:pt x="4" y="18"/>
                        <a:pt x="4" y="18"/>
                        <a:pt x="3" y="1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grpSp>
      <p:grpSp>
        <p:nvGrpSpPr>
          <p:cNvPr id="117" name="Group 116">
            <a:extLst>
              <a:ext uri="{FF2B5EF4-FFF2-40B4-BE49-F238E27FC236}">
                <a16:creationId xmlns:a16="http://schemas.microsoft.com/office/drawing/2014/main" id="{6273B084-5162-4607-8061-332D38DE5E56}"/>
              </a:ext>
              <a:ext uri="{C183D7F6-B498-43B3-948B-1728B52AA6E4}">
                <adec:decorative xmlns:adec="http://schemas.microsoft.com/office/drawing/2017/decorative" val="1"/>
              </a:ext>
            </a:extLst>
          </p:cNvPr>
          <p:cNvGrpSpPr/>
          <p:nvPr/>
        </p:nvGrpSpPr>
        <p:grpSpPr>
          <a:xfrm>
            <a:off x="623017" y="2671671"/>
            <a:ext cx="10676906" cy="123111"/>
            <a:chOff x="425964" y="2715165"/>
            <a:chExt cx="10676906" cy="123111"/>
          </a:xfrm>
        </p:grpSpPr>
        <p:sp>
          <p:nvSpPr>
            <p:cNvPr id="37" name="Rectangle 21">
              <a:extLst>
                <a:ext uri="{FF2B5EF4-FFF2-40B4-BE49-F238E27FC236}">
                  <a16:creationId xmlns:a16="http://schemas.microsoft.com/office/drawing/2014/main" id="{B41E57F9-1F5C-4644-81C9-43390BD4857B}"/>
                </a:ext>
              </a:extLst>
            </p:cNvPr>
            <p:cNvSpPr>
              <a:spLocks noChangeArrowheads="1"/>
            </p:cNvSpPr>
            <p:nvPr/>
          </p:nvSpPr>
          <p:spPr bwMode="auto">
            <a:xfrm>
              <a:off x="1271246" y="2715165"/>
              <a:ext cx="26609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Gears</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8" name="Rectangle 22">
              <a:extLst>
                <a:ext uri="{FF2B5EF4-FFF2-40B4-BE49-F238E27FC236}">
                  <a16:creationId xmlns:a16="http://schemas.microsoft.com/office/drawing/2014/main" id="{A50F1A3C-6963-4AFF-81FF-39DD59A3B34A}"/>
                </a:ext>
              </a:extLst>
            </p:cNvPr>
            <p:cNvSpPr>
              <a:spLocks noChangeArrowheads="1"/>
            </p:cNvSpPr>
            <p:nvPr/>
          </p:nvSpPr>
          <p:spPr bwMode="auto">
            <a:xfrm>
              <a:off x="2041183" y="2715165"/>
              <a:ext cx="26609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Gears</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97" name="Rectangle 81">
              <a:extLst>
                <a:ext uri="{FF2B5EF4-FFF2-40B4-BE49-F238E27FC236}">
                  <a16:creationId xmlns:a16="http://schemas.microsoft.com/office/drawing/2014/main" id="{EAE0788E-8714-4273-9681-ADEBBFFC1073}"/>
                </a:ext>
              </a:extLst>
            </p:cNvPr>
            <p:cNvSpPr>
              <a:spLocks noChangeArrowheads="1"/>
            </p:cNvSpPr>
            <p:nvPr/>
          </p:nvSpPr>
          <p:spPr bwMode="auto">
            <a:xfrm>
              <a:off x="10666853" y="2715165"/>
              <a:ext cx="436017"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a:ln>
                    <a:noFill/>
                  </a:ln>
                  <a:solidFill>
                    <a:srgbClr val="231F20"/>
                  </a:solidFill>
                  <a:effectLst/>
                  <a:latin typeface="Ubuntu" panose="020B0504030602030204" pitchFamily="34" charset="0"/>
                </a:rPr>
                <a:t>Solutions</a:t>
              </a:r>
              <a:endParaRPr kumimoji="0" lang="pl-PL" altLang="pl-PL" sz="2000" b="0" i="0" u="none" strike="noStrike" cap="none" normalizeH="0" baseline="0">
                <a:ln>
                  <a:noFill/>
                </a:ln>
                <a:solidFill>
                  <a:schemeClr val="tx1"/>
                </a:solidFill>
                <a:effectLst/>
                <a:latin typeface="Arial" panose="020B0604020202020204" pitchFamily="34" charset="0"/>
              </a:endParaRPr>
            </a:p>
          </p:txBody>
        </p:sp>
        <p:sp>
          <p:nvSpPr>
            <p:cNvPr id="493" name="Rectangle 436">
              <a:extLst>
                <a:ext uri="{FF2B5EF4-FFF2-40B4-BE49-F238E27FC236}">
                  <a16:creationId xmlns:a16="http://schemas.microsoft.com/office/drawing/2014/main" id="{A6178FBC-723B-4864-9BED-F5CF7F732D84}"/>
                </a:ext>
              </a:extLst>
            </p:cNvPr>
            <p:cNvSpPr>
              <a:spLocks noChangeArrowheads="1"/>
            </p:cNvSpPr>
            <p:nvPr/>
          </p:nvSpPr>
          <p:spPr bwMode="auto">
            <a:xfrm>
              <a:off x="9911032" y="2715165"/>
              <a:ext cx="35426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C</a:t>
              </a:r>
              <a:r>
                <a:rPr kumimoji="0" lang="pl-PL" altLang="pl-PL" sz="800" b="0" i="0" u="none" strike="noStrike" cap="none" normalizeH="0" baseline="0" dirty="0">
                  <a:ln>
                    <a:noFill/>
                  </a:ln>
                  <a:solidFill>
                    <a:srgbClr val="231F20"/>
                  </a:solidFill>
                  <a:effectLst/>
                  <a:latin typeface="Ubuntu" panose="020B0504030602030204" pitchFamily="34" charset="0"/>
                </a:rPr>
                <a:t>ontrol</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24" name="Rectangle 8">
              <a:extLst>
                <a:ext uri="{FF2B5EF4-FFF2-40B4-BE49-F238E27FC236}">
                  <a16:creationId xmlns:a16="http://schemas.microsoft.com/office/drawing/2014/main" id="{72FA5868-6B56-4059-8117-5A40BE5726CD}"/>
                </a:ext>
              </a:extLst>
            </p:cNvPr>
            <p:cNvSpPr>
              <a:spLocks noChangeArrowheads="1"/>
            </p:cNvSpPr>
            <p:nvPr/>
          </p:nvSpPr>
          <p:spPr bwMode="auto">
            <a:xfrm>
              <a:off x="425964" y="2715165"/>
              <a:ext cx="38632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Indust</a:t>
              </a:r>
              <a:r>
                <a:rPr kumimoji="0" lang="fr-FR" altLang="pl-PL" sz="800" b="0" i="0" u="none" strike="noStrike" cap="none" normalizeH="0" baseline="0" dirty="0" err="1">
                  <a:ln>
                    <a:noFill/>
                  </a:ln>
                  <a:solidFill>
                    <a:srgbClr val="231F20"/>
                  </a:solidFill>
                  <a:effectLst/>
                  <a:latin typeface="Ubuntu" panose="020B0504030602030204" pitchFamily="34" charset="0"/>
                </a:rPr>
                <a:t>ry</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3" name="Rectangle 17">
              <a:extLst>
                <a:ext uri="{FF2B5EF4-FFF2-40B4-BE49-F238E27FC236}">
                  <a16:creationId xmlns:a16="http://schemas.microsoft.com/office/drawing/2014/main" id="{2D5C5511-3502-4401-89E3-4876EDAE7843}"/>
                </a:ext>
              </a:extLst>
            </p:cNvPr>
            <p:cNvSpPr>
              <a:spLocks noChangeArrowheads="1"/>
            </p:cNvSpPr>
            <p:nvPr/>
          </p:nvSpPr>
          <p:spPr bwMode="auto">
            <a:xfrm>
              <a:off x="2871847" y="2715165"/>
              <a:ext cx="253275"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T</a:t>
              </a:r>
              <a:r>
                <a:rPr kumimoji="0" lang="pl-PL" altLang="pl-PL" sz="800" b="0" i="0" u="none" strike="noStrike" cap="none" normalizeH="0" baseline="0" dirty="0">
                  <a:ln>
                    <a:noFill/>
                  </a:ln>
                  <a:solidFill>
                    <a:srgbClr val="231F20"/>
                  </a:solidFill>
                  <a:effectLst/>
                  <a:latin typeface="Ubuntu" panose="020B0504030602030204" pitchFamily="34" charset="0"/>
                </a:rPr>
                <a:t>ools</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9" name="Rectangle 23">
              <a:extLst>
                <a:ext uri="{FF2B5EF4-FFF2-40B4-BE49-F238E27FC236}">
                  <a16:creationId xmlns:a16="http://schemas.microsoft.com/office/drawing/2014/main" id="{1BD4A438-0166-493E-851A-E43DCD38946A}"/>
                </a:ext>
              </a:extLst>
            </p:cNvPr>
            <p:cNvSpPr>
              <a:spLocks noChangeArrowheads="1"/>
            </p:cNvSpPr>
            <p:nvPr/>
          </p:nvSpPr>
          <p:spPr bwMode="auto">
            <a:xfrm>
              <a:off x="4447557" y="2715165"/>
              <a:ext cx="22923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Time</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40" name="Rectangle 24">
              <a:extLst>
                <a:ext uri="{FF2B5EF4-FFF2-40B4-BE49-F238E27FC236}">
                  <a16:creationId xmlns:a16="http://schemas.microsoft.com/office/drawing/2014/main" id="{362487D0-76F2-48D4-8B5E-C1AA8D8AFF69}"/>
                </a:ext>
              </a:extLst>
            </p:cNvPr>
            <p:cNvSpPr>
              <a:spLocks noChangeArrowheads="1"/>
            </p:cNvSpPr>
            <p:nvPr/>
          </p:nvSpPr>
          <p:spPr bwMode="auto">
            <a:xfrm>
              <a:off x="6774419" y="2715165"/>
              <a:ext cx="29174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Speed</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846" name="Rectangle 436">
              <a:extLst>
                <a:ext uri="{FF2B5EF4-FFF2-40B4-BE49-F238E27FC236}">
                  <a16:creationId xmlns:a16="http://schemas.microsoft.com/office/drawing/2014/main" id="{DE086F79-CA3B-4827-883B-D354270F42A5}"/>
                </a:ext>
              </a:extLst>
            </p:cNvPr>
            <p:cNvSpPr>
              <a:spLocks noChangeArrowheads="1"/>
            </p:cNvSpPr>
            <p:nvPr/>
          </p:nvSpPr>
          <p:spPr bwMode="auto">
            <a:xfrm>
              <a:off x="9155257" y="2715165"/>
              <a:ext cx="30136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Power</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grpSp>
      <p:grpSp>
        <p:nvGrpSpPr>
          <p:cNvPr id="121" name="Group 120">
            <a:extLst>
              <a:ext uri="{FF2B5EF4-FFF2-40B4-BE49-F238E27FC236}">
                <a16:creationId xmlns:a16="http://schemas.microsoft.com/office/drawing/2014/main" id="{01717FF6-7A7C-422D-BBE5-E9E202EBA7E4}"/>
              </a:ext>
              <a:ext uri="{C183D7F6-B498-43B3-948B-1728B52AA6E4}">
                <adec:decorative xmlns:adec="http://schemas.microsoft.com/office/drawing/2017/decorative" val="1"/>
              </a:ext>
            </a:extLst>
          </p:cNvPr>
          <p:cNvGrpSpPr/>
          <p:nvPr/>
        </p:nvGrpSpPr>
        <p:grpSpPr>
          <a:xfrm>
            <a:off x="6013613" y="2995439"/>
            <a:ext cx="679450" cy="633413"/>
            <a:chOff x="5563759" y="3040384"/>
            <a:chExt cx="679450" cy="633413"/>
          </a:xfrm>
        </p:grpSpPr>
        <p:sp>
          <p:nvSpPr>
            <p:cNvPr id="847" name="Freeform 289">
              <a:extLst>
                <a:ext uri="{FF2B5EF4-FFF2-40B4-BE49-F238E27FC236}">
                  <a16:creationId xmlns:a16="http://schemas.microsoft.com/office/drawing/2014/main" id="{D6879395-79E6-4A6A-BB5E-28BA18B85AE3}"/>
                </a:ext>
              </a:extLst>
            </p:cNvPr>
            <p:cNvSpPr>
              <a:spLocks/>
            </p:cNvSpPr>
            <p:nvPr/>
          </p:nvSpPr>
          <p:spPr bwMode="auto">
            <a:xfrm>
              <a:off x="5563759" y="3040384"/>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pic>
          <p:nvPicPr>
            <p:cNvPr id="120" name="Graphic 119">
              <a:extLst>
                <a:ext uri="{FF2B5EF4-FFF2-40B4-BE49-F238E27FC236}">
                  <a16:creationId xmlns:a16="http://schemas.microsoft.com/office/drawing/2014/main" id="{C485FFD7-2CD7-4FC1-9FE1-4F7F0C9741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39658" y="3198079"/>
              <a:ext cx="333375" cy="352425"/>
            </a:xfrm>
            <a:prstGeom prst="rect">
              <a:avLst/>
            </a:prstGeom>
          </p:spPr>
        </p:pic>
      </p:grpSp>
      <p:grpSp>
        <p:nvGrpSpPr>
          <p:cNvPr id="848" name="Group 847">
            <a:extLst>
              <a:ext uri="{FF2B5EF4-FFF2-40B4-BE49-F238E27FC236}">
                <a16:creationId xmlns:a16="http://schemas.microsoft.com/office/drawing/2014/main" id="{F501337F-C743-4893-936E-7D638CCF3CFC}"/>
              </a:ext>
              <a:ext uri="{C183D7F6-B498-43B3-948B-1728B52AA6E4}">
                <adec:decorative xmlns:adec="http://schemas.microsoft.com/office/drawing/2017/decorative" val="1"/>
              </a:ext>
            </a:extLst>
          </p:cNvPr>
          <p:cNvGrpSpPr/>
          <p:nvPr/>
        </p:nvGrpSpPr>
        <p:grpSpPr>
          <a:xfrm>
            <a:off x="4447085" y="1101944"/>
            <a:ext cx="679450" cy="633413"/>
            <a:chOff x="5398872" y="-298652"/>
            <a:chExt cx="679450" cy="633413"/>
          </a:xfrm>
        </p:grpSpPr>
        <p:sp>
          <p:nvSpPr>
            <p:cNvPr id="849" name="Freeform 289">
              <a:extLst>
                <a:ext uri="{FF2B5EF4-FFF2-40B4-BE49-F238E27FC236}">
                  <a16:creationId xmlns:a16="http://schemas.microsoft.com/office/drawing/2014/main" id="{0B563E88-A7B8-4C1C-90AB-F54F6E177659}"/>
                </a:ext>
              </a:extLst>
            </p:cNvPr>
            <p:cNvSpPr>
              <a:spLocks/>
            </p:cNvSpPr>
            <p:nvPr/>
          </p:nvSpPr>
          <p:spPr bwMode="auto">
            <a:xfrm>
              <a:off x="5398872" y="-298652"/>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850" name="Group 849">
              <a:extLst>
                <a:ext uri="{FF2B5EF4-FFF2-40B4-BE49-F238E27FC236}">
                  <a16:creationId xmlns:a16="http://schemas.microsoft.com/office/drawing/2014/main" id="{368292EA-1AA7-4469-839A-765BA5A70562}"/>
                </a:ext>
              </a:extLst>
            </p:cNvPr>
            <p:cNvGrpSpPr/>
            <p:nvPr/>
          </p:nvGrpSpPr>
          <p:grpSpPr>
            <a:xfrm>
              <a:off x="5547644" y="-192609"/>
              <a:ext cx="427589" cy="389814"/>
              <a:chOff x="3159589" y="2893534"/>
              <a:chExt cx="427589" cy="346692"/>
            </a:xfrm>
          </p:grpSpPr>
          <p:sp>
            <p:nvSpPr>
              <p:cNvPr id="851" name="Freeform: Shape 850">
                <a:extLst>
                  <a:ext uri="{FF2B5EF4-FFF2-40B4-BE49-F238E27FC236}">
                    <a16:creationId xmlns:a16="http://schemas.microsoft.com/office/drawing/2014/main" id="{3AC3E59A-F900-49BB-A065-668B2CCBA198}"/>
                  </a:ext>
                </a:extLst>
              </p:cNvPr>
              <p:cNvSpPr/>
              <p:nvPr/>
            </p:nvSpPr>
            <p:spPr>
              <a:xfrm>
                <a:off x="3302686" y="2893534"/>
                <a:ext cx="109017" cy="69818"/>
              </a:xfrm>
              <a:custGeom>
                <a:avLst/>
                <a:gdLst>
                  <a:gd name="connsiteX0" fmla="*/ 2075 w 109017"/>
                  <a:gd name="connsiteY0" fmla="*/ 14427 h 69818"/>
                  <a:gd name="connsiteX1" fmla="*/ 2075 w 109017"/>
                  <a:gd name="connsiteY1" fmla="*/ 14427 h 69818"/>
                  <a:gd name="connsiteX2" fmla="*/ 2075 w 109017"/>
                  <a:gd name="connsiteY2" fmla="*/ 14427 h 69818"/>
                  <a:gd name="connsiteX3" fmla="*/ 98944 w 109017"/>
                  <a:gd name="connsiteY3" fmla="*/ 69672 h 69818"/>
                  <a:gd name="connsiteX4" fmla="*/ 104850 w 109017"/>
                  <a:gd name="connsiteY4" fmla="*/ 66719 h 69818"/>
                  <a:gd name="connsiteX5" fmla="*/ 107708 w 109017"/>
                  <a:gd name="connsiteY5" fmla="*/ 60909 h 69818"/>
                  <a:gd name="connsiteX6" fmla="*/ 104850 w 109017"/>
                  <a:gd name="connsiteY6" fmla="*/ 55099 h 69818"/>
                  <a:gd name="connsiteX7" fmla="*/ 10933 w 109017"/>
                  <a:gd name="connsiteY7" fmla="*/ -147 h 69818"/>
                  <a:gd name="connsiteX8" fmla="*/ 5028 w 109017"/>
                  <a:gd name="connsiteY8" fmla="*/ 2711 h 69818"/>
                  <a:gd name="connsiteX9" fmla="*/ 2075 w 109017"/>
                  <a:gd name="connsiteY9" fmla="*/ 5664 h 69818"/>
                  <a:gd name="connsiteX10" fmla="*/ 1059 w 109017"/>
                  <a:gd name="connsiteY10" fmla="*/ 13410 h 69818"/>
                  <a:gd name="connsiteX11" fmla="*/ 2075 w 109017"/>
                  <a:gd name="connsiteY11" fmla="*/ 14427 h 6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017" h="69818">
                    <a:moveTo>
                      <a:pt x="2075" y="14427"/>
                    </a:moveTo>
                    <a:lnTo>
                      <a:pt x="2075" y="14427"/>
                    </a:lnTo>
                    <a:moveTo>
                      <a:pt x="2075" y="14427"/>
                    </a:moveTo>
                    <a:lnTo>
                      <a:pt x="98944" y="69672"/>
                    </a:lnTo>
                    <a:cubicBezTo>
                      <a:pt x="98944" y="69672"/>
                      <a:pt x="104850" y="69672"/>
                      <a:pt x="104850" y="66719"/>
                    </a:cubicBezTo>
                    <a:lnTo>
                      <a:pt x="107708" y="60909"/>
                    </a:lnTo>
                    <a:cubicBezTo>
                      <a:pt x="110660" y="58051"/>
                      <a:pt x="107708" y="55099"/>
                      <a:pt x="104850" y="55099"/>
                    </a:cubicBezTo>
                    <a:lnTo>
                      <a:pt x="10933" y="-147"/>
                    </a:lnTo>
                    <a:cubicBezTo>
                      <a:pt x="8076" y="-147"/>
                      <a:pt x="5028" y="-147"/>
                      <a:pt x="5028" y="2711"/>
                    </a:cubicBezTo>
                    <a:lnTo>
                      <a:pt x="2075" y="5664"/>
                    </a:lnTo>
                    <a:cubicBezTo>
                      <a:pt x="-345" y="7522"/>
                      <a:pt x="-800" y="10990"/>
                      <a:pt x="1059" y="13410"/>
                    </a:cubicBezTo>
                    <a:cubicBezTo>
                      <a:pt x="1352" y="13792"/>
                      <a:pt x="1694" y="14134"/>
                      <a:pt x="2075" y="14427"/>
                    </a:cubicBezTo>
                    <a:close/>
                  </a:path>
                </a:pathLst>
              </a:custGeom>
              <a:solidFill>
                <a:schemeClr val="bg1"/>
              </a:solidFill>
              <a:ln w="9525" cap="flat">
                <a:noFill/>
                <a:prstDash val="solid"/>
                <a:miter/>
              </a:ln>
            </p:spPr>
            <p:txBody>
              <a:bodyPr rtlCol="0" anchor="ctr"/>
              <a:lstStyle/>
              <a:p>
                <a:endParaRPr lang="en-US"/>
              </a:p>
            </p:txBody>
          </p:sp>
          <p:sp>
            <p:nvSpPr>
              <p:cNvPr id="852" name="Freeform: Shape 851">
                <a:extLst>
                  <a:ext uri="{FF2B5EF4-FFF2-40B4-BE49-F238E27FC236}">
                    <a16:creationId xmlns:a16="http://schemas.microsoft.com/office/drawing/2014/main" id="{954E20E5-6554-4621-B369-9C0F982AA804}"/>
                  </a:ext>
                </a:extLst>
              </p:cNvPr>
              <p:cNvSpPr/>
              <p:nvPr/>
            </p:nvSpPr>
            <p:spPr>
              <a:xfrm>
                <a:off x="3222121" y="3034504"/>
                <a:ext cx="107539" cy="68484"/>
              </a:xfrm>
              <a:custGeom>
                <a:avLst/>
                <a:gdLst>
                  <a:gd name="connsiteX0" fmla="*/ 103500 w 107539"/>
                  <a:gd name="connsiteY0" fmla="*/ 54146 h 68484"/>
                  <a:gd name="connsiteX1" fmla="*/ 10821 w 107539"/>
                  <a:gd name="connsiteY1" fmla="*/ -147 h 68484"/>
                  <a:gd name="connsiteX2" fmla="*/ 5011 w 107539"/>
                  <a:gd name="connsiteY2" fmla="*/ 2711 h 68484"/>
                  <a:gd name="connsiteX3" fmla="*/ 2059 w 107539"/>
                  <a:gd name="connsiteY3" fmla="*/ 8521 h 68484"/>
                  <a:gd name="connsiteX4" fmla="*/ 2059 w 107539"/>
                  <a:gd name="connsiteY4" fmla="*/ 14046 h 68484"/>
                  <a:gd name="connsiteX5" fmla="*/ 97309 w 107539"/>
                  <a:gd name="connsiteY5" fmla="*/ 68338 h 68484"/>
                  <a:gd name="connsiteX6" fmla="*/ 103119 w 107539"/>
                  <a:gd name="connsiteY6" fmla="*/ 65481 h 68484"/>
                  <a:gd name="connsiteX7" fmla="*/ 105976 w 107539"/>
                  <a:gd name="connsiteY7" fmla="*/ 62623 h 68484"/>
                  <a:gd name="connsiteX8" fmla="*/ 103500 w 107539"/>
                  <a:gd name="connsiteY8" fmla="*/ 54146 h 6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539" h="68484">
                    <a:moveTo>
                      <a:pt x="103500" y="54146"/>
                    </a:moveTo>
                    <a:lnTo>
                      <a:pt x="10821" y="-147"/>
                    </a:lnTo>
                    <a:cubicBezTo>
                      <a:pt x="7869" y="-147"/>
                      <a:pt x="5011" y="-147"/>
                      <a:pt x="5011" y="2711"/>
                    </a:cubicBezTo>
                    <a:lnTo>
                      <a:pt x="2059" y="8521"/>
                    </a:lnTo>
                    <a:cubicBezTo>
                      <a:pt x="-799" y="11283"/>
                      <a:pt x="-799" y="14046"/>
                      <a:pt x="2059" y="14046"/>
                    </a:cubicBezTo>
                    <a:lnTo>
                      <a:pt x="97309" y="68338"/>
                    </a:lnTo>
                    <a:cubicBezTo>
                      <a:pt x="97309" y="68338"/>
                      <a:pt x="103119" y="68338"/>
                      <a:pt x="103119" y="65481"/>
                    </a:cubicBezTo>
                    <a:lnTo>
                      <a:pt x="105976" y="62623"/>
                    </a:lnTo>
                    <a:cubicBezTo>
                      <a:pt x="109310" y="59766"/>
                      <a:pt x="106357" y="56908"/>
                      <a:pt x="103500" y="54146"/>
                    </a:cubicBezTo>
                    <a:close/>
                  </a:path>
                </a:pathLst>
              </a:custGeom>
              <a:solidFill>
                <a:schemeClr val="bg1"/>
              </a:solidFill>
              <a:ln w="9525" cap="flat">
                <a:noFill/>
                <a:prstDash val="solid"/>
                <a:miter/>
              </a:ln>
            </p:spPr>
            <p:txBody>
              <a:bodyPr rtlCol="0" anchor="ctr"/>
              <a:lstStyle/>
              <a:p>
                <a:endParaRPr lang="en-US"/>
              </a:p>
            </p:txBody>
          </p:sp>
          <p:sp>
            <p:nvSpPr>
              <p:cNvPr id="853" name="Freeform: Shape 852">
                <a:extLst>
                  <a:ext uri="{FF2B5EF4-FFF2-40B4-BE49-F238E27FC236}">
                    <a16:creationId xmlns:a16="http://schemas.microsoft.com/office/drawing/2014/main" id="{86CC7E67-DD6B-4A2B-AB9F-BEEE21F3D4BC}"/>
                  </a:ext>
                </a:extLst>
              </p:cNvPr>
              <p:cNvSpPr/>
              <p:nvPr/>
            </p:nvSpPr>
            <p:spPr>
              <a:xfrm>
                <a:off x="3237423" y="2916394"/>
                <a:ext cx="321330" cy="232333"/>
              </a:xfrm>
              <a:custGeom>
                <a:avLst/>
                <a:gdLst>
                  <a:gd name="connsiteX0" fmla="*/ 318036 w 321330"/>
                  <a:gd name="connsiteY0" fmla="*/ 198164 h 232333"/>
                  <a:gd name="connsiteX1" fmla="*/ 131251 w 321330"/>
                  <a:gd name="connsiteY1" fmla="*/ 101961 h 232333"/>
                  <a:gd name="connsiteX2" fmla="*/ 154682 w 321330"/>
                  <a:gd name="connsiteY2" fmla="*/ 58242 h 232333"/>
                  <a:gd name="connsiteX3" fmla="*/ 154682 w 321330"/>
                  <a:gd name="connsiteY3" fmla="*/ 49479 h 232333"/>
                  <a:gd name="connsiteX4" fmla="*/ 67147 w 321330"/>
                  <a:gd name="connsiteY4" fmla="*/ -147 h 232333"/>
                  <a:gd name="connsiteX5" fmla="*/ 61337 w 321330"/>
                  <a:gd name="connsiteY5" fmla="*/ 2711 h 232333"/>
                  <a:gd name="connsiteX6" fmla="*/ -4 w 321330"/>
                  <a:gd name="connsiteY6" fmla="*/ 105010 h 232333"/>
                  <a:gd name="connsiteX7" fmla="*/ 2949 w 321330"/>
                  <a:gd name="connsiteY7" fmla="*/ 113773 h 232333"/>
                  <a:gd name="connsiteX8" fmla="*/ 87531 w 321330"/>
                  <a:gd name="connsiteY8" fmla="*/ 163398 h 232333"/>
                  <a:gd name="connsiteX9" fmla="*/ 96199 w 321330"/>
                  <a:gd name="connsiteY9" fmla="*/ 160445 h 232333"/>
                  <a:gd name="connsiteX10" fmla="*/ 119630 w 321330"/>
                  <a:gd name="connsiteY10" fmla="*/ 116630 h 232333"/>
                  <a:gd name="connsiteX11" fmla="*/ 300605 w 321330"/>
                  <a:gd name="connsiteY11" fmla="*/ 230930 h 232333"/>
                  <a:gd name="connsiteX12" fmla="*/ 306397 w 321330"/>
                  <a:gd name="connsiteY12" fmla="*/ 231044 h 232333"/>
                  <a:gd name="connsiteX13" fmla="*/ 306511 w 321330"/>
                  <a:gd name="connsiteY13" fmla="*/ 230930 h 232333"/>
                  <a:gd name="connsiteX14" fmla="*/ 321084 w 321330"/>
                  <a:gd name="connsiteY14" fmla="*/ 207594 h 232333"/>
                  <a:gd name="connsiteX15" fmla="*/ 318036 w 321330"/>
                  <a:gd name="connsiteY15" fmla="*/ 198164 h 23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1330" h="232333">
                    <a:moveTo>
                      <a:pt x="318036" y="198164"/>
                    </a:moveTo>
                    <a:lnTo>
                      <a:pt x="131251" y="101961"/>
                    </a:lnTo>
                    <a:lnTo>
                      <a:pt x="154682" y="58242"/>
                    </a:lnTo>
                    <a:cubicBezTo>
                      <a:pt x="157540" y="55289"/>
                      <a:pt x="154682" y="52432"/>
                      <a:pt x="154682" y="49479"/>
                    </a:cubicBezTo>
                    <a:lnTo>
                      <a:pt x="67147" y="-147"/>
                    </a:lnTo>
                    <a:cubicBezTo>
                      <a:pt x="67147" y="-147"/>
                      <a:pt x="61337" y="-147"/>
                      <a:pt x="61337" y="2711"/>
                    </a:cubicBezTo>
                    <a:lnTo>
                      <a:pt x="-4" y="105010"/>
                    </a:lnTo>
                    <a:cubicBezTo>
                      <a:pt x="-402" y="108228"/>
                      <a:pt x="684" y="111452"/>
                      <a:pt x="2949" y="113773"/>
                    </a:cubicBezTo>
                    <a:lnTo>
                      <a:pt x="87531" y="163398"/>
                    </a:lnTo>
                    <a:cubicBezTo>
                      <a:pt x="90720" y="163795"/>
                      <a:pt x="93915" y="162707"/>
                      <a:pt x="96199" y="160445"/>
                    </a:cubicBezTo>
                    <a:lnTo>
                      <a:pt x="119630" y="116630"/>
                    </a:lnTo>
                    <a:lnTo>
                      <a:pt x="300605" y="230930"/>
                    </a:lnTo>
                    <a:cubicBezTo>
                      <a:pt x="302173" y="232561"/>
                      <a:pt x="304766" y="232612"/>
                      <a:pt x="306397" y="231044"/>
                    </a:cubicBezTo>
                    <a:cubicBezTo>
                      <a:pt x="306435" y="231007"/>
                      <a:pt x="306474" y="230969"/>
                      <a:pt x="306511" y="230930"/>
                    </a:cubicBezTo>
                    <a:lnTo>
                      <a:pt x="321084" y="207594"/>
                    </a:lnTo>
                    <a:cubicBezTo>
                      <a:pt x="321695" y="204140"/>
                      <a:pt x="320554" y="200607"/>
                      <a:pt x="318036" y="198164"/>
                    </a:cubicBezTo>
                    <a:close/>
                  </a:path>
                </a:pathLst>
              </a:custGeom>
              <a:solidFill>
                <a:schemeClr val="bg1"/>
              </a:solidFill>
              <a:ln w="9525" cap="flat">
                <a:noFill/>
                <a:prstDash val="solid"/>
                <a:miter/>
              </a:ln>
            </p:spPr>
            <p:txBody>
              <a:bodyPr rtlCol="0" anchor="ctr"/>
              <a:lstStyle/>
              <a:p>
                <a:endParaRPr lang="en-US"/>
              </a:p>
            </p:txBody>
          </p:sp>
          <p:sp>
            <p:nvSpPr>
              <p:cNvPr id="854" name="Freeform: Shape 853">
                <a:extLst>
                  <a:ext uri="{FF2B5EF4-FFF2-40B4-BE49-F238E27FC236}">
                    <a16:creationId xmlns:a16="http://schemas.microsoft.com/office/drawing/2014/main" id="{17EDDDBE-735B-4FD8-9884-F819CBFD0A7C}"/>
                  </a:ext>
                </a:extLst>
              </p:cNvPr>
              <p:cNvSpPr/>
              <p:nvPr/>
            </p:nvSpPr>
            <p:spPr>
              <a:xfrm>
                <a:off x="3552183" y="3123522"/>
                <a:ext cx="34995" cy="43569"/>
              </a:xfrm>
              <a:custGeom>
                <a:avLst/>
                <a:gdLst>
                  <a:gd name="connsiteX0" fmla="*/ 34422 w 34995"/>
                  <a:gd name="connsiteY0" fmla="*/ 6752 h 43569"/>
                  <a:gd name="connsiteX1" fmla="*/ 24897 w 34995"/>
                  <a:gd name="connsiteY1" fmla="*/ 1037 h 43569"/>
                  <a:gd name="connsiteX2" fmla="*/ 15372 w 34995"/>
                  <a:gd name="connsiteY2" fmla="*/ 3895 h 43569"/>
                  <a:gd name="connsiteX3" fmla="*/ 1180 w 34995"/>
                  <a:gd name="connsiteY3" fmla="*/ 29136 h 43569"/>
                  <a:gd name="connsiteX4" fmla="*/ 4133 w 34995"/>
                  <a:gd name="connsiteY4" fmla="*/ 37708 h 43569"/>
                  <a:gd name="connsiteX5" fmla="*/ 13658 w 34995"/>
                  <a:gd name="connsiteY5" fmla="*/ 43423 h 43569"/>
                  <a:gd name="connsiteX6" fmla="*/ 19659 w 34995"/>
                  <a:gd name="connsiteY6" fmla="*/ 40566 h 43569"/>
                  <a:gd name="connsiteX7" fmla="*/ 31755 w 34995"/>
                  <a:gd name="connsiteY7" fmla="*/ 20563 h 43569"/>
                  <a:gd name="connsiteX8" fmla="*/ 34804 w 34995"/>
                  <a:gd name="connsiteY8" fmla="*/ 6371 h 43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95" h="43569">
                    <a:moveTo>
                      <a:pt x="34422" y="6752"/>
                    </a:moveTo>
                    <a:lnTo>
                      <a:pt x="24897" y="1037"/>
                    </a:lnTo>
                    <a:cubicBezTo>
                      <a:pt x="21849" y="-1820"/>
                      <a:pt x="18801" y="1037"/>
                      <a:pt x="15372" y="3895"/>
                    </a:cubicBezTo>
                    <a:lnTo>
                      <a:pt x="1180" y="29136"/>
                    </a:lnTo>
                    <a:cubicBezTo>
                      <a:pt x="-1868" y="31993"/>
                      <a:pt x="1180" y="34851"/>
                      <a:pt x="4133" y="37708"/>
                    </a:cubicBezTo>
                    <a:lnTo>
                      <a:pt x="13658" y="43423"/>
                    </a:lnTo>
                    <a:cubicBezTo>
                      <a:pt x="16611" y="43423"/>
                      <a:pt x="19659" y="43423"/>
                      <a:pt x="19659" y="40566"/>
                    </a:cubicBezTo>
                    <a:lnTo>
                      <a:pt x="31755" y="20563"/>
                    </a:lnTo>
                    <a:cubicBezTo>
                      <a:pt x="34206" y="16258"/>
                      <a:pt x="35270" y="11303"/>
                      <a:pt x="34804" y="6371"/>
                    </a:cubicBezTo>
                    <a:close/>
                  </a:path>
                </a:pathLst>
              </a:custGeom>
              <a:solidFill>
                <a:schemeClr val="bg1"/>
              </a:solidFill>
              <a:ln w="9525" cap="flat">
                <a:noFill/>
                <a:prstDash val="solid"/>
                <a:miter/>
              </a:ln>
            </p:spPr>
            <p:txBody>
              <a:bodyPr rtlCol="0" anchor="ctr"/>
              <a:lstStyle/>
              <a:p>
                <a:endParaRPr lang="en-US"/>
              </a:p>
            </p:txBody>
          </p:sp>
          <p:sp>
            <p:nvSpPr>
              <p:cNvPr id="855" name="Freeform: Shape 854">
                <a:extLst>
                  <a:ext uri="{FF2B5EF4-FFF2-40B4-BE49-F238E27FC236}">
                    <a16:creationId xmlns:a16="http://schemas.microsoft.com/office/drawing/2014/main" id="{DD7DBFE7-BDA7-425B-B9CD-8A5D2C8068B2}"/>
                  </a:ext>
                </a:extLst>
              </p:cNvPr>
              <p:cNvSpPr/>
              <p:nvPr/>
            </p:nvSpPr>
            <p:spPr>
              <a:xfrm>
                <a:off x="3159589" y="3139193"/>
                <a:ext cx="232314" cy="101033"/>
              </a:xfrm>
              <a:custGeom>
                <a:avLst/>
                <a:gdLst>
                  <a:gd name="connsiteX0" fmla="*/ 217752 w 232314"/>
                  <a:gd name="connsiteY0" fmla="*/ 54994 h 101033"/>
                  <a:gd name="connsiteX1" fmla="*/ 211028 w 232314"/>
                  <a:gd name="connsiteY1" fmla="*/ 63757 h 101033"/>
                  <a:gd name="connsiteX2" fmla="*/ 208990 w 232314"/>
                  <a:gd name="connsiteY2" fmla="*/ 63757 h 101033"/>
                  <a:gd name="connsiteX3" fmla="*/ 23252 w 232314"/>
                  <a:gd name="connsiteY3" fmla="*/ 63757 h 101033"/>
                  <a:gd name="connsiteX4" fmla="*/ 11536 w 232314"/>
                  <a:gd name="connsiteY4" fmla="*/ 54994 h 101033"/>
                  <a:gd name="connsiteX5" fmla="*/ 11536 w 232314"/>
                  <a:gd name="connsiteY5" fmla="*/ 46326 h 101033"/>
                  <a:gd name="connsiteX6" fmla="*/ 23252 w 232314"/>
                  <a:gd name="connsiteY6" fmla="*/ 37658 h 101033"/>
                  <a:gd name="connsiteX7" fmla="*/ 208989 w 232314"/>
                  <a:gd name="connsiteY7" fmla="*/ 37658 h 101033"/>
                  <a:gd name="connsiteX8" fmla="*/ 217740 w 232314"/>
                  <a:gd name="connsiteY8" fmla="*/ 44175 h 101033"/>
                  <a:gd name="connsiteX9" fmla="*/ 217752 w 232314"/>
                  <a:gd name="connsiteY9" fmla="*/ 46326 h 101033"/>
                  <a:gd name="connsiteX10" fmla="*/ 223562 w 232314"/>
                  <a:gd name="connsiteY10" fmla="*/ 23180 h 101033"/>
                  <a:gd name="connsiteX11" fmla="*/ 211942 w 232314"/>
                  <a:gd name="connsiteY11" fmla="*/ 23180 h 101033"/>
                  <a:gd name="connsiteX12" fmla="*/ 214800 w 232314"/>
                  <a:gd name="connsiteY12" fmla="*/ 17370 h 101033"/>
                  <a:gd name="connsiteX13" fmla="*/ 214800 w 232314"/>
                  <a:gd name="connsiteY13" fmla="*/ 8607 h 101033"/>
                  <a:gd name="connsiteX14" fmla="*/ 203179 w 232314"/>
                  <a:gd name="connsiteY14" fmla="*/ -61 h 101033"/>
                  <a:gd name="connsiteX15" fmla="*/ 26109 w 232314"/>
                  <a:gd name="connsiteY15" fmla="*/ -61 h 101033"/>
                  <a:gd name="connsiteX16" fmla="*/ 17442 w 232314"/>
                  <a:gd name="connsiteY16" fmla="*/ 6342 h 101033"/>
                  <a:gd name="connsiteX17" fmla="*/ 17442 w 232314"/>
                  <a:gd name="connsiteY17" fmla="*/ 8607 h 101033"/>
                  <a:gd name="connsiteX18" fmla="*/ 17442 w 232314"/>
                  <a:gd name="connsiteY18" fmla="*/ 17370 h 101033"/>
                  <a:gd name="connsiteX19" fmla="*/ 20299 w 232314"/>
                  <a:gd name="connsiteY19" fmla="*/ 23180 h 101033"/>
                  <a:gd name="connsiteX20" fmla="*/ 8678 w 232314"/>
                  <a:gd name="connsiteY20" fmla="*/ 23180 h 101033"/>
                  <a:gd name="connsiteX21" fmla="*/ -85 w 232314"/>
                  <a:gd name="connsiteY21" fmla="*/ 31848 h 101033"/>
                  <a:gd name="connsiteX22" fmla="*/ -84 w 232314"/>
                  <a:gd name="connsiteY22" fmla="*/ 81092 h 101033"/>
                  <a:gd name="connsiteX23" fmla="*/ 232230 w 232314"/>
                  <a:gd name="connsiteY23" fmla="*/ 78235 h 101033"/>
                  <a:gd name="connsiteX24" fmla="*/ 232230 w 232314"/>
                  <a:gd name="connsiteY24" fmla="*/ 31848 h 101033"/>
                  <a:gd name="connsiteX25" fmla="*/ 223562 w 232314"/>
                  <a:gd name="connsiteY25" fmla="*/ 22990 h 10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2314" h="101033">
                    <a:moveTo>
                      <a:pt x="217752" y="54994"/>
                    </a:moveTo>
                    <a:cubicBezTo>
                      <a:pt x="218315" y="59270"/>
                      <a:pt x="215305" y="63194"/>
                      <a:pt x="211028" y="63757"/>
                    </a:cubicBezTo>
                    <a:cubicBezTo>
                      <a:pt x="210351" y="63846"/>
                      <a:pt x="209666" y="63846"/>
                      <a:pt x="208990" y="63757"/>
                    </a:cubicBezTo>
                    <a:lnTo>
                      <a:pt x="23252" y="63757"/>
                    </a:lnTo>
                    <a:cubicBezTo>
                      <a:pt x="17442" y="63757"/>
                      <a:pt x="11536" y="60804"/>
                      <a:pt x="11536" y="54994"/>
                    </a:cubicBezTo>
                    <a:lnTo>
                      <a:pt x="11536" y="46326"/>
                    </a:lnTo>
                    <a:cubicBezTo>
                      <a:pt x="11536" y="40516"/>
                      <a:pt x="17442" y="37658"/>
                      <a:pt x="23252" y="37658"/>
                    </a:cubicBezTo>
                    <a:lnTo>
                      <a:pt x="208989" y="37658"/>
                    </a:lnTo>
                    <a:cubicBezTo>
                      <a:pt x="213205" y="37041"/>
                      <a:pt x="217123" y="39958"/>
                      <a:pt x="217740" y="44175"/>
                    </a:cubicBezTo>
                    <a:cubicBezTo>
                      <a:pt x="217845" y="44888"/>
                      <a:pt x="217849" y="45612"/>
                      <a:pt x="217752" y="46326"/>
                    </a:cubicBezTo>
                    <a:close/>
                    <a:moveTo>
                      <a:pt x="223562" y="23180"/>
                    </a:moveTo>
                    <a:lnTo>
                      <a:pt x="211942" y="23180"/>
                    </a:lnTo>
                    <a:cubicBezTo>
                      <a:pt x="213490" y="21598"/>
                      <a:pt x="214491" y="19562"/>
                      <a:pt x="214800" y="17370"/>
                    </a:cubicBezTo>
                    <a:lnTo>
                      <a:pt x="214800" y="8607"/>
                    </a:lnTo>
                    <a:cubicBezTo>
                      <a:pt x="214800" y="2797"/>
                      <a:pt x="208989" y="-61"/>
                      <a:pt x="203179" y="-61"/>
                    </a:cubicBezTo>
                    <a:lnTo>
                      <a:pt x="26109" y="-61"/>
                    </a:lnTo>
                    <a:cubicBezTo>
                      <a:pt x="21948" y="-686"/>
                      <a:pt x="18067" y="2180"/>
                      <a:pt x="17442" y="6342"/>
                    </a:cubicBezTo>
                    <a:cubicBezTo>
                      <a:pt x="17329" y="7093"/>
                      <a:pt x="17329" y="7856"/>
                      <a:pt x="17442" y="8607"/>
                    </a:cubicBezTo>
                    <a:lnTo>
                      <a:pt x="17442" y="17370"/>
                    </a:lnTo>
                    <a:cubicBezTo>
                      <a:pt x="17442" y="20227"/>
                      <a:pt x="17442" y="23180"/>
                      <a:pt x="20299" y="23180"/>
                    </a:cubicBezTo>
                    <a:lnTo>
                      <a:pt x="8678" y="23180"/>
                    </a:lnTo>
                    <a:cubicBezTo>
                      <a:pt x="4030" y="23535"/>
                      <a:pt x="321" y="27203"/>
                      <a:pt x="-85" y="31848"/>
                    </a:cubicBezTo>
                    <a:lnTo>
                      <a:pt x="-84" y="81092"/>
                    </a:lnTo>
                    <a:cubicBezTo>
                      <a:pt x="-84" y="81092"/>
                      <a:pt x="232230" y="127479"/>
                      <a:pt x="232230" y="78235"/>
                    </a:cubicBezTo>
                    <a:lnTo>
                      <a:pt x="232230" y="31848"/>
                    </a:lnTo>
                    <a:cubicBezTo>
                      <a:pt x="231033" y="27615"/>
                      <a:pt x="227768" y="24279"/>
                      <a:pt x="223562" y="22990"/>
                    </a:cubicBezTo>
                    <a:close/>
                  </a:path>
                </a:pathLst>
              </a:custGeom>
              <a:solidFill>
                <a:schemeClr val="bg1"/>
              </a:solidFill>
              <a:ln w="9525" cap="flat">
                <a:noFill/>
                <a:prstDash val="solid"/>
                <a:miter/>
              </a:ln>
            </p:spPr>
            <p:txBody>
              <a:bodyPr rtlCol="0" anchor="ctr"/>
              <a:lstStyle/>
              <a:p>
                <a:endParaRPr lang="en-US"/>
              </a:p>
            </p:txBody>
          </p:sp>
        </p:grpSp>
      </p:grpSp>
      <p:grpSp>
        <p:nvGrpSpPr>
          <p:cNvPr id="123" name="Group 122">
            <a:extLst>
              <a:ext uri="{FF2B5EF4-FFF2-40B4-BE49-F238E27FC236}">
                <a16:creationId xmlns:a16="http://schemas.microsoft.com/office/drawing/2014/main" id="{7D547520-7FA5-4C5E-B296-62AAB049CF8D}"/>
              </a:ext>
              <a:ext uri="{C183D7F6-B498-43B3-948B-1728B52AA6E4}">
                <adec:decorative xmlns:adec="http://schemas.microsoft.com/office/drawing/2017/decorative" val="1"/>
              </a:ext>
            </a:extLst>
          </p:cNvPr>
          <p:cNvGrpSpPr/>
          <p:nvPr/>
        </p:nvGrpSpPr>
        <p:grpSpPr>
          <a:xfrm>
            <a:off x="650180" y="1742494"/>
            <a:ext cx="10809231" cy="123111"/>
            <a:chOff x="453127" y="1773524"/>
            <a:chExt cx="10809231" cy="123111"/>
          </a:xfrm>
        </p:grpSpPr>
        <p:sp>
          <p:nvSpPr>
            <p:cNvPr id="52" name="Rectangle 36">
              <a:extLst>
                <a:ext uri="{FF2B5EF4-FFF2-40B4-BE49-F238E27FC236}">
                  <a16:creationId xmlns:a16="http://schemas.microsoft.com/office/drawing/2014/main" id="{A09C677E-77D3-4BCD-A33E-05C90B69C1B6}"/>
                </a:ext>
              </a:extLst>
            </p:cNvPr>
            <p:cNvSpPr>
              <a:spLocks noChangeArrowheads="1"/>
            </p:cNvSpPr>
            <p:nvPr/>
          </p:nvSpPr>
          <p:spPr bwMode="auto">
            <a:xfrm>
              <a:off x="10704512" y="1773524"/>
              <a:ext cx="55784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Digital </a:t>
              </a:r>
              <a:r>
                <a:rPr kumimoji="0" lang="fr-FR" altLang="pl-PL" sz="800" b="0" i="0" u="none" strike="noStrike" cap="none" normalizeH="0" baseline="0" dirty="0" err="1">
                  <a:ln>
                    <a:noFill/>
                  </a:ln>
                  <a:solidFill>
                    <a:srgbClr val="231F20"/>
                  </a:solidFill>
                  <a:effectLst/>
                  <a:latin typeface="Ubuntu" panose="020B0504030602030204" pitchFamily="34" charset="0"/>
                </a:rPr>
                <a:t>print</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85" name="Rectangle 69">
              <a:extLst>
                <a:ext uri="{FF2B5EF4-FFF2-40B4-BE49-F238E27FC236}">
                  <a16:creationId xmlns:a16="http://schemas.microsoft.com/office/drawing/2014/main" id="{DE31A0A4-D9F2-47D1-AB6D-0427EB1FDBE4}"/>
                </a:ext>
              </a:extLst>
            </p:cNvPr>
            <p:cNvSpPr>
              <a:spLocks noChangeArrowheads="1"/>
            </p:cNvSpPr>
            <p:nvPr/>
          </p:nvSpPr>
          <p:spPr bwMode="auto">
            <a:xfrm>
              <a:off x="453127" y="1773524"/>
              <a:ext cx="27892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Home</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19" name="Rectangle 5">
              <a:extLst>
                <a:ext uri="{FF2B5EF4-FFF2-40B4-BE49-F238E27FC236}">
                  <a16:creationId xmlns:a16="http://schemas.microsoft.com/office/drawing/2014/main" id="{4DE723CF-C242-47DC-8CB6-7016D6E23340}"/>
                </a:ext>
              </a:extLst>
            </p:cNvPr>
            <p:cNvSpPr>
              <a:spLocks noChangeArrowheads="1"/>
            </p:cNvSpPr>
            <p:nvPr/>
          </p:nvSpPr>
          <p:spPr bwMode="auto">
            <a:xfrm>
              <a:off x="1271464" y="1773524"/>
              <a:ext cx="21320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Bulb</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27" name="Rectangle 11">
              <a:extLst>
                <a:ext uri="{FF2B5EF4-FFF2-40B4-BE49-F238E27FC236}">
                  <a16:creationId xmlns:a16="http://schemas.microsoft.com/office/drawing/2014/main" id="{44E8C643-F728-4A6E-95BF-7A1E301129D9}"/>
                </a:ext>
              </a:extLst>
            </p:cNvPr>
            <p:cNvSpPr>
              <a:spLocks noChangeArrowheads="1"/>
            </p:cNvSpPr>
            <p:nvPr/>
          </p:nvSpPr>
          <p:spPr bwMode="auto">
            <a:xfrm>
              <a:off x="5210576" y="1773524"/>
              <a:ext cx="28854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Arr</a:t>
              </a:r>
              <a:r>
                <a:rPr kumimoji="0" lang="fr-FR" altLang="pl-PL" sz="800" b="0" i="0" u="none" strike="noStrike" cap="none" normalizeH="0" baseline="0" dirty="0" err="1">
                  <a:ln>
                    <a:noFill/>
                  </a:ln>
                  <a:solidFill>
                    <a:srgbClr val="231F20"/>
                  </a:solidFill>
                  <a:effectLst/>
                  <a:latin typeface="Ubuntu" panose="020B0504030602030204" pitchFamily="34" charset="0"/>
                </a:rPr>
                <a:t>ow</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0" name="Rectangle 14">
              <a:extLst>
                <a:ext uri="{FF2B5EF4-FFF2-40B4-BE49-F238E27FC236}">
                  <a16:creationId xmlns:a16="http://schemas.microsoft.com/office/drawing/2014/main" id="{7D9FAC36-8322-4EEF-A3D4-45C184D85BF2}"/>
                </a:ext>
              </a:extLst>
            </p:cNvPr>
            <p:cNvSpPr>
              <a:spLocks noChangeArrowheads="1"/>
            </p:cNvSpPr>
            <p:nvPr/>
          </p:nvSpPr>
          <p:spPr bwMode="auto">
            <a:xfrm>
              <a:off x="3564802" y="1773524"/>
              <a:ext cx="36388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Balance</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1" name="Rectangle 15">
              <a:extLst>
                <a:ext uri="{FF2B5EF4-FFF2-40B4-BE49-F238E27FC236}">
                  <a16:creationId xmlns:a16="http://schemas.microsoft.com/office/drawing/2014/main" id="{1F5AD798-01B8-4A25-AB94-46895248F9A6}"/>
                </a:ext>
              </a:extLst>
            </p:cNvPr>
            <p:cNvSpPr>
              <a:spLocks noChangeArrowheads="1"/>
            </p:cNvSpPr>
            <p:nvPr/>
          </p:nvSpPr>
          <p:spPr bwMode="auto">
            <a:xfrm>
              <a:off x="2845402" y="1773524"/>
              <a:ext cx="18915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Star</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6" name="Rectangle 20">
              <a:extLst>
                <a:ext uri="{FF2B5EF4-FFF2-40B4-BE49-F238E27FC236}">
                  <a16:creationId xmlns:a16="http://schemas.microsoft.com/office/drawing/2014/main" id="{355020AF-A504-49DE-9FE6-90913FB58A41}"/>
                </a:ext>
              </a:extLst>
            </p:cNvPr>
            <p:cNvSpPr>
              <a:spLocks noChangeArrowheads="1"/>
            </p:cNvSpPr>
            <p:nvPr/>
          </p:nvSpPr>
          <p:spPr bwMode="auto">
            <a:xfrm>
              <a:off x="9994084" y="1773524"/>
              <a:ext cx="21640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DNA</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45" name="Rectangle 29">
              <a:extLst>
                <a:ext uri="{FF2B5EF4-FFF2-40B4-BE49-F238E27FC236}">
                  <a16:creationId xmlns:a16="http://schemas.microsoft.com/office/drawing/2014/main" id="{78084909-7C5D-4581-93DB-5EB3BAE8A81F}"/>
                </a:ext>
              </a:extLst>
            </p:cNvPr>
            <p:cNvSpPr>
              <a:spLocks noChangeArrowheads="1"/>
            </p:cNvSpPr>
            <p:nvPr/>
          </p:nvSpPr>
          <p:spPr bwMode="auto">
            <a:xfrm>
              <a:off x="7491649" y="1773524"/>
              <a:ext cx="47609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Do</a:t>
              </a:r>
              <a:r>
                <a:rPr kumimoji="0" lang="pl-PL" altLang="pl-PL" sz="800" b="0" i="0" u="none" strike="noStrike" cap="none" normalizeH="0" baseline="0" dirty="0">
                  <a:ln>
                    <a:noFill/>
                  </a:ln>
                  <a:solidFill>
                    <a:srgbClr val="231F20"/>
                  </a:solidFill>
                  <a:effectLst/>
                  <a:latin typeface="Ubuntu" panose="020B0504030602030204" pitchFamily="34" charset="0"/>
                </a:rPr>
                <a:t>wnload</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86" name="Rectangle 70">
              <a:extLst>
                <a:ext uri="{FF2B5EF4-FFF2-40B4-BE49-F238E27FC236}">
                  <a16:creationId xmlns:a16="http://schemas.microsoft.com/office/drawing/2014/main" id="{EFED72B2-9E94-4DD0-BD76-2B4B0E5E6268}"/>
                </a:ext>
              </a:extLst>
            </p:cNvPr>
            <p:cNvSpPr>
              <a:spLocks noChangeArrowheads="1"/>
            </p:cNvSpPr>
            <p:nvPr/>
          </p:nvSpPr>
          <p:spPr bwMode="auto">
            <a:xfrm>
              <a:off x="8390811" y="1773524"/>
              <a:ext cx="2853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Vision</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604" name="Rectangle 70">
              <a:extLst>
                <a:ext uri="{FF2B5EF4-FFF2-40B4-BE49-F238E27FC236}">
                  <a16:creationId xmlns:a16="http://schemas.microsoft.com/office/drawing/2014/main" id="{6B364627-87BE-488D-B43E-4CCBF4497F6E}"/>
                </a:ext>
              </a:extLst>
            </p:cNvPr>
            <p:cNvSpPr>
              <a:spLocks noChangeArrowheads="1"/>
            </p:cNvSpPr>
            <p:nvPr/>
          </p:nvSpPr>
          <p:spPr bwMode="auto">
            <a:xfrm>
              <a:off x="9169942" y="1773524"/>
              <a:ext cx="2853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Vision</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856" name="Rectangle 14">
              <a:extLst>
                <a:ext uri="{FF2B5EF4-FFF2-40B4-BE49-F238E27FC236}">
                  <a16:creationId xmlns:a16="http://schemas.microsoft.com/office/drawing/2014/main" id="{ED84F5C4-824C-4292-A4DC-664FDF255861}"/>
                </a:ext>
              </a:extLst>
            </p:cNvPr>
            <p:cNvSpPr>
              <a:spLocks noChangeArrowheads="1"/>
            </p:cNvSpPr>
            <p:nvPr/>
          </p:nvSpPr>
          <p:spPr bwMode="auto">
            <a:xfrm>
              <a:off x="4428212" y="1773524"/>
              <a:ext cx="29815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Gravel</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grpSp>
      <p:grpSp>
        <p:nvGrpSpPr>
          <p:cNvPr id="124" name="Group 123">
            <a:extLst>
              <a:ext uri="{FF2B5EF4-FFF2-40B4-BE49-F238E27FC236}">
                <a16:creationId xmlns:a16="http://schemas.microsoft.com/office/drawing/2014/main" id="{F261B4D7-D2C6-45C9-BDAB-8FBEDCB953F0}"/>
              </a:ext>
              <a:ext uri="{C183D7F6-B498-43B3-948B-1728B52AA6E4}">
                <adec:decorative xmlns:adec="http://schemas.microsoft.com/office/drawing/2017/decorative" val="1"/>
              </a:ext>
            </a:extLst>
          </p:cNvPr>
          <p:cNvGrpSpPr/>
          <p:nvPr/>
        </p:nvGrpSpPr>
        <p:grpSpPr>
          <a:xfrm>
            <a:off x="1994597" y="2995439"/>
            <a:ext cx="679450" cy="633413"/>
            <a:chOff x="5398872" y="-298652"/>
            <a:chExt cx="679450" cy="633413"/>
          </a:xfrm>
        </p:grpSpPr>
        <p:sp>
          <p:nvSpPr>
            <p:cNvPr id="815" name="Freeform 289">
              <a:extLst>
                <a:ext uri="{FF2B5EF4-FFF2-40B4-BE49-F238E27FC236}">
                  <a16:creationId xmlns:a16="http://schemas.microsoft.com/office/drawing/2014/main" id="{5E32DDB4-A344-4806-B473-CFA71C9D8849}"/>
                </a:ext>
              </a:extLst>
            </p:cNvPr>
            <p:cNvSpPr>
              <a:spLocks/>
            </p:cNvSpPr>
            <p:nvPr/>
          </p:nvSpPr>
          <p:spPr bwMode="auto">
            <a:xfrm>
              <a:off x="5398872" y="-298652"/>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859" name="Group 858">
              <a:extLst>
                <a:ext uri="{FF2B5EF4-FFF2-40B4-BE49-F238E27FC236}">
                  <a16:creationId xmlns:a16="http://schemas.microsoft.com/office/drawing/2014/main" id="{BC874E80-AFF7-440D-93D2-E3B4E0B8BCBB}"/>
                </a:ext>
              </a:extLst>
            </p:cNvPr>
            <p:cNvGrpSpPr>
              <a:grpSpLocks noChangeAspect="1"/>
            </p:cNvGrpSpPr>
            <p:nvPr/>
          </p:nvGrpSpPr>
          <p:grpSpPr>
            <a:xfrm>
              <a:off x="5548518" y="-166555"/>
              <a:ext cx="360000" cy="353863"/>
              <a:chOff x="3889681" y="2907914"/>
              <a:chExt cx="385095" cy="377659"/>
            </a:xfrm>
            <a:solidFill>
              <a:schemeClr val="bg1"/>
            </a:solidFill>
          </p:grpSpPr>
          <p:sp>
            <p:nvSpPr>
              <p:cNvPr id="860" name="Freeform: Shape 859">
                <a:extLst>
                  <a:ext uri="{FF2B5EF4-FFF2-40B4-BE49-F238E27FC236}">
                    <a16:creationId xmlns:a16="http://schemas.microsoft.com/office/drawing/2014/main" id="{659011D0-6C76-4383-B2C6-DFE1B10F8B69}"/>
                  </a:ext>
                </a:extLst>
              </p:cNvPr>
              <p:cNvSpPr/>
              <p:nvPr/>
            </p:nvSpPr>
            <p:spPr>
              <a:xfrm>
                <a:off x="4005219" y="2907914"/>
                <a:ext cx="269557" cy="269595"/>
              </a:xfrm>
              <a:custGeom>
                <a:avLst/>
                <a:gdLst>
                  <a:gd name="connsiteX0" fmla="*/ 229087 w 269557"/>
                  <a:gd name="connsiteY0" fmla="*/ 230837 h 269595"/>
                  <a:gd name="connsiteX1" fmla="*/ 230899 w 269557"/>
                  <a:gd name="connsiteY1" fmla="*/ 40240 h 269595"/>
                  <a:gd name="connsiteX2" fmla="*/ 40301 w 269557"/>
                  <a:gd name="connsiteY2" fmla="*/ 38428 h 269595"/>
                  <a:gd name="connsiteX3" fmla="*/ 38490 w 269557"/>
                  <a:gd name="connsiteY3" fmla="*/ 229025 h 269595"/>
                  <a:gd name="connsiteX4" fmla="*/ 40301 w 269557"/>
                  <a:gd name="connsiteY4" fmla="*/ 230837 h 269595"/>
                  <a:gd name="connsiteX5" fmla="*/ 229087 w 269557"/>
                  <a:gd name="connsiteY5" fmla="*/ 230837 h 269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9557" h="269595">
                    <a:moveTo>
                      <a:pt x="229087" y="230837"/>
                    </a:moveTo>
                    <a:cubicBezTo>
                      <a:pt x="282219" y="178705"/>
                      <a:pt x="283030" y="93372"/>
                      <a:pt x="230899" y="40240"/>
                    </a:cubicBezTo>
                    <a:cubicBezTo>
                      <a:pt x="178767" y="-12893"/>
                      <a:pt x="93434" y="-13704"/>
                      <a:pt x="40301" y="38428"/>
                    </a:cubicBezTo>
                    <a:cubicBezTo>
                      <a:pt x="-12831" y="90559"/>
                      <a:pt x="-13642" y="175893"/>
                      <a:pt x="38490" y="229025"/>
                    </a:cubicBezTo>
                    <a:cubicBezTo>
                      <a:pt x="39088" y="229635"/>
                      <a:pt x="39692" y="230239"/>
                      <a:pt x="40301" y="230837"/>
                    </a:cubicBezTo>
                    <a:cubicBezTo>
                      <a:pt x="92700" y="282320"/>
                      <a:pt x="176688" y="282320"/>
                      <a:pt x="229087" y="230837"/>
                    </a:cubicBezTo>
                    <a:close/>
                  </a:path>
                </a:pathLst>
              </a:custGeom>
              <a:grpFill/>
              <a:ln w="9525" cap="flat">
                <a:noFill/>
                <a:prstDash val="solid"/>
                <a:miter/>
              </a:ln>
            </p:spPr>
            <p:txBody>
              <a:bodyPr rtlCol="0" anchor="ctr"/>
              <a:lstStyle/>
              <a:p>
                <a:endParaRPr lang="en-US"/>
              </a:p>
            </p:txBody>
          </p:sp>
          <p:sp>
            <p:nvSpPr>
              <p:cNvPr id="861" name="Freeform: Shape 860">
                <a:extLst>
                  <a:ext uri="{FF2B5EF4-FFF2-40B4-BE49-F238E27FC236}">
                    <a16:creationId xmlns:a16="http://schemas.microsoft.com/office/drawing/2014/main" id="{C1C48682-BC6D-469A-B260-D072C8429230}"/>
                  </a:ext>
                </a:extLst>
              </p:cNvPr>
              <p:cNvSpPr/>
              <p:nvPr/>
            </p:nvSpPr>
            <p:spPr>
              <a:xfrm>
                <a:off x="4033265" y="2935352"/>
                <a:ext cx="210754" cy="213304"/>
              </a:xfrm>
              <a:custGeom>
                <a:avLst/>
                <a:gdLst>
                  <a:gd name="connsiteX0" fmla="*/ 178657 w 210754"/>
                  <a:gd name="connsiteY0" fmla="*/ 180730 h 213304"/>
                  <a:gd name="connsiteX1" fmla="*/ 182809 w 210754"/>
                  <a:gd name="connsiteY1" fmla="*/ 36387 h 213304"/>
                  <a:gd name="connsiteX2" fmla="*/ 178657 w 210754"/>
                  <a:gd name="connsiteY2" fmla="*/ 32235 h 213304"/>
                  <a:gd name="connsiteX3" fmla="*/ 38445 w 210754"/>
                  <a:gd name="connsiteY3" fmla="*/ 25762 h 213304"/>
                  <a:gd name="connsiteX4" fmla="*/ 31972 w 210754"/>
                  <a:gd name="connsiteY4" fmla="*/ 32235 h 213304"/>
                  <a:gd name="connsiteX5" fmla="*/ 27681 w 210754"/>
                  <a:gd name="connsiteY5" fmla="*/ 176439 h 213304"/>
                  <a:gd name="connsiteX6" fmla="*/ 31972 w 210754"/>
                  <a:gd name="connsiteY6" fmla="*/ 180730 h 213304"/>
                  <a:gd name="connsiteX7" fmla="*/ 172042 w 210754"/>
                  <a:gd name="connsiteY7" fmla="*/ 187344 h 213304"/>
                  <a:gd name="connsiteX8" fmla="*/ 178657 w 210754"/>
                  <a:gd name="connsiteY8" fmla="*/ 180730 h 21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754" h="213304">
                    <a:moveTo>
                      <a:pt x="178657" y="180730"/>
                    </a:moveTo>
                    <a:cubicBezTo>
                      <a:pt x="219662" y="142017"/>
                      <a:pt x="221521" y="77393"/>
                      <a:pt x="182809" y="36387"/>
                    </a:cubicBezTo>
                    <a:cubicBezTo>
                      <a:pt x="181465" y="34964"/>
                      <a:pt x="180080" y="33579"/>
                      <a:pt x="178657" y="32235"/>
                    </a:cubicBezTo>
                    <a:cubicBezTo>
                      <a:pt x="141726" y="-8271"/>
                      <a:pt x="78951" y="-11169"/>
                      <a:pt x="38445" y="25762"/>
                    </a:cubicBezTo>
                    <a:cubicBezTo>
                      <a:pt x="36189" y="27819"/>
                      <a:pt x="34029" y="29979"/>
                      <a:pt x="31972" y="32235"/>
                    </a:cubicBezTo>
                    <a:cubicBezTo>
                      <a:pt x="-9034" y="70871"/>
                      <a:pt x="-10955" y="135433"/>
                      <a:pt x="27681" y="176439"/>
                    </a:cubicBezTo>
                    <a:cubicBezTo>
                      <a:pt x="29068" y="177912"/>
                      <a:pt x="30499" y="179342"/>
                      <a:pt x="31972" y="180730"/>
                    </a:cubicBezTo>
                    <a:cubicBezTo>
                      <a:pt x="68825" y="221236"/>
                      <a:pt x="131536" y="224197"/>
                      <a:pt x="172042" y="187344"/>
                    </a:cubicBezTo>
                    <a:cubicBezTo>
                      <a:pt x="174350" y="185245"/>
                      <a:pt x="176557" y="183038"/>
                      <a:pt x="178657" y="180730"/>
                    </a:cubicBezTo>
                    <a:close/>
                  </a:path>
                </a:pathLst>
              </a:custGeom>
              <a:solidFill>
                <a:schemeClr val="accent1"/>
              </a:solidFill>
              <a:ln w="9525" cap="flat">
                <a:noFill/>
                <a:prstDash val="solid"/>
                <a:miter/>
              </a:ln>
            </p:spPr>
            <p:txBody>
              <a:bodyPr rtlCol="0" anchor="ctr"/>
              <a:lstStyle/>
              <a:p>
                <a:endParaRPr lang="en-US" dirty="0"/>
              </a:p>
            </p:txBody>
          </p:sp>
          <p:sp>
            <p:nvSpPr>
              <p:cNvPr id="862" name="Freeform: Shape 861">
                <a:extLst>
                  <a:ext uri="{FF2B5EF4-FFF2-40B4-BE49-F238E27FC236}">
                    <a16:creationId xmlns:a16="http://schemas.microsoft.com/office/drawing/2014/main" id="{78222C6B-B716-49F8-985C-2152F2E43003}"/>
                  </a:ext>
                </a:extLst>
              </p:cNvPr>
              <p:cNvSpPr/>
              <p:nvPr/>
            </p:nvSpPr>
            <p:spPr>
              <a:xfrm>
                <a:off x="4015887" y="3113847"/>
                <a:ext cx="50958" cy="50958"/>
              </a:xfrm>
              <a:custGeom>
                <a:avLst/>
                <a:gdLst>
                  <a:gd name="connsiteX0" fmla="*/ 0 w 50958"/>
                  <a:gd name="connsiteY0" fmla="*/ 21622 h 50958"/>
                  <a:gd name="connsiteX1" fmla="*/ 21145 w 50958"/>
                  <a:gd name="connsiteY1" fmla="*/ 0 h 50958"/>
                  <a:gd name="connsiteX2" fmla="*/ 50959 w 50958"/>
                  <a:gd name="connsiteY2" fmla="*/ 29337 h 50958"/>
                  <a:gd name="connsiteX3" fmla="*/ 29813 w 50958"/>
                  <a:gd name="connsiteY3" fmla="*/ 50959 h 50958"/>
                  <a:gd name="connsiteX4" fmla="*/ 0 w 50958"/>
                  <a:gd name="connsiteY4" fmla="*/ 21622 h 50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58" h="50958">
                    <a:moveTo>
                      <a:pt x="0" y="21622"/>
                    </a:moveTo>
                    <a:lnTo>
                      <a:pt x="21145" y="0"/>
                    </a:lnTo>
                    <a:lnTo>
                      <a:pt x="50959" y="29337"/>
                    </a:lnTo>
                    <a:lnTo>
                      <a:pt x="29813" y="50959"/>
                    </a:lnTo>
                    <a:lnTo>
                      <a:pt x="0" y="21622"/>
                    </a:lnTo>
                    <a:close/>
                  </a:path>
                </a:pathLst>
              </a:custGeom>
              <a:grpFill/>
              <a:ln w="9525" cap="flat">
                <a:noFill/>
                <a:prstDash val="solid"/>
                <a:miter/>
              </a:ln>
            </p:spPr>
            <p:txBody>
              <a:bodyPr rtlCol="0" anchor="ctr"/>
              <a:lstStyle/>
              <a:p>
                <a:endParaRPr lang="en-US"/>
              </a:p>
            </p:txBody>
          </p:sp>
          <p:sp>
            <p:nvSpPr>
              <p:cNvPr id="863" name="Freeform: Shape 862">
                <a:extLst>
                  <a:ext uri="{FF2B5EF4-FFF2-40B4-BE49-F238E27FC236}">
                    <a16:creationId xmlns:a16="http://schemas.microsoft.com/office/drawing/2014/main" id="{F8C15CFF-A438-43BB-BD5A-73D973319C13}"/>
                  </a:ext>
                </a:extLst>
              </p:cNvPr>
              <p:cNvSpPr/>
              <p:nvPr/>
            </p:nvSpPr>
            <p:spPr>
              <a:xfrm>
                <a:off x="3983693" y="3129944"/>
                <a:ext cx="67055" cy="64389"/>
              </a:xfrm>
              <a:custGeom>
                <a:avLst/>
                <a:gdLst>
                  <a:gd name="connsiteX0" fmla="*/ 0 w 67055"/>
                  <a:gd name="connsiteY0" fmla="*/ 27242 h 64389"/>
                  <a:gd name="connsiteX1" fmla="*/ 29051 w 67055"/>
                  <a:gd name="connsiteY1" fmla="*/ 0 h 64389"/>
                  <a:gd name="connsiteX2" fmla="*/ 67056 w 67055"/>
                  <a:gd name="connsiteY2" fmla="*/ 37148 h 64389"/>
                  <a:gd name="connsiteX3" fmla="*/ 40481 w 67055"/>
                  <a:gd name="connsiteY3" fmla="*/ 64389 h 64389"/>
                  <a:gd name="connsiteX4" fmla="*/ 0 w 67055"/>
                  <a:gd name="connsiteY4" fmla="*/ 27242 h 64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55" h="64389">
                    <a:moveTo>
                      <a:pt x="0" y="27242"/>
                    </a:moveTo>
                    <a:lnTo>
                      <a:pt x="29051" y="0"/>
                    </a:lnTo>
                    <a:lnTo>
                      <a:pt x="67056" y="37148"/>
                    </a:lnTo>
                    <a:lnTo>
                      <a:pt x="40481" y="64389"/>
                    </a:lnTo>
                    <a:lnTo>
                      <a:pt x="0" y="27242"/>
                    </a:lnTo>
                    <a:close/>
                  </a:path>
                </a:pathLst>
              </a:custGeom>
              <a:grpFill/>
              <a:ln w="9525" cap="flat">
                <a:noFill/>
                <a:prstDash val="solid"/>
                <a:miter/>
              </a:ln>
            </p:spPr>
            <p:txBody>
              <a:bodyPr rtlCol="0" anchor="ctr"/>
              <a:lstStyle/>
              <a:p>
                <a:endParaRPr lang="en-US"/>
              </a:p>
            </p:txBody>
          </p:sp>
          <p:sp>
            <p:nvSpPr>
              <p:cNvPr id="864" name="Freeform: Shape 863">
                <a:extLst>
                  <a:ext uri="{FF2B5EF4-FFF2-40B4-BE49-F238E27FC236}">
                    <a16:creationId xmlns:a16="http://schemas.microsoft.com/office/drawing/2014/main" id="{435245DE-7254-4A92-8611-28F5D4321C87}"/>
                  </a:ext>
                </a:extLst>
              </p:cNvPr>
              <p:cNvSpPr/>
              <p:nvPr/>
            </p:nvSpPr>
            <p:spPr>
              <a:xfrm>
                <a:off x="4160762" y="2956780"/>
                <a:ext cx="62007" cy="64063"/>
              </a:xfrm>
              <a:custGeom>
                <a:avLst/>
                <a:gdLst>
                  <a:gd name="connsiteX0" fmla="*/ 48207 w 62007"/>
                  <a:gd name="connsiteY0" fmla="*/ 60147 h 64063"/>
                  <a:gd name="connsiteX1" fmla="*/ 45540 w 62007"/>
                  <a:gd name="connsiteY1" fmla="*/ 57385 h 64063"/>
                  <a:gd name="connsiteX2" fmla="*/ 32110 w 62007"/>
                  <a:gd name="connsiteY2" fmla="*/ 32810 h 64063"/>
                  <a:gd name="connsiteX3" fmla="*/ 5345 w 62007"/>
                  <a:gd name="connsiteY3" fmla="*/ 16332 h 64063"/>
                  <a:gd name="connsiteX4" fmla="*/ -85 w 62007"/>
                  <a:gd name="connsiteY4" fmla="*/ 5378 h 64063"/>
                  <a:gd name="connsiteX5" fmla="*/ 10679 w 62007"/>
                  <a:gd name="connsiteY5" fmla="*/ -147 h 64063"/>
                  <a:gd name="connsiteX6" fmla="*/ 42873 w 62007"/>
                  <a:gd name="connsiteY6" fmla="*/ 18903 h 64063"/>
                  <a:gd name="connsiteX7" fmla="*/ 61923 w 62007"/>
                  <a:gd name="connsiteY7" fmla="*/ 51765 h 64063"/>
                  <a:gd name="connsiteX8" fmla="*/ 56589 w 62007"/>
                  <a:gd name="connsiteY8" fmla="*/ 62718 h 64063"/>
                  <a:gd name="connsiteX9" fmla="*/ 48207 w 62007"/>
                  <a:gd name="connsiteY9" fmla="*/ 60147 h 6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7" h="64063">
                    <a:moveTo>
                      <a:pt x="48207" y="60147"/>
                    </a:moveTo>
                    <a:cubicBezTo>
                      <a:pt x="45540" y="60147"/>
                      <a:pt x="45540" y="60147"/>
                      <a:pt x="45540" y="57385"/>
                    </a:cubicBezTo>
                    <a:cubicBezTo>
                      <a:pt x="42755" y="48376"/>
                      <a:pt x="38187" y="40019"/>
                      <a:pt x="32110" y="32810"/>
                    </a:cubicBezTo>
                    <a:cubicBezTo>
                      <a:pt x="25004" y="24803"/>
                      <a:pt x="15694" y="19071"/>
                      <a:pt x="5345" y="16332"/>
                    </a:cubicBezTo>
                    <a:cubicBezTo>
                      <a:pt x="2582" y="16332"/>
                      <a:pt x="-85" y="10807"/>
                      <a:pt x="-85" y="5378"/>
                    </a:cubicBezTo>
                    <a:cubicBezTo>
                      <a:pt x="2472" y="1991"/>
                      <a:pt x="6436" y="-44"/>
                      <a:pt x="10679" y="-147"/>
                    </a:cubicBezTo>
                    <a:cubicBezTo>
                      <a:pt x="22292" y="4578"/>
                      <a:pt x="33142" y="10998"/>
                      <a:pt x="42873" y="18903"/>
                    </a:cubicBezTo>
                    <a:cubicBezTo>
                      <a:pt x="51228" y="28565"/>
                      <a:pt x="57691" y="39713"/>
                      <a:pt x="61923" y="51765"/>
                    </a:cubicBezTo>
                    <a:cubicBezTo>
                      <a:pt x="61883" y="56032"/>
                      <a:pt x="59924" y="60055"/>
                      <a:pt x="56589" y="62718"/>
                    </a:cubicBezTo>
                    <a:cubicBezTo>
                      <a:pt x="53637" y="65671"/>
                      <a:pt x="50970" y="62528"/>
                      <a:pt x="48207" y="60147"/>
                    </a:cubicBezTo>
                    <a:close/>
                  </a:path>
                </a:pathLst>
              </a:custGeom>
              <a:grpFill/>
              <a:ln w="9525" cap="flat">
                <a:noFill/>
                <a:prstDash val="solid"/>
                <a:miter/>
              </a:ln>
            </p:spPr>
            <p:txBody>
              <a:bodyPr rtlCol="0" anchor="ctr"/>
              <a:lstStyle/>
              <a:p>
                <a:endParaRPr lang="en-US"/>
              </a:p>
            </p:txBody>
          </p:sp>
          <p:sp>
            <p:nvSpPr>
              <p:cNvPr id="865" name="Freeform: Shape 864">
                <a:extLst>
                  <a:ext uri="{FF2B5EF4-FFF2-40B4-BE49-F238E27FC236}">
                    <a16:creationId xmlns:a16="http://schemas.microsoft.com/office/drawing/2014/main" id="{948A22FC-8E1F-4845-A478-715F0071CCD9}"/>
                  </a:ext>
                </a:extLst>
              </p:cNvPr>
              <p:cNvSpPr/>
              <p:nvPr/>
            </p:nvSpPr>
            <p:spPr>
              <a:xfrm>
                <a:off x="3889681" y="3156805"/>
                <a:ext cx="135540" cy="128768"/>
              </a:xfrm>
              <a:custGeom>
                <a:avLst/>
                <a:gdLst>
                  <a:gd name="connsiteX0" fmla="*/ 124598 w 135540"/>
                  <a:gd name="connsiteY0" fmla="*/ 26904 h 128768"/>
                  <a:gd name="connsiteX1" fmla="*/ 108405 w 135540"/>
                  <a:gd name="connsiteY1" fmla="*/ 10712 h 128768"/>
                  <a:gd name="connsiteX2" fmla="*/ 94784 w 135540"/>
                  <a:gd name="connsiteY2" fmla="*/ -147 h 128768"/>
                  <a:gd name="connsiteX3" fmla="*/ 83926 w 135540"/>
                  <a:gd name="connsiteY3" fmla="*/ 10712 h 128768"/>
                  <a:gd name="connsiteX4" fmla="*/ 10774 w 135540"/>
                  <a:gd name="connsiteY4" fmla="*/ 83864 h 128768"/>
                  <a:gd name="connsiteX5" fmla="*/ -85 w 135540"/>
                  <a:gd name="connsiteY5" fmla="*/ 94723 h 128768"/>
                  <a:gd name="connsiteX6" fmla="*/ 10774 w 135540"/>
                  <a:gd name="connsiteY6" fmla="*/ 108343 h 128768"/>
                  <a:gd name="connsiteX7" fmla="*/ 18965 w 135540"/>
                  <a:gd name="connsiteY7" fmla="*/ 116440 h 128768"/>
                  <a:gd name="connsiteX8" fmla="*/ 26966 w 135540"/>
                  <a:gd name="connsiteY8" fmla="*/ 124631 h 128768"/>
                  <a:gd name="connsiteX9" fmla="*/ 51446 w 135540"/>
                  <a:gd name="connsiteY9" fmla="*/ 124631 h 128768"/>
                  <a:gd name="connsiteX10" fmla="*/ 119264 w 135540"/>
                  <a:gd name="connsiteY10" fmla="*/ 56813 h 128768"/>
                  <a:gd name="connsiteX11" fmla="*/ 124598 w 135540"/>
                  <a:gd name="connsiteY11" fmla="*/ 51384 h 128768"/>
                  <a:gd name="connsiteX12" fmla="*/ 135456 w 135540"/>
                  <a:gd name="connsiteY12" fmla="*/ 40525 h 12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540" h="128768">
                    <a:moveTo>
                      <a:pt x="124598" y="26904"/>
                    </a:moveTo>
                    <a:lnTo>
                      <a:pt x="108405" y="10712"/>
                    </a:lnTo>
                    <a:lnTo>
                      <a:pt x="94784" y="-147"/>
                    </a:lnTo>
                    <a:lnTo>
                      <a:pt x="83926" y="10712"/>
                    </a:lnTo>
                    <a:lnTo>
                      <a:pt x="10774" y="83864"/>
                    </a:lnTo>
                    <a:lnTo>
                      <a:pt x="-85" y="94723"/>
                    </a:lnTo>
                    <a:lnTo>
                      <a:pt x="10774" y="108343"/>
                    </a:lnTo>
                    <a:lnTo>
                      <a:pt x="18965" y="116440"/>
                    </a:lnTo>
                    <a:lnTo>
                      <a:pt x="26966" y="124631"/>
                    </a:lnTo>
                    <a:cubicBezTo>
                      <a:pt x="34259" y="129952"/>
                      <a:pt x="44153" y="129952"/>
                      <a:pt x="51446" y="124631"/>
                    </a:cubicBezTo>
                    <a:lnTo>
                      <a:pt x="119264" y="56813"/>
                    </a:lnTo>
                    <a:lnTo>
                      <a:pt x="124598" y="51384"/>
                    </a:lnTo>
                    <a:lnTo>
                      <a:pt x="135456" y="40525"/>
                    </a:lnTo>
                    <a:close/>
                  </a:path>
                </a:pathLst>
              </a:custGeom>
              <a:grpFill/>
              <a:ln w="9525" cap="flat">
                <a:noFill/>
                <a:prstDash val="solid"/>
                <a:miter/>
              </a:ln>
            </p:spPr>
            <p:txBody>
              <a:bodyPr rtlCol="0" anchor="ctr"/>
              <a:lstStyle/>
              <a:p>
                <a:endParaRPr lang="en-US"/>
              </a:p>
            </p:txBody>
          </p:sp>
        </p:grpSp>
      </p:grpSp>
      <p:grpSp>
        <p:nvGrpSpPr>
          <p:cNvPr id="164" name="Group 163">
            <a:extLst>
              <a:ext uri="{FF2B5EF4-FFF2-40B4-BE49-F238E27FC236}">
                <a16:creationId xmlns:a16="http://schemas.microsoft.com/office/drawing/2014/main" id="{348ABF54-D768-4B8D-B9FE-60C16B68F6B5}"/>
              </a:ext>
              <a:ext uri="{C183D7F6-B498-43B3-948B-1728B52AA6E4}">
                <adec:decorative xmlns:adec="http://schemas.microsoft.com/office/drawing/2017/decorative" val="1"/>
              </a:ext>
            </a:extLst>
          </p:cNvPr>
          <p:cNvGrpSpPr/>
          <p:nvPr/>
        </p:nvGrpSpPr>
        <p:grpSpPr>
          <a:xfrm>
            <a:off x="534434" y="3614827"/>
            <a:ext cx="9265981" cy="246221"/>
            <a:chOff x="337381" y="3631486"/>
            <a:chExt cx="9265981" cy="246221"/>
          </a:xfrm>
        </p:grpSpPr>
        <p:sp>
          <p:nvSpPr>
            <p:cNvPr id="104" name="Rectangle 88">
              <a:extLst>
                <a:ext uri="{FF2B5EF4-FFF2-40B4-BE49-F238E27FC236}">
                  <a16:creationId xmlns:a16="http://schemas.microsoft.com/office/drawing/2014/main" id="{7974D73A-F10C-43C6-B79D-C70C9348DED3}"/>
                </a:ext>
              </a:extLst>
            </p:cNvPr>
            <p:cNvSpPr>
              <a:spLocks noChangeArrowheads="1"/>
            </p:cNvSpPr>
            <p:nvPr/>
          </p:nvSpPr>
          <p:spPr bwMode="auto">
            <a:xfrm>
              <a:off x="3517566" y="3631486"/>
              <a:ext cx="42319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Checklist</a:t>
              </a:r>
              <a:endParaRPr kumimoji="0" lang="pl-PL" altLang="pl-PL" sz="800" b="0" i="0" u="none" strike="noStrike" cap="none" normalizeH="0" baseline="0" dirty="0">
                <a:ln>
                  <a:noFill/>
                </a:ln>
                <a:solidFill>
                  <a:schemeClr val="tx1"/>
                </a:solidFill>
                <a:effectLst/>
                <a:latin typeface="+mn-lt"/>
              </a:endParaRPr>
            </a:p>
          </p:txBody>
        </p:sp>
        <p:sp>
          <p:nvSpPr>
            <p:cNvPr id="479" name="Rectangle 422">
              <a:extLst>
                <a:ext uri="{FF2B5EF4-FFF2-40B4-BE49-F238E27FC236}">
                  <a16:creationId xmlns:a16="http://schemas.microsoft.com/office/drawing/2014/main" id="{E92CCC6D-5C7F-4320-9E6D-484DBDB24207}"/>
                </a:ext>
              </a:extLst>
            </p:cNvPr>
            <p:cNvSpPr>
              <a:spLocks noChangeArrowheads="1"/>
            </p:cNvSpPr>
            <p:nvPr/>
          </p:nvSpPr>
          <p:spPr bwMode="auto">
            <a:xfrm>
              <a:off x="9104829" y="3631486"/>
              <a:ext cx="49853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a:ln>
                    <a:noFill/>
                  </a:ln>
                  <a:solidFill>
                    <a:srgbClr val="231F20"/>
                  </a:solidFill>
                  <a:effectLst/>
                  <a:latin typeface="+mn-lt"/>
                </a:rPr>
                <a:t>Protection</a:t>
              </a:r>
              <a:endParaRPr kumimoji="0" lang="pl-PL" altLang="pl-PL" sz="800" b="0" i="0" u="none" strike="noStrike" cap="none" normalizeH="0" baseline="0">
                <a:ln>
                  <a:noFill/>
                </a:ln>
                <a:solidFill>
                  <a:schemeClr val="tx1"/>
                </a:solidFill>
                <a:effectLst/>
                <a:latin typeface="+mn-lt"/>
              </a:endParaRPr>
            </a:p>
          </p:txBody>
        </p:sp>
        <p:sp>
          <p:nvSpPr>
            <p:cNvPr id="480" name="Rectangle 423">
              <a:extLst>
                <a:ext uri="{FF2B5EF4-FFF2-40B4-BE49-F238E27FC236}">
                  <a16:creationId xmlns:a16="http://schemas.microsoft.com/office/drawing/2014/main" id="{217DACAF-8347-4BBD-89A2-0BBE877C97BD}"/>
                </a:ext>
              </a:extLst>
            </p:cNvPr>
            <p:cNvSpPr>
              <a:spLocks noChangeArrowheads="1"/>
            </p:cNvSpPr>
            <p:nvPr/>
          </p:nvSpPr>
          <p:spPr bwMode="auto">
            <a:xfrm>
              <a:off x="4331023" y="3631486"/>
              <a:ext cx="39113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a:ln>
                    <a:noFill/>
                  </a:ln>
                  <a:solidFill>
                    <a:srgbClr val="231F20"/>
                  </a:solidFill>
                  <a:effectLst/>
                  <a:latin typeface="+mn-lt"/>
                </a:rPr>
                <a:t>Warning</a:t>
              </a:r>
              <a:endParaRPr kumimoji="0" lang="pl-PL" altLang="pl-PL" sz="800" b="0" i="0" u="none" strike="noStrike" cap="none" normalizeH="0" baseline="0">
                <a:ln>
                  <a:noFill/>
                </a:ln>
                <a:solidFill>
                  <a:schemeClr val="tx1"/>
                </a:solidFill>
                <a:effectLst/>
                <a:latin typeface="+mn-lt"/>
              </a:endParaRPr>
            </a:p>
          </p:txBody>
        </p:sp>
        <p:sp>
          <p:nvSpPr>
            <p:cNvPr id="483" name="Rectangle 426">
              <a:extLst>
                <a:ext uri="{FF2B5EF4-FFF2-40B4-BE49-F238E27FC236}">
                  <a16:creationId xmlns:a16="http://schemas.microsoft.com/office/drawing/2014/main" id="{23CC07FA-5A8A-41E4-A587-F3E7DAAA7C38}"/>
                </a:ext>
              </a:extLst>
            </p:cNvPr>
            <p:cNvSpPr>
              <a:spLocks noChangeArrowheads="1"/>
            </p:cNvSpPr>
            <p:nvPr/>
          </p:nvSpPr>
          <p:spPr bwMode="auto">
            <a:xfrm>
              <a:off x="337381" y="3631486"/>
              <a:ext cx="488915"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Institution</a:t>
              </a:r>
              <a:endParaRPr kumimoji="0" lang="pl-PL" altLang="pl-PL" sz="800" b="0" i="0" u="none" strike="noStrike" cap="none" normalizeH="0" baseline="0" dirty="0">
                <a:ln>
                  <a:noFill/>
                </a:ln>
                <a:solidFill>
                  <a:schemeClr val="tx1"/>
                </a:solidFill>
                <a:effectLst/>
                <a:latin typeface="+mn-lt"/>
              </a:endParaRPr>
            </a:p>
          </p:txBody>
        </p:sp>
        <p:sp>
          <p:nvSpPr>
            <p:cNvPr id="484" name="Rectangle 427">
              <a:extLst>
                <a:ext uri="{FF2B5EF4-FFF2-40B4-BE49-F238E27FC236}">
                  <a16:creationId xmlns:a16="http://schemas.microsoft.com/office/drawing/2014/main" id="{36B253E7-29BD-4C4C-A979-784A4D5D90EE}"/>
                </a:ext>
              </a:extLst>
            </p:cNvPr>
            <p:cNvSpPr>
              <a:spLocks noChangeArrowheads="1"/>
            </p:cNvSpPr>
            <p:nvPr/>
          </p:nvSpPr>
          <p:spPr bwMode="auto">
            <a:xfrm>
              <a:off x="5159367" y="3631486"/>
              <a:ext cx="37830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Security</a:t>
              </a:r>
              <a:endParaRPr kumimoji="0" lang="pl-PL" altLang="pl-PL" sz="800" b="0" i="0" u="none" strike="noStrike" cap="none" normalizeH="0" baseline="0" dirty="0">
                <a:ln>
                  <a:noFill/>
                </a:ln>
                <a:solidFill>
                  <a:schemeClr val="tx1"/>
                </a:solidFill>
                <a:effectLst/>
                <a:latin typeface="+mn-lt"/>
              </a:endParaRPr>
            </a:p>
          </p:txBody>
        </p:sp>
        <p:sp>
          <p:nvSpPr>
            <p:cNvPr id="491" name="Rectangle 434">
              <a:extLst>
                <a:ext uri="{FF2B5EF4-FFF2-40B4-BE49-F238E27FC236}">
                  <a16:creationId xmlns:a16="http://schemas.microsoft.com/office/drawing/2014/main" id="{73D3F32E-1F8F-4481-B017-055C422DB4CF}"/>
                </a:ext>
              </a:extLst>
            </p:cNvPr>
            <p:cNvSpPr>
              <a:spLocks noChangeArrowheads="1"/>
            </p:cNvSpPr>
            <p:nvPr/>
          </p:nvSpPr>
          <p:spPr bwMode="auto">
            <a:xfrm>
              <a:off x="2656114" y="3631486"/>
              <a:ext cx="545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C</a:t>
              </a:r>
              <a:r>
                <a:rPr kumimoji="0" lang="pl-PL" altLang="pl-PL" sz="800" b="0" i="0" u="none" strike="noStrike" cap="none" normalizeH="0" baseline="0" dirty="0">
                  <a:ln>
                    <a:noFill/>
                  </a:ln>
                  <a:solidFill>
                    <a:srgbClr val="231F20"/>
                  </a:solidFill>
                  <a:effectLst/>
                  <a:latin typeface="+mn-lt"/>
                </a:rPr>
                <a:t>ompliance</a:t>
              </a:r>
              <a:endParaRPr kumimoji="0" lang="pl-PL" altLang="pl-PL" sz="800" b="0" i="0" u="none" strike="noStrike" cap="none" normalizeH="0" baseline="0" dirty="0">
                <a:ln>
                  <a:noFill/>
                </a:ln>
                <a:solidFill>
                  <a:schemeClr val="tx1"/>
                </a:solidFill>
                <a:effectLst/>
                <a:latin typeface="+mn-lt"/>
              </a:endParaRPr>
            </a:p>
          </p:txBody>
        </p:sp>
        <p:sp>
          <p:nvSpPr>
            <p:cNvPr id="771" name="Rectangle 81">
              <a:extLst>
                <a:ext uri="{FF2B5EF4-FFF2-40B4-BE49-F238E27FC236}">
                  <a16:creationId xmlns:a16="http://schemas.microsoft.com/office/drawing/2014/main" id="{BBD470E4-4515-474B-9400-A2B994B84C62}"/>
                </a:ext>
              </a:extLst>
            </p:cNvPr>
            <p:cNvSpPr>
              <a:spLocks noChangeArrowheads="1"/>
            </p:cNvSpPr>
            <p:nvPr/>
          </p:nvSpPr>
          <p:spPr bwMode="auto">
            <a:xfrm>
              <a:off x="6805574" y="3631486"/>
              <a:ext cx="29815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err="1">
                  <a:ln>
                    <a:noFill/>
                  </a:ln>
                  <a:solidFill>
                    <a:srgbClr val="000000"/>
                  </a:solidFill>
                  <a:effectLst/>
                  <a:latin typeface="+mn-lt"/>
                </a:rPr>
                <a:t>Safety</a:t>
              </a:r>
              <a:endParaRPr kumimoji="0" lang="fr-FR" altLang="fr-FR" sz="800" b="0" i="0" u="none" strike="noStrike" cap="none" normalizeH="0" baseline="0" dirty="0">
                <a:ln>
                  <a:noFill/>
                </a:ln>
                <a:solidFill>
                  <a:schemeClr val="tx1"/>
                </a:solidFill>
                <a:effectLst/>
                <a:latin typeface="+mn-lt"/>
              </a:endParaRPr>
            </a:p>
          </p:txBody>
        </p:sp>
        <p:sp>
          <p:nvSpPr>
            <p:cNvPr id="706" name="TextBox 846">
              <a:extLst>
                <a:ext uri="{FF2B5EF4-FFF2-40B4-BE49-F238E27FC236}">
                  <a16:creationId xmlns:a16="http://schemas.microsoft.com/office/drawing/2014/main" id="{331E9E9D-A9FF-4269-ACAC-0901372D8343}"/>
                </a:ext>
              </a:extLst>
            </p:cNvPr>
            <p:cNvSpPr txBox="1"/>
            <p:nvPr/>
          </p:nvSpPr>
          <p:spPr>
            <a:xfrm>
              <a:off x="1141770" y="3631486"/>
              <a:ext cx="383117" cy="123111"/>
            </a:xfrm>
            <a:prstGeom prst="rect">
              <a:avLst/>
            </a:prstGeom>
            <a:noFill/>
          </p:spPr>
          <p:txBody>
            <a:bodyPr wrap="none" lIns="0" tIns="0" rIns="0" bIns="0" rtlCol="0" anchor="t">
              <a:spAutoFit/>
            </a:bodyPr>
            <a:lstStyle/>
            <a:p>
              <a:pPr algn="ctr"/>
              <a:r>
                <a:rPr lang="en-US" sz="800" dirty="0">
                  <a:solidFill>
                    <a:schemeClr val="bg2">
                      <a:lumMod val="25000"/>
                    </a:schemeClr>
                  </a:solidFill>
                </a:rPr>
                <a:t>Building</a:t>
              </a:r>
              <a:endParaRPr lang="en-GB" sz="800" dirty="0">
                <a:solidFill>
                  <a:schemeClr val="bg2">
                    <a:lumMod val="25000"/>
                  </a:schemeClr>
                </a:solidFill>
              </a:endParaRPr>
            </a:p>
          </p:txBody>
        </p:sp>
        <p:sp>
          <p:nvSpPr>
            <p:cNvPr id="866" name="TextBox 846">
              <a:extLst>
                <a:ext uri="{FF2B5EF4-FFF2-40B4-BE49-F238E27FC236}">
                  <a16:creationId xmlns:a16="http://schemas.microsoft.com/office/drawing/2014/main" id="{78B9B51D-A019-488B-8ADE-2BF508292F7C}"/>
                </a:ext>
              </a:extLst>
            </p:cNvPr>
            <p:cNvSpPr txBox="1"/>
            <p:nvPr/>
          </p:nvSpPr>
          <p:spPr>
            <a:xfrm>
              <a:off x="1848750" y="3631486"/>
              <a:ext cx="522579" cy="246221"/>
            </a:xfrm>
            <a:prstGeom prst="rect">
              <a:avLst/>
            </a:prstGeom>
            <a:noFill/>
          </p:spPr>
          <p:txBody>
            <a:bodyPr wrap="none" lIns="0" tIns="0" rIns="0" bIns="0" rtlCol="0" anchor="t">
              <a:spAutoFit/>
            </a:bodyPr>
            <a:lstStyle/>
            <a:p>
              <a:pPr algn="ctr"/>
              <a:r>
                <a:rPr lang="en-US" sz="800" dirty="0">
                  <a:solidFill>
                    <a:schemeClr val="bg2">
                      <a:lumMod val="25000"/>
                    </a:schemeClr>
                  </a:solidFill>
                </a:rPr>
                <a:t>Magnifying</a:t>
              </a:r>
            </a:p>
            <a:p>
              <a:pPr algn="ctr"/>
              <a:r>
                <a:rPr lang="en-US" sz="800" dirty="0">
                  <a:solidFill>
                    <a:schemeClr val="bg2">
                      <a:lumMod val="25000"/>
                    </a:schemeClr>
                  </a:solidFill>
                </a:rPr>
                <a:t>glass</a:t>
              </a:r>
              <a:endParaRPr lang="en-GB" sz="800" dirty="0">
                <a:solidFill>
                  <a:schemeClr val="bg2">
                    <a:lumMod val="25000"/>
                  </a:schemeClr>
                </a:solidFill>
              </a:endParaRPr>
            </a:p>
          </p:txBody>
        </p:sp>
      </p:grpSp>
      <p:grpSp>
        <p:nvGrpSpPr>
          <p:cNvPr id="867" name="Group 866">
            <a:extLst>
              <a:ext uri="{FF2B5EF4-FFF2-40B4-BE49-F238E27FC236}">
                <a16:creationId xmlns:a16="http://schemas.microsoft.com/office/drawing/2014/main" id="{CEAE5E59-C58C-41A7-9300-BCDCE75B041E}"/>
              </a:ext>
              <a:ext uri="{C183D7F6-B498-43B3-948B-1728B52AA6E4}">
                <adec:decorative xmlns:adec="http://schemas.microsoft.com/office/drawing/2017/decorative" val="1"/>
              </a:ext>
            </a:extLst>
          </p:cNvPr>
          <p:cNvGrpSpPr/>
          <p:nvPr/>
        </p:nvGrpSpPr>
        <p:grpSpPr>
          <a:xfrm>
            <a:off x="6883888" y="3946128"/>
            <a:ext cx="598712" cy="569354"/>
            <a:chOff x="8424408" y="1728375"/>
            <a:chExt cx="598712" cy="569354"/>
          </a:xfrm>
        </p:grpSpPr>
        <p:sp>
          <p:nvSpPr>
            <p:cNvPr id="868" name="Freeform: Shape 867">
              <a:extLst>
                <a:ext uri="{FF2B5EF4-FFF2-40B4-BE49-F238E27FC236}">
                  <a16:creationId xmlns:a16="http://schemas.microsoft.com/office/drawing/2014/main" id="{3F2959A8-1F4D-43C9-9FF8-4EF91C653B48}"/>
                </a:ext>
              </a:extLst>
            </p:cNvPr>
            <p:cNvSpPr/>
            <p:nvPr/>
          </p:nvSpPr>
          <p:spPr>
            <a:xfrm>
              <a:off x="8424408" y="1728375"/>
              <a:ext cx="598712" cy="569354"/>
            </a:xfrm>
            <a:custGeom>
              <a:avLst/>
              <a:gdLst>
                <a:gd name="connsiteX0" fmla="*/ 59319 w 598712"/>
                <a:gd name="connsiteY0" fmla="*/ 462946 h 569354"/>
                <a:gd name="connsiteX1" fmla="*/ 124089 w 598712"/>
                <a:gd name="connsiteY1" fmla="*/ 58705 h 569354"/>
                <a:gd name="connsiteX2" fmla="*/ 544618 w 598712"/>
                <a:gd name="connsiteY2" fmla="*/ 117665 h 569354"/>
                <a:gd name="connsiteX3" fmla="*/ 468418 w 598712"/>
                <a:gd name="connsiteY3" fmla="*/ 507142 h 569354"/>
                <a:gd name="connsiteX4" fmla="*/ 59605 w 598712"/>
                <a:gd name="connsiteY4" fmla="*/ 462946 h 569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712" h="569354">
                  <a:moveTo>
                    <a:pt x="59319" y="462946"/>
                  </a:moveTo>
                  <a:cubicBezTo>
                    <a:pt x="-40598" y="333120"/>
                    <a:pt x="-11166" y="153098"/>
                    <a:pt x="124089" y="58705"/>
                  </a:cubicBezTo>
                  <a:cubicBezTo>
                    <a:pt x="259344" y="-38640"/>
                    <a:pt x="447463" y="-12161"/>
                    <a:pt x="544618" y="117665"/>
                  </a:cubicBezTo>
                  <a:cubicBezTo>
                    <a:pt x="641582" y="244633"/>
                    <a:pt x="603387" y="409797"/>
                    <a:pt x="468418" y="507142"/>
                  </a:cubicBezTo>
                  <a:cubicBezTo>
                    <a:pt x="333163" y="601630"/>
                    <a:pt x="156759" y="589724"/>
                    <a:pt x="59605" y="462946"/>
                  </a:cubicBezTo>
                </a:path>
              </a:pathLst>
            </a:custGeom>
            <a:solidFill>
              <a:schemeClr val="accent3"/>
            </a:solidFill>
            <a:ln w="9525" cap="flat">
              <a:noFill/>
              <a:prstDash val="solid"/>
              <a:miter/>
            </a:ln>
          </p:spPr>
          <p:txBody>
            <a:bodyPr rtlCol="0" anchor="ctr"/>
            <a:lstStyle/>
            <a:p>
              <a:endParaRPr lang="en-US"/>
            </a:p>
          </p:txBody>
        </p:sp>
        <p:grpSp>
          <p:nvGrpSpPr>
            <p:cNvPr id="869" name="Group 868">
              <a:extLst>
                <a:ext uri="{FF2B5EF4-FFF2-40B4-BE49-F238E27FC236}">
                  <a16:creationId xmlns:a16="http://schemas.microsoft.com/office/drawing/2014/main" id="{2975A1D7-E45A-4217-9C3B-3BB53AE9B59C}"/>
                </a:ext>
              </a:extLst>
            </p:cNvPr>
            <p:cNvGrpSpPr>
              <a:grpSpLocks noChangeAspect="1"/>
            </p:cNvGrpSpPr>
            <p:nvPr/>
          </p:nvGrpSpPr>
          <p:grpSpPr>
            <a:xfrm>
              <a:off x="8589828" y="1844864"/>
              <a:ext cx="277111" cy="360000"/>
              <a:chOff x="8630604" y="1799458"/>
              <a:chExt cx="192686" cy="250321"/>
            </a:xfrm>
          </p:grpSpPr>
          <p:sp>
            <p:nvSpPr>
              <p:cNvPr id="870" name="Freeform: Shape 869">
                <a:extLst>
                  <a:ext uri="{FF2B5EF4-FFF2-40B4-BE49-F238E27FC236}">
                    <a16:creationId xmlns:a16="http://schemas.microsoft.com/office/drawing/2014/main" id="{FF0F4221-2DD8-498C-99D8-1DD6D2C09F52}"/>
                  </a:ext>
                </a:extLst>
              </p:cNvPr>
              <p:cNvSpPr/>
              <p:nvPr/>
            </p:nvSpPr>
            <p:spPr>
              <a:xfrm>
                <a:off x="8630604" y="1799458"/>
                <a:ext cx="192686" cy="193993"/>
              </a:xfrm>
              <a:custGeom>
                <a:avLst/>
                <a:gdLst>
                  <a:gd name="connsiteX0" fmla="*/ 191546 w 192686"/>
                  <a:gd name="connsiteY0" fmla="*/ 79633 h 193993"/>
                  <a:gd name="connsiteX1" fmla="*/ 188593 w 192686"/>
                  <a:gd name="connsiteY1" fmla="*/ 64869 h 193993"/>
                  <a:gd name="connsiteX2" fmla="*/ 176877 w 192686"/>
                  <a:gd name="connsiteY2" fmla="*/ 59059 h 193993"/>
                  <a:gd name="connsiteX3" fmla="*/ 176877 w 192686"/>
                  <a:gd name="connsiteY3" fmla="*/ 59059 h 193993"/>
                  <a:gd name="connsiteX4" fmla="*/ 165162 w 192686"/>
                  <a:gd name="connsiteY4" fmla="*/ 76966 h 193993"/>
                  <a:gd name="connsiteX5" fmla="*/ 168019 w 192686"/>
                  <a:gd name="connsiteY5" fmla="*/ 97540 h 193993"/>
                  <a:gd name="connsiteX6" fmla="*/ 94217 w 192686"/>
                  <a:gd name="connsiteY6" fmla="*/ 167122 h 193993"/>
                  <a:gd name="connsiteX7" fmla="*/ 24635 w 192686"/>
                  <a:gd name="connsiteY7" fmla="*/ 93319 h 193993"/>
                  <a:gd name="connsiteX8" fmla="*/ 94867 w 192686"/>
                  <a:gd name="connsiteY8" fmla="*/ 23721 h 193993"/>
                  <a:gd name="connsiteX9" fmla="*/ 135920 w 192686"/>
                  <a:gd name="connsiteY9" fmla="*/ 38485 h 193993"/>
                  <a:gd name="connsiteX10" fmla="*/ 147541 w 192686"/>
                  <a:gd name="connsiteY10" fmla="*/ 23721 h 193993"/>
                  <a:gd name="connsiteX11" fmla="*/ 132967 w 192686"/>
                  <a:gd name="connsiteY11" fmla="*/ 14863 h 193993"/>
                  <a:gd name="connsiteX12" fmla="*/ 127157 w 192686"/>
                  <a:gd name="connsiteY12" fmla="*/ 6005 h 193993"/>
                  <a:gd name="connsiteX13" fmla="*/ 115346 w 192686"/>
                  <a:gd name="connsiteY13" fmla="*/ 99 h 193993"/>
                  <a:gd name="connsiteX14" fmla="*/ 103630 w 192686"/>
                  <a:gd name="connsiteY14" fmla="*/ 6005 h 193993"/>
                  <a:gd name="connsiteX15" fmla="*/ 86104 w 192686"/>
                  <a:gd name="connsiteY15" fmla="*/ 6005 h 193993"/>
                  <a:gd name="connsiteX16" fmla="*/ 77246 w 192686"/>
                  <a:gd name="connsiteY16" fmla="*/ 99 h 193993"/>
                  <a:gd name="connsiteX17" fmla="*/ 65530 w 192686"/>
                  <a:gd name="connsiteY17" fmla="*/ 6005 h 193993"/>
                  <a:gd name="connsiteX18" fmla="*/ 56767 w 192686"/>
                  <a:gd name="connsiteY18" fmla="*/ 14863 h 193993"/>
                  <a:gd name="connsiteX19" fmla="*/ 45147 w 192686"/>
                  <a:gd name="connsiteY19" fmla="*/ 23721 h 193993"/>
                  <a:gd name="connsiteX20" fmla="*/ 33335 w 192686"/>
                  <a:gd name="connsiteY20" fmla="*/ 23721 h 193993"/>
                  <a:gd name="connsiteX21" fmla="*/ 21620 w 192686"/>
                  <a:gd name="connsiteY21" fmla="*/ 32579 h 193993"/>
                  <a:gd name="connsiteX22" fmla="*/ 21620 w 192686"/>
                  <a:gd name="connsiteY22" fmla="*/ 44391 h 193993"/>
                  <a:gd name="connsiteX23" fmla="*/ 12857 w 192686"/>
                  <a:gd name="connsiteY23" fmla="*/ 59250 h 193993"/>
                  <a:gd name="connsiteX24" fmla="*/ 4094 w 192686"/>
                  <a:gd name="connsiteY24" fmla="*/ 65060 h 193993"/>
                  <a:gd name="connsiteX25" fmla="*/ 1141 w 192686"/>
                  <a:gd name="connsiteY25" fmla="*/ 79824 h 193993"/>
                  <a:gd name="connsiteX26" fmla="*/ 6952 w 192686"/>
                  <a:gd name="connsiteY26" fmla="*/ 88682 h 193993"/>
                  <a:gd name="connsiteX27" fmla="*/ 6952 w 192686"/>
                  <a:gd name="connsiteY27" fmla="*/ 106494 h 193993"/>
                  <a:gd name="connsiteX28" fmla="*/ 1141 w 192686"/>
                  <a:gd name="connsiteY28" fmla="*/ 115257 h 193993"/>
                  <a:gd name="connsiteX29" fmla="*/ 4094 w 192686"/>
                  <a:gd name="connsiteY29" fmla="*/ 130020 h 193993"/>
                  <a:gd name="connsiteX30" fmla="*/ 12857 w 192686"/>
                  <a:gd name="connsiteY30" fmla="*/ 135926 h 193993"/>
                  <a:gd name="connsiteX31" fmla="*/ 21620 w 192686"/>
                  <a:gd name="connsiteY31" fmla="*/ 150690 h 193993"/>
                  <a:gd name="connsiteX32" fmla="*/ 21620 w 192686"/>
                  <a:gd name="connsiteY32" fmla="*/ 159643 h 193993"/>
                  <a:gd name="connsiteX33" fmla="*/ 33335 w 192686"/>
                  <a:gd name="connsiteY33" fmla="*/ 171454 h 193993"/>
                  <a:gd name="connsiteX34" fmla="*/ 45147 w 192686"/>
                  <a:gd name="connsiteY34" fmla="*/ 171454 h 193993"/>
                  <a:gd name="connsiteX35" fmla="*/ 56767 w 192686"/>
                  <a:gd name="connsiteY35" fmla="*/ 180217 h 193993"/>
                  <a:gd name="connsiteX36" fmla="*/ 65530 w 192686"/>
                  <a:gd name="connsiteY36" fmla="*/ 189171 h 193993"/>
                  <a:gd name="connsiteX37" fmla="*/ 77246 w 192686"/>
                  <a:gd name="connsiteY37" fmla="*/ 192123 h 193993"/>
                  <a:gd name="connsiteX38" fmla="*/ 86104 w 192686"/>
                  <a:gd name="connsiteY38" fmla="*/ 189171 h 193993"/>
                  <a:gd name="connsiteX39" fmla="*/ 103630 w 192686"/>
                  <a:gd name="connsiteY39" fmla="*/ 189171 h 193993"/>
                  <a:gd name="connsiteX40" fmla="*/ 115346 w 192686"/>
                  <a:gd name="connsiteY40" fmla="*/ 192123 h 193993"/>
                  <a:gd name="connsiteX41" fmla="*/ 125827 w 192686"/>
                  <a:gd name="connsiteY41" fmla="*/ 191387 h 193993"/>
                  <a:gd name="connsiteX42" fmla="*/ 127158 w 192686"/>
                  <a:gd name="connsiteY42" fmla="*/ 189171 h 193993"/>
                  <a:gd name="connsiteX43" fmla="*/ 132967 w 192686"/>
                  <a:gd name="connsiteY43" fmla="*/ 180217 h 193993"/>
                  <a:gd name="connsiteX44" fmla="*/ 147541 w 192686"/>
                  <a:gd name="connsiteY44" fmla="*/ 171454 h 193993"/>
                  <a:gd name="connsiteX45" fmla="*/ 159256 w 192686"/>
                  <a:gd name="connsiteY45" fmla="*/ 171454 h 193993"/>
                  <a:gd name="connsiteX46" fmla="*/ 168019 w 192686"/>
                  <a:gd name="connsiteY46" fmla="*/ 159643 h 193993"/>
                  <a:gd name="connsiteX47" fmla="*/ 170972 w 192686"/>
                  <a:gd name="connsiteY47" fmla="*/ 150690 h 193993"/>
                  <a:gd name="connsiteX48" fmla="*/ 176877 w 192686"/>
                  <a:gd name="connsiteY48" fmla="*/ 135926 h 193993"/>
                  <a:gd name="connsiteX49" fmla="*/ 188593 w 192686"/>
                  <a:gd name="connsiteY49" fmla="*/ 130020 h 193993"/>
                  <a:gd name="connsiteX50" fmla="*/ 191546 w 192686"/>
                  <a:gd name="connsiteY50" fmla="*/ 115257 h 193993"/>
                  <a:gd name="connsiteX51" fmla="*/ 185641 w 192686"/>
                  <a:gd name="connsiteY51" fmla="*/ 106494 h 193993"/>
                  <a:gd name="connsiteX52" fmla="*/ 185641 w 192686"/>
                  <a:gd name="connsiteY52" fmla="*/ 88682 h 193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92686" h="193993">
                    <a:moveTo>
                      <a:pt x="191546" y="79633"/>
                    </a:moveTo>
                    <a:cubicBezTo>
                      <a:pt x="193787" y="74583"/>
                      <a:pt x="192604" y="68669"/>
                      <a:pt x="188593" y="64869"/>
                    </a:cubicBezTo>
                    <a:lnTo>
                      <a:pt x="176877" y="59059"/>
                    </a:lnTo>
                    <a:lnTo>
                      <a:pt x="176877" y="59059"/>
                    </a:lnTo>
                    <a:lnTo>
                      <a:pt x="165162" y="76966"/>
                    </a:lnTo>
                    <a:cubicBezTo>
                      <a:pt x="165162" y="82776"/>
                      <a:pt x="168019" y="88682"/>
                      <a:pt x="168019" y="97540"/>
                    </a:cubicBezTo>
                    <a:cubicBezTo>
                      <a:pt x="166853" y="137135"/>
                      <a:pt x="133811" y="168287"/>
                      <a:pt x="94217" y="167122"/>
                    </a:cubicBezTo>
                    <a:cubicBezTo>
                      <a:pt x="54622" y="165956"/>
                      <a:pt x="23469" y="132914"/>
                      <a:pt x="24635" y="93319"/>
                    </a:cubicBezTo>
                    <a:cubicBezTo>
                      <a:pt x="25760" y="55111"/>
                      <a:pt x="56651" y="24499"/>
                      <a:pt x="94867" y="23721"/>
                    </a:cubicBezTo>
                    <a:cubicBezTo>
                      <a:pt x="109778" y="24124"/>
                      <a:pt x="124167" y="29299"/>
                      <a:pt x="135920" y="38485"/>
                    </a:cubicBezTo>
                    <a:lnTo>
                      <a:pt x="147541" y="23721"/>
                    </a:lnTo>
                    <a:cubicBezTo>
                      <a:pt x="142323" y="21405"/>
                      <a:pt x="137426" y="18427"/>
                      <a:pt x="132967" y="14863"/>
                    </a:cubicBezTo>
                    <a:lnTo>
                      <a:pt x="127157" y="6005"/>
                    </a:lnTo>
                    <a:cubicBezTo>
                      <a:pt x="124791" y="1814"/>
                      <a:pt x="120118" y="-522"/>
                      <a:pt x="115346" y="99"/>
                    </a:cubicBezTo>
                    <a:lnTo>
                      <a:pt x="103630" y="6005"/>
                    </a:lnTo>
                    <a:cubicBezTo>
                      <a:pt x="98197" y="9097"/>
                      <a:pt x="91537" y="9097"/>
                      <a:pt x="86104" y="6005"/>
                    </a:cubicBezTo>
                    <a:lnTo>
                      <a:pt x="77246" y="99"/>
                    </a:lnTo>
                    <a:cubicBezTo>
                      <a:pt x="74293" y="99"/>
                      <a:pt x="65530" y="99"/>
                      <a:pt x="65530" y="6005"/>
                    </a:cubicBezTo>
                    <a:lnTo>
                      <a:pt x="56767" y="14863"/>
                    </a:lnTo>
                    <a:cubicBezTo>
                      <a:pt x="53814" y="17816"/>
                      <a:pt x="47909" y="23721"/>
                      <a:pt x="45147" y="23721"/>
                    </a:cubicBezTo>
                    <a:lnTo>
                      <a:pt x="33335" y="23721"/>
                    </a:lnTo>
                    <a:cubicBezTo>
                      <a:pt x="27525" y="23721"/>
                      <a:pt x="21620" y="26769"/>
                      <a:pt x="21620" y="32579"/>
                    </a:cubicBezTo>
                    <a:lnTo>
                      <a:pt x="21620" y="44391"/>
                    </a:lnTo>
                    <a:cubicBezTo>
                      <a:pt x="21754" y="50605"/>
                      <a:pt x="18360" y="56360"/>
                      <a:pt x="12857" y="59250"/>
                    </a:cubicBezTo>
                    <a:lnTo>
                      <a:pt x="4094" y="65060"/>
                    </a:lnTo>
                    <a:cubicBezTo>
                      <a:pt x="84" y="68860"/>
                      <a:pt x="-1099" y="74773"/>
                      <a:pt x="1141" y="79824"/>
                    </a:cubicBezTo>
                    <a:lnTo>
                      <a:pt x="6952" y="88682"/>
                    </a:lnTo>
                    <a:lnTo>
                      <a:pt x="6952" y="106494"/>
                    </a:lnTo>
                    <a:lnTo>
                      <a:pt x="1141" y="115257"/>
                    </a:lnTo>
                    <a:cubicBezTo>
                      <a:pt x="-1129" y="120303"/>
                      <a:pt x="57" y="126235"/>
                      <a:pt x="4094" y="130020"/>
                    </a:cubicBezTo>
                    <a:lnTo>
                      <a:pt x="12857" y="135926"/>
                    </a:lnTo>
                    <a:cubicBezTo>
                      <a:pt x="18345" y="138783"/>
                      <a:pt x="21740" y="144503"/>
                      <a:pt x="21620" y="150690"/>
                    </a:cubicBezTo>
                    <a:lnTo>
                      <a:pt x="21620" y="159643"/>
                    </a:lnTo>
                    <a:cubicBezTo>
                      <a:pt x="22070" y="165934"/>
                      <a:pt x="27049" y="170952"/>
                      <a:pt x="33335" y="171454"/>
                    </a:cubicBezTo>
                    <a:lnTo>
                      <a:pt x="45147" y="171454"/>
                    </a:lnTo>
                    <a:cubicBezTo>
                      <a:pt x="50201" y="172343"/>
                      <a:pt x="54523" y="175602"/>
                      <a:pt x="56767" y="180217"/>
                    </a:cubicBezTo>
                    <a:lnTo>
                      <a:pt x="65530" y="189171"/>
                    </a:lnTo>
                    <a:cubicBezTo>
                      <a:pt x="65530" y="194981"/>
                      <a:pt x="74293" y="194981"/>
                      <a:pt x="77246" y="192123"/>
                    </a:cubicBezTo>
                    <a:lnTo>
                      <a:pt x="86104" y="189171"/>
                    </a:lnTo>
                    <a:cubicBezTo>
                      <a:pt x="91537" y="186079"/>
                      <a:pt x="98197" y="186079"/>
                      <a:pt x="103630" y="189171"/>
                    </a:cubicBezTo>
                    <a:lnTo>
                      <a:pt x="115346" y="192123"/>
                    </a:lnTo>
                    <a:cubicBezTo>
                      <a:pt x="118444" y="194814"/>
                      <a:pt x="123136" y="194485"/>
                      <a:pt x="125827" y="191387"/>
                    </a:cubicBezTo>
                    <a:cubicBezTo>
                      <a:pt x="126397" y="190732"/>
                      <a:pt x="126847" y="189981"/>
                      <a:pt x="127158" y="189171"/>
                    </a:cubicBezTo>
                    <a:lnTo>
                      <a:pt x="132967" y="180217"/>
                    </a:lnTo>
                    <a:cubicBezTo>
                      <a:pt x="135794" y="174791"/>
                      <a:pt x="141422" y="171406"/>
                      <a:pt x="147541" y="171454"/>
                    </a:cubicBezTo>
                    <a:lnTo>
                      <a:pt x="159256" y="171454"/>
                    </a:lnTo>
                    <a:cubicBezTo>
                      <a:pt x="165162" y="171454"/>
                      <a:pt x="168019" y="165453"/>
                      <a:pt x="168019" y="159643"/>
                    </a:cubicBezTo>
                    <a:lnTo>
                      <a:pt x="170972" y="150690"/>
                    </a:lnTo>
                    <a:cubicBezTo>
                      <a:pt x="171101" y="145218"/>
                      <a:pt x="173198" y="139977"/>
                      <a:pt x="176877" y="135926"/>
                    </a:cubicBezTo>
                    <a:lnTo>
                      <a:pt x="188593" y="130020"/>
                    </a:lnTo>
                    <a:cubicBezTo>
                      <a:pt x="192630" y="126235"/>
                      <a:pt x="193816" y="120303"/>
                      <a:pt x="191546" y="115257"/>
                    </a:cubicBezTo>
                    <a:lnTo>
                      <a:pt x="185641" y="106494"/>
                    </a:lnTo>
                    <a:cubicBezTo>
                      <a:pt x="182694" y="100922"/>
                      <a:pt x="182694" y="94253"/>
                      <a:pt x="185641" y="88682"/>
                    </a:cubicBezTo>
                    <a:close/>
                  </a:path>
                </a:pathLst>
              </a:custGeom>
              <a:solidFill>
                <a:srgbClr val="FFFFFF"/>
              </a:solidFill>
              <a:ln w="9525" cap="flat">
                <a:noFill/>
                <a:prstDash val="solid"/>
                <a:miter/>
              </a:ln>
            </p:spPr>
            <p:txBody>
              <a:bodyPr rtlCol="0" anchor="ctr"/>
              <a:lstStyle/>
              <a:p>
                <a:endParaRPr lang="en-US"/>
              </a:p>
            </p:txBody>
          </p:sp>
          <p:sp>
            <p:nvSpPr>
              <p:cNvPr id="871" name="Freeform: Shape 870">
                <a:extLst>
                  <a:ext uri="{FF2B5EF4-FFF2-40B4-BE49-F238E27FC236}">
                    <a16:creationId xmlns:a16="http://schemas.microsoft.com/office/drawing/2014/main" id="{F1F1D445-836A-424D-A7FA-256FB2AF4394}"/>
                  </a:ext>
                </a:extLst>
              </p:cNvPr>
              <p:cNvSpPr/>
              <p:nvPr/>
            </p:nvSpPr>
            <p:spPr>
              <a:xfrm>
                <a:off x="8643651" y="1976723"/>
                <a:ext cx="78581" cy="73056"/>
              </a:xfrm>
              <a:custGeom>
                <a:avLst/>
                <a:gdLst>
                  <a:gd name="connsiteX0" fmla="*/ 66961 w 78581"/>
                  <a:gd name="connsiteY0" fmla="*/ 20383 h 73056"/>
                  <a:gd name="connsiteX1" fmla="*/ 61056 w 78581"/>
                  <a:gd name="connsiteY1" fmla="*/ 20383 h 73056"/>
                  <a:gd name="connsiteX2" fmla="*/ 46482 w 78581"/>
                  <a:gd name="connsiteY2" fmla="*/ 14668 h 73056"/>
                  <a:gd name="connsiteX3" fmla="*/ 40767 w 78581"/>
                  <a:gd name="connsiteY3" fmla="*/ 2858 h 73056"/>
                  <a:gd name="connsiteX4" fmla="*/ 32100 w 78581"/>
                  <a:gd name="connsiteY4" fmla="*/ 0 h 73056"/>
                  <a:gd name="connsiteX5" fmla="*/ 23241 w 78581"/>
                  <a:gd name="connsiteY5" fmla="*/ 0 h 73056"/>
                  <a:gd name="connsiteX6" fmla="*/ 0 w 78581"/>
                  <a:gd name="connsiteY6" fmla="*/ 52673 h 73056"/>
                  <a:gd name="connsiteX7" fmla="*/ 32100 w 78581"/>
                  <a:gd name="connsiteY7" fmla="*/ 52673 h 73056"/>
                  <a:gd name="connsiteX8" fmla="*/ 55341 w 78581"/>
                  <a:gd name="connsiteY8" fmla="*/ 73057 h 73056"/>
                  <a:gd name="connsiteX9" fmla="*/ 55341 w 78581"/>
                  <a:gd name="connsiteY9" fmla="*/ 73057 h 73056"/>
                  <a:gd name="connsiteX10" fmla="*/ 78581 w 78581"/>
                  <a:gd name="connsiteY10" fmla="*/ 14669 h 73056"/>
                  <a:gd name="connsiteX11" fmla="*/ 78581 w 78581"/>
                  <a:gd name="connsiteY11" fmla="*/ 14669 h 7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581" h="73056">
                    <a:moveTo>
                      <a:pt x="66961" y="20383"/>
                    </a:moveTo>
                    <a:lnTo>
                      <a:pt x="61056" y="20383"/>
                    </a:lnTo>
                    <a:cubicBezTo>
                      <a:pt x="55677" y="20253"/>
                      <a:pt x="50516" y="18229"/>
                      <a:pt x="46482" y="14668"/>
                    </a:cubicBezTo>
                    <a:lnTo>
                      <a:pt x="40767" y="2858"/>
                    </a:lnTo>
                    <a:cubicBezTo>
                      <a:pt x="37815" y="2858"/>
                      <a:pt x="34862" y="0"/>
                      <a:pt x="32100" y="0"/>
                    </a:cubicBezTo>
                    <a:lnTo>
                      <a:pt x="23241" y="0"/>
                    </a:lnTo>
                    <a:lnTo>
                      <a:pt x="0" y="52673"/>
                    </a:lnTo>
                    <a:lnTo>
                      <a:pt x="32100" y="52673"/>
                    </a:lnTo>
                    <a:lnTo>
                      <a:pt x="55341" y="73057"/>
                    </a:lnTo>
                    <a:lnTo>
                      <a:pt x="55341" y="73057"/>
                    </a:lnTo>
                    <a:lnTo>
                      <a:pt x="78581" y="14669"/>
                    </a:lnTo>
                    <a:lnTo>
                      <a:pt x="78581" y="14669"/>
                    </a:lnTo>
                    <a:close/>
                  </a:path>
                </a:pathLst>
              </a:custGeom>
              <a:solidFill>
                <a:srgbClr val="FFFFFF"/>
              </a:solidFill>
              <a:ln w="9525" cap="flat">
                <a:noFill/>
                <a:prstDash val="solid"/>
                <a:miter/>
              </a:ln>
            </p:spPr>
            <p:txBody>
              <a:bodyPr rtlCol="0" anchor="ctr"/>
              <a:lstStyle/>
              <a:p>
                <a:endParaRPr lang="en-US"/>
              </a:p>
            </p:txBody>
          </p:sp>
          <p:sp>
            <p:nvSpPr>
              <p:cNvPr id="872" name="Freeform: Shape 871">
                <a:extLst>
                  <a:ext uri="{FF2B5EF4-FFF2-40B4-BE49-F238E27FC236}">
                    <a16:creationId xmlns:a16="http://schemas.microsoft.com/office/drawing/2014/main" id="{951CF769-D141-4E44-8D72-43EB9A530B6B}"/>
                  </a:ext>
                </a:extLst>
              </p:cNvPr>
              <p:cNvSpPr/>
              <p:nvPr/>
            </p:nvSpPr>
            <p:spPr>
              <a:xfrm>
                <a:off x="8727567" y="1976723"/>
                <a:ext cx="79914" cy="73056"/>
              </a:xfrm>
              <a:custGeom>
                <a:avLst/>
                <a:gdLst>
                  <a:gd name="connsiteX0" fmla="*/ 50387 w 79914"/>
                  <a:gd name="connsiteY0" fmla="*/ 0 h 73056"/>
                  <a:gd name="connsiteX1" fmla="*/ 41434 w 79914"/>
                  <a:gd name="connsiteY1" fmla="*/ 2858 h 73056"/>
                  <a:gd name="connsiteX2" fmla="*/ 35528 w 79914"/>
                  <a:gd name="connsiteY2" fmla="*/ 14669 h 73056"/>
                  <a:gd name="connsiteX3" fmla="*/ 20764 w 79914"/>
                  <a:gd name="connsiteY3" fmla="*/ 20384 h 73056"/>
                  <a:gd name="connsiteX4" fmla="*/ 11906 w 79914"/>
                  <a:gd name="connsiteY4" fmla="*/ 20383 h 73056"/>
                  <a:gd name="connsiteX5" fmla="*/ 2953 w 79914"/>
                  <a:gd name="connsiteY5" fmla="*/ 14669 h 73056"/>
                  <a:gd name="connsiteX6" fmla="*/ 0 w 79914"/>
                  <a:gd name="connsiteY6" fmla="*/ 14669 h 73056"/>
                  <a:gd name="connsiteX7" fmla="*/ 26670 w 79914"/>
                  <a:gd name="connsiteY7" fmla="*/ 73057 h 73056"/>
                  <a:gd name="connsiteX8" fmla="*/ 26670 w 79914"/>
                  <a:gd name="connsiteY8" fmla="*/ 73057 h 73056"/>
                  <a:gd name="connsiteX9" fmla="*/ 47434 w 79914"/>
                  <a:gd name="connsiteY9" fmla="*/ 52673 h 73056"/>
                  <a:gd name="connsiteX10" fmla="*/ 79914 w 79914"/>
                  <a:gd name="connsiteY10" fmla="*/ 52673 h 73056"/>
                  <a:gd name="connsiteX11" fmla="*/ 59150 w 79914"/>
                  <a:gd name="connsiteY11" fmla="*/ 0 h 7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14" h="73056">
                    <a:moveTo>
                      <a:pt x="50387" y="0"/>
                    </a:moveTo>
                    <a:cubicBezTo>
                      <a:pt x="47434" y="0"/>
                      <a:pt x="44386" y="2858"/>
                      <a:pt x="41434" y="2858"/>
                    </a:cubicBezTo>
                    <a:lnTo>
                      <a:pt x="35528" y="14669"/>
                    </a:lnTo>
                    <a:cubicBezTo>
                      <a:pt x="31432" y="18250"/>
                      <a:pt x="26204" y="20273"/>
                      <a:pt x="20764" y="20384"/>
                    </a:cubicBezTo>
                    <a:lnTo>
                      <a:pt x="11906" y="20383"/>
                    </a:lnTo>
                    <a:lnTo>
                      <a:pt x="2953" y="14669"/>
                    </a:lnTo>
                    <a:lnTo>
                      <a:pt x="0" y="14669"/>
                    </a:lnTo>
                    <a:lnTo>
                      <a:pt x="26670" y="73057"/>
                    </a:lnTo>
                    <a:lnTo>
                      <a:pt x="26670" y="73057"/>
                    </a:lnTo>
                    <a:lnTo>
                      <a:pt x="47434" y="52673"/>
                    </a:lnTo>
                    <a:lnTo>
                      <a:pt x="79914" y="52673"/>
                    </a:lnTo>
                    <a:lnTo>
                      <a:pt x="59150" y="0"/>
                    </a:lnTo>
                    <a:close/>
                  </a:path>
                </a:pathLst>
              </a:custGeom>
              <a:solidFill>
                <a:srgbClr val="FFFFFF"/>
              </a:solidFill>
              <a:ln w="9525" cap="flat">
                <a:noFill/>
                <a:prstDash val="solid"/>
                <a:miter/>
              </a:ln>
            </p:spPr>
            <p:txBody>
              <a:bodyPr rtlCol="0" anchor="ctr"/>
              <a:lstStyle/>
              <a:p>
                <a:endParaRPr lang="en-US"/>
              </a:p>
            </p:txBody>
          </p:sp>
          <p:sp>
            <p:nvSpPr>
              <p:cNvPr id="873" name="Freeform: Shape 872">
                <a:extLst>
                  <a:ext uri="{FF2B5EF4-FFF2-40B4-BE49-F238E27FC236}">
                    <a16:creationId xmlns:a16="http://schemas.microsoft.com/office/drawing/2014/main" id="{58F9591F-D81D-435B-82C9-913EC032D4FB}"/>
                  </a:ext>
                </a:extLst>
              </p:cNvPr>
              <p:cNvSpPr/>
              <p:nvPr/>
            </p:nvSpPr>
            <p:spPr>
              <a:xfrm>
                <a:off x="8680047" y="1821497"/>
                <a:ext cx="130289" cy="119793"/>
              </a:xfrm>
              <a:custGeom>
                <a:avLst/>
                <a:gdLst>
                  <a:gd name="connsiteX0" fmla="*/ 44853 w 130289"/>
                  <a:gd name="connsiteY0" fmla="*/ 84741 h 119793"/>
                  <a:gd name="connsiteX1" fmla="*/ 24088 w 130289"/>
                  <a:gd name="connsiteY1" fmla="*/ 58262 h 119793"/>
                  <a:gd name="connsiteX2" fmla="*/ 6181 w 130289"/>
                  <a:gd name="connsiteY2" fmla="*/ 58262 h 119793"/>
                  <a:gd name="connsiteX3" fmla="*/ 1098 w 130289"/>
                  <a:gd name="connsiteY3" fmla="*/ 72895 h 119793"/>
                  <a:gd name="connsiteX4" fmla="*/ 3228 w 130289"/>
                  <a:gd name="connsiteY4" fmla="*/ 75883 h 119793"/>
                  <a:gd name="connsiteX5" fmla="*/ 35994 w 130289"/>
                  <a:gd name="connsiteY5" fmla="*/ 113983 h 119793"/>
                  <a:gd name="connsiteX6" fmla="*/ 44853 w 130289"/>
                  <a:gd name="connsiteY6" fmla="*/ 119793 h 119793"/>
                  <a:gd name="connsiteX7" fmla="*/ 44853 w 130289"/>
                  <a:gd name="connsiteY7" fmla="*/ 119793 h 119793"/>
                  <a:gd name="connsiteX8" fmla="*/ 56854 w 130289"/>
                  <a:gd name="connsiteY8" fmla="*/ 113983 h 119793"/>
                  <a:gd name="connsiteX9" fmla="*/ 104479 w 130289"/>
                  <a:gd name="connsiteY9" fmla="*/ 52261 h 119793"/>
                  <a:gd name="connsiteX10" fmla="*/ 110385 w 130289"/>
                  <a:gd name="connsiteY10" fmla="*/ 43403 h 119793"/>
                  <a:gd name="connsiteX11" fmla="*/ 116385 w 130289"/>
                  <a:gd name="connsiteY11" fmla="*/ 37592 h 119793"/>
                  <a:gd name="connsiteX12" fmla="*/ 122386 w 130289"/>
                  <a:gd name="connsiteY12" fmla="*/ 28639 h 119793"/>
                  <a:gd name="connsiteX13" fmla="*/ 128387 w 130289"/>
                  <a:gd name="connsiteY13" fmla="*/ 22829 h 119793"/>
                  <a:gd name="connsiteX14" fmla="*/ 125339 w 130289"/>
                  <a:gd name="connsiteY14" fmla="*/ 2255 h 119793"/>
                  <a:gd name="connsiteX15" fmla="*/ 110385 w 130289"/>
                  <a:gd name="connsiteY15" fmla="*/ 2255 h 119793"/>
                  <a:gd name="connsiteX16" fmla="*/ 104479 w 130289"/>
                  <a:gd name="connsiteY16" fmla="*/ 5207 h 119793"/>
                  <a:gd name="connsiteX17" fmla="*/ 98574 w 130289"/>
                  <a:gd name="connsiteY17" fmla="*/ 13970 h 119793"/>
                  <a:gd name="connsiteX18" fmla="*/ 92573 w 130289"/>
                  <a:gd name="connsiteY18" fmla="*/ 19876 h 119793"/>
                  <a:gd name="connsiteX19" fmla="*/ 86572 w 130289"/>
                  <a:gd name="connsiteY19" fmla="*/ 28639 h 11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0289" h="119793">
                    <a:moveTo>
                      <a:pt x="44853" y="84741"/>
                    </a:moveTo>
                    <a:lnTo>
                      <a:pt x="24088" y="58262"/>
                    </a:lnTo>
                    <a:cubicBezTo>
                      <a:pt x="21040" y="52451"/>
                      <a:pt x="12182" y="52451"/>
                      <a:pt x="6181" y="58262"/>
                    </a:cubicBezTo>
                    <a:cubicBezTo>
                      <a:pt x="737" y="60899"/>
                      <a:pt x="-1539" y="67450"/>
                      <a:pt x="1098" y="72895"/>
                    </a:cubicBezTo>
                    <a:cubicBezTo>
                      <a:pt x="1635" y="74004"/>
                      <a:pt x="2356" y="75014"/>
                      <a:pt x="3228" y="75883"/>
                    </a:cubicBezTo>
                    <a:lnTo>
                      <a:pt x="35994" y="113983"/>
                    </a:lnTo>
                    <a:cubicBezTo>
                      <a:pt x="39043" y="116840"/>
                      <a:pt x="41995" y="119793"/>
                      <a:pt x="44853" y="119793"/>
                    </a:cubicBezTo>
                    <a:lnTo>
                      <a:pt x="44853" y="119793"/>
                    </a:lnTo>
                    <a:cubicBezTo>
                      <a:pt x="49514" y="119720"/>
                      <a:pt x="53906" y="117594"/>
                      <a:pt x="56854" y="113983"/>
                    </a:cubicBezTo>
                    <a:lnTo>
                      <a:pt x="104479" y="52261"/>
                    </a:lnTo>
                    <a:lnTo>
                      <a:pt x="110385" y="43403"/>
                    </a:lnTo>
                    <a:lnTo>
                      <a:pt x="116385" y="37592"/>
                    </a:lnTo>
                    <a:lnTo>
                      <a:pt x="122386" y="28639"/>
                    </a:lnTo>
                    <a:lnTo>
                      <a:pt x="128387" y="22829"/>
                    </a:lnTo>
                    <a:cubicBezTo>
                      <a:pt x="131778" y="16009"/>
                      <a:pt x="130561" y="7799"/>
                      <a:pt x="125339" y="2255"/>
                    </a:cubicBezTo>
                    <a:cubicBezTo>
                      <a:pt x="120807" y="-752"/>
                      <a:pt x="114916" y="-752"/>
                      <a:pt x="110385" y="2255"/>
                    </a:cubicBezTo>
                    <a:cubicBezTo>
                      <a:pt x="108831" y="3912"/>
                      <a:pt x="106737" y="4959"/>
                      <a:pt x="104479" y="5207"/>
                    </a:cubicBezTo>
                    <a:lnTo>
                      <a:pt x="98574" y="13970"/>
                    </a:lnTo>
                    <a:lnTo>
                      <a:pt x="92573" y="19876"/>
                    </a:lnTo>
                    <a:lnTo>
                      <a:pt x="86572" y="28639"/>
                    </a:lnTo>
                    <a:close/>
                  </a:path>
                </a:pathLst>
              </a:custGeom>
              <a:solidFill>
                <a:srgbClr val="FFFFFF"/>
              </a:solidFill>
              <a:ln w="9525" cap="flat">
                <a:noFill/>
                <a:prstDash val="solid"/>
                <a:miter/>
              </a:ln>
            </p:spPr>
            <p:txBody>
              <a:bodyPr rtlCol="0" anchor="ctr"/>
              <a:lstStyle/>
              <a:p>
                <a:endParaRPr lang="en-US"/>
              </a:p>
            </p:txBody>
          </p:sp>
        </p:grpSp>
      </p:grpSp>
      <p:grpSp>
        <p:nvGrpSpPr>
          <p:cNvPr id="196" name="Group 195">
            <a:extLst>
              <a:ext uri="{FF2B5EF4-FFF2-40B4-BE49-F238E27FC236}">
                <a16:creationId xmlns:a16="http://schemas.microsoft.com/office/drawing/2014/main" id="{A3BDA15D-0F63-44B6-84C2-859947F18EA8}"/>
              </a:ext>
              <a:ext uri="{C183D7F6-B498-43B3-948B-1728B52AA6E4}">
                <adec:decorative xmlns:adec="http://schemas.microsoft.com/office/drawing/2017/decorative" val="1"/>
              </a:ext>
            </a:extLst>
          </p:cNvPr>
          <p:cNvGrpSpPr/>
          <p:nvPr/>
        </p:nvGrpSpPr>
        <p:grpSpPr>
          <a:xfrm>
            <a:off x="653923" y="4602033"/>
            <a:ext cx="8990834" cy="123111"/>
            <a:chOff x="456870" y="4622939"/>
            <a:chExt cx="8990834" cy="123111"/>
          </a:xfrm>
        </p:grpSpPr>
        <p:sp>
          <p:nvSpPr>
            <p:cNvPr id="92" name="Rectangle 76">
              <a:extLst>
                <a:ext uri="{FF2B5EF4-FFF2-40B4-BE49-F238E27FC236}">
                  <a16:creationId xmlns:a16="http://schemas.microsoft.com/office/drawing/2014/main" id="{1391F966-8E50-4146-B96D-178F7C323008}"/>
                </a:ext>
              </a:extLst>
            </p:cNvPr>
            <p:cNvSpPr>
              <a:spLocks noChangeArrowheads="1"/>
            </p:cNvSpPr>
            <p:nvPr/>
          </p:nvSpPr>
          <p:spPr bwMode="auto">
            <a:xfrm>
              <a:off x="2762851" y="4622939"/>
              <a:ext cx="48891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Document</a:t>
              </a:r>
              <a:endParaRPr kumimoji="0" lang="pl-PL" altLang="pl-PL" sz="800" b="0" i="0" u="none" strike="noStrike" cap="none" normalizeH="0" baseline="0" dirty="0">
                <a:ln>
                  <a:noFill/>
                </a:ln>
                <a:solidFill>
                  <a:schemeClr val="tx1"/>
                </a:solidFill>
                <a:effectLst/>
                <a:latin typeface="+mn-lt"/>
              </a:endParaRPr>
            </a:p>
          </p:txBody>
        </p:sp>
        <p:sp>
          <p:nvSpPr>
            <p:cNvPr id="96" name="Rectangle 80">
              <a:extLst>
                <a:ext uri="{FF2B5EF4-FFF2-40B4-BE49-F238E27FC236}">
                  <a16:creationId xmlns:a16="http://schemas.microsoft.com/office/drawing/2014/main" id="{DA6E86B2-1F90-4A07-982E-6478DA6AC600}"/>
                </a:ext>
              </a:extLst>
            </p:cNvPr>
            <p:cNvSpPr>
              <a:spLocks noChangeArrowheads="1"/>
            </p:cNvSpPr>
            <p:nvPr/>
          </p:nvSpPr>
          <p:spPr bwMode="auto">
            <a:xfrm>
              <a:off x="5192106" y="4622939"/>
              <a:ext cx="41036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Message</a:t>
              </a:r>
              <a:endParaRPr kumimoji="0" lang="pl-PL" altLang="pl-PL" sz="800" b="0" i="0" u="none" strike="noStrike" cap="none" normalizeH="0" baseline="0" dirty="0">
                <a:ln>
                  <a:noFill/>
                </a:ln>
                <a:solidFill>
                  <a:schemeClr val="tx1"/>
                </a:solidFill>
                <a:effectLst/>
                <a:latin typeface="+mn-lt"/>
              </a:endParaRPr>
            </a:p>
          </p:txBody>
        </p:sp>
        <p:sp>
          <p:nvSpPr>
            <p:cNvPr id="101" name="Rectangle 85">
              <a:extLst>
                <a:ext uri="{FF2B5EF4-FFF2-40B4-BE49-F238E27FC236}">
                  <a16:creationId xmlns:a16="http://schemas.microsoft.com/office/drawing/2014/main" id="{EF0DDBC0-C02E-47F0-9071-0E03FE799402}"/>
                </a:ext>
              </a:extLst>
            </p:cNvPr>
            <p:cNvSpPr>
              <a:spLocks noChangeArrowheads="1"/>
            </p:cNvSpPr>
            <p:nvPr/>
          </p:nvSpPr>
          <p:spPr bwMode="auto">
            <a:xfrm>
              <a:off x="6034020" y="4622939"/>
              <a:ext cx="31258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Search</a:t>
              </a:r>
              <a:endParaRPr kumimoji="0" lang="pl-PL" altLang="pl-PL" sz="800" b="0" i="0" u="none" strike="noStrike" cap="none" normalizeH="0" baseline="0" dirty="0">
                <a:ln>
                  <a:noFill/>
                </a:ln>
                <a:solidFill>
                  <a:schemeClr val="tx1"/>
                </a:solidFill>
                <a:effectLst/>
                <a:latin typeface="+mn-lt"/>
              </a:endParaRPr>
            </a:p>
          </p:txBody>
        </p:sp>
        <p:sp>
          <p:nvSpPr>
            <p:cNvPr id="106" name="Rectangle 90">
              <a:extLst>
                <a:ext uri="{FF2B5EF4-FFF2-40B4-BE49-F238E27FC236}">
                  <a16:creationId xmlns:a16="http://schemas.microsoft.com/office/drawing/2014/main" id="{F35BFEA8-E13F-44BA-8428-4662AF63802F}"/>
                </a:ext>
              </a:extLst>
            </p:cNvPr>
            <p:cNvSpPr>
              <a:spLocks noChangeArrowheads="1"/>
            </p:cNvSpPr>
            <p:nvPr/>
          </p:nvSpPr>
          <p:spPr bwMode="auto">
            <a:xfrm>
              <a:off x="8347159" y="4622939"/>
              <a:ext cx="33342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Scribes</a:t>
              </a:r>
              <a:endParaRPr kumimoji="0" lang="pl-PL" altLang="pl-PL" sz="800" b="0" i="0" u="none" strike="noStrike" cap="none" normalizeH="0" baseline="0" dirty="0">
                <a:ln>
                  <a:noFill/>
                </a:ln>
                <a:solidFill>
                  <a:schemeClr val="tx1"/>
                </a:solidFill>
                <a:effectLst/>
                <a:latin typeface="+mn-lt"/>
              </a:endParaRPr>
            </a:p>
          </p:txBody>
        </p:sp>
        <p:sp>
          <p:nvSpPr>
            <p:cNvPr id="108" name="Rectangle 92">
              <a:extLst>
                <a:ext uri="{FF2B5EF4-FFF2-40B4-BE49-F238E27FC236}">
                  <a16:creationId xmlns:a16="http://schemas.microsoft.com/office/drawing/2014/main" id="{6346083C-0224-4FFA-A3D1-23A15ABEDE32}"/>
                </a:ext>
              </a:extLst>
            </p:cNvPr>
            <p:cNvSpPr>
              <a:spLocks noChangeArrowheads="1"/>
            </p:cNvSpPr>
            <p:nvPr/>
          </p:nvSpPr>
          <p:spPr bwMode="auto">
            <a:xfrm>
              <a:off x="9180002" y="4622939"/>
              <a:ext cx="26770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Gam</a:t>
              </a:r>
              <a:r>
                <a:rPr lang="fr-FR" altLang="pl-PL" sz="800" dirty="0">
                  <a:solidFill>
                    <a:srgbClr val="231F20"/>
                  </a:solidFill>
                  <a:latin typeface="+mn-lt"/>
                </a:rPr>
                <a:t>e</a:t>
              </a:r>
              <a:endParaRPr kumimoji="0" lang="pl-PL" altLang="pl-PL" sz="800" b="0" i="0" u="none" strike="noStrike" cap="none" normalizeH="0" baseline="0" dirty="0">
                <a:ln>
                  <a:noFill/>
                </a:ln>
                <a:solidFill>
                  <a:schemeClr val="tx1"/>
                </a:solidFill>
                <a:effectLst/>
                <a:latin typeface="+mn-lt"/>
              </a:endParaRPr>
            </a:p>
          </p:txBody>
        </p:sp>
        <p:sp>
          <p:nvSpPr>
            <p:cNvPr id="109" name="Rectangle 93">
              <a:extLst>
                <a:ext uri="{FF2B5EF4-FFF2-40B4-BE49-F238E27FC236}">
                  <a16:creationId xmlns:a16="http://schemas.microsoft.com/office/drawing/2014/main" id="{BD3E013C-A768-43E6-84A8-E8ADE2649F8A}"/>
                </a:ext>
              </a:extLst>
            </p:cNvPr>
            <p:cNvSpPr>
              <a:spLocks noChangeArrowheads="1"/>
            </p:cNvSpPr>
            <p:nvPr/>
          </p:nvSpPr>
          <p:spPr bwMode="auto">
            <a:xfrm>
              <a:off x="456870" y="4622939"/>
              <a:ext cx="27251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Video</a:t>
              </a:r>
              <a:endParaRPr kumimoji="0" lang="pl-PL" altLang="pl-PL" sz="800" b="0" i="0" u="none" strike="noStrike" cap="none" normalizeH="0" baseline="0" dirty="0">
                <a:ln>
                  <a:noFill/>
                </a:ln>
                <a:solidFill>
                  <a:schemeClr val="tx1"/>
                </a:solidFill>
                <a:effectLst/>
                <a:latin typeface="+mn-lt"/>
              </a:endParaRPr>
            </a:p>
          </p:txBody>
        </p:sp>
        <p:sp>
          <p:nvSpPr>
            <p:cNvPr id="481" name="Rectangle 424">
              <a:extLst>
                <a:ext uri="{FF2B5EF4-FFF2-40B4-BE49-F238E27FC236}">
                  <a16:creationId xmlns:a16="http://schemas.microsoft.com/office/drawing/2014/main" id="{2EACFAFB-2E0E-4335-87C3-60F50E1A9B84}"/>
                </a:ext>
              </a:extLst>
            </p:cNvPr>
            <p:cNvSpPr>
              <a:spLocks noChangeArrowheads="1"/>
            </p:cNvSpPr>
            <p:nvPr/>
          </p:nvSpPr>
          <p:spPr bwMode="auto">
            <a:xfrm>
              <a:off x="2045051" y="4622939"/>
              <a:ext cx="30136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pl-PL" sz="800" dirty="0">
                  <a:solidFill>
                    <a:srgbClr val="231F20"/>
                  </a:solidFill>
                  <a:latin typeface="+mn-lt"/>
                </a:rPr>
                <a:t>F</a:t>
              </a:r>
              <a:r>
                <a:rPr kumimoji="0" lang="pl-PL" altLang="pl-PL" sz="800" b="0" i="0" u="none" strike="noStrike" cap="none" normalizeH="0" baseline="0" dirty="0">
                  <a:ln>
                    <a:noFill/>
                  </a:ln>
                  <a:solidFill>
                    <a:srgbClr val="231F20"/>
                  </a:solidFill>
                  <a:effectLst/>
                  <a:latin typeface="+mn-lt"/>
                </a:rPr>
                <a:t>older</a:t>
              </a:r>
              <a:endParaRPr kumimoji="0" lang="pl-PL" altLang="pl-PL" sz="800" b="0" i="0" u="none" strike="noStrike" cap="none" normalizeH="0" baseline="0" dirty="0">
                <a:ln>
                  <a:noFill/>
                </a:ln>
                <a:solidFill>
                  <a:schemeClr val="tx1"/>
                </a:solidFill>
                <a:effectLst/>
                <a:latin typeface="+mn-lt"/>
              </a:endParaRPr>
            </a:p>
          </p:txBody>
        </p:sp>
        <p:sp>
          <p:nvSpPr>
            <p:cNvPr id="486" name="Rectangle 429">
              <a:extLst>
                <a:ext uri="{FF2B5EF4-FFF2-40B4-BE49-F238E27FC236}">
                  <a16:creationId xmlns:a16="http://schemas.microsoft.com/office/drawing/2014/main" id="{64EC079A-74F4-4F9A-91E7-41CD7D3F4675}"/>
                </a:ext>
              </a:extLst>
            </p:cNvPr>
            <p:cNvSpPr>
              <a:spLocks noChangeArrowheads="1"/>
            </p:cNvSpPr>
            <p:nvPr/>
          </p:nvSpPr>
          <p:spPr bwMode="auto">
            <a:xfrm>
              <a:off x="6675264" y="4622939"/>
              <a:ext cx="58349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pl-PL" sz="800" dirty="0">
                  <a:solidFill>
                    <a:srgbClr val="231F20"/>
                  </a:solidFill>
                  <a:latin typeface="+mn-lt"/>
                </a:rPr>
                <a:t>C</a:t>
              </a:r>
              <a:r>
                <a:rPr kumimoji="0" lang="pl-PL" altLang="pl-PL" sz="800" b="0" i="0" u="none" strike="noStrike" cap="none" normalizeH="0" baseline="0" dirty="0">
                  <a:ln>
                    <a:noFill/>
                  </a:ln>
                  <a:solidFill>
                    <a:srgbClr val="231F20"/>
                  </a:solidFill>
                  <a:effectLst/>
                  <a:latin typeface="+mn-lt"/>
                </a:rPr>
                <a:t>ertifica</a:t>
              </a:r>
              <a:r>
                <a:rPr kumimoji="0" lang="fr-FR" altLang="pl-PL" sz="800" b="0" i="0" u="none" strike="noStrike" cap="none" normalizeH="0" baseline="0" dirty="0" err="1">
                  <a:ln>
                    <a:noFill/>
                  </a:ln>
                  <a:solidFill>
                    <a:srgbClr val="231F20"/>
                  </a:solidFill>
                  <a:effectLst/>
                  <a:latin typeface="+mn-lt"/>
                </a:rPr>
                <a:t>tion</a:t>
              </a:r>
              <a:endParaRPr kumimoji="0" lang="pl-PL" altLang="pl-PL" sz="800" b="0" i="0" u="none" strike="noStrike" cap="none" normalizeH="0" baseline="0" dirty="0">
                <a:ln>
                  <a:noFill/>
                </a:ln>
                <a:solidFill>
                  <a:schemeClr val="tx1"/>
                </a:solidFill>
                <a:effectLst/>
                <a:latin typeface="+mn-lt"/>
              </a:endParaRPr>
            </a:p>
          </p:txBody>
        </p:sp>
        <p:sp>
          <p:nvSpPr>
            <p:cNvPr id="724" name="Rectangle 165">
              <a:extLst>
                <a:ext uri="{FF2B5EF4-FFF2-40B4-BE49-F238E27FC236}">
                  <a16:creationId xmlns:a16="http://schemas.microsoft.com/office/drawing/2014/main" id="{C6D9FADD-10B9-4AB4-82BB-A4C64EA07D83}"/>
                </a:ext>
              </a:extLst>
            </p:cNvPr>
            <p:cNvSpPr>
              <a:spLocks noChangeArrowheads="1"/>
            </p:cNvSpPr>
            <p:nvPr/>
          </p:nvSpPr>
          <p:spPr bwMode="auto">
            <a:xfrm>
              <a:off x="3576579" y="4622939"/>
              <a:ext cx="44723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mn-lt"/>
                </a:rPr>
                <a:t>Check </a:t>
              </a:r>
              <a:r>
                <a:rPr kumimoji="0" lang="fr-FR" altLang="fr-FR" sz="800" b="0" i="0" u="none" strike="noStrike" cap="none" normalizeH="0" baseline="0" dirty="0" err="1">
                  <a:ln>
                    <a:noFill/>
                  </a:ln>
                  <a:solidFill>
                    <a:srgbClr val="000000"/>
                  </a:solidFill>
                  <a:effectLst/>
                  <a:latin typeface="+mn-lt"/>
                </a:rPr>
                <a:t>list</a:t>
              </a:r>
              <a:endParaRPr kumimoji="0" lang="fr-FR" altLang="fr-FR" sz="800" b="0" i="0" u="none" strike="noStrike" cap="none" normalizeH="0" baseline="0" dirty="0">
                <a:ln>
                  <a:noFill/>
                </a:ln>
                <a:solidFill>
                  <a:schemeClr val="tx1"/>
                </a:solidFill>
                <a:effectLst/>
                <a:latin typeface="+mn-lt"/>
              </a:endParaRPr>
            </a:p>
          </p:txBody>
        </p:sp>
        <p:sp>
          <p:nvSpPr>
            <p:cNvPr id="781" name="Rectangle 74">
              <a:extLst>
                <a:ext uri="{FF2B5EF4-FFF2-40B4-BE49-F238E27FC236}">
                  <a16:creationId xmlns:a16="http://schemas.microsoft.com/office/drawing/2014/main" id="{F6F241FD-6A8C-4FE9-A110-243329FCB8D9}"/>
                </a:ext>
              </a:extLst>
            </p:cNvPr>
            <p:cNvSpPr>
              <a:spLocks noChangeArrowheads="1"/>
            </p:cNvSpPr>
            <p:nvPr/>
          </p:nvSpPr>
          <p:spPr bwMode="auto">
            <a:xfrm>
              <a:off x="4405107" y="4622939"/>
              <a:ext cx="41517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err="1">
                  <a:ln>
                    <a:noFill/>
                  </a:ln>
                  <a:solidFill>
                    <a:srgbClr val="000000"/>
                  </a:solidFill>
                  <a:effectLst/>
                  <a:latin typeface="+mn-lt"/>
                </a:rPr>
                <a:t>Calendar</a:t>
              </a:r>
              <a:endParaRPr kumimoji="0" lang="fr-FR" altLang="fr-FR" sz="800" b="0" i="0" u="none" strike="noStrike" cap="none" normalizeH="0" baseline="0" dirty="0">
                <a:ln>
                  <a:noFill/>
                </a:ln>
                <a:solidFill>
                  <a:schemeClr val="tx1"/>
                </a:solidFill>
                <a:effectLst/>
                <a:latin typeface="+mn-lt"/>
              </a:endParaRPr>
            </a:p>
          </p:txBody>
        </p:sp>
        <p:sp>
          <p:nvSpPr>
            <p:cNvPr id="789" name="Rectangle 9">
              <a:extLst>
                <a:ext uri="{FF2B5EF4-FFF2-40B4-BE49-F238E27FC236}">
                  <a16:creationId xmlns:a16="http://schemas.microsoft.com/office/drawing/2014/main" id="{C3B5836B-42AB-4377-8D4C-6CF4A55368DA}"/>
                </a:ext>
              </a:extLst>
            </p:cNvPr>
            <p:cNvSpPr>
              <a:spLocks noChangeArrowheads="1"/>
            </p:cNvSpPr>
            <p:nvPr/>
          </p:nvSpPr>
          <p:spPr bwMode="auto">
            <a:xfrm>
              <a:off x="1256501" y="4622939"/>
              <a:ext cx="27411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mn-lt"/>
                </a:rPr>
                <a:t>Paper</a:t>
              </a:r>
              <a:endParaRPr kumimoji="0" lang="fr-FR" altLang="fr-FR" sz="800" b="0" i="0" u="none" strike="noStrike" cap="none" normalizeH="0" baseline="0" dirty="0">
                <a:ln>
                  <a:noFill/>
                </a:ln>
                <a:solidFill>
                  <a:schemeClr val="tx1"/>
                </a:solidFill>
                <a:effectLst/>
                <a:latin typeface="+mn-lt"/>
              </a:endParaRPr>
            </a:p>
          </p:txBody>
        </p:sp>
        <p:sp>
          <p:nvSpPr>
            <p:cNvPr id="874" name="Rectangle 90">
              <a:extLst>
                <a:ext uri="{FF2B5EF4-FFF2-40B4-BE49-F238E27FC236}">
                  <a16:creationId xmlns:a16="http://schemas.microsoft.com/office/drawing/2014/main" id="{FA0EC02D-FE6F-40EB-8C47-47D8ACC9DD5A}"/>
                </a:ext>
              </a:extLst>
            </p:cNvPr>
            <p:cNvSpPr>
              <a:spLocks noChangeArrowheads="1"/>
            </p:cNvSpPr>
            <p:nvPr/>
          </p:nvSpPr>
          <p:spPr bwMode="auto">
            <a:xfrm>
              <a:off x="7495825" y="4622939"/>
              <a:ext cx="53219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Paint </a:t>
              </a:r>
              <a:r>
                <a:rPr kumimoji="0" lang="fr-FR" altLang="pl-PL" sz="800" b="0" i="0" u="none" strike="noStrike" cap="none" normalizeH="0" baseline="0" dirty="0" err="1">
                  <a:ln>
                    <a:noFill/>
                  </a:ln>
                  <a:solidFill>
                    <a:srgbClr val="231F20"/>
                  </a:solidFill>
                  <a:effectLst/>
                  <a:latin typeface="+mn-lt"/>
                </a:rPr>
                <a:t>brush</a:t>
              </a:r>
              <a:endParaRPr kumimoji="0" lang="pl-PL" altLang="pl-PL" sz="800" b="0" i="0" u="none" strike="noStrike" cap="none" normalizeH="0" baseline="0" dirty="0">
                <a:ln>
                  <a:noFill/>
                </a:ln>
                <a:solidFill>
                  <a:schemeClr val="tx1"/>
                </a:solidFill>
                <a:effectLst/>
                <a:latin typeface="+mn-lt"/>
              </a:endParaRPr>
            </a:p>
          </p:txBody>
        </p:sp>
      </p:grpSp>
      <p:grpSp>
        <p:nvGrpSpPr>
          <p:cNvPr id="198" name="Group 197">
            <a:extLst>
              <a:ext uri="{FF2B5EF4-FFF2-40B4-BE49-F238E27FC236}">
                <a16:creationId xmlns:a16="http://schemas.microsoft.com/office/drawing/2014/main" id="{FC458308-B12E-479F-BE59-7ABAA7A2F166}"/>
              </a:ext>
              <a:ext uri="{C183D7F6-B498-43B3-948B-1728B52AA6E4}">
                <adec:decorative xmlns:adec="http://schemas.microsoft.com/office/drawing/2017/decorative" val="1"/>
              </a:ext>
            </a:extLst>
          </p:cNvPr>
          <p:cNvGrpSpPr/>
          <p:nvPr/>
        </p:nvGrpSpPr>
        <p:grpSpPr>
          <a:xfrm>
            <a:off x="2853862" y="4941168"/>
            <a:ext cx="672195" cy="633600"/>
            <a:chOff x="2658954" y="5028273"/>
            <a:chExt cx="672195" cy="633600"/>
          </a:xfrm>
        </p:grpSpPr>
        <p:sp>
          <p:nvSpPr>
            <p:cNvPr id="876" name="Freeform 30">
              <a:extLst>
                <a:ext uri="{FF2B5EF4-FFF2-40B4-BE49-F238E27FC236}">
                  <a16:creationId xmlns:a16="http://schemas.microsoft.com/office/drawing/2014/main" id="{0E34CA33-7AD7-4108-A011-AA4FA981790D}"/>
                </a:ext>
              </a:extLst>
            </p:cNvPr>
            <p:cNvSpPr>
              <a:spLocks/>
            </p:cNvSpPr>
            <p:nvPr/>
          </p:nvSpPr>
          <p:spPr bwMode="auto">
            <a:xfrm>
              <a:off x="2658954" y="5028273"/>
              <a:ext cx="672195" cy="6336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7" name="Group 86">
              <a:extLst>
                <a:ext uri="{FF2B5EF4-FFF2-40B4-BE49-F238E27FC236}">
                  <a16:creationId xmlns:a16="http://schemas.microsoft.com/office/drawing/2014/main" id="{2B5BB405-9556-4C5F-AF2A-82182C9C75D6}"/>
                </a:ext>
              </a:extLst>
            </p:cNvPr>
            <p:cNvGrpSpPr/>
            <p:nvPr/>
          </p:nvGrpSpPr>
          <p:grpSpPr>
            <a:xfrm>
              <a:off x="2841881" y="5159447"/>
              <a:ext cx="316401" cy="364712"/>
              <a:chOff x="4723238" y="210134"/>
              <a:chExt cx="316401" cy="364712"/>
            </a:xfrm>
          </p:grpSpPr>
          <p:sp>
            <p:nvSpPr>
              <p:cNvPr id="75" name="Freeform: Shape 74">
                <a:extLst>
                  <a:ext uri="{FF2B5EF4-FFF2-40B4-BE49-F238E27FC236}">
                    <a16:creationId xmlns:a16="http://schemas.microsoft.com/office/drawing/2014/main" id="{247392D4-1E18-4AC5-94E8-7763F1A3B661}"/>
                  </a:ext>
                </a:extLst>
              </p:cNvPr>
              <p:cNvSpPr/>
              <p:nvPr/>
            </p:nvSpPr>
            <p:spPr>
              <a:xfrm>
                <a:off x="4723238" y="210134"/>
                <a:ext cx="316401" cy="364712"/>
              </a:xfrm>
              <a:custGeom>
                <a:avLst/>
                <a:gdLst>
                  <a:gd name="connsiteX0" fmla="*/ 57039 w 316401"/>
                  <a:gd name="connsiteY0" fmla="*/ 334306 h 364712"/>
                  <a:gd name="connsiteX1" fmla="*/ 57039 w 316401"/>
                  <a:gd name="connsiteY1" fmla="*/ 334306 h 364712"/>
                  <a:gd name="connsiteX2" fmla="*/ 63516 w 316401"/>
                  <a:gd name="connsiteY2" fmla="*/ 310303 h 364712"/>
                  <a:gd name="connsiteX3" fmla="*/ 63516 w 316401"/>
                  <a:gd name="connsiteY3" fmla="*/ 274394 h 364712"/>
                  <a:gd name="connsiteX4" fmla="*/ 39990 w 316401"/>
                  <a:gd name="connsiteY4" fmla="*/ 250486 h 364712"/>
                  <a:gd name="connsiteX5" fmla="*/ 8843 w 316401"/>
                  <a:gd name="connsiteY5" fmla="*/ 250486 h 364712"/>
                  <a:gd name="connsiteX6" fmla="*/ 1223 w 316401"/>
                  <a:gd name="connsiteY6" fmla="*/ 263630 h 364712"/>
                  <a:gd name="connsiteX7" fmla="*/ 49991 w 316401"/>
                  <a:gd name="connsiteY7" fmla="*/ 329544 h 364712"/>
                  <a:gd name="connsiteX8" fmla="*/ 57039 w 316401"/>
                  <a:gd name="connsiteY8" fmla="*/ 334306 h 364712"/>
                  <a:gd name="connsiteX9" fmla="*/ 57039 w 316401"/>
                  <a:gd name="connsiteY9" fmla="*/ 225340 h 364712"/>
                  <a:gd name="connsiteX10" fmla="*/ 57039 w 316401"/>
                  <a:gd name="connsiteY10" fmla="*/ 225340 h 364712"/>
                  <a:gd name="connsiteX11" fmla="*/ 63516 w 316401"/>
                  <a:gd name="connsiteY11" fmla="*/ 201337 h 364712"/>
                  <a:gd name="connsiteX12" fmla="*/ 63516 w 316401"/>
                  <a:gd name="connsiteY12" fmla="*/ 165999 h 364712"/>
                  <a:gd name="connsiteX13" fmla="*/ 39990 w 316401"/>
                  <a:gd name="connsiteY13" fmla="*/ 142092 h 364712"/>
                  <a:gd name="connsiteX14" fmla="*/ 8843 w 316401"/>
                  <a:gd name="connsiteY14" fmla="*/ 142092 h 364712"/>
                  <a:gd name="connsiteX15" fmla="*/ 1223 w 316401"/>
                  <a:gd name="connsiteY15" fmla="*/ 154665 h 364712"/>
                  <a:gd name="connsiteX16" fmla="*/ 49991 w 316401"/>
                  <a:gd name="connsiteY16" fmla="*/ 221340 h 364712"/>
                  <a:gd name="connsiteX17" fmla="*/ 57039 w 316401"/>
                  <a:gd name="connsiteY17" fmla="*/ 225340 h 364712"/>
                  <a:gd name="connsiteX18" fmla="*/ 57039 w 316401"/>
                  <a:gd name="connsiteY18" fmla="*/ 116946 h 364712"/>
                  <a:gd name="connsiteX19" fmla="*/ 57039 w 316401"/>
                  <a:gd name="connsiteY19" fmla="*/ 116946 h 364712"/>
                  <a:gd name="connsiteX20" fmla="*/ 63516 w 316401"/>
                  <a:gd name="connsiteY20" fmla="*/ 92942 h 364712"/>
                  <a:gd name="connsiteX21" fmla="*/ 63516 w 316401"/>
                  <a:gd name="connsiteY21" fmla="*/ 57605 h 364712"/>
                  <a:gd name="connsiteX22" fmla="*/ 39990 w 316401"/>
                  <a:gd name="connsiteY22" fmla="*/ 33697 h 364712"/>
                  <a:gd name="connsiteX23" fmla="*/ 8843 w 316401"/>
                  <a:gd name="connsiteY23" fmla="*/ 33697 h 364712"/>
                  <a:gd name="connsiteX24" fmla="*/ 1223 w 316401"/>
                  <a:gd name="connsiteY24" fmla="*/ 46270 h 364712"/>
                  <a:gd name="connsiteX25" fmla="*/ 49991 w 316401"/>
                  <a:gd name="connsiteY25" fmla="*/ 112945 h 364712"/>
                  <a:gd name="connsiteX26" fmla="*/ 57039 w 316401"/>
                  <a:gd name="connsiteY26" fmla="*/ 116946 h 364712"/>
                  <a:gd name="connsiteX27" fmla="*/ 265351 w 316401"/>
                  <a:gd name="connsiteY27" fmla="*/ 329544 h 364712"/>
                  <a:gd name="connsiteX28" fmla="*/ 314119 w 316401"/>
                  <a:gd name="connsiteY28" fmla="*/ 263630 h 364712"/>
                  <a:gd name="connsiteX29" fmla="*/ 307071 w 316401"/>
                  <a:gd name="connsiteY29" fmla="*/ 250486 h 364712"/>
                  <a:gd name="connsiteX30" fmla="*/ 275352 w 316401"/>
                  <a:gd name="connsiteY30" fmla="*/ 250486 h 364712"/>
                  <a:gd name="connsiteX31" fmla="*/ 251730 w 316401"/>
                  <a:gd name="connsiteY31" fmla="*/ 274394 h 364712"/>
                  <a:gd name="connsiteX32" fmla="*/ 251730 w 316401"/>
                  <a:gd name="connsiteY32" fmla="*/ 310303 h 364712"/>
                  <a:gd name="connsiteX33" fmla="*/ 258208 w 316401"/>
                  <a:gd name="connsiteY33" fmla="*/ 334306 h 364712"/>
                  <a:gd name="connsiteX34" fmla="*/ 265351 w 316401"/>
                  <a:gd name="connsiteY34" fmla="*/ 329544 h 364712"/>
                  <a:gd name="connsiteX35" fmla="*/ 265351 w 316401"/>
                  <a:gd name="connsiteY35" fmla="*/ 221149 h 364712"/>
                  <a:gd name="connsiteX36" fmla="*/ 314119 w 316401"/>
                  <a:gd name="connsiteY36" fmla="*/ 154474 h 364712"/>
                  <a:gd name="connsiteX37" fmla="*/ 307071 w 316401"/>
                  <a:gd name="connsiteY37" fmla="*/ 141901 h 364712"/>
                  <a:gd name="connsiteX38" fmla="*/ 275352 w 316401"/>
                  <a:gd name="connsiteY38" fmla="*/ 141901 h 364712"/>
                  <a:gd name="connsiteX39" fmla="*/ 251730 w 316401"/>
                  <a:gd name="connsiteY39" fmla="*/ 165809 h 364712"/>
                  <a:gd name="connsiteX40" fmla="*/ 251730 w 316401"/>
                  <a:gd name="connsiteY40" fmla="*/ 201146 h 364712"/>
                  <a:gd name="connsiteX41" fmla="*/ 258208 w 316401"/>
                  <a:gd name="connsiteY41" fmla="*/ 225150 h 364712"/>
                  <a:gd name="connsiteX42" fmla="*/ 265351 w 316401"/>
                  <a:gd name="connsiteY42" fmla="*/ 221149 h 364712"/>
                  <a:gd name="connsiteX43" fmla="*/ 258398 w 316401"/>
                  <a:gd name="connsiteY43" fmla="*/ 116946 h 364712"/>
                  <a:gd name="connsiteX44" fmla="*/ 258398 w 316401"/>
                  <a:gd name="connsiteY44" fmla="*/ 116946 h 364712"/>
                  <a:gd name="connsiteX45" fmla="*/ 251921 w 316401"/>
                  <a:gd name="connsiteY45" fmla="*/ 92942 h 364712"/>
                  <a:gd name="connsiteX46" fmla="*/ 251921 w 316401"/>
                  <a:gd name="connsiteY46" fmla="*/ 57605 h 364712"/>
                  <a:gd name="connsiteX47" fmla="*/ 275543 w 316401"/>
                  <a:gd name="connsiteY47" fmla="*/ 33697 h 364712"/>
                  <a:gd name="connsiteX48" fmla="*/ 307261 w 316401"/>
                  <a:gd name="connsiteY48" fmla="*/ 33697 h 364712"/>
                  <a:gd name="connsiteX49" fmla="*/ 314310 w 316401"/>
                  <a:gd name="connsiteY49" fmla="*/ 46270 h 364712"/>
                  <a:gd name="connsiteX50" fmla="*/ 265542 w 316401"/>
                  <a:gd name="connsiteY50" fmla="*/ 112945 h 364712"/>
                  <a:gd name="connsiteX51" fmla="*/ 258398 w 316401"/>
                  <a:gd name="connsiteY51" fmla="*/ 116946 h 364712"/>
                  <a:gd name="connsiteX52" fmla="*/ 132573 w 316401"/>
                  <a:gd name="connsiteY52" fmla="*/ 75036 h 364712"/>
                  <a:gd name="connsiteX53" fmla="*/ 159624 w 316401"/>
                  <a:gd name="connsiteY53" fmla="*/ 48080 h 364712"/>
                  <a:gd name="connsiteX54" fmla="*/ 186104 w 316401"/>
                  <a:gd name="connsiteY54" fmla="*/ 74938 h 364712"/>
                  <a:gd name="connsiteX55" fmla="*/ 186103 w 316401"/>
                  <a:gd name="connsiteY55" fmla="*/ 75036 h 364712"/>
                  <a:gd name="connsiteX56" fmla="*/ 159624 w 316401"/>
                  <a:gd name="connsiteY56" fmla="*/ 102563 h 364712"/>
                  <a:gd name="connsiteX57" fmla="*/ 132382 w 316401"/>
                  <a:gd name="connsiteY57" fmla="*/ 75036 h 364712"/>
                  <a:gd name="connsiteX58" fmla="*/ 132573 w 316401"/>
                  <a:gd name="connsiteY58" fmla="*/ 182763 h 364712"/>
                  <a:gd name="connsiteX59" fmla="*/ 159526 w 316401"/>
                  <a:gd name="connsiteY59" fmla="*/ 155237 h 364712"/>
                  <a:gd name="connsiteX60" fmla="*/ 159624 w 316401"/>
                  <a:gd name="connsiteY60" fmla="*/ 155236 h 364712"/>
                  <a:gd name="connsiteX61" fmla="*/ 186865 w 316401"/>
                  <a:gd name="connsiteY61" fmla="*/ 182478 h 364712"/>
                  <a:gd name="connsiteX62" fmla="*/ 159624 w 316401"/>
                  <a:gd name="connsiteY62" fmla="*/ 209719 h 364712"/>
                  <a:gd name="connsiteX63" fmla="*/ 132383 w 316401"/>
                  <a:gd name="connsiteY63" fmla="*/ 182859 h 364712"/>
                  <a:gd name="connsiteX64" fmla="*/ 132382 w 316401"/>
                  <a:gd name="connsiteY64" fmla="*/ 182763 h 364712"/>
                  <a:gd name="connsiteX65" fmla="*/ 159624 w 316401"/>
                  <a:gd name="connsiteY65" fmla="*/ 113898 h 364712"/>
                  <a:gd name="connsiteX66" fmla="*/ 119819 w 316401"/>
                  <a:gd name="connsiteY66" fmla="*/ 75807 h 364712"/>
                  <a:gd name="connsiteX67" fmla="*/ 157910 w 316401"/>
                  <a:gd name="connsiteY67" fmla="*/ 36002 h 364712"/>
                  <a:gd name="connsiteX68" fmla="*/ 197714 w 316401"/>
                  <a:gd name="connsiteY68" fmla="*/ 74093 h 364712"/>
                  <a:gd name="connsiteX69" fmla="*/ 197724 w 316401"/>
                  <a:gd name="connsiteY69" fmla="*/ 75036 h 364712"/>
                  <a:gd name="connsiteX70" fmla="*/ 160394 w 316401"/>
                  <a:gd name="connsiteY70" fmla="*/ 113890 h 364712"/>
                  <a:gd name="connsiteX71" fmla="*/ 159433 w 316401"/>
                  <a:gd name="connsiteY71" fmla="*/ 113898 h 364712"/>
                  <a:gd name="connsiteX72" fmla="*/ 159624 w 316401"/>
                  <a:gd name="connsiteY72" fmla="*/ 221721 h 364712"/>
                  <a:gd name="connsiteX73" fmla="*/ 119255 w 316401"/>
                  <a:gd name="connsiteY73" fmla="*/ 183636 h 364712"/>
                  <a:gd name="connsiteX74" fmla="*/ 157340 w 316401"/>
                  <a:gd name="connsiteY74" fmla="*/ 143268 h 364712"/>
                  <a:gd name="connsiteX75" fmla="*/ 197708 w 316401"/>
                  <a:gd name="connsiteY75" fmla="*/ 181352 h 364712"/>
                  <a:gd name="connsiteX76" fmla="*/ 197724 w 316401"/>
                  <a:gd name="connsiteY76" fmla="*/ 182763 h 364712"/>
                  <a:gd name="connsiteX77" fmla="*/ 159433 w 316401"/>
                  <a:gd name="connsiteY77" fmla="*/ 221721 h 364712"/>
                  <a:gd name="connsiteX78" fmla="*/ 159624 w 316401"/>
                  <a:gd name="connsiteY78" fmla="*/ 324114 h 364712"/>
                  <a:gd name="connsiteX79" fmla="*/ 124769 w 316401"/>
                  <a:gd name="connsiteY79" fmla="*/ 290593 h 364712"/>
                  <a:gd name="connsiteX80" fmla="*/ 158290 w 316401"/>
                  <a:gd name="connsiteY80" fmla="*/ 255738 h 364712"/>
                  <a:gd name="connsiteX81" fmla="*/ 193145 w 316401"/>
                  <a:gd name="connsiteY81" fmla="*/ 289259 h 364712"/>
                  <a:gd name="connsiteX82" fmla="*/ 193152 w 316401"/>
                  <a:gd name="connsiteY82" fmla="*/ 290015 h 364712"/>
                  <a:gd name="connsiteX83" fmla="*/ 159433 w 316401"/>
                  <a:gd name="connsiteY83" fmla="*/ 324114 h 364712"/>
                  <a:gd name="connsiteX84" fmla="*/ 100759 w 316401"/>
                  <a:gd name="connsiteY84" fmla="*/ 264 h 364712"/>
                  <a:gd name="connsiteX85" fmla="*/ 77423 w 316401"/>
                  <a:gd name="connsiteY85" fmla="*/ 23791 h 364712"/>
                  <a:gd name="connsiteX86" fmla="*/ 77423 w 316401"/>
                  <a:gd name="connsiteY86" fmla="*/ 340592 h 364712"/>
                  <a:gd name="connsiteX87" fmla="*/ 100950 w 316401"/>
                  <a:gd name="connsiteY87" fmla="*/ 364596 h 364712"/>
                  <a:gd name="connsiteX88" fmla="*/ 218583 w 316401"/>
                  <a:gd name="connsiteY88" fmla="*/ 364596 h 364712"/>
                  <a:gd name="connsiteX89" fmla="*/ 242206 w 316401"/>
                  <a:gd name="connsiteY89" fmla="*/ 340592 h 364712"/>
                  <a:gd name="connsiteX90" fmla="*/ 242205 w 316401"/>
                  <a:gd name="connsiteY90" fmla="*/ 23791 h 364712"/>
                  <a:gd name="connsiteX91" fmla="*/ 218583 w 316401"/>
                  <a:gd name="connsiteY91" fmla="*/ -117 h 36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316401" h="364712">
                    <a:moveTo>
                      <a:pt x="57039" y="334306"/>
                    </a:moveTo>
                    <a:lnTo>
                      <a:pt x="57039" y="334306"/>
                    </a:lnTo>
                    <a:cubicBezTo>
                      <a:pt x="60564" y="334306"/>
                      <a:pt x="63516" y="323543"/>
                      <a:pt x="63516" y="310303"/>
                    </a:cubicBezTo>
                    <a:lnTo>
                      <a:pt x="63516" y="274394"/>
                    </a:lnTo>
                    <a:cubicBezTo>
                      <a:pt x="63570" y="261316"/>
                      <a:pt x="53067" y="250643"/>
                      <a:pt x="39990" y="250486"/>
                    </a:cubicBezTo>
                    <a:lnTo>
                      <a:pt x="8843" y="250486"/>
                    </a:lnTo>
                    <a:cubicBezTo>
                      <a:pt x="2366" y="250486"/>
                      <a:pt x="-2968" y="258868"/>
                      <a:pt x="1223" y="263630"/>
                    </a:cubicBezTo>
                    <a:cubicBezTo>
                      <a:pt x="20273" y="284014"/>
                      <a:pt x="40561" y="298968"/>
                      <a:pt x="49991" y="329544"/>
                    </a:cubicBezTo>
                    <a:cubicBezTo>
                      <a:pt x="51010" y="332530"/>
                      <a:pt x="53889" y="334475"/>
                      <a:pt x="57039" y="334306"/>
                    </a:cubicBezTo>
                    <a:close/>
                    <a:moveTo>
                      <a:pt x="57039" y="225340"/>
                    </a:moveTo>
                    <a:lnTo>
                      <a:pt x="57039" y="225340"/>
                    </a:lnTo>
                    <a:cubicBezTo>
                      <a:pt x="60564" y="225340"/>
                      <a:pt x="63516" y="214577"/>
                      <a:pt x="63516" y="201337"/>
                    </a:cubicBezTo>
                    <a:lnTo>
                      <a:pt x="63516" y="165999"/>
                    </a:lnTo>
                    <a:cubicBezTo>
                      <a:pt x="63570" y="152922"/>
                      <a:pt x="53067" y="142248"/>
                      <a:pt x="39990" y="142092"/>
                    </a:cubicBezTo>
                    <a:lnTo>
                      <a:pt x="8843" y="142092"/>
                    </a:lnTo>
                    <a:cubicBezTo>
                      <a:pt x="2366" y="142092"/>
                      <a:pt x="-2968" y="149902"/>
                      <a:pt x="1223" y="154665"/>
                    </a:cubicBezTo>
                    <a:cubicBezTo>
                      <a:pt x="20273" y="175048"/>
                      <a:pt x="40561" y="190002"/>
                      <a:pt x="49991" y="221340"/>
                    </a:cubicBezTo>
                    <a:cubicBezTo>
                      <a:pt x="50562" y="223816"/>
                      <a:pt x="54087" y="225340"/>
                      <a:pt x="57039" y="225340"/>
                    </a:cubicBezTo>
                    <a:close/>
                    <a:moveTo>
                      <a:pt x="57039" y="116946"/>
                    </a:moveTo>
                    <a:lnTo>
                      <a:pt x="57039" y="116946"/>
                    </a:lnTo>
                    <a:cubicBezTo>
                      <a:pt x="60564" y="116946"/>
                      <a:pt x="63516" y="106182"/>
                      <a:pt x="63516" y="92942"/>
                    </a:cubicBezTo>
                    <a:lnTo>
                      <a:pt x="63516" y="57605"/>
                    </a:lnTo>
                    <a:cubicBezTo>
                      <a:pt x="63570" y="44527"/>
                      <a:pt x="53067" y="33854"/>
                      <a:pt x="39990" y="33697"/>
                    </a:cubicBezTo>
                    <a:lnTo>
                      <a:pt x="8843" y="33697"/>
                    </a:lnTo>
                    <a:cubicBezTo>
                      <a:pt x="2366" y="33697"/>
                      <a:pt x="-2968" y="41508"/>
                      <a:pt x="1223" y="46270"/>
                    </a:cubicBezTo>
                    <a:cubicBezTo>
                      <a:pt x="20273" y="66654"/>
                      <a:pt x="40561" y="81608"/>
                      <a:pt x="49991" y="112945"/>
                    </a:cubicBezTo>
                    <a:cubicBezTo>
                      <a:pt x="50562" y="115707"/>
                      <a:pt x="54087" y="116946"/>
                      <a:pt x="57039" y="116946"/>
                    </a:cubicBezTo>
                    <a:close/>
                    <a:moveTo>
                      <a:pt x="265351" y="329544"/>
                    </a:moveTo>
                    <a:cubicBezTo>
                      <a:pt x="274876" y="298968"/>
                      <a:pt x="295926" y="284014"/>
                      <a:pt x="314119" y="263630"/>
                    </a:cubicBezTo>
                    <a:cubicBezTo>
                      <a:pt x="318882" y="258868"/>
                      <a:pt x="313548" y="250486"/>
                      <a:pt x="307071" y="250486"/>
                    </a:cubicBezTo>
                    <a:lnTo>
                      <a:pt x="275352" y="250486"/>
                    </a:lnTo>
                    <a:cubicBezTo>
                      <a:pt x="262260" y="250643"/>
                      <a:pt x="251729" y="261301"/>
                      <a:pt x="251730" y="274394"/>
                    </a:cubicBezTo>
                    <a:lnTo>
                      <a:pt x="251730" y="310303"/>
                    </a:lnTo>
                    <a:cubicBezTo>
                      <a:pt x="251730" y="323543"/>
                      <a:pt x="254683" y="334306"/>
                      <a:pt x="258208" y="334306"/>
                    </a:cubicBezTo>
                    <a:cubicBezTo>
                      <a:pt x="261366" y="334424"/>
                      <a:pt x="264245" y="332505"/>
                      <a:pt x="265351" y="329544"/>
                    </a:cubicBezTo>
                    <a:close/>
                    <a:moveTo>
                      <a:pt x="265351" y="221149"/>
                    </a:moveTo>
                    <a:cubicBezTo>
                      <a:pt x="274876" y="190002"/>
                      <a:pt x="295926" y="175048"/>
                      <a:pt x="314119" y="154474"/>
                    </a:cubicBezTo>
                    <a:cubicBezTo>
                      <a:pt x="318882" y="149712"/>
                      <a:pt x="313548" y="141901"/>
                      <a:pt x="307071" y="141901"/>
                    </a:cubicBezTo>
                    <a:lnTo>
                      <a:pt x="275352" y="141901"/>
                    </a:lnTo>
                    <a:cubicBezTo>
                      <a:pt x="262260" y="142058"/>
                      <a:pt x="251729" y="152716"/>
                      <a:pt x="251730" y="165809"/>
                    </a:cubicBezTo>
                    <a:lnTo>
                      <a:pt x="251730" y="201146"/>
                    </a:lnTo>
                    <a:cubicBezTo>
                      <a:pt x="251730" y="214386"/>
                      <a:pt x="254683" y="225150"/>
                      <a:pt x="258208" y="225150"/>
                    </a:cubicBezTo>
                    <a:cubicBezTo>
                      <a:pt x="261732" y="225150"/>
                      <a:pt x="264684" y="223816"/>
                      <a:pt x="265351" y="221149"/>
                    </a:cubicBezTo>
                    <a:close/>
                    <a:moveTo>
                      <a:pt x="258398" y="116946"/>
                    </a:moveTo>
                    <a:lnTo>
                      <a:pt x="258398" y="116946"/>
                    </a:lnTo>
                    <a:cubicBezTo>
                      <a:pt x="254874" y="116946"/>
                      <a:pt x="251921" y="106182"/>
                      <a:pt x="251921" y="92942"/>
                    </a:cubicBezTo>
                    <a:lnTo>
                      <a:pt x="251921" y="57605"/>
                    </a:lnTo>
                    <a:cubicBezTo>
                      <a:pt x="251920" y="44512"/>
                      <a:pt x="262451" y="33853"/>
                      <a:pt x="275543" y="33697"/>
                    </a:cubicBezTo>
                    <a:lnTo>
                      <a:pt x="307261" y="33697"/>
                    </a:lnTo>
                    <a:cubicBezTo>
                      <a:pt x="313738" y="33697"/>
                      <a:pt x="319072" y="41508"/>
                      <a:pt x="314310" y="46270"/>
                    </a:cubicBezTo>
                    <a:cubicBezTo>
                      <a:pt x="296117" y="66654"/>
                      <a:pt x="274876" y="81608"/>
                      <a:pt x="265542" y="112945"/>
                    </a:cubicBezTo>
                    <a:cubicBezTo>
                      <a:pt x="264684" y="115707"/>
                      <a:pt x="261160" y="116946"/>
                      <a:pt x="258398" y="116946"/>
                    </a:cubicBezTo>
                    <a:close/>
                    <a:moveTo>
                      <a:pt x="132573" y="75036"/>
                    </a:moveTo>
                    <a:cubicBezTo>
                      <a:pt x="132625" y="60133"/>
                      <a:pt x="144721" y="48080"/>
                      <a:pt x="159624" y="48080"/>
                    </a:cubicBezTo>
                    <a:cubicBezTo>
                      <a:pt x="174353" y="48184"/>
                      <a:pt x="186208" y="60209"/>
                      <a:pt x="186104" y="74938"/>
                    </a:cubicBezTo>
                    <a:cubicBezTo>
                      <a:pt x="186104" y="74971"/>
                      <a:pt x="186103" y="75003"/>
                      <a:pt x="186103" y="75036"/>
                    </a:cubicBezTo>
                    <a:cubicBezTo>
                      <a:pt x="186317" y="89919"/>
                      <a:pt x="174504" y="102199"/>
                      <a:pt x="159624" y="102563"/>
                    </a:cubicBezTo>
                    <a:cubicBezTo>
                      <a:pt x="144532" y="102406"/>
                      <a:pt x="132381" y="90128"/>
                      <a:pt x="132382" y="75036"/>
                    </a:cubicBezTo>
                    <a:close/>
                    <a:moveTo>
                      <a:pt x="132573" y="182763"/>
                    </a:moveTo>
                    <a:cubicBezTo>
                      <a:pt x="132415" y="167719"/>
                      <a:pt x="144482" y="155395"/>
                      <a:pt x="159526" y="155237"/>
                    </a:cubicBezTo>
                    <a:cubicBezTo>
                      <a:pt x="159559" y="155237"/>
                      <a:pt x="159591" y="155236"/>
                      <a:pt x="159624" y="155236"/>
                    </a:cubicBezTo>
                    <a:cubicBezTo>
                      <a:pt x="174669" y="155236"/>
                      <a:pt x="186865" y="167433"/>
                      <a:pt x="186865" y="182478"/>
                    </a:cubicBezTo>
                    <a:cubicBezTo>
                      <a:pt x="186865" y="197523"/>
                      <a:pt x="174669" y="209719"/>
                      <a:pt x="159624" y="209719"/>
                    </a:cubicBezTo>
                    <a:cubicBezTo>
                      <a:pt x="144684" y="209824"/>
                      <a:pt x="132488" y="197799"/>
                      <a:pt x="132383" y="182859"/>
                    </a:cubicBezTo>
                    <a:cubicBezTo>
                      <a:pt x="132382" y="182827"/>
                      <a:pt x="132382" y="182795"/>
                      <a:pt x="132382" y="182763"/>
                    </a:cubicBezTo>
                    <a:close/>
                    <a:moveTo>
                      <a:pt x="159624" y="113898"/>
                    </a:moveTo>
                    <a:cubicBezTo>
                      <a:pt x="138113" y="114371"/>
                      <a:pt x="120292" y="97317"/>
                      <a:pt x="119819" y="75807"/>
                    </a:cubicBezTo>
                    <a:cubicBezTo>
                      <a:pt x="119345" y="54297"/>
                      <a:pt x="136399" y="36475"/>
                      <a:pt x="157910" y="36002"/>
                    </a:cubicBezTo>
                    <a:cubicBezTo>
                      <a:pt x="179420" y="35529"/>
                      <a:pt x="197241" y="52582"/>
                      <a:pt x="197714" y="74093"/>
                    </a:cubicBezTo>
                    <a:cubicBezTo>
                      <a:pt x="197721" y="74407"/>
                      <a:pt x="197725" y="74721"/>
                      <a:pt x="197724" y="75036"/>
                    </a:cubicBezTo>
                    <a:cubicBezTo>
                      <a:pt x="198145" y="96073"/>
                      <a:pt x="181432" y="113469"/>
                      <a:pt x="160394" y="113890"/>
                    </a:cubicBezTo>
                    <a:cubicBezTo>
                      <a:pt x="160074" y="113897"/>
                      <a:pt x="159753" y="113899"/>
                      <a:pt x="159433" y="113898"/>
                    </a:cubicBezTo>
                    <a:close/>
                    <a:moveTo>
                      <a:pt x="159624" y="221721"/>
                    </a:moveTo>
                    <a:cubicBezTo>
                      <a:pt x="137960" y="222351"/>
                      <a:pt x="119886" y="205300"/>
                      <a:pt x="119255" y="183636"/>
                    </a:cubicBezTo>
                    <a:cubicBezTo>
                      <a:pt x="118624" y="161972"/>
                      <a:pt x="135675" y="143899"/>
                      <a:pt x="157340" y="143268"/>
                    </a:cubicBezTo>
                    <a:cubicBezTo>
                      <a:pt x="179004" y="142637"/>
                      <a:pt x="197077" y="159688"/>
                      <a:pt x="197708" y="181352"/>
                    </a:cubicBezTo>
                    <a:cubicBezTo>
                      <a:pt x="197722" y="181822"/>
                      <a:pt x="197727" y="182293"/>
                      <a:pt x="197724" y="182763"/>
                    </a:cubicBezTo>
                    <a:cubicBezTo>
                      <a:pt x="197727" y="204021"/>
                      <a:pt x="180688" y="221357"/>
                      <a:pt x="159433" y="221721"/>
                    </a:cubicBezTo>
                    <a:close/>
                    <a:moveTo>
                      <a:pt x="159624" y="324114"/>
                    </a:moveTo>
                    <a:cubicBezTo>
                      <a:pt x="140742" y="324482"/>
                      <a:pt x="125137" y="309474"/>
                      <a:pt x="124769" y="290593"/>
                    </a:cubicBezTo>
                    <a:cubicBezTo>
                      <a:pt x="124401" y="271711"/>
                      <a:pt x="139409" y="256106"/>
                      <a:pt x="158290" y="255738"/>
                    </a:cubicBezTo>
                    <a:cubicBezTo>
                      <a:pt x="177172" y="255370"/>
                      <a:pt x="192777" y="270378"/>
                      <a:pt x="193145" y="289259"/>
                    </a:cubicBezTo>
                    <a:cubicBezTo>
                      <a:pt x="193150" y="289511"/>
                      <a:pt x="193152" y="289763"/>
                      <a:pt x="193152" y="290015"/>
                    </a:cubicBezTo>
                    <a:cubicBezTo>
                      <a:pt x="193101" y="308678"/>
                      <a:pt x="178095" y="323854"/>
                      <a:pt x="159433" y="324114"/>
                    </a:cubicBezTo>
                    <a:close/>
                    <a:moveTo>
                      <a:pt x="100759" y="264"/>
                    </a:moveTo>
                    <a:cubicBezTo>
                      <a:pt x="87905" y="520"/>
                      <a:pt x="77575" y="10935"/>
                      <a:pt x="77423" y="23791"/>
                    </a:cubicBezTo>
                    <a:lnTo>
                      <a:pt x="77423" y="340592"/>
                    </a:lnTo>
                    <a:cubicBezTo>
                      <a:pt x="77369" y="353686"/>
                      <a:pt x="87858" y="364387"/>
                      <a:pt x="100950" y="364596"/>
                    </a:cubicBezTo>
                    <a:lnTo>
                      <a:pt x="218583" y="364596"/>
                    </a:lnTo>
                    <a:cubicBezTo>
                      <a:pt x="231713" y="364439"/>
                      <a:pt x="242259" y="353723"/>
                      <a:pt x="242206" y="340592"/>
                    </a:cubicBezTo>
                    <a:lnTo>
                      <a:pt x="242205" y="23791"/>
                    </a:lnTo>
                    <a:cubicBezTo>
                      <a:pt x="242206" y="10698"/>
                      <a:pt x="231675" y="40"/>
                      <a:pt x="218583" y="-117"/>
                    </a:cubicBezTo>
                    <a:close/>
                  </a:path>
                </a:pathLst>
              </a:custGeom>
              <a:solidFill>
                <a:schemeClr val="bg1"/>
              </a:solidFill>
              <a:ln w="9525" cap="flat">
                <a:noFill/>
                <a:prstDash val="solid"/>
                <a:miter/>
              </a:ln>
            </p:spPr>
            <p:txBody>
              <a:bodyPr rtlCol="0" anchor="ctr"/>
              <a:lstStyle/>
              <a:p>
                <a:endParaRPr lang="en-US"/>
              </a:p>
            </p:txBody>
          </p:sp>
          <p:grpSp>
            <p:nvGrpSpPr>
              <p:cNvPr id="82" name="Group 81">
                <a:extLst>
                  <a:ext uri="{FF2B5EF4-FFF2-40B4-BE49-F238E27FC236}">
                    <a16:creationId xmlns:a16="http://schemas.microsoft.com/office/drawing/2014/main" id="{86530E30-8963-4CB1-99D2-A16C2E201AE4}"/>
                  </a:ext>
                </a:extLst>
              </p:cNvPr>
              <p:cNvGrpSpPr/>
              <p:nvPr/>
            </p:nvGrpSpPr>
            <p:grpSpPr>
              <a:xfrm>
                <a:off x="4838646" y="242614"/>
                <a:ext cx="85725" cy="310991"/>
                <a:chOff x="4838646" y="242614"/>
                <a:chExt cx="85725" cy="310991"/>
              </a:xfrm>
            </p:grpSpPr>
            <p:sp>
              <p:nvSpPr>
                <p:cNvPr id="77" name="Freeform: Shape 76">
                  <a:extLst>
                    <a:ext uri="{FF2B5EF4-FFF2-40B4-BE49-F238E27FC236}">
                      <a16:creationId xmlns:a16="http://schemas.microsoft.com/office/drawing/2014/main" id="{A42CFB9F-25FB-4DA8-B3B4-E8820C04D571}"/>
                    </a:ext>
                  </a:extLst>
                </p:cNvPr>
                <p:cNvSpPr/>
                <p:nvPr/>
              </p:nvSpPr>
              <p:spPr>
                <a:xfrm>
                  <a:off x="4838646" y="242614"/>
                  <a:ext cx="85725" cy="85725"/>
                </a:xfrm>
                <a:custGeom>
                  <a:avLst/>
                  <a:gdLst>
                    <a:gd name="connsiteX0" fmla="*/ 85725 w 85725"/>
                    <a:gd name="connsiteY0" fmla="*/ 42862 h 85725"/>
                    <a:gd name="connsiteX1" fmla="*/ 42863 w 85725"/>
                    <a:gd name="connsiteY1" fmla="*/ 85725 h 85725"/>
                    <a:gd name="connsiteX2" fmla="*/ 0 w 85725"/>
                    <a:gd name="connsiteY2" fmla="*/ 42862 h 85725"/>
                    <a:gd name="connsiteX3" fmla="*/ 42863 w 85725"/>
                    <a:gd name="connsiteY3" fmla="*/ 0 h 85725"/>
                    <a:gd name="connsiteX4" fmla="*/ 85725 w 85725"/>
                    <a:gd name="connsiteY4" fmla="*/ 42862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5725" y="42862"/>
                      </a:moveTo>
                      <a:cubicBezTo>
                        <a:pt x="85725" y="66535"/>
                        <a:pt x="66535" y="85725"/>
                        <a:pt x="42863" y="85725"/>
                      </a:cubicBezTo>
                      <a:cubicBezTo>
                        <a:pt x="19190" y="85725"/>
                        <a:pt x="0" y="66535"/>
                        <a:pt x="0" y="42862"/>
                      </a:cubicBezTo>
                      <a:cubicBezTo>
                        <a:pt x="0" y="19190"/>
                        <a:pt x="19190" y="0"/>
                        <a:pt x="42863" y="0"/>
                      </a:cubicBezTo>
                      <a:cubicBezTo>
                        <a:pt x="66535" y="0"/>
                        <a:pt x="85725" y="19190"/>
                        <a:pt x="85725" y="42862"/>
                      </a:cubicBezTo>
                      <a:close/>
                    </a:path>
                  </a:pathLst>
                </a:custGeom>
                <a:solidFill>
                  <a:schemeClr val="accent2"/>
                </a:solidFill>
                <a:ln w="95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625D4883-9ECF-46AD-9FC9-D8414C858B1E}"/>
                    </a:ext>
                  </a:extLst>
                </p:cNvPr>
                <p:cNvSpPr/>
                <p:nvPr/>
              </p:nvSpPr>
              <p:spPr>
                <a:xfrm>
                  <a:off x="4838646" y="349866"/>
                  <a:ext cx="85725" cy="85724"/>
                </a:xfrm>
                <a:custGeom>
                  <a:avLst/>
                  <a:gdLst>
                    <a:gd name="connsiteX0" fmla="*/ 85725 w 85725"/>
                    <a:gd name="connsiteY0" fmla="*/ 42863 h 85724"/>
                    <a:gd name="connsiteX1" fmla="*/ 42863 w 85725"/>
                    <a:gd name="connsiteY1" fmla="*/ 85725 h 85724"/>
                    <a:gd name="connsiteX2" fmla="*/ 0 w 85725"/>
                    <a:gd name="connsiteY2" fmla="*/ 42863 h 85724"/>
                    <a:gd name="connsiteX3" fmla="*/ 42863 w 85725"/>
                    <a:gd name="connsiteY3" fmla="*/ 0 h 85724"/>
                    <a:gd name="connsiteX4" fmla="*/ 85725 w 85725"/>
                    <a:gd name="connsiteY4" fmla="*/ 42863 h 85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4">
                      <a:moveTo>
                        <a:pt x="85725" y="42863"/>
                      </a:moveTo>
                      <a:cubicBezTo>
                        <a:pt x="85725" y="66535"/>
                        <a:pt x="66535" y="85725"/>
                        <a:pt x="42863" y="85725"/>
                      </a:cubicBezTo>
                      <a:cubicBezTo>
                        <a:pt x="19190" y="85725"/>
                        <a:pt x="0" y="66535"/>
                        <a:pt x="0" y="42863"/>
                      </a:cubicBezTo>
                      <a:cubicBezTo>
                        <a:pt x="0" y="19190"/>
                        <a:pt x="19190" y="0"/>
                        <a:pt x="42863" y="0"/>
                      </a:cubicBezTo>
                      <a:cubicBezTo>
                        <a:pt x="66535" y="0"/>
                        <a:pt x="85725" y="19190"/>
                        <a:pt x="85725" y="42863"/>
                      </a:cubicBezTo>
                      <a:close/>
                    </a:path>
                  </a:pathLst>
                </a:custGeom>
                <a:solidFill>
                  <a:schemeClr val="accent2"/>
                </a:solidFill>
                <a:ln w="9525"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613AE289-A0CF-4172-9B68-27648E1E2CBC}"/>
                    </a:ext>
                  </a:extLst>
                </p:cNvPr>
                <p:cNvSpPr/>
                <p:nvPr/>
              </p:nvSpPr>
              <p:spPr>
                <a:xfrm>
                  <a:off x="4838646" y="457022"/>
                  <a:ext cx="85725" cy="96583"/>
                </a:xfrm>
                <a:custGeom>
                  <a:avLst/>
                  <a:gdLst>
                    <a:gd name="connsiteX0" fmla="*/ 85725 w 85725"/>
                    <a:gd name="connsiteY0" fmla="*/ 48292 h 96583"/>
                    <a:gd name="connsiteX1" fmla="*/ 42863 w 85725"/>
                    <a:gd name="connsiteY1" fmla="*/ 96583 h 96583"/>
                    <a:gd name="connsiteX2" fmla="*/ 0 w 85725"/>
                    <a:gd name="connsiteY2" fmla="*/ 48292 h 96583"/>
                    <a:gd name="connsiteX3" fmla="*/ 42863 w 85725"/>
                    <a:gd name="connsiteY3" fmla="*/ 0 h 96583"/>
                    <a:gd name="connsiteX4" fmla="*/ 85725 w 85725"/>
                    <a:gd name="connsiteY4" fmla="*/ 48292 h 96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96583">
                      <a:moveTo>
                        <a:pt x="85725" y="48292"/>
                      </a:moveTo>
                      <a:cubicBezTo>
                        <a:pt x="85725" y="74963"/>
                        <a:pt x="66535" y="96583"/>
                        <a:pt x="42863" y="96583"/>
                      </a:cubicBezTo>
                      <a:cubicBezTo>
                        <a:pt x="19190" y="96583"/>
                        <a:pt x="0" y="74963"/>
                        <a:pt x="0" y="48292"/>
                      </a:cubicBezTo>
                      <a:cubicBezTo>
                        <a:pt x="0" y="21621"/>
                        <a:pt x="19190" y="0"/>
                        <a:pt x="42863" y="0"/>
                      </a:cubicBezTo>
                      <a:cubicBezTo>
                        <a:pt x="66535" y="0"/>
                        <a:pt x="85725" y="21621"/>
                        <a:pt x="85725" y="48292"/>
                      </a:cubicBezTo>
                      <a:close/>
                    </a:path>
                  </a:pathLst>
                </a:custGeom>
                <a:solidFill>
                  <a:schemeClr val="accent2"/>
                </a:solidFill>
                <a:ln w="9525" cap="flat">
                  <a:noFill/>
                  <a:prstDash val="solid"/>
                  <a:miter/>
                </a:ln>
              </p:spPr>
              <p:txBody>
                <a:bodyPr rtlCol="0" anchor="ctr"/>
                <a:lstStyle/>
                <a:p>
                  <a:endParaRPr lang="en-US"/>
                </a:p>
              </p:txBody>
            </p:sp>
          </p:grpSp>
        </p:grpSp>
      </p:grpSp>
      <p:grpSp>
        <p:nvGrpSpPr>
          <p:cNvPr id="7" name="Group 6">
            <a:extLst>
              <a:ext uri="{FF2B5EF4-FFF2-40B4-BE49-F238E27FC236}">
                <a16:creationId xmlns:a16="http://schemas.microsoft.com/office/drawing/2014/main" id="{9390E015-9459-D24D-AAB5-D7E14098C43E}"/>
              </a:ext>
              <a:ext uri="{C183D7F6-B498-43B3-948B-1728B52AA6E4}">
                <adec:decorative xmlns:adec="http://schemas.microsoft.com/office/drawing/2017/decorative" val="1"/>
              </a:ext>
            </a:extLst>
          </p:cNvPr>
          <p:cNvGrpSpPr/>
          <p:nvPr/>
        </p:nvGrpSpPr>
        <p:grpSpPr>
          <a:xfrm>
            <a:off x="10816595" y="3954163"/>
            <a:ext cx="680005" cy="633600"/>
            <a:chOff x="10813056" y="3954163"/>
            <a:chExt cx="680005" cy="633600"/>
          </a:xfrm>
        </p:grpSpPr>
        <p:sp>
          <p:nvSpPr>
            <p:cNvPr id="902" name="Freeform 215">
              <a:extLst>
                <a:ext uri="{FF2B5EF4-FFF2-40B4-BE49-F238E27FC236}">
                  <a16:creationId xmlns:a16="http://schemas.microsoft.com/office/drawing/2014/main" id="{93EA3B4B-9F83-4B04-B634-59358867D366}"/>
                </a:ext>
                <a:ext uri="{C183D7F6-B498-43B3-948B-1728B52AA6E4}">
                  <adec:decorative xmlns:adec="http://schemas.microsoft.com/office/drawing/2017/decorative" val="1"/>
                </a:ext>
              </a:extLst>
            </p:cNvPr>
            <p:cNvSpPr>
              <a:spLocks/>
            </p:cNvSpPr>
            <p:nvPr/>
          </p:nvSpPr>
          <p:spPr bwMode="auto">
            <a:xfrm>
              <a:off x="10813056" y="3954163"/>
              <a:ext cx="680005" cy="633600"/>
            </a:xfrm>
            <a:custGeom>
              <a:avLst/>
              <a:gdLst>
                <a:gd name="T0" fmla="*/ 51 w 440"/>
                <a:gd name="T1" fmla="*/ 299 h 411"/>
                <a:gd name="T2" fmla="*/ 128 w 440"/>
                <a:gd name="T3" fmla="*/ 49 h 411"/>
                <a:gd name="T4" fmla="*/ 389 w 440"/>
                <a:gd name="T5" fmla="*/ 123 h 411"/>
                <a:gd name="T6" fmla="*/ 307 w 440"/>
                <a:gd name="T7" fmla="*/ 363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8" y="49"/>
                  </a:cubicBezTo>
                  <a:cubicBezTo>
                    <a:pt x="221" y="0"/>
                    <a:pt x="338" y="34"/>
                    <a:pt x="389" y="123"/>
                  </a:cubicBezTo>
                  <a:cubicBezTo>
                    <a:pt x="440" y="213"/>
                    <a:pt x="400" y="314"/>
                    <a:pt x="307" y="363"/>
                  </a:cubicBezTo>
                  <a:cubicBezTo>
                    <a:pt x="214" y="411"/>
                    <a:pt x="102" y="389"/>
                    <a:pt x="51" y="29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0" name="Group 199">
              <a:extLst>
                <a:ext uri="{FF2B5EF4-FFF2-40B4-BE49-F238E27FC236}">
                  <a16:creationId xmlns:a16="http://schemas.microsoft.com/office/drawing/2014/main" id="{240BF766-5CA8-4DEC-91A5-3476567A3B7E}"/>
                </a:ext>
                <a:ext uri="{C183D7F6-B498-43B3-948B-1728B52AA6E4}">
                  <adec:decorative xmlns:adec="http://schemas.microsoft.com/office/drawing/2017/decorative" val="1"/>
                </a:ext>
              </a:extLst>
            </p:cNvPr>
            <p:cNvGrpSpPr/>
            <p:nvPr/>
          </p:nvGrpSpPr>
          <p:grpSpPr>
            <a:xfrm>
              <a:off x="10997357" y="4103402"/>
              <a:ext cx="329808" cy="334111"/>
              <a:chOff x="6609157" y="8530602"/>
              <a:chExt cx="296370" cy="300237"/>
            </a:xfrm>
          </p:grpSpPr>
          <p:sp>
            <p:nvSpPr>
              <p:cNvPr id="882" name="Freeform: Shape 881">
                <a:extLst>
                  <a:ext uri="{FF2B5EF4-FFF2-40B4-BE49-F238E27FC236}">
                    <a16:creationId xmlns:a16="http://schemas.microsoft.com/office/drawing/2014/main" id="{A0C91990-7DBC-47E4-BD09-1AE945E94E32}"/>
                  </a:ext>
                </a:extLst>
              </p:cNvPr>
              <p:cNvSpPr/>
              <p:nvPr/>
            </p:nvSpPr>
            <p:spPr>
              <a:xfrm>
                <a:off x="6684165" y="8605657"/>
                <a:ext cx="221362" cy="225182"/>
              </a:xfrm>
              <a:custGeom>
                <a:avLst/>
                <a:gdLst>
                  <a:gd name="connsiteX0" fmla="*/ 110634 w 221362"/>
                  <a:gd name="connsiteY0" fmla="*/ 2 h 225182"/>
                  <a:gd name="connsiteX1" fmla="*/ 43 w 221362"/>
                  <a:gd name="connsiteY1" fmla="*/ 109436 h 225182"/>
                  <a:gd name="connsiteX2" fmla="*/ 49 w 221362"/>
                  <a:gd name="connsiteY2" fmla="*/ 111254 h 225182"/>
                  <a:gd name="connsiteX3" fmla="*/ 107435 w 221362"/>
                  <a:gd name="connsiteY3" fmla="*/ 225134 h 225182"/>
                  <a:gd name="connsiteX4" fmla="*/ 221315 w 221362"/>
                  <a:gd name="connsiteY4" fmla="*/ 117747 h 225182"/>
                  <a:gd name="connsiteX5" fmla="*/ 221315 w 221362"/>
                  <a:gd name="connsiteY5" fmla="*/ 111254 h 225182"/>
                  <a:gd name="connsiteX6" fmla="*/ 112356 w 221362"/>
                  <a:gd name="connsiteY6" fmla="*/ 7 h 225182"/>
                  <a:gd name="connsiteX7" fmla="*/ 110634 w 221362"/>
                  <a:gd name="connsiteY7" fmla="*/ 2 h 225182"/>
                  <a:gd name="connsiteX8" fmla="*/ 118349 w 221362"/>
                  <a:gd name="connsiteY8" fmla="*/ 111254 h 225182"/>
                  <a:gd name="connsiteX9" fmla="*/ 106553 w 221362"/>
                  <a:gd name="connsiteY9" fmla="*/ 97238 h 225182"/>
                  <a:gd name="connsiteX10" fmla="*/ 118349 w 221362"/>
                  <a:gd name="connsiteY10" fmla="*/ 85442 h 225182"/>
                  <a:gd name="connsiteX11" fmla="*/ 128304 w 221362"/>
                  <a:gd name="connsiteY11" fmla="*/ 101301 h 225182"/>
                  <a:gd name="connsiteX12" fmla="*/ 118349 w 221362"/>
                  <a:gd name="connsiteY12" fmla="*/ 111255 h 225182"/>
                  <a:gd name="connsiteX13" fmla="*/ 128637 w 221362"/>
                  <a:gd name="connsiteY13" fmla="*/ 62105 h 225182"/>
                  <a:gd name="connsiteX14" fmla="*/ 118848 w 221362"/>
                  <a:gd name="connsiteY14" fmla="*/ 45986 h 225182"/>
                  <a:gd name="connsiteX15" fmla="*/ 128637 w 221362"/>
                  <a:gd name="connsiteY15" fmla="*/ 36197 h 225182"/>
                  <a:gd name="connsiteX16" fmla="*/ 141591 w 221362"/>
                  <a:gd name="connsiteY16" fmla="*/ 49151 h 225182"/>
                  <a:gd name="connsiteX17" fmla="*/ 128637 w 221362"/>
                  <a:gd name="connsiteY17" fmla="*/ 62105 h 225182"/>
                  <a:gd name="connsiteX18" fmla="*/ 167308 w 221362"/>
                  <a:gd name="connsiteY18" fmla="*/ 98300 h 225182"/>
                  <a:gd name="connsiteX19" fmla="*/ 154450 w 221362"/>
                  <a:gd name="connsiteY19" fmla="*/ 87016 h 225182"/>
                  <a:gd name="connsiteX20" fmla="*/ 154450 w 221362"/>
                  <a:gd name="connsiteY20" fmla="*/ 85441 h 225182"/>
                  <a:gd name="connsiteX21" fmla="*/ 167308 w 221362"/>
                  <a:gd name="connsiteY21" fmla="*/ 72487 h 225182"/>
                  <a:gd name="connsiteX22" fmla="*/ 177500 w 221362"/>
                  <a:gd name="connsiteY22" fmla="*/ 85441 h 225182"/>
                  <a:gd name="connsiteX23" fmla="*/ 167308 w 221362"/>
                  <a:gd name="connsiteY23" fmla="*/ 98300 h 22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1362" h="225182">
                    <a:moveTo>
                      <a:pt x="110634" y="2"/>
                    </a:moveTo>
                    <a:cubicBezTo>
                      <a:pt x="49876" y="-318"/>
                      <a:pt x="363" y="48677"/>
                      <a:pt x="43" y="109436"/>
                    </a:cubicBezTo>
                    <a:cubicBezTo>
                      <a:pt x="40" y="110042"/>
                      <a:pt x="42" y="110648"/>
                      <a:pt x="49" y="111254"/>
                    </a:cubicBezTo>
                    <a:cubicBezTo>
                      <a:pt x="-1744" y="172355"/>
                      <a:pt x="46334" y="223340"/>
                      <a:pt x="107435" y="225134"/>
                    </a:cubicBezTo>
                    <a:cubicBezTo>
                      <a:pt x="168536" y="226927"/>
                      <a:pt x="219521" y="178848"/>
                      <a:pt x="221315" y="117747"/>
                    </a:cubicBezTo>
                    <a:cubicBezTo>
                      <a:pt x="221378" y="115583"/>
                      <a:pt x="221378" y="113418"/>
                      <a:pt x="221315" y="111254"/>
                    </a:cubicBezTo>
                    <a:cubicBezTo>
                      <a:pt x="221947" y="50446"/>
                      <a:pt x="173164" y="639"/>
                      <a:pt x="112356" y="7"/>
                    </a:cubicBezTo>
                    <a:cubicBezTo>
                      <a:pt x="111782" y="1"/>
                      <a:pt x="111208" y="-1"/>
                      <a:pt x="110634" y="2"/>
                    </a:cubicBezTo>
                    <a:moveTo>
                      <a:pt x="118349" y="111254"/>
                    </a:moveTo>
                    <a:cubicBezTo>
                      <a:pt x="111221" y="110641"/>
                      <a:pt x="105940" y="104366"/>
                      <a:pt x="106553" y="97238"/>
                    </a:cubicBezTo>
                    <a:cubicBezTo>
                      <a:pt x="107093" y="90960"/>
                      <a:pt x="112072" y="85981"/>
                      <a:pt x="118349" y="85442"/>
                    </a:cubicBezTo>
                    <a:cubicBezTo>
                      <a:pt x="125478" y="87072"/>
                      <a:pt x="129934" y="94173"/>
                      <a:pt x="128304" y="101301"/>
                    </a:cubicBezTo>
                    <a:cubicBezTo>
                      <a:pt x="127170" y="106254"/>
                      <a:pt x="123303" y="110122"/>
                      <a:pt x="118349" y="111255"/>
                    </a:cubicBezTo>
                    <a:moveTo>
                      <a:pt x="128637" y="62105"/>
                    </a:moveTo>
                    <a:cubicBezTo>
                      <a:pt x="121482" y="60357"/>
                      <a:pt x="117100" y="53140"/>
                      <a:pt x="118848" y="45986"/>
                    </a:cubicBezTo>
                    <a:cubicBezTo>
                      <a:pt x="120028" y="41152"/>
                      <a:pt x="123803" y="37378"/>
                      <a:pt x="128637" y="36197"/>
                    </a:cubicBezTo>
                    <a:cubicBezTo>
                      <a:pt x="135791" y="36197"/>
                      <a:pt x="141591" y="41997"/>
                      <a:pt x="141591" y="49151"/>
                    </a:cubicBezTo>
                    <a:cubicBezTo>
                      <a:pt x="141591" y="56305"/>
                      <a:pt x="135791" y="62105"/>
                      <a:pt x="128637" y="62105"/>
                    </a:cubicBezTo>
                    <a:moveTo>
                      <a:pt x="167308" y="98300"/>
                    </a:moveTo>
                    <a:cubicBezTo>
                      <a:pt x="160642" y="98734"/>
                      <a:pt x="154884" y="93683"/>
                      <a:pt x="154450" y="87016"/>
                    </a:cubicBezTo>
                    <a:cubicBezTo>
                      <a:pt x="154415" y="86492"/>
                      <a:pt x="154415" y="85965"/>
                      <a:pt x="154450" y="85441"/>
                    </a:cubicBezTo>
                    <a:cubicBezTo>
                      <a:pt x="154823" y="78483"/>
                      <a:pt x="160354" y="72912"/>
                      <a:pt x="167308" y="72487"/>
                    </a:cubicBezTo>
                    <a:cubicBezTo>
                      <a:pt x="172451" y="72487"/>
                      <a:pt x="177500" y="80202"/>
                      <a:pt x="177500" y="85441"/>
                    </a:cubicBezTo>
                    <a:cubicBezTo>
                      <a:pt x="178172" y="91788"/>
                      <a:pt x="173641" y="97505"/>
                      <a:pt x="167308" y="98300"/>
                    </a:cubicBezTo>
                  </a:path>
                </a:pathLst>
              </a:custGeom>
              <a:solidFill>
                <a:srgbClr val="FFFFFF"/>
              </a:solidFill>
              <a:ln w="9525" cap="flat">
                <a:noFill/>
                <a:prstDash val="solid"/>
                <a:miter/>
              </a:ln>
            </p:spPr>
            <p:txBody>
              <a:bodyPr rtlCol="0" anchor="ctr"/>
              <a:lstStyle/>
              <a:p>
                <a:endParaRPr lang="en-US"/>
              </a:p>
            </p:txBody>
          </p:sp>
          <p:sp>
            <p:nvSpPr>
              <p:cNvPr id="883" name="Freeform: Shape 882">
                <a:extLst>
                  <a:ext uri="{FF2B5EF4-FFF2-40B4-BE49-F238E27FC236}">
                    <a16:creationId xmlns:a16="http://schemas.microsoft.com/office/drawing/2014/main" id="{9F0CA3DB-971E-4F4E-A916-8859BACF7D45}"/>
                  </a:ext>
                </a:extLst>
              </p:cNvPr>
              <p:cNvSpPr/>
              <p:nvPr/>
            </p:nvSpPr>
            <p:spPr>
              <a:xfrm>
                <a:off x="6628874" y="8605658"/>
                <a:ext cx="75057" cy="9525"/>
              </a:xfrm>
              <a:custGeom>
                <a:avLst/>
                <a:gdLst>
                  <a:gd name="connsiteX0" fmla="*/ 72390 w 75057"/>
                  <a:gd name="connsiteY0" fmla="*/ 0 h 9525"/>
                  <a:gd name="connsiteX1" fmla="*/ 5143 w 75057"/>
                  <a:gd name="connsiteY1" fmla="*/ 0 h 9525"/>
                  <a:gd name="connsiteX2" fmla="*/ 0 w 75057"/>
                  <a:gd name="connsiteY2" fmla="*/ 9525 h 9525"/>
                  <a:gd name="connsiteX3" fmla="*/ 75057 w 75057"/>
                  <a:gd name="connsiteY3" fmla="*/ 9525 h 9525"/>
                  <a:gd name="connsiteX4" fmla="*/ 72390 w 75057"/>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57" h="9525">
                    <a:moveTo>
                      <a:pt x="72390" y="0"/>
                    </a:moveTo>
                    <a:lnTo>
                      <a:pt x="5143" y="0"/>
                    </a:lnTo>
                    <a:cubicBezTo>
                      <a:pt x="2667" y="2286"/>
                      <a:pt x="2667" y="6954"/>
                      <a:pt x="0" y="9525"/>
                    </a:cubicBezTo>
                    <a:lnTo>
                      <a:pt x="75057" y="9525"/>
                    </a:lnTo>
                    <a:cubicBezTo>
                      <a:pt x="75057" y="7239"/>
                      <a:pt x="72390" y="2572"/>
                      <a:pt x="72390" y="0"/>
                    </a:cubicBezTo>
                  </a:path>
                </a:pathLst>
              </a:custGeom>
              <a:solidFill>
                <a:srgbClr val="FFFFFF"/>
              </a:solidFill>
              <a:ln w="9525" cap="flat">
                <a:noFill/>
                <a:prstDash val="solid"/>
                <a:miter/>
              </a:ln>
            </p:spPr>
            <p:txBody>
              <a:bodyPr rtlCol="0" anchor="ctr"/>
              <a:lstStyle/>
              <a:p>
                <a:endParaRPr lang="en-US"/>
              </a:p>
            </p:txBody>
          </p:sp>
          <p:sp>
            <p:nvSpPr>
              <p:cNvPr id="884" name="Freeform: Shape 883">
                <a:extLst>
                  <a:ext uri="{FF2B5EF4-FFF2-40B4-BE49-F238E27FC236}">
                    <a16:creationId xmlns:a16="http://schemas.microsoft.com/office/drawing/2014/main" id="{F67D3B60-CEE5-43CB-95C5-70CC8B820949}"/>
                  </a:ext>
                </a:extLst>
              </p:cNvPr>
              <p:cNvSpPr/>
              <p:nvPr/>
            </p:nvSpPr>
            <p:spPr>
              <a:xfrm>
                <a:off x="6609157" y="8628042"/>
                <a:ext cx="105727" cy="200215"/>
              </a:xfrm>
              <a:custGeom>
                <a:avLst/>
                <a:gdLst>
                  <a:gd name="connsiteX0" fmla="*/ 61627 w 105727"/>
                  <a:gd name="connsiteY0" fmla="*/ 88392 h 200215"/>
                  <a:gd name="connsiteX1" fmla="*/ 97632 w 105727"/>
                  <a:gd name="connsiteY1" fmla="*/ 0 h 200215"/>
                  <a:gd name="connsiteX2" fmla="*/ 18002 w 105727"/>
                  <a:gd name="connsiteY2" fmla="*/ 1 h 200215"/>
                  <a:gd name="connsiteX3" fmla="*/ 0 w 105727"/>
                  <a:gd name="connsiteY3" fmla="*/ 106585 h 200215"/>
                  <a:gd name="connsiteX4" fmla="*/ 20479 w 105727"/>
                  <a:gd name="connsiteY4" fmla="*/ 197549 h 200215"/>
                  <a:gd name="connsiteX5" fmla="*/ 23146 w 105727"/>
                  <a:gd name="connsiteY5" fmla="*/ 200216 h 200215"/>
                  <a:gd name="connsiteX6" fmla="*/ 95345 w 105727"/>
                  <a:gd name="connsiteY6" fmla="*/ 200216 h 200215"/>
                  <a:gd name="connsiteX7" fmla="*/ 98013 w 105727"/>
                  <a:gd name="connsiteY7" fmla="*/ 197549 h 200215"/>
                  <a:gd name="connsiteX8" fmla="*/ 105728 w 105727"/>
                  <a:gd name="connsiteY8" fmla="*/ 182023 h 200215"/>
                  <a:gd name="connsiteX9" fmla="*/ 62008 w 105727"/>
                  <a:gd name="connsiteY9" fmla="*/ 88392 h 200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727" h="200215">
                    <a:moveTo>
                      <a:pt x="61627" y="88392"/>
                    </a:moveTo>
                    <a:cubicBezTo>
                      <a:pt x="61409" y="55315"/>
                      <a:pt x="74363" y="23511"/>
                      <a:pt x="97632" y="0"/>
                    </a:cubicBezTo>
                    <a:lnTo>
                      <a:pt x="18002" y="1"/>
                    </a:lnTo>
                    <a:cubicBezTo>
                      <a:pt x="5144" y="28576"/>
                      <a:pt x="0" y="75438"/>
                      <a:pt x="0" y="106585"/>
                    </a:cubicBezTo>
                    <a:cubicBezTo>
                      <a:pt x="0" y="145638"/>
                      <a:pt x="7620" y="179357"/>
                      <a:pt x="20479" y="197549"/>
                    </a:cubicBezTo>
                    <a:lnTo>
                      <a:pt x="23146" y="200216"/>
                    </a:lnTo>
                    <a:lnTo>
                      <a:pt x="95345" y="200216"/>
                    </a:lnTo>
                    <a:lnTo>
                      <a:pt x="98013" y="197549"/>
                    </a:lnTo>
                    <a:lnTo>
                      <a:pt x="105728" y="182023"/>
                    </a:lnTo>
                    <a:cubicBezTo>
                      <a:pt x="78751" y="158264"/>
                      <a:pt x="62906" y="124330"/>
                      <a:pt x="62008" y="88392"/>
                    </a:cubicBezTo>
                  </a:path>
                </a:pathLst>
              </a:custGeom>
              <a:solidFill>
                <a:srgbClr val="FFFFFF"/>
              </a:solidFill>
              <a:ln w="9525" cap="flat">
                <a:noFill/>
                <a:prstDash val="solid"/>
                <a:miter/>
              </a:ln>
            </p:spPr>
            <p:txBody>
              <a:bodyPr rtlCol="0" anchor="ctr"/>
              <a:lstStyle/>
              <a:p>
                <a:endParaRPr lang="en-US"/>
              </a:p>
            </p:txBody>
          </p:sp>
          <p:sp>
            <p:nvSpPr>
              <p:cNvPr id="885" name="Freeform: Shape 884">
                <a:extLst>
                  <a:ext uri="{FF2B5EF4-FFF2-40B4-BE49-F238E27FC236}">
                    <a16:creationId xmlns:a16="http://schemas.microsoft.com/office/drawing/2014/main" id="{BE1FF94B-22CE-49E6-9241-1731886ECF41}"/>
                  </a:ext>
                </a:extLst>
              </p:cNvPr>
              <p:cNvSpPr/>
              <p:nvPr/>
            </p:nvSpPr>
            <p:spPr>
              <a:xfrm>
                <a:off x="6633636" y="8530602"/>
                <a:ext cx="67151" cy="61912"/>
              </a:xfrm>
              <a:custGeom>
                <a:avLst/>
                <a:gdLst>
                  <a:gd name="connsiteX0" fmla="*/ 476 w 67151"/>
                  <a:gd name="connsiteY0" fmla="*/ 61912 h 61912"/>
                  <a:gd name="connsiteX1" fmla="*/ 67151 w 67151"/>
                  <a:gd name="connsiteY1" fmla="*/ 61912 h 61912"/>
                  <a:gd name="connsiteX2" fmla="*/ 67151 w 67151"/>
                  <a:gd name="connsiteY2" fmla="*/ 38767 h 61912"/>
                  <a:gd name="connsiteX3" fmla="*/ 33624 w 67151"/>
                  <a:gd name="connsiteY3" fmla="*/ 0 h 61912"/>
                  <a:gd name="connsiteX4" fmla="*/ 0 w 67151"/>
                  <a:gd name="connsiteY4" fmla="*/ 38767 h 61912"/>
                  <a:gd name="connsiteX5" fmla="*/ 0 w 67151"/>
                  <a:gd name="connsiteY5" fmla="*/ 61912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 h="61912">
                    <a:moveTo>
                      <a:pt x="476" y="61912"/>
                    </a:moveTo>
                    <a:lnTo>
                      <a:pt x="67151" y="61912"/>
                    </a:lnTo>
                    <a:lnTo>
                      <a:pt x="67151" y="38767"/>
                    </a:lnTo>
                    <a:cubicBezTo>
                      <a:pt x="67151" y="18002"/>
                      <a:pt x="51721" y="0"/>
                      <a:pt x="33624" y="0"/>
                    </a:cubicBezTo>
                    <a:cubicBezTo>
                      <a:pt x="15526" y="0"/>
                      <a:pt x="0" y="18002"/>
                      <a:pt x="0" y="38767"/>
                    </a:cubicBezTo>
                    <a:lnTo>
                      <a:pt x="0" y="61912"/>
                    </a:lnTo>
                  </a:path>
                </a:pathLst>
              </a:custGeom>
              <a:solidFill>
                <a:srgbClr val="FFFFFF"/>
              </a:solidFill>
              <a:ln w="9525" cap="flat">
                <a:noFill/>
                <a:prstDash val="solid"/>
                <a:miter/>
              </a:ln>
            </p:spPr>
            <p:txBody>
              <a:bodyPr rtlCol="0" anchor="ctr"/>
              <a:lstStyle/>
              <a:p>
                <a:endParaRPr lang="en-US"/>
              </a:p>
            </p:txBody>
          </p:sp>
        </p:grpSp>
      </p:grpSp>
      <p:sp>
        <p:nvSpPr>
          <p:cNvPr id="903" name="Rectangle 427">
            <a:extLst>
              <a:ext uri="{FF2B5EF4-FFF2-40B4-BE49-F238E27FC236}">
                <a16:creationId xmlns:a16="http://schemas.microsoft.com/office/drawing/2014/main" id="{CAF91912-7522-4D28-BFDB-125AC03139CD}"/>
              </a:ext>
              <a:ext uri="{C183D7F6-B498-43B3-948B-1728B52AA6E4}">
                <adec:decorative xmlns:adec="http://schemas.microsoft.com/office/drawing/2017/decorative" val="1"/>
              </a:ext>
            </a:extLst>
          </p:cNvPr>
          <p:cNvSpPr>
            <a:spLocks noChangeArrowheads="1"/>
          </p:cNvSpPr>
          <p:nvPr/>
        </p:nvSpPr>
        <p:spPr bwMode="auto">
          <a:xfrm>
            <a:off x="4652013" y="6512121"/>
            <a:ext cx="33021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err="1">
                <a:ln>
                  <a:noFill/>
                </a:ln>
                <a:solidFill>
                  <a:srgbClr val="231F20"/>
                </a:solidFill>
                <a:effectLst/>
                <a:latin typeface="+mn-lt"/>
              </a:rPr>
              <a:t>Infinity</a:t>
            </a:r>
            <a:endParaRPr kumimoji="0" lang="pl-PL" altLang="pl-PL" sz="800" b="0" i="0" u="none" strike="noStrike" cap="none" normalizeH="0" baseline="0" dirty="0">
              <a:ln>
                <a:noFill/>
              </a:ln>
              <a:solidFill>
                <a:schemeClr val="tx1"/>
              </a:solidFill>
              <a:effectLst/>
              <a:latin typeface="+mn-lt"/>
            </a:endParaRPr>
          </a:p>
        </p:txBody>
      </p:sp>
      <p:grpSp>
        <p:nvGrpSpPr>
          <p:cNvPr id="203" name="Group 202">
            <a:extLst>
              <a:ext uri="{FF2B5EF4-FFF2-40B4-BE49-F238E27FC236}">
                <a16:creationId xmlns:a16="http://schemas.microsoft.com/office/drawing/2014/main" id="{693D04AA-1E62-494E-B372-EDE0214F3D33}"/>
              </a:ext>
              <a:ext uri="{C183D7F6-B498-43B3-948B-1728B52AA6E4}">
                <adec:decorative xmlns:adec="http://schemas.microsoft.com/office/drawing/2017/decorative" val="1"/>
              </a:ext>
            </a:extLst>
          </p:cNvPr>
          <p:cNvGrpSpPr/>
          <p:nvPr/>
        </p:nvGrpSpPr>
        <p:grpSpPr>
          <a:xfrm>
            <a:off x="5243920" y="5862175"/>
            <a:ext cx="677042" cy="633600"/>
            <a:chOff x="5208140" y="6075055"/>
            <a:chExt cx="677042" cy="633600"/>
          </a:xfrm>
        </p:grpSpPr>
        <p:sp>
          <p:nvSpPr>
            <p:cNvPr id="906" name="Freeform 168">
              <a:extLst>
                <a:ext uri="{FF2B5EF4-FFF2-40B4-BE49-F238E27FC236}">
                  <a16:creationId xmlns:a16="http://schemas.microsoft.com/office/drawing/2014/main" id="{80D23739-E7D1-4049-9A59-B966F0D30933}"/>
                </a:ext>
              </a:extLst>
            </p:cNvPr>
            <p:cNvSpPr>
              <a:spLocks/>
            </p:cNvSpPr>
            <p:nvPr/>
          </p:nvSpPr>
          <p:spPr bwMode="auto">
            <a:xfrm>
              <a:off x="5208140" y="6075055"/>
              <a:ext cx="677042" cy="633600"/>
            </a:xfrm>
            <a:custGeom>
              <a:avLst/>
              <a:gdLst>
                <a:gd name="T0" fmla="*/ 43 w 300"/>
                <a:gd name="T1" fmla="*/ 219 h 280"/>
                <a:gd name="T2" fmla="*/ 72 w 300"/>
                <a:gd name="T3" fmla="*/ 42 h 280"/>
                <a:gd name="T4" fmla="*/ 256 w 300"/>
                <a:gd name="T5" fmla="*/ 68 h 280"/>
                <a:gd name="T6" fmla="*/ 223 w 300"/>
                <a:gd name="T7" fmla="*/ 239 h 280"/>
                <a:gd name="T8" fmla="*/ 43 w 300"/>
                <a:gd name="T9" fmla="*/ 219 h 280"/>
              </a:gdLst>
              <a:ahLst/>
              <a:cxnLst>
                <a:cxn ang="0">
                  <a:pos x="T0" y="T1"/>
                </a:cxn>
                <a:cxn ang="0">
                  <a:pos x="T2" y="T3"/>
                </a:cxn>
                <a:cxn ang="0">
                  <a:pos x="T4" y="T5"/>
                </a:cxn>
                <a:cxn ang="0">
                  <a:pos x="T6" y="T7"/>
                </a:cxn>
                <a:cxn ang="0">
                  <a:pos x="T8" y="T9"/>
                </a:cxn>
              </a:cxnLst>
              <a:rect l="0" t="0" r="r" b="b"/>
              <a:pathLst>
                <a:path w="300" h="280">
                  <a:moveTo>
                    <a:pt x="43" y="219"/>
                  </a:moveTo>
                  <a:cubicBezTo>
                    <a:pt x="0" y="163"/>
                    <a:pt x="13" y="84"/>
                    <a:pt x="72" y="42"/>
                  </a:cubicBezTo>
                  <a:cubicBezTo>
                    <a:pt x="131" y="0"/>
                    <a:pt x="213" y="12"/>
                    <a:pt x="256" y="68"/>
                  </a:cubicBezTo>
                  <a:cubicBezTo>
                    <a:pt x="300" y="124"/>
                    <a:pt x="282" y="197"/>
                    <a:pt x="223" y="239"/>
                  </a:cubicBezTo>
                  <a:cubicBezTo>
                    <a:pt x="164" y="280"/>
                    <a:pt x="86" y="275"/>
                    <a:pt x="43" y="21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2" name="Group 201">
              <a:extLst>
                <a:ext uri="{FF2B5EF4-FFF2-40B4-BE49-F238E27FC236}">
                  <a16:creationId xmlns:a16="http://schemas.microsoft.com/office/drawing/2014/main" id="{A905D828-A133-41AB-A9A0-2308A55ACBA9}"/>
                </a:ext>
              </a:extLst>
            </p:cNvPr>
            <p:cNvGrpSpPr/>
            <p:nvPr/>
          </p:nvGrpSpPr>
          <p:grpSpPr>
            <a:xfrm>
              <a:off x="5419436" y="6244239"/>
              <a:ext cx="253056" cy="286943"/>
              <a:chOff x="2254291" y="8544127"/>
              <a:chExt cx="253056" cy="286943"/>
            </a:xfrm>
          </p:grpSpPr>
          <p:sp>
            <p:nvSpPr>
              <p:cNvPr id="878" name="Freeform: Shape 877">
                <a:extLst>
                  <a:ext uri="{FF2B5EF4-FFF2-40B4-BE49-F238E27FC236}">
                    <a16:creationId xmlns:a16="http://schemas.microsoft.com/office/drawing/2014/main" id="{6387E137-CDD4-48D4-A211-53B88FB0E109}"/>
                  </a:ext>
                </a:extLst>
              </p:cNvPr>
              <p:cNvSpPr/>
              <p:nvPr/>
            </p:nvSpPr>
            <p:spPr>
              <a:xfrm>
                <a:off x="2254291" y="8699289"/>
                <a:ext cx="114812" cy="131781"/>
              </a:xfrm>
              <a:custGeom>
                <a:avLst/>
                <a:gdLst>
                  <a:gd name="connsiteX0" fmla="*/ 76808 w 114812"/>
                  <a:gd name="connsiteY0" fmla="*/ 47340 h 131781"/>
                  <a:gd name="connsiteX1" fmla="*/ 76808 w 114812"/>
                  <a:gd name="connsiteY1" fmla="*/ 47340 h 131781"/>
                  <a:gd name="connsiteX2" fmla="*/ 76808 w 114812"/>
                  <a:gd name="connsiteY2" fmla="*/ 47340 h 131781"/>
                  <a:gd name="connsiteX3" fmla="*/ 79761 w 114812"/>
                  <a:gd name="connsiteY3" fmla="*/ 73819 h 131781"/>
                  <a:gd name="connsiteX4" fmla="*/ 56329 w 114812"/>
                  <a:gd name="connsiteY4" fmla="*/ 100679 h 131781"/>
                  <a:gd name="connsiteX5" fmla="*/ 31552 w 114812"/>
                  <a:gd name="connsiteY5" fmla="*/ 105217 h 131781"/>
                  <a:gd name="connsiteX6" fmla="*/ 27014 w 114812"/>
                  <a:gd name="connsiteY6" fmla="*/ 80440 h 131781"/>
                  <a:gd name="connsiteX7" fmla="*/ 29945 w 114812"/>
                  <a:gd name="connsiteY7" fmla="*/ 77153 h 131781"/>
                  <a:gd name="connsiteX8" fmla="*/ 50519 w 114812"/>
                  <a:gd name="connsiteY8" fmla="*/ 50673 h 131781"/>
                  <a:gd name="connsiteX9" fmla="*/ 76808 w 114812"/>
                  <a:gd name="connsiteY9" fmla="*/ 47340 h 131781"/>
                  <a:gd name="connsiteX10" fmla="*/ 73950 w 114812"/>
                  <a:gd name="connsiteY10" fmla="*/ 20955 h 131781"/>
                  <a:gd name="connsiteX11" fmla="*/ 32898 w 114812"/>
                  <a:gd name="connsiteY11" fmla="*/ 35623 h 131781"/>
                  <a:gd name="connsiteX12" fmla="*/ 9371 w 114812"/>
                  <a:gd name="connsiteY12" fmla="*/ 62579 h 131781"/>
                  <a:gd name="connsiteX13" fmla="*/ 15181 w 114812"/>
                  <a:gd name="connsiteY13" fmla="*/ 121348 h 131781"/>
                  <a:gd name="connsiteX14" fmla="*/ 71034 w 114812"/>
                  <a:gd name="connsiteY14" fmla="*/ 119011 h 131781"/>
                  <a:gd name="connsiteX15" fmla="*/ 73950 w 114812"/>
                  <a:gd name="connsiteY15" fmla="*/ 115443 h 131781"/>
                  <a:gd name="connsiteX16" fmla="*/ 97287 w 114812"/>
                  <a:gd name="connsiteY16" fmla="*/ 91154 h 131781"/>
                  <a:gd name="connsiteX17" fmla="*/ 103097 w 114812"/>
                  <a:gd name="connsiteY17" fmla="*/ 44005 h 131781"/>
                  <a:gd name="connsiteX18" fmla="*/ 114813 w 114812"/>
                  <a:gd name="connsiteY18" fmla="*/ 29337 h 131781"/>
                  <a:gd name="connsiteX19" fmla="*/ 91381 w 114812"/>
                  <a:gd name="connsiteY19" fmla="*/ 0 h 13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812" h="131781">
                    <a:moveTo>
                      <a:pt x="76808" y="47340"/>
                    </a:moveTo>
                    <a:lnTo>
                      <a:pt x="76808" y="47340"/>
                    </a:lnTo>
                    <a:moveTo>
                      <a:pt x="76808" y="47340"/>
                    </a:moveTo>
                    <a:cubicBezTo>
                      <a:pt x="82713" y="56198"/>
                      <a:pt x="85761" y="67913"/>
                      <a:pt x="79761" y="73819"/>
                    </a:cubicBezTo>
                    <a:lnTo>
                      <a:pt x="56329" y="100679"/>
                    </a:lnTo>
                    <a:cubicBezTo>
                      <a:pt x="50740" y="108775"/>
                      <a:pt x="39647" y="110806"/>
                      <a:pt x="31552" y="105217"/>
                    </a:cubicBezTo>
                    <a:cubicBezTo>
                      <a:pt x="23457" y="99628"/>
                      <a:pt x="21425" y="88535"/>
                      <a:pt x="27014" y="80440"/>
                    </a:cubicBezTo>
                    <a:cubicBezTo>
                      <a:pt x="27851" y="79227"/>
                      <a:pt x="28836" y="78123"/>
                      <a:pt x="29945" y="77153"/>
                    </a:cubicBezTo>
                    <a:lnTo>
                      <a:pt x="50519" y="50673"/>
                    </a:lnTo>
                    <a:cubicBezTo>
                      <a:pt x="57479" y="43661"/>
                      <a:pt x="68318" y="42286"/>
                      <a:pt x="76808" y="47340"/>
                    </a:cubicBezTo>
                    <a:close/>
                    <a:moveTo>
                      <a:pt x="73950" y="20955"/>
                    </a:moveTo>
                    <a:cubicBezTo>
                      <a:pt x="58619" y="18043"/>
                      <a:pt x="42912" y="23655"/>
                      <a:pt x="32898" y="35623"/>
                    </a:cubicBezTo>
                    <a:lnTo>
                      <a:pt x="9371" y="62579"/>
                    </a:lnTo>
                    <a:cubicBezTo>
                      <a:pt x="-5114" y="80454"/>
                      <a:pt x="-2524" y="106656"/>
                      <a:pt x="15181" y="121348"/>
                    </a:cubicBezTo>
                    <a:cubicBezTo>
                      <a:pt x="31250" y="136126"/>
                      <a:pt x="56256" y="135080"/>
                      <a:pt x="71034" y="119011"/>
                    </a:cubicBezTo>
                    <a:cubicBezTo>
                      <a:pt x="72075" y="117879"/>
                      <a:pt x="73048" y="116688"/>
                      <a:pt x="73950" y="115443"/>
                    </a:cubicBezTo>
                    <a:lnTo>
                      <a:pt x="97287" y="91154"/>
                    </a:lnTo>
                    <a:cubicBezTo>
                      <a:pt x="107755" y="77706"/>
                      <a:pt x="109987" y="59593"/>
                      <a:pt x="103097" y="44005"/>
                    </a:cubicBezTo>
                    <a:lnTo>
                      <a:pt x="114813" y="29337"/>
                    </a:lnTo>
                    <a:lnTo>
                      <a:pt x="91381" y="0"/>
                    </a:lnTo>
                    <a:close/>
                  </a:path>
                </a:pathLst>
              </a:custGeom>
              <a:solidFill>
                <a:srgbClr val="FFFFFF"/>
              </a:solidFill>
              <a:ln w="9525" cap="flat">
                <a:noFill/>
                <a:prstDash val="solid"/>
                <a:miter/>
              </a:ln>
            </p:spPr>
            <p:txBody>
              <a:bodyPr rtlCol="0" anchor="ctr"/>
              <a:lstStyle/>
              <a:p>
                <a:endParaRPr lang="en-US"/>
              </a:p>
            </p:txBody>
          </p:sp>
          <p:sp>
            <p:nvSpPr>
              <p:cNvPr id="879" name="Freeform: Shape 878">
                <a:extLst>
                  <a:ext uri="{FF2B5EF4-FFF2-40B4-BE49-F238E27FC236}">
                    <a16:creationId xmlns:a16="http://schemas.microsoft.com/office/drawing/2014/main" id="{1E660E1F-5574-45DC-B50F-B5FE8965A1DB}"/>
                  </a:ext>
                </a:extLst>
              </p:cNvPr>
              <p:cNvSpPr/>
              <p:nvPr/>
            </p:nvSpPr>
            <p:spPr>
              <a:xfrm>
                <a:off x="2392344" y="8544127"/>
                <a:ext cx="97646" cy="131158"/>
              </a:xfrm>
              <a:custGeom>
                <a:avLst/>
                <a:gdLst>
                  <a:gd name="connsiteX0" fmla="*/ 23431 w 97646"/>
                  <a:gd name="connsiteY0" fmla="*/ 131159 h 131158"/>
                  <a:gd name="connsiteX1" fmla="*/ 23431 w 97646"/>
                  <a:gd name="connsiteY1" fmla="*/ 131159 h 131158"/>
                  <a:gd name="connsiteX2" fmla="*/ 23431 w 97646"/>
                  <a:gd name="connsiteY2" fmla="*/ 131159 h 131158"/>
                  <a:gd name="connsiteX3" fmla="*/ 88106 w 97646"/>
                  <a:gd name="connsiteY3" fmla="*/ 52483 h 131158"/>
                  <a:gd name="connsiteX4" fmla="*/ 85472 w 97646"/>
                  <a:gd name="connsiteY4" fmla="*/ 284 h 131158"/>
                  <a:gd name="connsiteX5" fmla="*/ 85154 w 97646"/>
                  <a:gd name="connsiteY5" fmla="*/ 0 h 131158"/>
                  <a:gd name="connsiteX6" fmla="*/ 0 w 97646"/>
                  <a:gd name="connsiteY6" fmla="*/ 102012 h 13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46" h="131158">
                    <a:moveTo>
                      <a:pt x="23431" y="131159"/>
                    </a:moveTo>
                    <a:lnTo>
                      <a:pt x="23431" y="131159"/>
                    </a:lnTo>
                    <a:moveTo>
                      <a:pt x="23431" y="131159"/>
                    </a:moveTo>
                    <a:lnTo>
                      <a:pt x="88106" y="52483"/>
                    </a:lnTo>
                    <a:cubicBezTo>
                      <a:pt x="101793" y="37340"/>
                      <a:pt x="100613" y="13971"/>
                      <a:pt x="85472" y="284"/>
                    </a:cubicBezTo>
                    <a:cubicBezTo>
                      <a:pt x="85366" y="189"/>
                      <a:pt x="85260" y="94"/>
                      <a:pt x="85154" y="0"/>
                    </a:cubicBezTo>
                    <a:lnTo>
                      <a:pt x="0" y="102012"/>
                    </a:lnTo>
                    <a:close/>
                  </a:path>
                </a:pathLst>
              </a:custGeom>
              <a:solidFill>
                <a:srgbClr val="FFFFFF"/>
              </a:solidFill>
              <a:ln w="9525" cap="flat">
                <a:noFill/>
                <a:prstDash val="solid"/>
                <a:miter/>
              </a:ln>
            </p:spPr>
            <p:txBody>
              <a:bodyPr rtlCol="0" anchor="ctr"/>
              <a:lstStyle/>
              <a:p>
                <a:endParaRPr lang="en-US"/>
              </a:p>
            </p:txBody>
          </p:sp>
          <p:sp>
            <p:nvSpPr>
              <p:cNvPr id="880" name="Freeform: Shape 879">
                <a:extLst>
                  <a:ext uri="{FF2B5EF4-FFF2-40B4-BE49-F238E27FC236}">
                    <a16:creationId xmlns:a16="http://schemas.microsoft.com/office/drawing/2014/main" id="{A505D124-9658-4DEE-96A2-E65809794C94}"/>
                  </a:ext>
                </a:extLst>
              </p:cNvPr>
              <p:cNvSpPr/>
              <p:nvPr/>
            </p:nvSpPr>
            <p:spPr>
              <a:xfrm>
                <a:off x="2270161" y="8544127"/>
                <a:ext cx="237186" cy="286506"/>
              </a:xfrm>
              <a:custGeom>
                <a:avLst/>
                <a:gdLst>
                  <a:gd name="connsiteX0" fmla="*/ 186859 w 237186"/>
                  <a:gd name="connsiteY0" fmla="*/ 205549 h 286506"/>
                  <a:gd name="connsiteX1" fmla="*/ 186859 w 237186"/>
                  <a:gd name="connsiteY1" fmla="*/ 205549 h 286506"/>
                  <a:gd name="connsiteX2" fmla="*/ 186859 w 237186"/>
                  <a:gd name="connsiteY2" fmla="*/ 205549 h 286506"/>
                  <a:gd name="connsiteX3" fmla="*/ 207337 w 237186"/>
                  <a:gd name="connsiteY3" fmla="*/ 232029 h 286506"/>
                  <a:gd name="connsiteX4" fmla="*/ 204385 w 237186"/>
                  <a:gd name="connsiteY4" fmla="*/ 258413 h 286506"/>
                  <a:gd name="connsiteX5" fmla="*/ 182452 w 237186"/>
                  <a:gd name="connsiteY5" fmla="*/ 257391 h 286506"/>
                  <a:gd name="connsiteX6" fmla="*/ 180953 w 237186"/>
                  <a:gd name="connsiteY6" fmla="*/ 255461 h 286506"/>
                  <a:gd name="connsiteX7" fmla="*/ 157617 w 237186"/>
                  <a:gd name="connsiteY7" fmla="*/ 229076 h 286506"/>
                  <a:gd name="connsiteX8" fmla="*/ 160570 w 237186"/>
                  <a:gd name="connsiteY8" fmla="*/ 202596 h 286506"/>
                  <a:gd name="connsiteX9" fmla="*/ 186859 w 237186"/>
                  <a:gd name="connsiteY9" fmla="*/ 205549 h 286506"/>
                  <a:gd name="connsiteX10" fmla="*/ 98943 w 237186"/>
                  <a:gd name="connsiteY10" fmla="*/ 143923 h 286506"/>
                  <a:gd name="connsiteX11" fmla="*/ 110659 w 237186"/>
                  <a:gd name="connsiteY11" fmla="*/ 129254 h 286506"/>
                  <a:gd name="connsiteX12" fmla="*/ 125327 w 237186"/>
                  <a:gd name="connsiteY12" fmla="*/ 142355 h 286506"/>
                  <a:gd name="connsiteX13" fmla="*/ 125327 w 237186"/>
                  <a:gd name="connsiteY13" fmla="*/ 143923 h 286506"/>
                  <a:gd name="connsiteX14" fmla="*/ 110659 w 237186"/>
                  <a:gd name="connsiteY14" fmla="*/ 155639 h 286506"/>
                  <a:gd name="connsiteX15" fmla="*/ 98943 w 237186"/>
                  <a:gd name="connsiteY15" fmla="*/ 143923 h 286506"/>
                  <a:gd name="connsiteX16" fmla="*/ 13980 w 237186"/>
                  <a:gd name="connsiteY16" fmla="*/ 0 h 286506"/>
                  <a:gd name="connsiteX17" fmla="*/ 13980 w 237186"/>
                  <a:gd name="connsiteY17" fmla="*/ 0 h 286506"/>
                  <a:gd name="connsiteX18" fmla="*/ 8170 w 237186"/>
                  <a:gd name="connsiteY18" fmla="*/ 52864 h 286506"/>
                  <a:gd name="connsiteX19" fmla="*/ 134090 w 237186"/>
                  <a:gd name="connsiteY19" fmla="*/ 199644 h 286506"/>
                  <a:gd name="connsiteX20" fmla="*/ 139996 w 237186"/>
                  <a:gd name="connsiteY20" fmla="*/ 246697 h 286506"/>
                  <a:gd name="connsiteX21" fmla="*/ 160474 w 237186"/>
                  <a:gd name="connsiteY21" fmla="*/ 270224 h 286506"/>
                  <a:gd name="connsiteX22" fmla="*/ 220398 w 237186"/>
                  <a:gd name="connsiteY22" fmla="*/ 277365 h 286506"/>
                  <a:gd name="connsiteX23" fmla="*/ 222006 w 237186"/>
                  <a:gd name="connsiteY23" fmla="*/ 276034 h 286506"/>
                  <a:gd name="connsiteX24" fmla="*/ 227816 w 237186"/>
                  <a:gd name="connsiteY24" fmla="*/ 217265 h 286506"/>
                  <a:gd name="connsiteX25" fmla="*/ 204385 w 237186"/>
                  <a:gd name="connsiteY25" fmla="*/ 190881 h 286506"/>
                  <a:gd name="connsiteX26" fmla="*/ 160475 w 237186"/>
                  <a:gd name="connsiteY26" fmla="*/ 176213 h 286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7186" h="286506">
                    <a:moveTo>
                      <a:pt x="186859" y="205549"/>
                    </a:moveTo>
                    <a:lnTo>
                      <a:pt x="186859" y="205549"/>
                    </a:lnTo>
                    <a:moveTo>
                      <a:pt x="186859" y="205549"/>
                    </a:moveTo>
                    <a:lnTo>
                      <a:pt x="207337" y="232029"/>
                    </a:lnTo>
                    <a:cubicBezTo>
                      <a:pt x="213653" y="240174"/>
                      <a:pt x="212344" y="251865"/>
                      <a:pt x="204385" y="258413"/>
                    </a:cubicBezTo>
                    <a:cubicBezTo>
                      <a:pt x="198046" y="264188"/>
                      <a:pt x="188226" y="263730"/>
                      <a:pt x="182452" y="257391"/>
                    </a:cubicBezTo>
                    <a:cubicBezTo>
                      <a:pt x="181902" y="256788"/>
                      <a:pt x="181401" y="256143"/>
                      <a:pt x="180953" y="255461"/>
                    </a:cubicBezTo>
                    <a:lnTo>
                      <a:pt x="157617" y="229076"/>
                    </a:lnTo>
                    <a:cubicBezTo>
                      <a:pt x="151238" y="220915"/>
                      <a:pt x="152550" y="209152"/>
                      <a:pt x="160570" y="202596"/>
                    </a:cubicBezTo>
                    <a:cubicBezTo>
                      <a:pt x="168998" y="197548"/>
                      <a:pt x="179761" y="198757"/>
                      <a:pt x="186859" y="205549"/>
                    </a:cubicBezTo>
                    <a:close/>
                    <a:moveTo>
                      <a:pt x="98943" y="143923"/>
                    </a:moveTo>
                    <a:cubicBezTo>
                      <a:pt x="98215" y="136663"/>
                      <a:pt x="103417" y="130149"/>
                      <a:pt x="110659" y="129254"/>
                    </a:cubicBezTo>
                    <a:cubicBezTo>
                      <a:pt x="118327" y="128821"/>
                      <a:pt x="124894" y="134687"/>
                      <a:pt x="125327" y="142355"/>
                    </a:cubicBezTo>
                    <a:cubicBezTo>
                      <a:pt x="125357" y="142877"/>
                      <a:pt x="125357" y="143401"/>
                      <a:pt x="125327" y="143923"/>
                    </a:cubicBezTo>
                    <a:cubicBezTo>
                      <a:pt x="124432" y="151165"/>
                      <a:pt x="117919" y="156367"/>
                      <a:pt x="110659" y="155639"/>
                    </a:cubicBezTo>
                    <a:cubicBezTo>
                      <a:pt x="104369" y="155223"/>
                      <a:pt x="99359" y="150213"/>
                      <a:pt x="98943" y="143923"/>
                    </a:cubicBezTo>
                    <a:close/>
                    <a:moveTo>
                      <a:pt x="13980" y="0"/>
                    </a:moveTo>
                    <a:lnTo>
                      <a:pt x="13980" y="0"/>
                    </a:lnTo>
                    <a:cubicBezTo>
                      <a:pt x="-3546" y="11716"/>
                      <a:pt x="-3546" y="35242"/>
                      <a:pt x="8170" y="52864"/>
                    </a:cubicBezTo>
                    <a:lnTo>
                      <a:pt x="134090" y="199644"/>
                    </a:lnTo>
                    <a:cubicBezTo>
                      <a:pt x="125765" y="214972"/>
                      <a:pt x="128141" y="233902"/>
                      <a:pt x="139996" y="246697"/>
                    </a:cubicBezTo>
                    <a:lnTo>
                      <a:pt x="160474" y="270224"/>
                    </a:lnTo>
                    <a:cubicBezTo>
                      <a:pt x="175050" y="288743"/>
                      <a:pt x="201878" y="291940"/>
                      <a:pt x="220398" y="277365"/>
                    </a:cubicBezTo>
                    <a:cubicBezTo>
                      <a:pt x="220944" y="276935"/>
                      <a:pt x="221481" y="276491"/>
                      <a:pt x="222006" y="276034"/>
                    </a:cubicBezTo>
                    <a:cubicBezTo>
                      <a:pt x="239710" y="261342"/>
                      <a:pt x="242301" y="235140"/>
                      <a:pt x="227816" y="217265"/>
                    </a:cubicBezTo>
                    <a:lnTo>
                      <a:pt x="204385" y="190881"/>
                    </a:lnTo>
                    <a:cubicBezTo>
                      <a:pt x="193976" y="177682"/>
                      <a:pt x="176726" y="171919"/>
                      <a:pt x="160475" y="176213"/>
                    </a:cubicBezTo>
                    <a:close/>
                  </a:path>
                </a:pathLst>
              </a:custGeom>
              <a:solidFill>
                <a:srgbClr val="FFFFFF"/>
              </a:solidFill>
              <a:ln w="9525" cap="flat">
                <a:noFill/>
                <a:prstDash val="solid"/>
                <a:miter/>
              </a:ln>
            </p:spPr>
            <p:txBody>
              <a:bodyPr rtlCol="0" anchor="ctr"/>
              <a:lstStyle/>
              <a:p>
                <a:endParaRPr lang="en-US"/>
              </a:p>
            </p:txBody>
          </p:sp>
        </p:grpSp>
      </p:grpSp>
      <p:grpSp>
        <p:nvGrpSpPr>
          <p:cNvPr id="908" name="Group 907">
            <a:extLst>
              <a:ext uri="{FF2B5EF4-FFF2-40B4-BE49-F238E27FC236}">
                <a16:creationId xmlns:a16="http://schemas.microsoft.com/office/drawing/2014/main" id="{512B0104-B1C9-4E48-B1EB-7719DDCB78D7}"/>
              </a:ext>
              <a:ext uri="{C183D7F6-B498-43B3-948B-1728B52AA6E4}">
                <adec:decorative xmlns:adec="http://schemas.microsoft.com/office/drawing/2017/decorative" val="1"/>
              </a:ext>
            </a:extLst>
          </p:cNvPr>
          <p:cNvGrpSpPr>
            <a:grpSpLocks noChangeAspect="1"/>
          </p:cNvGrpSpPr>
          <p:nvPr/>
        </p:nvGrpSpPr>
        <p:grpSpPr>
          <a:xfrm>
            <a:off x="461364" y="5862175"/>
            <a:ext cx="677042" cy="633600"/>
            <a:chOff x="237945" y="6890804"/>
            <a:chExt cx="677042" cy="633600"/>
          </a:xfrm>
        </p:grpSpPr>
        <p:sp>
          <p:nvSpPr>
            <p:cNvPr id="909" name="Freeform 168">
              <a:extLst>
                <a:ext uri="{FF2B5EF4-FFF2-40B4-BE49-F238E27FC236}">
                  <a16:creationId xmlns:a16="http://schemas.microsoft.com/office/drawing/2014/main" id="{1F7666ED-F1FB-491B-BA6F-DC316695E5A7}"/>
                </a:ext>
              </a:extLst>
            </p:cNvPr>
            <p:cNvSpPr>
              <a:spLocks/>
            </p:cNvSpPr>
            <p:nvPr/>
          </p:nvSpPr>
          <p:spPr bwMode="auto">
            <a:xfrm>
              <a:off x="237945" y="6890804"/>
              <a:ext cx="677042" cy="633600"/>
            </a:xfrm>
            <a:custGeom>
              <a:avLst/>
              <a:gdLst>
                <a:gd name="T0" fmla="*/ 43 w 300"/>
                <a:gd name="T1" fmla="*/ 219 h 280"/>
                <a:gd name="T2" fmla="*/ 72 w 300"/>
                <a:gd name="T3" fmla="*/ 42 h 280"/>
                <a:gd name="T4" fmla="*/ 256 w 300"/>
                <a:gd name="T5" fmla="*/ 68 h 280"/>
                <a:gd name="T6" fmla="*/ 223 w 300"/>
                <a:gd name="T7" fmla="*/ 239 h 280"/>
                <a:gd name="T8" fmla="*/ 43 w 300"/>
                <a:gd name="T9" fmla="*/ 219 h 280"/>
              </a:gdLst>
              <a:ahLst/>
              <a:cxnLst>
                <a:cxn ang="0">
                  <a:pos x="T0" y="T1"/>
                </a:cxn>
                <a:cxn ang="0">
                  <a:pos x="T2" y="T3"/>
                </a:cxn>
                <a:cxn ang="0">
                  <a:pos x="T4" y="T5"/>
                </a:cxn>
                <a:cxn ang="0">
                  <a:pos x="T6" y="T7"/>
                </a:cxn>
                <a:cxn ang="0">
                  <a:pos x="T8" y="T9"/>
                </a:cxn>
              </a:cxnLst>
              <a:rect l="0" t="0" r="r" b="b"/>
              <a:pathLst>
                <a:path w="300" h="280">
                  <a:moveTo>
                    <a:pt x="43" y="219"/>
                  </a:moveTo>
                  <a:cubicBezTo>
                    <a:pt x="0" y="163"/>
                    <a:pt x="13" y="84"/>
                    <a:pt x="72" y="42"/>
                  </a:cubicBezTo>
                  <a:cubicBezTo>
                    <a:pt x="131" y="0"/>
                    <a:pt x="213" y="12"/>
                    <a:pt x="256" y="68"/>
                  </a:cubicBezTo>
                  <a:cubicBezTo>
                    <a:pt x="300" y="124"/>
                    <a:pt x="282" y="197"/>
                    <a:pt x="223" y="239"/>
                  </a:cubicBezTo>
                  <a:cubicBezTo>
                    <a:pt x="164" y="280"/>
                    <a:pt x="86" y="275"/>
                    <a:pt x="43" y="21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10" name="Group 909">
              <a:extLst>
                <a:ext uri="{FF2B5EF4-FFF2-40B4-BE49-F238E27FC236}">
                  <a16:creationId xmlns:a16="http://schemas.microsoft.com/office/drawing/2014/main" id="{D669EE34-5877-4ED6-B970-8862C571CCD1}"/>
                </a:ext>
              </a:extLst>
            </p:cNvPr>
            <p:cNvGrpSpPr>
              <a:grpSpLocks noChangeAspect="1"/>
            </p:cNvGrpSpPr>
            <p:nvPr/>
          </p:nvGrpSpPr>
          <p:grpSpPr>
            <a:xfrm>
              <a:off x="396466" y="7036327"/>
              <a:ext cx="360000" cy="359894"/>
              <a:chOff x="1713790" y="3090130"/>
              <a:chExt cx="319563" cy="319468"/>
            </a:xfrm>
            <a:solidFill>
              <a:schemeClr val="bg1"/>
            </a:solidFill>
          </p:grpSpPr>
          <p:sp>
            <p:nvSpPr>
              <p:cNvPr id="911" name="Freeform: Shape 910">
                <a:extLst>
                  <a:ext uri="{FF2B5EF4-FFF2-40B4-BE49-F238E27FC236}">
                    <a16:creationId xmlns:a16="http://schemas.microsoft.com/office/drawing/2014/main" id="{34A9DC61-C527-4E5A-934D-03EE080DE196}"/>
                  </a:ext>
                </a:extLst>
              </p:cNvPr>
              <p:cNvSpPr/>
              <p:nvPr/>
            </p:nvSpPr>
            <p:spPr>
              <a:xfrm>
                <a:off x="1714266" y="3090320"/>
                <a:ext cx="319087" cy="319278"/>
              </a:xfrm>
              <a:custGeom>
                <a:avLst/>
                <a:gdLst>
                  <a:gd name="connsiteX0" fmla="*/ 289571 w 319087"/>
                  <a:gd name="connsiteY0" fmla="*/ 243312 h 319278"/>
                  <a:gd name="connsiteX1" fmla="*/ 271378 w 319087"/>
                  <a:gd name="connsiteY1" fmla="*/ 247503 h 319278"/>
                  <a:gd name="connsiteX2" fmla="*/ 71353 w 319087"/>
                  <a:gd name="connsiteY2" fmla="*/ 47478 h 319278"/>
                  <a:gd name="connsiteX3" fmla="*/ 75639 w 319087"/>
                  <a:gd name="connsiteY3" fmla="*/ 29190 h 319278"/>
                  <a:gd name="connsiteX4" fmla="*/ 53160 w 319087"/>
                  <a:gd name="connsiteY4" fmla="*/ -147 h 319278"/>
                  <a:gd name="connsiteX5" fmla="*/ 30776 w 319087"/>
                  <a:gd name="connsiteY5" fmla="*/ 29190 h 319278"/>
                  <a:gd name="connsiteX6" fmla="*/ 30776 w 319087"/>
                  <a:gd name="connsiteY6" fmla="*/ 30714 h 319278"/>
                  <a:gd name="connsiteX7" fmla="*/ 29348 w 319087"/>
                  <a:gd name="connsiteY7" fmla="*/ 30714 h 319278"/>
                  <a:gd name="connsiteX8" fmla="*/ -85 w 319087"/>
                  <a:gd name="connsiteY8" fmla="*/ 53098 h 319278"/>
                  <a:gd name="connsiteX9" fmla="*/ 29348 w 319087"/>
                  <a:gd name="connsiteY9" fmla="*/ 75482 h 319278"/>
                  <a:gd name="connsiteX10" fmla="*/ 47540 w 319087"/>
                  <a:gd name="connsiteY10" fmla="*/ 71386 h 319278"/>
                  <a:gd name="connsiteX11" fmla="*/ 247565 w 319087"/>
                  <a:gd name="connsiteY11" fmla="*/ 271411 h 319278"/>
                  <a:gd name="connsiteX12" fmla="*/ 243279 w 319087"/>
                  <a:gd name="connsiteY12" fmla="*/ 289699 h 319278"/>
                  <a:gd name="connsiteX13" fmla="*/ 265758 w 319087"/>
                  <a:gd name="connsiteY13" fmla="*/ 319132 h 319278"/>
                  <a:gd name="connsiteX14" fmla="*/ 288142 w 319087"/>
                  <a:gd name="connsiteY14" fmla="*/ 289699 h 319278"/>
                  <a:gd name="connsiteX15" fmla="*/ 288142 w 319087"/>
                  <a:gd name="connsiteY15" fmla="*/ 288270 h 319278"/>
                  <a:gd name="connsiteX16" fmla="*/ 289571 w 319087"/>
                  <a:gd name="connsiteY16" fmla="*/ 288270 h 319278"/>
                  <a:gd name="connsiteX17" fmla="*/ 319003 w 319087"/>
                  <a:gd name="connsiteY17" fmla="*/ 265791 h 319278"/>
                  <a:gd name="connsiteX18" fmla="*/ 289571 w 319087"/>
                  <a:gd name="connsiteY18" fmla="*/ 243312 h 31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9087" h="319278">
                    <a:moveTo>
                      <a:pt x="289571" y="243312"/>
                    </a:moveTo>
                    <a:cubicBezTo>
                      <a:pt x="283240" y="243049"/>
                      <a:pt x="276955" y="244496"/>
                      <a:pt x="271378" y="247503"/>
                    </a:cubicBezTo>
                    <a:lnTo>
                      <a:pt x="71353" y="47478"/>
                    </a:lnTo>
                    <a:cubicBezTo>
                      <a:pt x="74285" y="41836"/>
                      <a:pt x="75759" y="35549"/>
                      <a:pt x="75639" y="29190"/>
                    </a:cubicBezTo>
                    <a:cubicBezTo>
                      <a:pt x="75639" y="12426"/>
                      <a:pt x="66114" y="-147"/>
                      <a:pt x="53160" y="-147"/>
                    </a:cubicBezTo>
                    <a:cubicBezTo>
                      <a:pt x="40206" y="-147"/>
                      <a:pt x="30776" y="12426"/>
                      <a:pt x="30776" y="29190"/>
                    </a:cubicBezTo>
                    <a:lnTo>
                      <a:pt x="30776" y="30714"/>
                    </a:lnTo>
                    <a:lnTo>
                      <a:pt x="29348" y="30714"/>
                    </a:lnTo>
                    <a:cubicBezTo>
                      <a:pt x="12488" y="30714"/>
                      <a:pt x="-85" y="40239"/>
                      <a:pt x="-85" y="53098"/>
                    </a:cubicBezTo>
                    <a:cubicBezTo>
                      <a:pt x="-85" y="65957"/>
                      <a:pt x="12488" y="75482"/>
                      <a:pt x="29348" y="75482"/>
                    </a:cubicBezTo>
                    <a:cubicBezTo>
                      <a:pt x="35654" y="75606"/>
                      <a:pt x="41896" y="74201"/>
                      <a:pt x="47540" y="71386"/>
                    </a:cubicBezTo>
                    <a:lnTo>
                      <a:pt x="247565" y="271411"/>
                    </a:lnTo>
                    <a:cubicBezTo>
                      <a:pt x="244633" y="277054"/>
                      <a:pt x="243159" y="283341"/>
                      <a:pt x="243279" y="289699"/>
                    </a:cubicBezTo>
                    <a:cubicBezTo>
                      <a:pt x="243279" y="305034"/>
                      <a:pt x="252804" y="319132"/>
                      <a:pt x="265758" y="319132"/>
                    </a:cubicBezTo>
                    <a:cubicBezTo>
                      <a:pt x="278712" y="319132"/>
                      <a:pt x="288142" y="305034"/>
                      <a:pt x="288142" y="289699"/>
                    </a:cubicBezTo>
                    <a:lnTo>
                      <a:pt x="288142" y="288270"/>
                    </a:lnTo>
                    <a:lnTo>
                      <a:pt x="289571" y="288270"/>
                    </a:lnTo>
                    <a:cubicBezTo>
                      <a:pt x="306430" y="288270"/>
                      <a:pt x="319003" y="278745"/>
                      <a:pt x="319003" y="265791"/>
                    </a:cubicBezTo>
                    <a:cubicBezTo>
                      <a:pt x="319003" y="252837"/>
                      <a:pt x="306430" y="243312"/>
                      <a:pt x="289571" y="243312"/>
                    </a:cubicBezTo>
                    <a:close/>
                  </a:path>
                </a:pathLst>
              </a:custGeom>
              <a:grpFill/>
              <a:ln w="9525" cap="flat">
                <a:noFill/>
                <a:prstDash val="solid"/>
                <a:miter/>
              </a:ln>
            </p:spPr>
            <p:txBody>
              <a:bodyPr rtlCol="0" anchor="ctr"/>
              <a:lstStyle/>
              <a:p>
                <a:endParaRPr lang="en-US"/>
              </a:p>
            </p:txBody>
          </p:sp>
          <p:sp>
            <p:nvSpPr>
              <p:cNvPr id="912" name="Freeform: Shape 911">
                <a:extLst>
                  <a:ext uri="{FF2B5EF4-FFF2-40B4-BE49-F238E27FC236}">
                    <a16:creationId xmlns:a16="http://schemas.microsoft.com/office/drawing/2014/main" id="{62BB5629-10B0-400E-BC22-8E70CA42FE3C}"/>
                  </a:ext>
                </a:extLst>
              </p:cNvPr>
              <p:cNvSpPr/>
              <p:nvPr/>
            </p:nvSpPr>
            <p:spPr>
              <a:xfrm>
                <a:off x="1713790" y="3090130"/>
                <a:ext cx="319563" cy="319182"/>
              </a:xfrm>
              <a:custGeom>
                <a:avLst/>
                <a:gdLst>
                  <a:gd name="connsiteX0" fmla="*/ 290047 w 319563"/>
                  <a:gd name="connsiteY0" fmla="*/ 30715 h 319182"/>
                  <a:gd name="connsiteX1" fmla="*/ 288618 w 319563"/>
                  <a:gd name="connsiteY1" fmla="*/ 30715 h 319182"/>
                  <a:gd name="connsiteX2" fmla="*/ 288618 w 319563"/>
                  <a:gd name="connsiteY2" fmla="*/ 29190 h 319182"/>
                  <a:gd name="connsiteX3" fmla="*/ 266234 w 319563"/>
                  <a:gd name="connsiteY3" fmla="*/ -147 h 319182"/>
                  <a:gd name="connsiteX4" fmla="*/ 243755 w 319563"/>
                  <a:gd name="connsiteY4" fmla="*/ 29190 h 319182"/>
                  <a:gd name="connsiteX5" fmla="*/ 249375 w 319563"/>
                  <a:gd name="connsiteY5" fmla="*/ 47478 h 319182"/>
                  <a:gd name="connsiteX6" fmla="*/ 47540 w 319563"/>
                  <a:gd name="connsiteY6" fmla="*/ 247503 h 319182"/>
                  <a:gd name="connsiteX7" fmla="*/ 29348 w 319563"/>
                  <a:gd name="connsiteY7" fmla="*/ 243312 h 319182"/>
                  <a:gd name="connsiteX8" fmla="*/ -85 w 319563"/>
                  <a:gd name="connsiteY8" fmla="*/ 265696 h 319182"/>
                  <a:gd name="connsiteX9" fmla="*/ 29348 w 319563"/>
                  <a:gd name="connsiteY9" fmla="*/ 288175 h 319182"/>
                  <a:gd name="connsiteX10" fmla="*/ 30776 w 319563"/>
                  <a:gd name="connsiteY10" fmla="*/ 288175 h 319182"/>
                  <a:gd name="connsiteX11" fmla="*/ 30776 w 319563"/>
                  <a:gd name="connsiteY11" fmla="*/ 289604 h 319182"/>
                  <a:gd name="connsiteX12" fmla="*/ 53160 w 319563"/>
                  <a:gd name="connsiteY12" fmla="*/ 319036 h 319182"/>
                  <a:gd name="connsiteX13" fmla="*/ 75639 w 319563"/>
                  <a:gd name="connsiteY13" fmla="*/ 289604 h 319182"/>
                  <a:gd name="connsiteX14" fmla="*/ 71353 w 319563"/>
                  <a:gd name="connsiteY14" fmla="*/ 271316 h 319182"/>
                  <a:gd name="connsiteX15" fmla="*/ 273188 w 319563"/>
                  <a:gd name="connsiteY15" fmla="*/ 71291 h 319182"/>
                  <a:gd name="connsiteX16" fmla="*/ 290047 w 319563"/>
                  <a:gd name="connsiteY16" fmla="*/ 75387 h 319182"/>
                  <a:gd name="connsiteX17" fmla="*/ 319479 w 319563"/>
                  <a:gd name="connsiteY17" fmla="*/ 53003 h 319182"/>
                  <a:gd name="connsiteX18" fmla="*/ 290047 w 319563"/>
                  <a:gd name="connsiteY18" fmla="*/ 30715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9563" h="319182">
                    <a:moveTo>
                      <a:pt x="290047" y="30715"/>
                    </a:moveTo>
                    <a:lnTo>
                      <a:pt x="288618" y="30715"/>
                    </a:lnTo>
                    <a:lnTo>
                      <a:pt x="288618" y="29190"/>
                    </a:lnTo>
                    <a:cubicBezTo>
                      <a:pt x="288618" y="12427"/>
                      <a:pt x="279093" y="-147"/>
                      <a:pt x="266234" y="-147"/>
                    </a:cubicBezTo>
                    <a:cubicBezTo>
                      <a:pt x="253376" y="-147"/>
                      <a:pt x="243755" y="12427"/>
                      <a:pt x="243755" y="29190"/>
                    </a:cubicBezTo>
                    <a:cubicBezTo>
                      <a:pt x="243472" y="35751"/>
                      <a:pt x="245456" y="42209"/>
                      <a:pt x="249375" y="47478"/>
                    </a:cubicBezTo>
                    <a:lnTo>
                      <a:pt x="47540" y="247503"/>
                    </a:lnTo>
                    <a:cubicBezTo>
                      <a:pt x="41963" y="244496"/>
                      <a:pt x="35678" y="243049"/>
                      <a:pt x="29348" y="243312"/>
                    </a:cubicBezTo>
                    <a:cubicBezTo>
                      <a:pt x="12488" y="243312"/>
                      <a:pt x="-85" y="252837"/>
                      <a:pt x="-85" y="265696"/>
                    </a:cubicBezTo>
                    <a:cubicBezTo>
                      <a:pt x="-85" y="278555"/>
                      <a:pt x="12488" y="288175"/>
                      <a:pt x="29348" y="288175"/>
                    </a:cubicBezTo>
                    <a:lnTo>
                      <a:pt x="30776" y="288175"/>
                    </a:lnTo>
                    <a:lnTo>
                      <a:pt x="30776" y="289604"/>
                    </a:lnTo>
                    <a:cubicBezTo>
                      <a:pt x="30776" y="304939"/>
                      <a:pt x="40301" y="319036"/>
                      <a:pt x="53160" y="319036"/>
                    </a:cubicBezTo>
                    <a:cubicBezTo>
                      <a:pt x="66019" y="319036"/>
                      <a:pt x="75639" y="304939"/>
                      <a:pt x="75639" y="289604"/>
                    </a:cubicBezTo>
                    <a:cubicBezTo>
                      <a:pt x="75759" y="283246"/>
                      <a:pt x="74286" y="276959"/>
                      <a:pt x="71353" y="271316"/>
                    </a:cubicBezTo>
                    <a:lnTo>
                      <a:pt x="273188" y="71291"/>
                    </a:lnTo>
                    <a:cubicBezTo>
                      <a:pt x="278292" y="74261"/>
                      <a:pt x="284149" y="75683"/>
                      <a:pt x="290047" y="75387"/>
                    </a:cubicBezTo>
                    <a:cubicBezTo>
                      <a:pt x="306906" y="75387"/>
                      <a:pt x="319479" y="65862"/>
                      <a:pt x="319479" y="53003"/>
                    </a:cubicBezTo>
                    <a:cubicBezTo>
                      <a:pt x="319479" y="40144"/>
                      <a:pt x="306906" y="30715"/>
                      <a:pt x="290047" y="30715"/>
                    </a:cubicBezTo>
                    <a:close/>
                  </a:path>
                </a:pathLst>
              </a:custGeom>
              <a:grpFill/>
              <a:ln w="9525" cap="flat">
                <a:noFill/>
                <a:prstDash val="solid"/>
                <a:miter/>
              </a:ln>
            </p:spPr>
            <p:txBody>
              <a:bodyPr rtlCol="0" anchor="ctr"/>
              <a:lstStyle/>
              <a:p>
                <a:endParaRPr lang="en-US"/>
              </a:p>
            </p:txBody>
          </p:sp>
          <p:sp>
            <p:nvSpPr>
              <p:cNvPr id="917" name="Freeform: Shape 916">
                <a:extLst>
                  <a:ext uri="{FF2B5EF4-FFF2-40B4-BE49-F238E27FC236}">
                    <a16:creationId xmlns:a16="http://schemas.microsoft.com/office/drawing/2014/main" id="{BD1D98CA-4DFA-4EAB-984D-575FC10EE50F}"/>
                  </a:ext>
                </a:extLst>
              </p:cNvPr>
              <p:cNvSpPr/>
              <p:nvPr/>
            </p:nvSpPr>
            <p:spPr>
              <a:xfrm>
                <a:off x="1787513" y="3134421"/>
                <a:ext cx="173080" cy="193120"/>
              </a:xfrm>
              <a:custGeom>
                <a:avLst/>
                <a:gdLst>
                  <a:gd name="connsiteX0" fmla="*/ 172985 w 173080"/>
                  <a:gd name="connsiteY0" fmla="*/ 80816 h 193120"/>
                  <a:gd name="connsiteX1" fmla="*/ 86498 w 173080"/>
                  <a:gd name="connsiteY1" fmla="*/ -147 h 193120"/>
                  <a:gd name="connsiteX2" fmla="*/ -85 w 173080"/>
                  <a:gd name="connsiteY2" fmla="*/ 80816 h 193120"/>
                  <a:gd name="connsiteX3" fmla="*/ 16203 w 173080"/>
                  <a:gd name="connsiteY3" fmla="*/ 128441 h 193120"/>
                  <a:gd name="connsiteX4" fmla="*/ 13727 w 173080"/>
                  <a:gd name="connsiteY4" fmla="*/ 157587 h 193120"/>
                  <a:gd name="connsiteX5" fmla="*/ 21251 w 173080"/>
                  <a:gd name="connsiteY5" fmla="*/ 162636 h 193120"/>
                  <a:gd name="connsiteX6" fmla="*/ 48779 w 173080"/>
                  <a:gd name="connsiteY6" fmla="*/ 173970 h 193120"/>
                  <a:gd name="connsiteX7" fmla="*/ 48779 w 173080"/>
                  <a:gd name="connsiteY7" fmla="*/ 182829 h 193120"/>
                  <a:gd name="connsiteX8" fmla="*/ 65162 w 173080"/>
                  <a:gd name="connsiteY8" fmla="*/ 190449 h 193120"/>
                  <a:gd name="connsiteX9" fmla="*/ 68210 w 173080"/>
                  <a:gd name="connsiteY9" fmla="*/ 190449 h 193120"/>
                  <a:gd name="connsiteX10" fmla="*/ 69448 w 173080"/>
                  <a:gd name="connsiteY10" fmla="*/ 191687 h 193120"/>
                  <a:gd name="connsiteX11" fmla="*/ 85736 w 173080"/>
                  <a:gd name="connsiteY11" fmla="*/ 192925 h 193120"/>
                  <a:gd name="connsiteX12" fmla="*/ 88307 w 173080"/>
                  <a:gd name="connsiteY12" fmla="*/ 192925 h 193120"/>
                  <a:gd name="connsiteX13" fmla="*/ 107357 w 173080"/>
                  <a:gd name="connsiteY13" fmla="*/ 190449 h 193120"/>
                  <a:gd name="connsiteX14" fmla="*/ 109929 w 173080"/>
                  <a:gd name="connsiteY14" fmla="*/ 190449 h 193120"/>
                  <a:gd name="connsiteX15" fmla="*/ 123645 w 173080"/>
                  <a:gd name="connsiteY15" fmla="*/ 182829 h 193120"/>
                  <a:gd name="connsiteX16" fmla="*/ 123645 w 173080"/>
                  <a:gd name="connsiteY16" fmla="*/ 172732 h 193120"/>
                  <a:gd name="connsiteX17" fmla="*/ 150029 w 173080"/>
                  <a:gd name="connsiteY17" fmla="*/ 162636 h 193120"/>
                  <a:gd name="connsiteX18" fmla="*/ 150029 w 173080"/>
                  <a:gd name="connsiteY18" fmla="*/ 162636 h 193120"/>
                  <a:gd name="connsiteX19" fmla="*/ 157554 w 173080"/>
                  <a:gd name="connsiteY19" fmla="*/ 157587 h 193120"/>
                  <a:gd name="connsiteX20" fmla="*/ 156316 w 173080"/>
                  <a:gd name="connsiteY20" fmla="*/ 129679 h 193120"/>
                  <a:gd name="connsiteX21" fmla="*/ 172985 w 173080"/>
                  <a:gd name="connsiteY21" fmla="*/ 80816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3080" h="193120">
                    <a:moveTo>
                      <a:pt x="172985" y="80816"/>
                    </a:moveTo>
                    <a:cubicBezTo>
                      <a:pt x="172985" y="36525"/>
                      <a:pt x="134123" y="-147"/>
                      <a:pt x="86498" y="-147"/>
                    </a:cubicBezTo>
                    <a:cubicBezTo>
                      <a:pt x="38873" y="-147"/>
                      <a:pt x="-85" y="36525"/>
                      <a:pt x="-85" y="80816"/>
                    </a:cubicBezTo>
                    <a:cubicBezTo>
                      <a:pt x="238" y="98002"/>
                      <a:pt x="5933" y="114657"/>
                      <a:pt x="16203" y="128441"/>
                    </a:cubicBezTo>
                    <a:cubicBezTo>
                      <a:pt x="11792" y="137513"/>
                      <a:pt x="10909" y="147901"/>
                      <a:pt x="13727" y="157587"/>
                    </a:cubicBezTo>
                    <a:cubicBezTo>
                      <a:pt x="15938" y="159676"/>
                      <a:pt x="18481" y="161382"/>
                      <a:pt x="21251" y="162636"/>
                    </a:cubicBezTo>
                    <a:cubicBezTo>
                      <a:pt x="30853" y="165283"/>
                      <a:pt x="40097" y="169090"/>
                      <a:pt x="48779" y="173970"/>
                    </a:cubicBezTo>
                    <a:lnTo>
                      <a:pt x="48779" y="182829"/>
                    </a:lnTo>
                    <a:cubicBezTo>
                      <a:pt x="48779" y="185400"/>
                      <a:pt x="50112" y="187877"/>
                      <a:pt x="65162" y="190449"/>
                    </a:cubicBezTo>
                    <a:lnTo>
                      <a:pt x="68210" y="190449"/>
                    </a:lnTo>
                    <a:cubicBezTo>
                      <a:pt x="68210" y="191133"/>
                      <a:pt x="68764" y="191687"/>
                      <a:pt x="69448" y="191687"/>
                    </a:cubicBezTo>
                    <a:cubicBezTo>
                      <a:pt x="74813" y="192710"/>
                      <a:pt x="80277" y="193126"/>
                      <a:pt x="85736" y="192925"/>
                    </a:cubicBezTo>
                    <a:lnTo>
                      <a:pt x="88307" y="192925"/>
                    </a:lnTo>
                    <a:cubicBezTo>
                      <a:pt x="94716" y="192641"/>
                      <a:pt x="101089" y="191813"/>
                      <a:pt x="107357" y="190449"/>
                    </a:cubicBezTo>
                    <a:lnTo>
                      <a:pt x="109929" y="190449"/>
                    </a:lnTo>
                    <a:cubicBezTo>
                      <a:pt x="121169" y="187877"/>
                      <a:pt x="123645" y="185400"/>
                      <a:pt x="123645" y="182829"/>
                    </a:cubicBezTo>
                    <a:lnTo>
                      <a:pt x="123645" y="172732"/>
                    </a:lnTo>
                    <a:cubicBezTo>
                      <a:pt x="132121" y="168585"/>
                      <a:pt x="140951" y="165206"/>
                      <a:pt x="150029" y="162636"/>
                    </a:cubicBezTo>
                    <a:lnTo>
                      <a:pt x="150029" y="162636"/>
                    </a:lnTo>
                    <a:cubicBezTo>
                      <a:pt x="153101" y="162001"/>
                      <a:pt x="155802" y="160189"/>
                      <a:pt x="157554" y="157587"/>
                    </a:cubicBezTo>
                    <a:cubicBezTo>
                      <a:pt x="161269" y="151206"/>
                      <a:pt x="160031" y="142347"/>
                      <a:pt x="156316" y="129679"/>
                    </a:cubicBezTo>
                    <a:cubicBezTo>
                      <a:pt x="167389" y="115827"/>
                      <a:pt x="173283" y="98547"/>
                      <a:pt x="172985" y="80816"/>
                    </a:cubicBezTo>
                    <a:close/>
                  </a:path>
                </a:pathLst>
              </a:custGeom>
              <a:solidFill>
                <a:schemeClr val="accent4"/>
              </a:solidFill>
              <a:ln w="9525" cap="flat">
                <a:noFill/>
                <a:prstDash val="solid"/>
                <a:miter/>
              </a:ln>
            </p:spPr>
            <p:txBody>
              <a:bodyPr rtlCol="0" anchor="ctr"/>
              <a:lstStyle/>
              <a:p>
                <a:endParaRPr lang="en-US"/>
              </a:p>
            </p:txBody>
          </p:sp>
          <p:sp>
            <p:nvSpPr>
              <p:cNvPr id="918" name="Freeform: Shape 917">
                <a:extLst>
                  <a:ext uri="{FF2B5EF4-FFF2-40B4-BE49-F238E27FC236}">
                    <a16:creationId xmlns:a16="http://schemas.microsoft.com/office/drawing/2014/main" id="{246070E5-5794-4BFA-9CB4-9C9C8F7DE4D5}"/>
                  </a:ext>
                </a:extLst>
              </p:cNvPr>
              <p:cNvSpPr/>
              <p:nvPr/>
            </p:nvSpPr>
            <p:spPr>
              <a:xfrm>
                <a:off x="1827256" y="3332798"/>
                <a:ext cx="92630" cy="46331"/>
              </a:xfrm>
              <a:custGeom>
                <a:avLst/>
                <a:gdLst>
                  <a:gd name="connsiteX0" fmla="*/ 46945 w 92630"/>
                  <a:gd name="connsiteY0" fmla="*/ 20753 h 46331"/>
                  <a:gd name="connsiteX1" fmla="*/ 82 w 92630"/>
                  <a:gd name="connsiteY1" fmla="*/ 1036 h 46331"/>
                  <a:gd name="connsiteX2" fmla="*/ 11417 w 92630"/>
                  <a:gd name="connsiteY2" fmla="*/ 34850 h 46331"/>
                  <a:gd name="connsiteX3" fmla="*/ 46945 w 92630"/>
                  <a:gd name="connsiteY3" fmla="*/ 46184 h 46331"/>
                  <a:gd name="connsiteX4" fmla="*/ 81044 w 92630"/>
                  <a:gd name="connsiteY4" fmla="*/ 34850 h 46331"/>
                  <a:gd name="connsiteX5" fmla="*/ 92379 w 92630"/>
                  <a:gd name="connsiteY5" fmla="*/ 1036 h 46331"/>
                  <a:gd name="connsiteX6" fmla="*/ 46945 w 92630"/>
                  <a:gd name="connsiteY6" fmla="*/ 20753 h 4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30" h="46331">
                    <a:moveTo>
                      <a:pt x="46945" y="20753"/>
                    </a:moveTo>
                    <a:cubicBezTo>
                      <a:pt x="11417" y="20753"/>
                      <a:pt x="82" y="-6013"/>
                      <a:pt x="82" y="1036"/>
                    </a:cubicBezTo>
                    <a:cubicBezTo>
                      <a:pt x="-986" y="13391"/>
                      <a:pt x="3118" y="25635"/>
                      <a:pt x="11417" y="34850"/>
                    </a:cubicBezTo>
                    <a:cubicBezTo>
                      <a:pt x="21835" y="42145"/>
                      <a:pt x="34226" y="46099"/>
                      <a:pt x="46945" y="46184"/>
                    </a:cubicBezTo>
                    <a:cubicBezTo>
                      <a:pt x="59185" y="45878"/>
                      <a:pt x="71056" y="41932"/>
                      <a:pt x="81044" y="34850"/>
                    </a:cubicBezTo>
                    <a:cubicBezTo>
                      <a:pt x="89343" y="25635"/>
                      <a:pt x="93447" y="13391"/>
                      <a:pt x="92379" y="1036"/>
                    </a:cubicBezTo>
                    <a:cubicBezTo>
                      <a:pt x="92379" y="-5822"/>
                      <a:pt x="81044" y="20753"/>
                      <a:pt x="46945" y="20753"/>
                    </a:cubicBezTo>
                    <a:close/>
                  </a:path>
                </a:pathLst>
              </a:custGeom>
              <a:grpFill/>
              <a:ln w="9525" cap="flat">
                <a:noFill/>
                <a:prstDash val="solid"/>
                <a:miter/>
              </a:ln>
            </p:spPr>
            <p:txBody>
              <a:bodyPr rtlCol="0" anchor="ctr"/>
              <a:lstStyle/>
              <a:p>
                <a:endParaRPr lang="en-US"/>
              </a:p>
            </p:txBody>
          </p:sp>
          <p:sp>
            <p:nvSpPr>
              <p:cNvPr id="919" name="Freeform: Shape 918">
                <a:extLst>
                  <a:ext uri="{FF2B5EF4-FFF2-40B4-BE49-F238E27FC236}">
                    <a16:creationId xmlns:a16="http://schemas.microsoft.com/office/drawing/2014/main" id="{610C0CF7-3A7A-427B-8924-E989F1467215}"/>
                  </a:ext>
                </a:extLst>
              </p:cNvPr>
              <p:cNvSpPr/>
              <p:nvPr/>
            </p:nvSpPr>
            <p:spPr>
              <a:xfrm>
                <a:off x="1777988" y="3123277"/>
                <a:ext cx="192503" cy="215418"/>
              </a:xfrm>
              <a:custGeom>
                <a:avLst/>
                <a:gdLst>
                  <a:gd name="connsiteX0" fmla="*/ 96213 w 192503"/>
                  <a:gd name="connsiteY0" fmla="*/ 14141 h 215418"/>
                  <a:gd name="connsiteX1" fmla="*/ 178414 w 192503"/>
                  <a:gd name="connsiteY1" fmla="*/ 90341 h 215418"/>
                  <a:gd name="connsiteX2" fmla="*/ 162031 w 192503"/>
                  <a:gd name="connsiteY2" fmla="*/ 136347 h 215418"/>
                  <a:gd name="connsiteX3" fmla="*/ 157364 w 192503"/>
                  <a:gd name="connsiteY3" fmla="*/ 142157 h 215418"/>
                  <a:gd name="connsiteX4" fmla="*/ 159459 w 192503"/>
                  <a:gd name="connsiteY4" fmla="*/ 149206 h 215418"/>
                  <a:gd name="connsiteX5" fmla="*/ 162602 w 192503"/>
                  <a:gd name="connsiteY5" fmla="*/ 168256 h 215418"/>
                  <a:gd name="connsiteX6" fmla="*/ 161840 w 192503"/>
                  <a:gd name="connsiteY6" fmla="*/ 168256 h 215418"/>
                  <a:gd name="connsiteX7" fmla="*/ 130313 w 192503"/>
                  <a:gd name="connsiteY7" fmla="*/ 180448 h 215418"/>
                  <a:gd name="connsiteX8" fmla="*/ 122597 w 192503"/>
                  <a:gd name="connsiteY8" fmla="*/ 184353 h 215418"/>
                  <a:gd name="connsiteX9" fmla="*/ 122597 w 192503"/>
                  <a:gd name="connsiteY9" fmla="*/ 197878 h 215418"/>
                  <a:gd name="connsiteX10" fmla="*/ 119645 w 192503"/>
                  <a:gd name="connsiteY10" fmla="*/ 198640 h 215418"/>
                  <a:gd name="connsiteX11" fmla="*/ 117073 w 192503"/>
                  <a:gd name="connsiteY11" fmla="*/ 198640 h 215418"/>
                  <a:gd name="connsiteX12" fmla="*/ 115739 w 192503"/>
                  <a:gd name="connsiteY12" fmla="*/ 198640 h 215418"/>
                  <a:gd name="connsiteX13" fmla="*/ 97547 w 192503"/>
                  <a:gd name="connsiteY13" fmla="*/ 201117 h 215418"/>
                  <a:gd name="connsiteX14" fmla="*/ 89260 w 192503"/>
                  <a:gd name="connsiteY14" fmla="*/ 201117 h 215418"/>
                  <a:gd name="connsiteX15" fmla="*/ 89260 w 192503"/>
                  <a:gd name="connsiteY15" fmla="*/ 198355 h 215418"/>
                  <a:gd name="connsiteX16" fmla="*/ 73639 w 192503"/>
                  <a:gd name="connsiteY16" fmla="*/ 198355 h 215418"/>
                  <a:gd name="connsiteX17" fmla="*/ 68305 w 192503"/>
                  <a:gd name="connsiteY17" fmla="*/ 197211 h 215418"/>
                  <a:gd name="connsiteX18" fmla="*/ 68305 w 192503"/>
                  <a:gd name="connsiteY18" fmla="*/ 187115 h 215418"/>
                  <a:gd name="connsiteX19" fmla="*/ 62780 w 192503"/>
                  <a:gd name="connsiteY19" fmla="*/ 182924 h 215418"/>
                  <a:gd name="connsiteX20" fmla="*/ 28776 w 192503"/>
                  <a:gd name="connsiteY20" fmla="*/ 168256 h 215418"/>
                  <a:gd name="connsiteX21" fmla="*/ 27538 w 192503"/>
                  <a:gd name="connsiteY21" fmla="*/ 167684 h 215418"/>
                  <a:gd name="connsiteX22" fmla="*/ 31253 w 192503"/>
                  <a:gd name="connsiteY22" fmla="*/ 148634 h 215418"/>
                  <a:gd name="connsiteX23" fmla="*/ 33729 w 192503"/>
                  <a:gd name="connsiteY23" fmla="*/ 141681 h 215418"/>
                  <a:gd name="connsiteX24" fmla="*/ 29443 w 192503"/>
                  <a:gd name="connsiteY24" fmla="*/ 135680 h 215418"/>
                  <a:gd name="connsiteX25" fmla="*/ 13917 w 192503"/>
                  <a:gd name="connsiteY25" fmla="*/ 90436 h 215418"/>
                  <a:gd name="connsiteX26" fmla="*/ 96213 w 192503"/>
                  <a:gd name="connsiteY26" fmla="*/ 14236 h 215418"/>
                  <a:gd name="connsiteX27" fmla="*/ 96213 w 192503"/>
                  <a:gd name="connsiteY27" fmla="*/ 139 h 215418"/>
                  <a:gd name="connsiteX28" fmla="*/ -85 w 192503"/>
                  <a:gd name="connsiteY28" fmla="*/ 90246 h 215418"/>
                  <a:gd name="connsiteX29" fmla="*/ 18013 w 192503"/>
                  <a:gd name="connsiteY29" fmla="*/ 143681 h 215418"/>
                  <a:gd name="connsiteX30" fmla="*/ 15251 w 192503"/>
                  <a:gd name="connsiteY30" fmla="*/ 176066 h 215418"/>
                  <a:gd name="connsiteX31" fmla="*/ 23633 w 192503"/>
                  <a:gd name="connsiteY31" fmla="*/ 181686 h 215418"/>
                  <a:gd name="connsiteX32" fmla="*/ 54303 w 192503"/>
                  <a:gd name="connsiteY32" fmla="*/ 194354 h 215418"/>
                  <a:gd name="connsiteX33" fmla="*/ 54303 w 192503"/>
                  <a:gd name="connsiteY33" fmla="*/ 203879 h 215418"/>
                  <a:gd name="connsiteX34" fmla="*/ 72401 w 192503"/>
                  <a:gd name="connsiteY34" fmla="*/ 212356 h 215418"/>
                  <a:gd name="connsiteX35" fmla="*/ 75258 w 192503"/>
                  <a:gd name="connsiteY35" fmla="*/ 212356 h 215418"/>
                  <a:gd name="connsiteX36" fmla="*/ 76592 w 192503"/>
                  <a:gd name="connsiteY36" fmla="*/ 213785 h 215418"/>
                  <a:gd name="connsiteX37" fmla="*/ 94784 w 192503"/>
                  <a:gd name="connsiteY37" fmla="*/ 215214 h 215418"/>
                  <a:gd name="connsiteX38" fmla="*/ 97547 w 192503"/>
                  <a:gd name="connsiteY38" fmla="*/ 215214 h 215418"/>
                  <a:gd name="connsiteX39" fmla="*/ 118502 w 192503"/>
                  <a:gd name="connsiteY39" fmla="*/ 212356 h 215418"/>
                  <a:gd name="connsiteX40" fmla="*/ 121264 w 192503"/>
                  <a:gd name="connsiteY40" fmla="*/ 212356 h 215418"/>
                  <a:gd name="connsiteX41" fmla="*/ 136599 w 192503"/>
                  <a:gd name="connsiteY41" fmla="*/ 203879 h 215418"/>
                  <a:gd name="connsiteX42" fmla="*/ 136599 w 192503"/>
                  <a:gd name="connsiteY42" fmla="*/ 192640 h 215418"/>
                  <a:gd name="connsiteX43" fmla="*/ 165936 w 192503"/>
                  <a:gd name="connsiteY43" fmla="*/ 181400 h 215418"/>
                  <a:gd name="connsiteX44" fmla="*/ 174318 w 192503"/>
                  <a:gd name="connsiteY44" fmla="*/ 175780 h 215418"/>
                  <a:gd name="connsiteX45" fmla="*/ 172889 w 192503"/>
                  <a:gd name="connsiteY45" fmla="*/ 144824 h 215418"/>
                  <a:gd name="connsiteX46" fmla="*/ 192416 w 192503"/>
                  <a:gd name="connsiteY46" fmla="*/ 89960 h 215418"/>
                  <a:gd name="connsiteX47" fmla="*/ 96213 w 192503"/>
                  <a:gd name="connsiteY47" fmla="*/ -147 h 215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92503" h="215418">
                    <a:moveTo>
                      <a:pt x="96213" y="14141"/>
                    </a:moveTo>
                    <a:cubicBezTo>
                      <a:pt x="141552" y="14141"/>
                      <a:pt x="178414" y="48240"/>
                      <a:pt x="178414" y="90341"/>
                    </a:cubicBezTo>
                    <a:cubicBezTo>
                      <a:pt x="178527" y="107125"/>
                      <a:pt x="172727" y="123412"/>
                      <a:pt x="162031" y="136347"/>
                    </a:cubicBezTo>
                    <a:lnTo>
                      <a:pt x="157364" y="142157"/>
                    </a:lnTo>
                    <a:lnTo>
                      <a:pt x="159459" y="149206"/>
                    </a:lnTo>
                    <a:cubicBezTo>
                      <a:pt x="161892" y="155248"/>
                      <a:pt x="162965" y="161752"/>
                      <a:pt x="162602" y="168256"/>
                    </a:cubicBezTo>
                    <a:lnTo>
                      <a:pt x="161840" y="168256"/>
                    </a:lnTo>
                    <a:cubicBezTo>
                      <a:pt x="151007" y="171426"/>
                      <a:pt x="140460" y="175504"/>
                      <a:pt x="130313" y="180448"/>
                    </a:cubicBezTo>
                    <a:lnTo>
                      <a:pt x="122597" y="184353"/>
                    </a:lnTo>
                    <a:lnTo>
                      <a:pt x="122597" y="197878"/>
                    </a:lnTo>
                    <a:lnTo>
                      <a:pt x="119645" y="198640"/>
                    </a:lnTo>
                    <a:lnTo>
                      <a:pt x="117073" y="198640"/>
                    </a:lnTo>
                    <a:lnTo>
                      <a:pt x="115739" y="198640"/>
                    </a:lnTo>
                    <a:cubicBezTo>
                      <a:pt x="109757" y="199984"/>
                      <a:pt x="103670" y="200813"/>
                      <a:pt x="97547" y="201117"/>
                    </a:cubicBezTo>
                    <a:lnTo>
                      <a:pt x="89260" y="201117"/>
                    </a:lnTo>
                    <a:lnTo>
                      <a:pt x="89260" y="198355"/>
                    </a:lnTo>
                    <a:lnTo>
                      <a:pt x="73639" y="198355"/>
                    </a:lnTo>
                    <a:lnTo>
                      <a:pt x="68305" y="197211"/>
                    </a:lnTo>
                    <a:lnTo>
                      <a:pt x="68305" y="187115"/>
                    </a:lnTo>
                    <a:lnTo>
                      <a:pt x="62780" y="182924"/>
                    </a:lnTo>
                    <a:cubicBezTo>
                      <a:pt x="52113" y="176613"/>
                      <a:pt x="40687" y="171684"/>
                      <a:pt x="28776" y="168256"/>
                    </a:cubicBezTo>
                    <a:lnTo>
                      <a:pt x="27538" y="167684"/>
                    </a:lnTo>
                    <a:cubicBezTo>
                      <a:pt x="27472" y="161148"/>
                      <a:pt x="28735" y="154666"/>
                      <a:pt x="31253" y="148634"/>
                    </a:cubicBezTo>
                    <a:lnTo>
                      <a:pt x="33729" y="141681"/>
                    </a:lnTo>
                    <a:lnTo>
                      <a:pt x="29443" y="135680"/>
                    </a:lnTo>
                    <a:cubicBezTo>
                      <a:pt x="19599" y="122628"/>
                      <a:pt x="14162" y="106783"/>
                      <a:pt x="13917" y="90436"/>
                    </a:cubicBezTo>
                    <a:cubicBezTo>
                      <a:pt x="13917" y="48526"/>
                      <a:pt x="50779" y="14236"/>
                      <a:pt x="96213" y="14236"/>
                    </a:cubicBezTo>
                    <a:moveTo>
                      <a:pt x="96213" y="139"/>
                    </a:moveTo>
                    <a:cubicBezTo>
                      <a:pt x="43159" y="139"/>
                      <a:pt x="-85" y="41002"/>
                      <a:pt x="-85" y="90246"/>
                    </a:cubicBezTo>
                    <a:cubicBezTo>
                      <a:pt x="145" y="109523"/>
                      <a:pt x="6481" y="128231"/>
                      <a:pt x="18013" y="143681"/>
                    </a:cubicBezTo>
                    <a:cubicBezTo>
                      <a:pt x="13200" y="153785"/>
                      <a:pt x="12218" y="165293"/>
                      <a:pt x="15251" y="176066"/>
                    </a:cubicBezTo>
                    <a:cubicBezTo>
                      <a:pt x="17674" y="178440"/>
                      <a:pt x="20516" y="180345"/>
                      <a:pt x="23633" y="181686"/>
                    </a:cubicBezTo>
                    <a:cubicBezTo>
                      <a:pt x="34309" y="184714"/>
                      <a:pt x="44601" y="188965"/>
                      <a:pt x="54303" y="194354"/>
                    </a:cubicBezTo>
                    <a:lnTo>
                      <a:pt x="54303" y="203879"/>
                    </a:lnTo>
                    <a:cubicBezTo>
                      <a:pt x="54303" y="206736"/>
                      <a:pt x="55732" y="209594"/>
                      <a:pt x="72401" y="212356"/>
                    </a:cubicBezTo>
                    <a:lnTo>
                      <a:pt x="75258" y="212356"/>
                    </a:lnTo>
                    <a:cubicBezTo>
                      <a:pt x="75258" y="212356"/>
                      <a:pt x="75258" y="213785"/>
                      <a:pt x="76592" y="213785"/>
                    </a:cubicBezTo>
                    <a:cubicBezTo>
                      <a:pt x="82579" y="214970"/>
                      <a:pt x="88685" y="215449"/>
                      <a:pt x="94784" y="215214"/>
                    </a:cubicBezTo>
                    <a:lnTo>
                      <a:pt x="97547" y="215214"/>
                    </a:lnTo>
                    <a:cubicBezTo>
                      <a:pt x="104602" y="214877"/>
                      <a:pt x="111614" y="213921"/>
                      <a:pt x="118502" y="212356"/>
                    </a:cubicBezTo>
                    <a:lnTo>
                      <a:pt x="121264" y="212356"/>
                    </a:lnTo>
                    <a:cubicBezTo>
                      <a:pt x="133837" y="209594"/>
                      <a:pt x="136599" y="206736"/>
                      <a:pt x="136599" y="203879"/>
                    </a:cubicBezTo>
                    <a:lnTo>
                      <a:pt x="136599" y="192640"/>
                    </a:lnTo>
                    <a:cubicBezTo>
                      <a:pt x="146052" y="188092"/>
                      <a:pt x="155864" y="184332"/>
                      <a:pt x="165936" y="181400"/>
                    </a:cubicBezTo>
                    <a:cubicBezTo>
                      <a:pt x="170127" y="179971"/>
                      <a:pt x="172889" y="178638"/>
                      <a:pt x="174318" y="175780"/>
                    </a:cubicBezTo>
                    <a:cubicBezTo>
                      <a:pt x="178509" y="168732"/>
                      <a:pt x="177080" y="158921"/>
                      <a:pt x="172889" y="144824"/>
                    </a:cubicBezTo>
                    <a:cubicBezTo>
                      <a:pt x="185665" y="129411"/>
                      <a:pt x="192581" y="109979"/>
                      <a:pt x="192416" y="89960"/>
                    </a:cubicBezTo>
                    <a:cubicBezTo>
                      <a:pt x="192416" y="40716"/>
                      <a:pt x="149172" y="-147"/>
                      <a:pt x="96213" y="-147"/>
                    </a:cubicBezTo>
                    <a:close/>
                  </a:path>
                </a:pathLst>
              </a:custGeom>
              <a:grpFill/>
              <a:ln w="9525" cap="flat">
                <a:noFill/>
                <a:prstDash val="solid"/>
                <a:miter/>
              </a:ln>
            </p:spPr>
            <p:txBody>
              <a:bodyPr rtlCol="0" anchor="ctr"/>
              <a:lstStyle/>
              <a:p>
                <a:endParaRPr lang="en-US"/>
              </a:p>
            </p:txBody>
          </p:sp>
        </p:grpSp>
      </p:grpSp>
      <p:sp>
        <p:nvSpPr>
          <p:cNvPr id="546" name="Rectangle 545">
            <a:extLst>
              <a:ext uri="{FF2B5EF4-FFF2-40B4-BE49-F238E27FC236}">
                <a16:creationId xmlns:a16="http://schemas.microsoft.com/office/drawing/2014/main" id="{71AA6C78-58D8-AA49-A052-03E9D6E3E609}"/>
              </a:ext>
              <a:ext uri="{C183D7F6-B498-43B3-948B-1728B52AA6E4}">
                <adec:decorative xmlns:adec="http://schemas.microsoft.com/office/drawing/2017/decorative" val="1"/>
              </a:ext>
            </a:extLst>
          </p:cNvPr>
          <p:cNvSpPr/>
          <p:nvPr/>
        </p:nvSpPr>
        <p:spPr>
          <a:xfrm>
            <a:off x="404813" y="504000"/>
            <a:ext cx="3536224"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CONCEPT AND OBJECTS</a:t>
            </a:r>
          </a:p>
        </p:txBody>
      </p:sp>
    </p:spTree>
    <p:extLst>
      <p:ext uri="{BB962C8B-B14F-4D97-AF65-F5344CB8AC3E}">
        <p14:creationId xmlns:p14="http://schemas.microsoft.com/office/powerpoint/2010/main" val="18838343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CF0184D-9102-417B-A35F-800A57ECFACD}"/>
              </a:ext>
              <a:ext uri="{C183D7F6-B498-43B3-948B-1728B52AA6E4}">
                <adec:decorative xmlns:adec="http://schemas.microsoft.com/office/drawing/2017/decorative" val="1"/>
              </a:ext>
            </a:extLst>
          </p:cNvPr>
          <p:cNvGrpSpPr>
            <a:grpSpLocks noChangeAspect="1"/>
          </p:cNvGrpSpPr>
          <p:nvPr/>
        </p:nvGrpSpPr>
        <p:grpSpPr>
          <a:xfrm>
            <a:off x="1488608" y="1001633"/>
            <a:ext cx="675506" cy="633600"/>
            <a:chOff x="1479505" y="1198401"/>
            <a:chExt cx="767620" cy="720000"/>
          </a:xfrm>
        </p:grpSpPr>
        <p:sp>
          <p:nvSpPr>
            <p:cNvPr id="194" name="Freeform 142">
              <a:extLst>
                <a:ext uri="{FF2B5EF4-FFF2-40B4-BE49-F238E27FC236}">
                  <a16:creationId xmlns:a16="http://schemas.microsoft.com/office/drawing/2014/main" id="{FED2449A-6A6E-40AC-AF60-59D4BC5249BB}"/>
                </a:ext>
              </a:extLst>
            </p:cNvPr>
            <p:cNvSpPr>
              <a:spLocks/>
            </p:cNvSpPr>
            <p:nvPr/>
          </p:nvSpPr>
          <p:spPr bwMode="auto">
            <a:xfrm>
              <a:off x="1479505" y="1198401"/>
              <a:ext cx="767620" cy="720000"/>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06" name="Groupe 305">
              <a:extLst>
                <a:ext uri="{FF2B5EF4-FFF2-40B4-BE49-F238E27FC236}">
                  <a16:creationId xmlns:a16="http://schemas.microsoft.com/office/drawing/2014/main" id="{9506F9A6-25AE-42B7-B76F-913C1EFB2296}"/>
                </a:ext>
              </a:extLst>
            </p:cNvPr>
            <p:cNvGrpSpPr/>
            <p:nvPr/>
          </p:nvGrpSpPr>
          <p:grpSpPr>
            <a:xfrm>
              <a:off x="1727441" y="1367256"/>
              <a:ext cx="278753" cy="384459"/>
              <a:chOff x="4032251" y="5492020"/>
              <a:chExt cx="315913" cy="435706"/>
            </a:xfrm>
          </p:grpSpPr>
          <p:sp>
            <p:nvSpPr>
              <p:cNvPr id="195" name="Freeform 143">
                <a:extLst>
                  <a:ext uri="{FF2B5EF4-FFF2-40B4-BE49-F238E27FC236}">
                    <a16:creationId xmlns:a16="http://schemas.microsoft.com/office/drawing/2014/main" id="{448C5026-433E-4871-A37D-7465EADA73AC}"/>
                  </a:ext>
                </a:extLst>
              </p:cNvPr>
              <p:cNvSpPr>
                <a:spLocks/>
              </p:cNvSpPr>
              <p:nvPr/>
            </p:nvSpPr>
            <p:spPr bwMode="auto">
              <a:xfrm>
                <a:off x="4032251" y="5688013"/>
                <a:ext cx="315913" cy="239713"/>
              </a:xfrm>
              <a:custGeom>
                <a:avLst/>
                <a:gdLst>
                  <a:gd name="T0" fmla="*/ 27 w 84"/>
                  <a:gd name="T1" fmla="*/ 4 h 64"/>
                  <a:gd name="T2" fmla="*/ 0 w 84"/>
                  <a:gd name="T3" fmla="*/ 42 h 64"/>
                  <a:gd name="T4" fmla="*/ 0 w 84"/>
                  <a:gd name="T5" fmla="*/ 57 h 64"/>
                  <a:gd name="T6" fmla="*/ 0 w 84"/>
                  <a:gd name="T7" fmla="*/ 59 h 64"/>
                  <a:gd name="T8" fmla="*/ 21 w 84"/>
                  <a:gd name="T9" fmla="*/ 62 h 64"/>
                  <a:gd name="T10" fmla="*/ 56 w 84"/>
                  <a:gd name="T11" fmla="*/ 63 h 64"/>
                  <a:gd name="T12" fmla="*/ 75 w 84"/>
                  <a:gd name="T13" fmla="*/ 57 h 64"/>
                  <a:gd name="T14" fmla="*/ 78 w 84"/>
                  <a:gd name="T15" fmla="*/ 25 h 64"/>
                  <a:gd name="T16" fmla="*/ 55 w 84"/>
                  <a:gd name="T17" fmla="*/ 3 h 64"/>
                  <a:gd name="T18" fmla="*/ 27 w 84"/>
                  <a:gd name="T19"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64">
                    <a:moveTo>
                      <a:pt x="27" y="4"/>
                    </a:moveTo>
                    <a:cubicBezTo>
                      <a:pt x="11" y="9"/>
                      <a:pt x="0" y="26"/>
                      <a:pt x="0" y="42"/>
                    </a:cubicBezTo>
                    <a:cubicBezTo>
                      <a:pt x="0" y="57"/>
                      <a:pt x="0" y="57"/>
                      <a:pt x="0" y="57"/>
                    </a:cubicBezTo>
                    <a:cubicBezTo>
                      <a:pt x="0" y="57"/>
                      <a:pt x="0" y="58"/>
                      <a:pt x="0" y="59"/>
                    </a:cubicBezTo>
                    <a:cubicBezTo>
                      <a:pt x="3" y="58"/>
                      <a:pt x="17" y="61"/>
                      <a:pt x="21" y="62"/>
                    </a:cubicBezTo>
                    <a:cubicBezTo>
                      <a:pt x="33" y="64"/>
                      <a:pt x="44" y="64"/>
                      <a:pt x="56" y="63"/>
                    </a:cubicBezTo>
                    <a:cubicBezTo>
                      <a:pt x="63" y="63"/>
                      <a:pt x="69" y="61"/>
                      <a:pt x="75" y="57"/>
                    </a:cubicBezTo>
                    <a:cubicBezTo>
                      <a:pt x="84" y="49"/>
                      <a:pt x="83" y="36"/>
                      <a:pt x="78" y="25"/>
                    </a:cubicBezTo>
                    <a:cubicBezTo>
                      <a:pt x="74" y="15"/>
                      <a:pt x="65" y="7"/>
                      <a:pt x="55" y="3"/>
                    </a:cubicBezTo>
                    <a:cubicBezTo>
                      <a:pt x="55" y="3"/>
                      <a:pt x="35" y="0"/>
                      <a:pt x="27"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44">
                <a:extLst>
                  <a:ext uri="{FF2B5EF4-FFF2-40B4-BE49-F238E27FC236}">
                    <a16:creationId xmlns:a16="http://schemas.microsoft.com/office/drawing/2014/main" id="{E97EA59C-C80D-4279-AE36-D4110D43A782}"/>
                  </a:ext>
                </a:extLst>
              </p:cNvPr>
              <p:cNvSpPr>
                <a:spLocks/>
              </p:cNvSpPr>
              <p:nvPr/>
            </p:nvSpPr>
            <p:spPr bwMode="auto">
              <a:xfrm>
                <a:off x="4100514" y="5492020"/>
                <a:ext cx="168275" cy="207965"/>
              </a:xfrm>
              <a:custGeom>
                <a:avLst/>
                <a:gdLst>
                  <a:gd name="T0" fmla="*/ 45 w 45"/>
                  <a:gd name="T1" fmla="*/ 28 h 55"/>
                  <a:gd name="T2" fmla="*/ 22 w 45"/>
                  <a:gd name="T3" fmla="*/ 55 h 55"/>
                  <a:gd name="T4" fmla="*/ 0 w 45"/>
                  <a:gd name="T5" fmla="*/ 28 h 55"/>
                  <a:gd name="T6" fmla="*/ 22 w 45"/>
                  <a:gd name="T7" fmla="*/ 0 h 55"/>
                  <a:gd name="T8" fmla="*/ 45 w 45"/>
                  <a:gd name="T9" fmla="*/ 28 h 55"/>
                </a:gdLst>
                <a:ahLst/>
                <a:cxnLst>
                  <a:cxn ang="0">
                    <a:pos x="T0" y="T1"/>
                  </a:cxn>
                  <a:cxn ang="0">
                    <a:pos x="T2" y="T3"/>
                  </a:cxn>
                  <a:cxn ang="0">
                    <a:pos x="T4" y="T5"/>
                  </a:cxn>
                  <a:cxn ang="0">
                    <a:pos x="T6" y="T7"/>
                  </a:cxn>
                  <a:cxn ang="0">
                    <a:pos x="T8" y="T9"/>
                  </a:cxn>
                </a:cxnLst>
                <a:rect l="0" t="0" r="r" b="b"/>
                <a:pathLst>
                  <a:path w="45" h="55">
                    <a:moveTo>
                      <a:pt x="45" y="28"/>
                    </a:moveTo>
                    <a:cubicBezTo>
                      <a:pt x="45" y="43"/>
                      <a:pt x="35" y="55"/>
                      <a:pt x="22" y="55"/>
                    </a:cubicBezTo>
                    <a:cubicBezTo>
                      <a:pt x="11" y="55"/>
                      <a:pt x="0" y="43"/>
                      <a:pt x="0" y="28"/>
                    </a:cubicBezTo>
                    <a:cubicBezTo>
                      <a:pt x="0" y="13"/>
                      <a:pt x="10" y="0"/>
                      <a:pt x="22" y="0"/>
                    </a:cubicBezTo>
                    <a:cubicBezTo>
                      <a:pt x="34" y="0"/>
                      <a:pt x="45" y="13"/>
                      <a:pt x="45" y="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46">
                <a:extLst>
                  <a:ext uri="{FF2B5EF4-FFF2-40B4-BE49-F238E27FC236}">
                    <a16:creationId xmlns:a16="http://schemas.microsoft.com/office/drawing/2014/main" id="{2B997936-70E7-4321-B9AE-FA2FDE877B28}"/>
                  </a:ext>
                </a:extLst>
              </p:cNvPr>
              <p:cNvSpPr>
                <a:spLocks/>
              </p:cNvSpPr>
              <p:nvPr/>
            </p:nvSpPr>
            <p:spPr bwMode="auto">
              <a:xfrm>
                <a:off x="4167188" y="5706827"/>
                <a:ext cx="41275" cy="163195"/>
              </a:xfrm>
              <a:custGeom>
                <a:avLst/>
                <a:gdLst>
                  <a:gd name="T0" fmla="*/ 7 w 26"/>
                  <a:gd name="T1" fmla="*/ 0 h 71"/>
                  <a:gd name="T2" fmla="*/ 0 w 26"/>
                  <a:gd name="T3" fmla="*/ 54 h 71"/>
                  <a:gd name="T4" fmla="*/ 14 w 26"/>
                  <a:gd name="T5" fmla="*/ 71 h 71"/>
                  <a:gd name="T6" fmla="*/ 26 w 26"/>
                  <a:gd name="T7" fmla="*/ 54 h 71"/>
                  <a:gd name="T8" fmla="*/ 14 w 26"/>
                  <a:gd name="T9" fmla="*/ 0 h 71"/>
                  <a:gd name="T10" fmla="*/ 7 w 26"/>
                  <a:gd name="T11" fmla="*/ 0 h 71"/>
                </a:gdLst>
                <a:ahLst/>
                <a:cxnLst>
                  <a:cxn ang="0">
                    <a:pos x="T0" y="T1"/>
                  </a:cxn>
                  <a:cxn ang="0">
                    <a:pos x="T2" y="T3"/>
                  </a:cxn>
                  <a:cxn ang="0">
                    <a:pos x="T4" y="T5"/>
                  </a:cxn>
                  <a:cxn ang="0">
                    <a:pos x="T6" y="T7"/>
                  </a:cxn>
                  <a:cxn ang="0">
                    <a:pos x="T8" y="T9"/>
                  </a:cxn>
                  <a:cxn ang="0">
                    <a:pos x="T10" y="T11"/>
                  </a:cxn>
                </a:cxnLst>
                <a:rect l="0" t="0" r="r" b="b"/>
                <a:pathLst>
                  <a:path w="26" h="71">
                    <a:moveTo>
                      <a:pt x="7" y="0"/>
                    </a:moveTo>
                    <a:lnTo>
                      <a:pt x="0" y="54"/>
                    </a:lnTo>
                    <a:lnTo>
                      <a:pt x="14" y="71"/>
                    </a:lnTo>
                    <a:lnTo>
                      <a:pt x="26" y="54"/>
                    </a:lnTo>
                    <a:lnTo>
                      <a:pt x="14" y="0"/>
                    </a:lnTo>
                    <a:lnTo>
                      <a:pt x="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4" name="Group 163">
            <a:extLst>
              <a:ext uri="{FF2B5EF4-FFF2-40B4-BE49-F238E27FC236}">
                <a16:creationId xmlns:a16="http://schemas.microsoft.com/office/drawing/2014/main" id="{AA221103-BE2D-46CF-A78D-D6C06A6906A0}"/>
              </a:ext>
              <a:ext uri="{C183D7F6-B498-43B3-948B-1728B52AA6E4}">
                <adec:decorative xmlns:adec="http://schemas.microsoft.com/office/drawing/2017/decorative" val="1"/>
              </a:ext>
            </a:extLst>
          </p:cNvPr>
          <p:cNvGrpSpPr>
            <a:grpSpLocks noChangeAspect="1"/>
          </p:cNvGrpSpPr>
          <p:nvPr/>
        </p:nvGrpSpPr>
        <p:grpSpPr>
          <a:xfrm>
            <a:off x="3441635" y="3888243"/>
            <a:ext cx="675511" cy="633600"/>
            <a:chOff x="420836" y="4238200"/>
            <a:chExt cx="767626" cy="720000"/>
          </a:xfrm>
        </p:grpSpPr>
        <p:sp>
          <p:nvSpPr>
            <p:cNvPr id="199" name="Freeform 147">
              <a:extLst>
                <a:ext uri="{FF2B5EF4-FFF2-40B4-BE49-F238E27FC236}">
                  <a16:creationId xmlns:a16="http://schemas.microsoft.com/office/drawing/2014/main" id="{C9E58DC0-5482-475B-9F17-21C6C8B7E963}"/>
                </a:ext>
              </a:extLst>
            </p:cNvPr>
            <p:cNvSpPr>
              <a:spLocks/>
            </p:cNvSpPr>
            <p:nvPr/>
          </p:nvSpPr>
          <p:spPr bwMode="auto">
            <a:xfrm>
              <a:off x="420836" y="4238200"/>
              <a:ext cx="767626" cy="720000"/>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3"/>
                    <a:pt x="172" y="185"/>
                  </a:cubicBezTo>
                  <a:cubicBezTo>
                    <a:pt x="127" y="217"/>
                    <a:pt x="66" y="213"/>
                    <a:pt x="33"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04" name="Groupe 303">
              <a:extLst>
                <a:ext uri="{FF2B5EF4-FFF2-40B4-BE49-F238E27FC236}">
                  <a16:creationId xmlns:a16="http://schemas.microsoft.com/office/drawing/2014/main" id="{80948861-2A38-4C45-9B15-DF229AE9CEC7}"/>
                </a:ext>
              </a:extLst>
            </p:cNvPr>
            <p:cNvGrpSpPr/>
            <p:nvPr/>
          </p:nvGrpSpPr>
          <p:grpSpPr>
            <a:xfrm>
              <a:off x="605739" y="4437111"/>
              <a:ext cx="371206" cy="338989"/>
              <a:chOff x="5053013" y="5526088"/>
              <a:chExt cx="420688" cy="384176"/>
            </a:xfrm>
            <a:solidFill>
              <a:schemeClr val="bg1"/>
            </a:solidFill>
          </p:grpSpPr>
          <p:sp>
            <p:nvSpPr>
              <p:cNvPr id="201" name="Freeform 149">
                <a:extLst>
                  <a:ext uri="{FF2B5EF4-FFF2-40B4-BE49-F238E27FC236}">
                    <a16:creationId xmlns:a16="http://schemas.microsoft.com/office/drawing/2014/main" id="{69C8102A-23B5-497F-90C0-2E6EB5356DBF}"/>
                  </a:ext>
                </a:extLst>
              </p:cNvPr>
              <p:cNvSpPr>
                <a:spLocks/>
              </p:cNvSpPr>
              <p:nvPr/>
            </p:nvSpPr>
            <p:spPr bwMode="auto">
              <a:xfrm>
                <a:off x="5429251" y="5526088"/>
                <a:ext cx="44450" cy="384175"/>
              </a:xfrm>
              <a:custGeom>
                <a:avLst/>
                <a:gdLst>
                  <a:gd name="T0" fmla="*/ 12 w 12"/>
                  <a:gd name="T1" fmla="*/ 102 h 102"/>
                  <a:gd name="T2" fmla="*/ 0 w 12"/>
                  <a:gd name="T3" fmla="*/ 102 h 102"/>
                  <a:gd name="T4" fmla="*/ 0 w 12"/>
                  <a:gd name="T5" fmla="*/ 0 h 102"/>
                  <a:gd name="T6" fmla="*/ 9 w 12"/>
                  <a:gd name="T7" fmla="*/ 0 h 102"/>
                  <a:gd name="T8" fmla="*/ 12 w 12"/>
                  <a:gd name="T9" fmla="*/ 4 h 102"/>
                  <a:gd name="T10" fmla="*/ 12 w 12"/>
                  <a:gd name="T11" fmla="*/ 102 h 102"/>
                </a:gdLst>
                <a:ahLst/>
                <a:cxnLst>
                  <a:cxn ang="0">
                    <a:pos x="T0" y="T1"/>
                  </a:cxn>
                  <a:cxn ang="0">
                    <a:pos x="T2" y="T3"/>
                  </a:cxn>
                  <a:cxn ang="0">
                    <a:pos x="T4" y="T5"/>
                  </a:cxn>
                  <a:cxn ang="0">
                    <a:pos x="T6" y="T7"/>
                  </a:cxn>
                  <a:cxn ang="0">
                    <a:pos x="T8" y="T9"/>
                  </a:cxn>
                  <a:cxn ang="0">
                    <a:pos x="T10" y="T11"/>
                  </a:cxn>
                </a:cxnLst>
                <a:rect l="0" t="0" r="r" b="b"/>
                <a:pathLst>
                  <a:path w="12" h="102">
                    <a:moveTo>
                      <a:pt x="12" y="102"/>
                    </a:moveTo>
                    <a:cubicBezTo>
                      <a:pt x="0" y="102"/>
                      <a:pt x="0" y="102"/>
                      <a:pt x="0" y="102"/>
                    </a:cubicBezTo>
                    <a:cubicBezTo>
                      <a:pt x="0" y="102"/>
                      <a:pt x="0" y="20"/>
                      <a:pt x="0" y="0"/>
                    </a:cubicBezTo>
                    <a:cubicBezTo>
                      <a:pt x="1" y="1"/>
                      <a:pt x="9" y="0"/>
                      <a:pt x="9" y="0"/>
                    </a:cubicBezTo>
                    <a:cubicBezTo>
                      <a:pt x="10" y="0"/>
                      <a:pt x="12" y="2"/>
                      <a:pt x="12" y="4"/>
                    </a:cubicBez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50">
                <a:extLst>
                  <a:ext uri="{FF2B5EF4-FFF2-40B4-BE49-F238E27FC236}">
                    <a16:creationId xmlns:a16="http://schemas.microsoft.com/office/drawing/2014/main" id="{4D2C8764-117D-4FF5-8C9C-611E29D98FDA}"/>
                  </a:ext>
                </a:extLst>
              </p:cNvPr>
              <p:cNvSpPr>
                <a:spLocks/>
              </p:cNvSpPr>
              <p:nvPr/>
            </p:nvSpPr>
            <p:spPr bwMode="auto">
              <a:xfrm>
                <a:off x="5365751" y="5632451"/>
                <a:ext cx="44450" cy="277813"/>
              </a:xfrm>
              <a:custGeom>
                <a:avLst/>
                <a:gdLst>
                  <a:gd name="T0" fmla="*/ 12 w 12"/>
                  <a:gd name="T1" fmla="*/ 74 h 74"/>
                  <a:gd name="T2" fmla="*/ 0 w 12"/>
                  <a:gd name="T3" fmla="*/ 74 h 74"/>
                  <a:gd name="T4" fmla="*/ 0 w 12"/>
                  <a:gd name="T5" fmla="*/ 0 h 74"/>
                  <a:gd name="T6" fmla="*/ 9 w 12"/>
                  <a:gd name="T7" fmla="*/ 0 h 74"/>
                  <a:gd name="T8" fmla="*/ 12 w 12"/>
                  <a:gd name="T9" fmla="*/ 2 h 74"/>
                  <a:gd name="T10" fmla="*/ 12 w 12"/>
                  <a:gd name="T11" fmla="*/ 74 h 74"/>
                </a:gdLst>
                <a:ahLst/>
                <a:cxnLst>
                  <a:cxn ang="0">
                    <a:pos x="T0" y="T1"/>
                  </a:cxn>
                  <a:cxn ang="0">
                    <a:pos x="T2" y="T3"/>
                  </a:cxn>
                  <a:cxn ang="0">
                    <a:pos x="T4" y="T5"/>
                  </a:cxn>
                  <a:cxn ang="0">
                    <a:pos x="T6" y="T7"/>
                  </a:cxn>
                  <a:cxn ang="0">
                    <a:pos x="T8" y="T9"/>
                  </a:cxn>
                  <a:cxn ang="0">
                    <a:pos x="T10" y="T11"/>
                  </a:cxn>
                </a:cxnLst>
                <a:rect l="0" t="0" r="r" b="b"/>
                <a:pathLst>
                  <a:path w="12" h="74">
                    <a:moveTo>
                      <a:pt x="12" y="74"/>
                    </a:moveTo>
                    <a:cubicBezTo>
                      <a:pt x="0" y="74"/>
                      <a:pt x="0" y="74"/>
                      <a:pt x="0" y="74"/>
                    </a:cubicBezTo>
                    <a:cubicBezTo>
                      <a:pt x="0" y="74"/>
                      <a:pt x="0" y="14"/>
                      <a:pt x="0" y="0"/>
                    </a:cubicBezTo>
                    <a:cubicBezTo>
                      <a:pt x="1" y="0"/>
                      <a:pt x="9" y="0"/>
                      <a:pt x="9" y="0"/>
                    </a:cubicBezTo>
                    <a:cubicBezTo>
                      <a:pt x="11" y="0"/>
                      <a:pt x="12" y="1"/>
                      <a:pt x="12" y="2"/>
                    </a:cubicBezTo>
                    <a:lnTo>
                      <a:pt x="12"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51">
                <a:extLst>
                  <a:ext uri="{FF2B5EF4-FFF2-40B4-BE49-F238E27FC236}">
                    <a16:creationId xmlns:a16="http://schemas.microsoft.com/office/drawing/2014/main" id="{5CA6EB02-7326-4DF3-9B49-E57C1D1F9102}"/>
                  </a:ext>
                </a:extLst>
              </p:cNvPr>
              <p:cNvSpPr>
                <a:spLocks/>
              </p:cNvSpPr>
              <p:nvPr/>
            </p:nvSpPr>
            <p:spPr bwMode="auto">
              <a:xfrm>
                <a:off x="5300663" y="5688013"/>
                <a:ext cx="46038" cy="222250"/>
              </a:xfrm>
              <a:custGeom>
                <a:avLst/>
                <a:gdLst>
                  <a:gd name="T0" fmla="*/ 12 w 12"/>
                  <a:gd name="T1" fmla="*/ 59 h 59"/>
                  <a:gd name="T2" fmla="*/ 0 w 12"/>
                  <a:gd name="T3" fmla="*/ 59 h 59"/>
                  <a:gd name="T4" fmla="*/ 0 w 12"/>
                  <a:gd name="T5" fmla="*/ 0 h 59"/>
                  <a:gd name="T6" fmla="*/ 9 w 12"/>
                  <a:gd name="T7" fmla="*/ 0 h 59"/>
                  <a:gd name="T8" fmla="*/ 12 w 12"/>
                  <a:gd name="T9" fmla="*/ 2 h 59"/>
                  <a:gd name="T10" fmla="*/ 12 w 12"/>
                  <a:gd name="T11" fmla="*/ 59 h 59"/>
                </a:gdLst>
                <a:ahLst/>
                <a:cxnLst>
                  <a:cxn ang="0">
                    <a:pos x="T0" y="T1"/>
                  </a:cxn>
                  <a:cxn ang="0">
                    <a:pos x="T2" y="T3"/>
                  </a:cxn>
                  <a:cxn ang="0">
                    <a:pos x="T4" y="T5"/>
                  </a:cxn>
                  <a:cxn ang="0">
                    <a:pos x="T6" y="T7"/>
                  </a:cxn>
                  <a:cxn ang="0">
                    <a:pos x="T8" y="T9"/>
                  </a:cxn>
                  <a:cxn ang="0">
                    <a:pos x="T10" y="T11"/>
                  </a:cxn>
                </a:cxnLst>
                <a:rect l="0" t="0" r="r" b="b"/>
                <a:pathLst>
                  <a:path w="12" h="59">
                    <a:moveTo>
                      <a:pt x="12" y="59"/>
                    </a:moveTo>
                    <a:cubicBezTo>
                      <a:pt x="0" y="59"/>
                      <a:pt x="0" y="59"/>
                      <a:pt x="0" y="59"/>
                    </a:cubicBezTo>
                    <a:cubicBezTo>
                      <a:pt x="0" y="59"/>
                      <a:pt x="0" y="11"/>
                      <a:pt x="0" y="0"/>
                    </a:cubicBezTo>
                    <a:cubicBezTo>
                      <a:pt x="2" y="0"/>
                      <a:pt x="9" y="0"/>
                      <a:pt x="9" y="0"/>
                    </a:cubicBezTo>
                    <a:cubicBezTo>
                      <a:pt x="11" y="0"/>
                      <a:pt x="12" y="1"/>
                      <a:pt x="12" y="2"/>
                    </a:cubicBezTo>
                    <a:lnTo>
                      <a:pt x="12"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52">
                <a:extLst>
                  <a:ext uri="{FF2B5EF4-FFF2-40B4-BE49-F238E27FC236}">
                    <a16:creationId xmlns:a16="http://schemas.microsoft.com/office/drawing/2014/main" id="{20B1D21E-07DF-4F61-985B-7A5AC98D935D}"/>
                  </a:ext>
                </a:extLst>
              </p:cNvPr>
              <p:cNvSpPr>
                <a:spLocks/>
              </p:cNvSpPr>
              <p:nvPr/>
            </p:nvSpPr>
            <p:spPr bwMode="auto">
              <a:xfrm>
                <a:off x="5241926" y="5748338"/>
                <a:ext cx="44450" cy="161925"/>
              </a:xfrm>
              <a:custGeom>
                <a:avLst/>
                <a:gdLst>
                  <a:gd name="T0" fmla="*/ 12 w 12"/>
                  <a:gd name="T1" fmla="*/ 43 h 43"/>
                  <a:gd name="T2" fmla="*/ 0 w 12"/>
                  <a:gd name="T3" fmla="*/ 43 h 43"/>
                  <a:gd name="T4" fmla="*/ 0 w 12"/>
                  <a:gd name="T5" fmla="*/ 0 h 43"/>
                  <a:gd name="T6" fmla="*/ 9 w 12"/>
                  <a:gd name="T7" fmla="*/ 0 h 43"/>
                  <a:gd name="T8" fmla="*/ 12 w 12"/>
                  <a:gd name="T9" fmla="*/ 2 h 43"/>
                  <a:gd name="T10" fmla="*/ 12 w 12"/>
                  <a:gd name="T11" fmla="*/ 43 h 43"/>
                </a:gdLst>
                <a:ahLst/>
                <a:cxnLst>
                  <a:cxn ang="0">
                    <a:pos x="T0" y="T1"/>
                  </a:cxn>
                  <a:cxn ang="0">
                    <a:pos x="T2" y="T3"/>
                  </a:cxn>
                  <a:cxn ang="0">
                    <a:pos x="T4" y="T5"/>
                  </a:cxn>
                  <a:cxn ang="0">
                    <a:pos x="T6" y="T7"/>
                  </a:cxn>
                  <a:cxn ang="0">
                    <a:pos x="T8" y="T9"/>
                  </a:cxn>
                  <a:cxn ang="0">
                    <a:pos x="T10" y="T11"/>
                  </a:cxn>
                </a:cxnLst>
                <a:rect l="0" t="0" r="r" b="b"/>
                <a:pathLst>
                  <a:path w="12" h="43">
                    <a:moveTo>
                      <a:pt x="12" y="43"/>
                    </a:moveTo>
                    <a:cubicBezTo>
                      <a:pt x="0" y="43"/>
                      <a:pt x="0" y="43"/>
                      <a:pt x="0" y="43"/>
                    </a:cubicBezTo>
                    <a:cubicBezTo>
                      <a:pt x="0" y="43"/>
                      <a:pt x="0" y="11"/>
                      <a:pt x="0" y="0"/>
                    </a:cubicBezTo>
                    <a:cubicBezTo>
                      <a:pt x="1" y="0"/>
                      <a:pt x="9" y="0"/>
                      <a:pt x="9" y="0"/>
                    </a:cubicBezTo>
                    <a:cubicBezTo>
                      <a:pt x="11" y="0"/>
                      <a:pt x="12" y="1"/>
                      <a:pt x="12" y="2"/>
                    </a:cubicBezTo>
                    <a:lnTo>
                      <a:pt x="12"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53">
                <a:extLst>
                  <a:ext uri="{FF2B5EF4-FFF2-40B4-BE49-F238E27FC236}">
                    <a16:creationId xmlns:a16="http://schemas.microsoft.com/office/drawing/2014/main" id="{D3B7C75B-F4DB-4949-8E2F-6883C3077F39}"/>
                  </a:ext>
                </a:extLst>
              </p:cNvPr>
              <p:cNvSpPr>
                <a:spLocks/>
              </p:cNvSpPr>
              <p:nvPr/>
            </p:nvSpPr>
            <p:spPr bwMode="auto">
              <a:xfrm>
                <a:off x="5181601" y="5792788"/>
                <a:ext cx="44450" cy="117475"/>
              </a:xfrm>
              <a:custGeom>
                <a:avLst/>
                <a:gdLst>
                  <a:gd name="T0" fmla="*/ 12 w 12"/>
                  <a:gd name="T1" fmla="*/ 31 h 31"/>
                  <a:gd name="T2" fmla="*/ 0 w 12"/>
                  <a:gd name="T3" fmla="*/ 31 h 31"/>
                  <a:gd name="T4" fmla="*/ 0 w 12"/>
                  <a:gd name="T5" fmla="*/ 0 h 31"/>
                  <a:gd name="T6" fmla="*/ 9 w 12"/>
                  <a:gd name="T7" fmla="*/ 0 h 31"/>
                  <a:gd name="T8" fmla="*/ 12 w 12"/>
                  <a:gd name="T9" fmla="*/ 2 h 31"/>
                  <a:gd name="T10" fmla="*/ 12 w 12"/>
                  <a:gd name="T11" fmla="*/ 31 h 31"/>
                </a:gdLst>
                <a:ahLst/>
                <a:cxnLst>
                  <a:cxn ang="0">
                    <a:pos x="T0" y="T1"/>
                  </a:cxn>
                  <a:cxn ang="0">
                    <a:pos x="T2" y="T3"/>
                  </a:cxn>
                  <a:cxn ang="0">
                    <a:pos x="T4" y="T5"/>
                  </a:cxn>
                  <a:cxn ang="0">
                    <a:pos x="T6" y="T7"/>
                  </a:cxn>
                  <a:cxn ang="0">
                    <a:pos x="T8" y="T9"/>
                  </a:cxn>
                  <a:cxn ang="0">
                    <a:pos x="T10" y="T11"/>
                  </a:cxn>
                </a:cxnLst>
                <a:rect l="0" t="0" r="r" b="b"/>
                <a:pathLst>
                  <a:path w="12" h="31">
                    <a:moveTo>
                      <a:pt x="12" y="31"/>
                    </a:moveTo>
                    <a:cubicBezTo>
                      <a:pt x="0" y="31"/>
                      <a:pt x="0" y="31"/>
                      <a:pt x="0" y="31"/>
                    </a:cubicBezTo>
                    <a:cubicBezTo>
                      <a:pt x="0" y="31"/>
                      <a:pt x="0" y="12"/>
                      <a:pt x="0" y="0"/>
                    </a:cubicBezTo>
                    <a:cubicBezTo>
                      <a:pt x="1" y="1"/>
                      <a:pt x="9" y="0"/>
                      <a:pt x="9" y="0"/>
                    </a:cubicBezTo>
                    <a:cubicBezTo>
                      <a:pt x="11" y="0"/>
                      <a:pt x="12" y="1"/>
                      <a:pt x="12" y="2"/>
                    </a:cubicBez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54">
                <a:extLst>
                  <a:ext uri="{FF2B5EF4-FFF2-40B4-BE49-F238E27FC236}">
                    <a16:creationId xmlns:a16="http://schemas.microsoft.com/office/drawing/2014/main" id="{9827EB54-33DE-4E28-8A0D-0B4861CBDA16}"/>
                  </a:ext>
                </a:extLst>
              </p:cNvPr>
              <p:cNvSpPr>
                <a:spLocks/>
              </p:cNvSpPr>
              <p:nvPr/>
            </p:nvSpPr>
            <p:spPr bwMode="auto">
              <a:xfrm>
                <a:off x="5116513" y="5822951"/>
                <a:ext cx="46038" cy="87313"/>
              </a:xfrm>
              <a:custGeom>
                <a:avLst/>
                <a:gdLst>
                  <a:gd name="T0" fmla="*/ 12 w 12"/>
                  <a:gd name="T1" fmla="*/ 23 h 23"/>
                  <a:gd name="T2" fmla="*/ 0 w 12"/>
                  <a:gd name="T3" fmla="*/ 23 h 23"/>
                  <a:gd name="T4" fmla="*/ 0 w 12"/>
                  <a:gd name="T5" fmla="*/ 0 h 23"/>
                  <a:gd name="T6" fmla="*/ 9 w 12"/>
                  <a:gd name="T7" fmla="*/ 0 h 23"/>
                  <a:gd name="T8" fmla="*/ 12 w 12"/>
                  <a:gd name="T9" fmla="*/ 1 h 23"/>
                  <a:gd name="T10" fmla="*/ 12 w 12"/>
                  <a:gd name="T11" fmla="*/ 23 h 23"/>
                </a:gdLst>
                <a:ahLst/>
                <a:cxnLst>
                  <a:cxn ang="0">
                    <a:pos x="T0" y="T1"/>
                  </a:cxn>
                  <a:cxn ang="0">
                    <a:pos x="T2" y="T3"/>
                  </a:cxn>
                  <a:cxn ang="0">
                    <a:pos x="T4" y="T5"/>
                  </a:cxn>
                  <a:cxn ang="0">
                    <a:pos x="T6" y="T7"/>
                  </a:cxn>
                  <a:cxn ang="0">
                    <a:pos x="T8" y="T9"/>
                  </a:cxn>
                  <a:cxn ang="0">
                    <a:pos x="T10" y="T11"/>
                  </a:cxn>
                </a:cxnLst>
                <a:rect l="0" t="0" r="r" b="b"/>
                <a:pathLst>
                  <a:path w="12" h="23">
                    <a:moveTo>
                      <a:pt x="12" y="23"/>
                    </a:moveTo>
                    <a:cubicBezTo>
                      <a:pt x="0" y="23"/>
                      <a:pt x="0" y="23"/>
                      <a:pt x="0" y="23"/>
                    </a:cubicBezTo>
                    <a:cubicBezTo>
                      <a:pt x="0" y="23"/>
                      <a:pt x="0" y="11"/>
                      <a:pt x="0" y="0"/>
                    </a:cubicBezTo>
                    <a:cubicBezTo>
                      <a:pt x="2" y="0"/>
                      <a:pt x="9" y="0"/>
                      <a:pt x="9" y="0"/>
                    </a:cubicBezTo>
                    <a:cubicBezTo>
                      <a:pt x="11" y="0"/>
                      <a:pt x="12" y="0"/>
                      <a:pt x="12" y="1"/>
                    </a:cubicBezTo>
                    <a:lnTo>
                      <a:pt x="1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55">
                <a:extLst>
                  <a:ext uri="{FF2B5EF4-FFF2-40B4-BE49-F238E27FC236}">
                    <a16:creationId xmlns:a16="http://schemas.microsoft.com/office/drawing/2014/main" id="{4D96AE7D-A747-4680-98D3-1CB00158F620}"/>
                  </a:ext>
                </a:extLst>
              </p:cNvPr>
              <p:cNvSpPr>
                <a:spLocks/>
              </p:cNvSpPr>
              <p:nvPr/>
            </p:nvSpPr>
            <p:spPr bwMode="auto">
              <a:xfrm>
                <a:off x="5053013" y="5853113"/>
                <a:ext cx="46038" cy="57150"/>
              </a:xfrm>
              <a:custGeom>
                <a:avLst/>
                <a:gdLst>
                  <a:gd name="T0" fmla="*/ 12 w 12"/>
                  <a:gd name="T1" fmla="*/ 15 h 15"/>
                  <a:gd name="T2" fmla="*/ 0 w 12"/>
                  <a:gd name="T3" fmla="*/ 15 h 15"/>
                  <a:gd name="T4" fmla="*/ 0 w 12"/>
                  <a:gd name="T5" fmla="*/ 0 h 15"/>
                  <a:gd name="T6" fmla="*/ 9 w 12"/>
                  <a:gd name="T7" fmla="*/ 0 h 15"/>
                  <a:gd name="T8" fmla="*/ 12 w 12"/>
                  <a:gd name="T9" fmla="*/ 1 h 15"/>
                  <a:gd name="T10" fmla="*/ 12 w 12"/>
                  <a:gd name="T11" fmla="*/ 15 h 15"/>
                </a:gdLst>
                <a:ahLst/>
                <a:cxnLst>
                  <a:cxn ang="0">
                    <a:pos x="T0" y="T1"/>
                  </a:cxn>
                  <a:cxn ang="0">
                    <a:pos x="T2" y="T3"/>
                  </a:cxn>
                  <a:cxn ang="0">
                    <a:pos x="T4" y="T5"/>
                  </a:cxn>
                  <a:cxn ang="0">
                    <a:pos x="T6" y="T7"/>
                  </a:cxn>
                  <a:cxn ang="0">
                    <a:pos x="T8" y="T9"/>
                  </a:cxn>
                  <a:cxn ang="0">
                    <a:pos x="T10" y="T11"/>
                  </a:cxn>
                </a:cxnLst>
                <a:rect l="0" t="0" r="r" b="b"/>
                <a:pathLst>
                  <a:path w="12" h="15">
                    <a:moveTo>
                      <a:pt x="12" y="15"/>
                    </a:moveTo>
                    <a:cubicBezTo>
                      <a:pt x="0" y="15"/>
                      <a:pt x="0" y="15"/>
                      <a:pt x="0" y="15"/>
                    </a:cubicBezTo>
                    <a:cubicBezTo>
                      <a:pt x="0" y="15"/>
                      <a:pt x="0" y="11"/>
                      <a:pt x="0" y="0"/>
                    </a:cubicBezTo>
                    <a:cubicBezTo>
                      <a:pt x="1" y="0"/>
                      <a:pt x="9" y="0"/>
                      <a:pt x="9" y="0"/>
                    </a:cubicBezTo>
                    <a:cubicBezTo>
                      <a:pt x="11" y="0"/>
                      <a:pt x="12" y="0"/>
                      <a:pt x="12" y="1"/>
                    </a:cubicBezTo>
                    <a:lnTo>
                      <a:pt x="1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56">
                <a:extLst>
                  <a:ext uri="{FF2B5EF4-FFF2-40B4-BE49-F238E27FC236}">
                    <a16:creationId xmlns:a16="http://schemas.microsoft.com/office/drawing/2014/main" id="{03450E81-C893-48DE-821E-E073B6A8BD04}"/>
                  </a:ext>
                </a:extLst>
              </p:cNvPr>
              <p:cNvSpPr>
                <a:spLocks/>
              </p:cNvSpPr>
              <p:nvPr/>
            </p:nvSpPr>
            <p:spPr bwMode="auto">
              <a:xfrm>
                <a:off x="5099051" y="5575301"/>
                <a:ext cx="160338" cy="236538"/>
              </a:xfrm>
              <a:custGeom>
                <a:avLst/>
                <a:gdLst>
                  <a:gd name="T0" fmla="*/ 6 w 43"/>
                  <a:gd name="T1" fmla="*/ 63 h 63"/>
                  <a:gd name="T2" fmla="*/ 11 w 43"/>
                  <a:gd name="T3" fmla="*/ 63 h 63"/>
                  <a:gd name="T4" fmla="*/ 14 w 43"/>
                  <a:gd name="T5" fmla="*/ 46 h 63"/>
                  <a:gd name="T6" fmla="*/ 12 w 43"/>
                  <a:gd name="T7" fmla="*/ 33 h 63"/>
                  <a:gd name="T8" fmla="*/ 24 w 43"/>
                  <a:gd name="T9" fmla="*/ 36 h 63"/>
                  <a:gd name="T10" fmla="*/ 28 w 43"/>
                  <a:gd name="T11" fmla="*/ 54 h 63"/>
                  <a:gd name="T12" fmla="*/ 34 w 43"/>
                  <a:gd name="T13" fmla="*/ 54 h 63"/>
                  <a:gd name="T14" fmla="*/ 32 w 43"/>
                  <a:gd name="T15" fmla="*/ 35 h 63"/>
                  <a:gd name="T16" fmla="*/ 27 w 43"/>
                  <a:gd name="T17" fmla="*/ 30 h 63"/>
                  <a:gd name="T18" fmla="*/ 15 w 43"/>
                  <a:gd name="T19" fmla="*/ 26 h 63"/>
                  <a:gd name="T20" fmla="*/ 19 w 43"/>
                  <a:gd name="T21" fmla="*/ 17 h 63"/>
                  <a:gd name="T22" fmla="*/ 26 w 43"/>
                  <a:gd name="T23" fmla="*/ 22 h 63"/>
                  <a:gd name="T24" fmla="*/ 43 w 43"/>
                  <a:gd name="T25" fmla="*/ 26 h 63"/>
                  <a:gd name="T26" fmla="*/ 43 w 43"/>
                  <a:gd name="T27" fmla="*/ 22 h 63"/>
                  <a:gd name="T28" fmla="*/ 29 w 43"/>
                  <a:gd name="T29" fmla="*/ 18 h 63"/>
                  <a:gd name="T30" fmla="*/ 22 w 43"/>
                  <a:gd name="T31" fmla="*/ 9 h 63"/>
                  <a:gd name="T32" fmla="*/ 5 w 43"/>
                  <a:gd name="T33" fmla="*/ 7 h 63"/>
                  <a:gd name="T34" fmla="*/ 2 w 43"/>
                  <a:gd name="T35" fmla="*/ 21 h 63"/>
                  <a:gd name="T36" fmla="*/ 1 w 43"/>
                  <a:gd name="T37" fmla="*/ 31 h 63"/>
                  <a:gd name="T38" fmla="*/ 6 w 43"/>
                  <a:gd name="T39" fmla="*/ 45 h 63"/>
                  <a:gd name="T40" fmla="*/ 6 w 43"/>
                  <a:gd name="T41" fmla="*/ 6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63">
                    <a:moveTo>
                      <a:pt x="6" y="63"/>
                    </a:moveTo>
                    <a:cubicBezTo>
                      <a:pt x="11" y="63"/>
                      <a:pt x="11" y="63"/>
                      <a:pt x="11" y="63"/>
                    </a:cubicBezTo>
                    <a:cubicBezTo>
                      <a:pt x="14" y="46"/>
                      <a:pt x="14" y="46"/>
                      <a:pt x="14" y="46"/>
                    </a:cubicBezTo>
                    <a:cubicBezTo>
                      <a:pt x="12" y="33"/>
                      <a:pt x="12" y="33"/>
                      <a:pt x="12" y="33"/>
                    </a:cubicBezTo>
                    <a:cubicBezTo>
                      <a:pt x="24" y="36"/>
                      <a:pt x="24" y="36"/>
                      <a:pt x="24" y="36"/>
                    </a:cubicBezTo>
                    <a:cubicBezTo>
                      <a:pt x="28" y="54"/>
                      <a:pt x="28" y="54"/>
                      <a:pt x="28" y="54"/>
                    </a:cubicBezTo>
                    <a:cubicBezTo>
                      <a:pt x="34" y="54"/>
                      <a:pt x="34" y="54"/>
                      <a:pt x="34" y="54"/>
                    </a:cubicBezTo>
                    <a:cubicBezTo>
                      <a:pt x="32" y="35"/>
                      <a:pt x="32" y="35"/>
                      <a:pt x="32" y="35"/>
                    </a:cubicBezTo>
                    <a:cubicBezTo>
                      <a:pt x="32" y="32"/>
                      <a:pt x="28" y="31"/>
                      <a:pt x="27" y="30"/>
                    </a:cubicBezTo>
                    <a:cubicBezTo>
                      <a:pt x="15" y="26"/>
                      <a:pt x="15" y="26"/>
                      <a:pt x="15" y="26"/>
                    </a:cubicBezTo>
                    <a:cubicBezTo>
                      <a:pt x="19" y="17"/>
                      <a:pt x="19" y="17"/>
                      <a:pt x="19" y="17"/>
                    </a:cubicBezTo>
                    <a:cubicBezTo>
                      <a:pt x="26" y="22"/>
                      <a:pt x="26" y="22"/>
                      <a:pt x="26" y="22"/>
                    </a:cubicBezTo>
                    <a:cubicBezTo>
                      <a:pt x="43" y="26"/>
                      <a:pt x="43" y="26"/>
                      <a:pt x="43" y="26"/>
                    </a:cubicBezTo>
                    <a:cubicBezTo>
                      <a:pt x="43" y="22"/>
                      <a:pt x="43" y="22"/>
                      <a:pt x="43" y="22"/>
                    </a:cubicBezTo>
                    <a:cubicBezTo>
                      <a:pt x="29" y="18"/>
                      <a:pt x="29" y="18"/>
                      <a:pt x="29" y="18"/>
                    </a:cubicBezTo>
                    <a:cubicBezTo>
                      <a:pt x="22" y="9"/>
                      <a:pt x="22" y="9"/>
                      <a:pt x="22" y="9"/>
                    </a:cubicBezTo>
                    <a:cubicBezTo>
                      <a:pt x="19" y="6"/>
                      <a:pt x="7" y="0"/>
                      <a:pt x="5" y="7"/>
                    </a:cubicBezTo>
                    <a:cubicBezTo>
                      <a:pt x="2" y="21"/>
                      <a:pt x="2" y="21"/>
                      <a:pt x="2" y="21"/>
                    </a:cubicBezTo>
                    <a:cubicBezTo>
                      <a:pt x="1" y="25"/>
                      <a:pt x="0" y="28"/>
                      <a:pt x="1" y="31"/>
                    </a:cubicBezTo>
                    <a:cubicBezTo>
                      <a:pt x="6" y="45"/>
                      <a:pt x="6" y="45"/>
                      <a:pt x="6" y="45"/>
                    </a:cubicBezTo>
                    <a:cubicBezTo>
                      <a:pt x="6" y="60"/>
                      <a:pt x="6" y="60"/>
                      <a:pt x="6" y="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57">
                <a:extLst>
                  <a:ext uri="{FF2B5EF4-FFF2-40B4-BE49-F238E27FC236}">
                    <a16:creationId xmlns:a16="http://schemas.microsoft.com/office/drawing/2014/main" id="{0496AF06-6CBB-403C-8009-9F844A8D57C7}"/>
                  </a:ext>
                </a:extLst>
              </p:cNvPr>
              <p:cNvSpPr>
                <a:spLocks/>
              </p:cNvSpPr>
              <p:nvPr/>
            </p:nvSpPr>
            <p:spPr bwMode="auto">
              <a:xfrm>
                <a:off x="5124451" y="5545138"/>
                <a:ext cx="52388" cy="49213"/>
              </a:xfrm>
              <a:custGeom>
                <a:avLst/>
                <a:gdLst>
                  <a:gd name="T0" fmla="*/ 1 w 14"/>
                  <a:gd name="T1" fmla="*/ 5 h 13"/>
                  <a:gd name="T2" fmla="*/ 9 w 14"/>
                  <a:gd name="T3" fmla="*/ 1 h 13"/>
                  <a:gd name="T4" fmla="*/ 9 w 14"/>
                  <a:gd name="T5" fmla="*/ 1 h 13"/>
                  <a:gd name="T6" fmla="*/ 9 w 14"/>
                  <a:gd name="T7" fmla="*/ 1 h 13"/>
                  <a:gd name="T8" fmla="*/ 13 w 14"/>
                  <a:gd name="T9" fmla="*/ 8 h 13"/>
                  <a:gd name="T10" fmla="*/ 13 w 14"/>
                  <a:gd name="T11" fmla="*/ 8 h 13"/>
                  <a:gd name="T12" fmla="*/ 13 w 14"/>
                  <a:gd name="T13" fmla="*/ 8 h 13"/>
                  <a:gd name="T14" fmla="*/ 5 w 14"/>
                  <a:gd name="T15" fmla="*/ 12 h 13"/>
                  <a:gd name="T16" fmla="*/ 5 w 14"/>
                  <a:gd name="T17" fmla="*/ 12 h 13"/>
                  <a:gd name="T18" fmla="*/ 5 w 14"/>
                  <a:gd name="T19" fmla="*/ 12 h 13"/>
                  <a:gd name="T20" fmla="*/ 1 w 14"/>
                  <a:gd name="T21" fmla="*/ 5 h 13"/>
                  <a:gd name="T22" fmla="*/ 1 w 14"/>
                  <a:gd name="T2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 y="5"/>
                    </a:moveTo>
                    <a:cubicBezTo>
                      <a:pt x="2" y="2"/>
                      <a:pt x="5" y="0"/>
                      <a:pt x="9" y="1"/>
                    </a:cubicBezTo>
                    <a:cubicBezTo>
                      <a:pt x="9" y="1"/>
                      <a:pt x="9" y="1"/>
                      <a:pt x="9" y="1"/>
                    </a:cubicBezTo>
                    <a:cubicBezTo>
                      <a:pt x="9" y="1"/>
                      <a:pt x="9" y="1"/>
                      <a:pt x="9" y="1"/>
                    </a:cubicBezTo>
                    <a:cubicBezTo>
                      <a:pt x="12" y="1"/>
                      <a:pt x="14" y="5"/>
                      <a:pt x="13" y="8"/>
                    </a:cubicBezTo>
                    <a:cubicBezTo>
                      <a:pt x="13" y="8"/>
                      <a:pt x="13" y="8"/>
                      <a:pt x="13" y="8"/>
                    </a:cubicBezTo>
                    <a:cubicBezTo>
                      <a:pt x="13" y="8"/>
                      <a:pt x="13" y="8"/>
                      <a:pt x="13" y="8"/>
                    </a:cubicBezTo>
                    <a:cubicBezTo>
                      <a:pt x="12" y="11"/>
                      <a:pt x="9" y="13"/>
                      <a:pt x="5" y="12"/>
                    </a:cubicBezTo>
                    <a:cubicBezTo>
                      <a:pt x="5" y="12"/>
                      <a:pt x="5" y="12"/>
                      <a:pt x="5" y="12"/>
                    </a:cubicBezTo>
                    <a:cubicBezTo>
                      <a:pt x="5" y="12"/>
                      <a:pt x="5" y="12"/>
                      <a:pt x="5" y="12"/>
                    </a:cubicBezTo>
                    <a:cubicBezTo>
                      <a:pt x="2" y="11"/>
                      <a:pt x="0" y="8"/>
                      <a:pt x="1" y="5"/>
                    </a:cubicBezTo>
                    <a:cubicBezTo>
                      <a:pt x="1"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45" name="Groupe 344">
            <a:extLst>
              <a:ext uri="{FF2B5EF4-FFF2-40B4-BE49-F238E27FC236}">
                <a16:creationId xmlns:a16="http://schemas.microsoft.com/office/drawing/2014/main" id="{E3A382F4-9057-4799-AED4-0CF6A78F1295}"/>
              </a:ext>
              <a:ext uri="{C183D7F6-B498-43B3-948B-1728B52AA6E4}">
                <adec:decorative xmlns:adec="http://schemas.microsoft.com/office/drawing/2017/decorative" val="1"/>
              </a:ext>
            </a:extLst>
          </p:cNvPr>
          <p:cNvGrpSpPr>
            <a:grpSpLocks noChangeAspect="1"/>
          </p:cNvGrpSpPr>
          <p:nvPr/>
        </p:nvGrpSpPr>
        <p:grpSpPr>
          <a:xfrm>
            <a:off x="515095" y="1001633"/>
            <a:ext cx="675506" cy="633600"/>
            <a:chOff x="9297989" y="2103437"/>
            <a:chExt cx="869950" cy="815975"/>
          </a:xfrm>
        </p:grpSpPr>
        <p:sp>
          <p:nvSpPr>
            <p:cNvPr id="346" name="Freeform 99">
              <a:extLst>
                <a:ext uri="{FF2B5EF4-FFF2-40B4-BE49-F238E27FC236}">
                  <a16:creationId xmlns:a16="http://schemas.microsoft.com/office/drawing/2014/main" id="{E9557602-B80D-4120-B6BF-967209B309DC}"/>
                </a:ext>
              </a:extLst>
            </p:cNvPr>
            <p:cNvSpPr>
              <a:spLocks/>
            </p:cNvSpPr>
            <p:nvPr/>
          </p:nvSpPr>
          <p:spPr bwMode="auto">
            <a:xfrm>
              <a:off x="9297989" y="2103437"/>
              <a:ext cx="869950" cy="815975"/>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47" name="Groupe 346">
              <a:extLst>
                <a:ext uri="{FF2B5EF4-FFF2-40B4-BE49-F238E27FC236}">
                  <a16:creationId xmlns:a16="http://schemas.microsoft.com/office/drawing/2014/main" id="{71AC5F54-189D-4F7F-B27E-A4316F2416C5}"/>
                </a:ext>
              </a:extLst>
            </p:cNvPr>
            <p:cNvGrpSpPr/>
            <p:nvPr/>
          </p:nvGrpSpPr>
          <p:grpSpPr>
            <a:xfrm>
              <a:off x="9590089" y="2318178"/>
              <a:ext cx="285750" cy="386922"/>
              <a:chOff x="9590089" y="2318178"/>
              <a:chExt cx="285750" cy="386922"/>
            </a:xfrm>
          </p:grpSpPr>
          <p:sp>
            <p:nvSpPr>
              <p:cNvPr id="348" name="Freeform 108">
                <a:extLst>
                  <a:ext uri="{FF2B5EF4-FFF2-40B4-BE49-F238E27FC236}">
                    <a16:creationId xmlns:a16="http://schemas.microsoft.com/office/drawing/2014/main" id="{E1345BB7-31BF-457A-B690-A8BC92C0A011}"/>
                  </a:ext>
                </a:extLst>
              </p:cNvPr>
              <p:cNvSpPr>
                <a:spLocks/>
              </p:cNvSpPr>
              <p:nvPr/>
            </p:nvSpPr>
            <p:spPr bwMode="auto">
              <a:xfrm>
                <a:off x="9590089" y="2493962"/>
                <a:ext cx="285750" cy="211138"/>
              </a:xfrm>
              <a:custGeom>
                <a:avLst/>
                <a:gdLst>
                  <a:gd name="T0" fmla="*/ 49 w 76"/>
                  <a:gd name="T1" fmla="*/ 0 h 56"/>
                  <a:gd name="T2" fmla="*/ 70 w 76"/>
                  <a:gd name="T3" fmla="*/ 20 h 56"/>
                  <a:gd name="T4" fmla="*/ 67 w 76"/>
                  <a:gd name="T5" fmla="*/ 49 h 56"/>
                  <a:gd name="T6" fmla="*/ 50 w 76"/>
                  <a:gd name="T7" fmla="*/ 55 h 56"/>
                  <a:gd name="T8" fmla="*/ 19 w 76"/>
                  <a:gd name="T9" fmla="*/ 53 h 56"/>
                  <a:gd name="T10" fmla="*/ 0 w 76"/>
                  <a:gd name="T11" fmla="*/ 51 h 56"/>
                  <a:gd name="T12" fmla="*/ 0 w 76"/>
                  <a:gd name="T13" fmla="*/ 49 h 56"/>
                  <a:gd name="T14" fmla="*/ 0 w 76"/>
                  <a:gd name="T15" fmla="*/ 36 h 56"/>
                  <a:gd name="T16" fmla="*/ 24 w 76"/>
                  <a:gd name="T17"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6">
                    <a:moveTo>
                      <a:pt x="49" y="0"/>
                    </a:moveTo>
                    <a:cubicBezTo>
                      <a:pt x="58" y="4"/>
                      <a:pt x="66" y="11"/>
                      <a:pt x="70" y="20"/>
                    </a:cubicBezTo>
                    <a:cubicBezTo>
                      <a:pt x="74" y="30"/>
                      <a:pt x="76" y="42"/>
                      <a:pt x="67" y="49"/>
                    </a:cubicBezTo>
                    <a:cubicBezTo>
                      <a:pt x="62" y="53"/>
                      <a:pt x="56" y="54"/>
                      <a:pt x="50" y="55"/>
                    </a:cubicBezTo>
                    <a:cubicBezTo>
                      <a:pt x="40" y="56"/>
                      <a:pt x="29" y="55"/>
                      <a:pt x="19" y="53"/>
                    </a:cubicBezTo>
                    <a:cubicBezTo>
                      <a:pt x="15" y="53"/>
                      <a:pt x="3" y="50"/>
                      <a:pt x="0" y="51"/>
                    </a:cubicBezTo>
                    <a:cubicBezTo>
                      <a:pt x="0" y="50"/>
                      <a:pt x="0" y="49"/>
                      <a:pt x="0" y="49"/>
                    </a:cubicBezTo>
                    <a:cubicBezTo>
                      <a:pt x="0" y="36"/>
                      <a:pt x="0" y="36"/>
                      <a:pt x="0" y="36"/>
                    </a:cubicBezTo>
                    <a:cubicBezTo>
                      <a:pt x="0" y="21"/>
                      <a:pt x="10" y="6"/>
                      <a:pt x="2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Oval 109">
                <a:extLst>
                  <a:ext uri="{FF2B5EF4-FFF2-40B4-BE49-F238E27FC236}">
                    <a16:creationId xmlns:a16="http://schemas.microsoft.com/office/drawing/2014/main" id="{956D2D25-ED2B-4768-8F8F-DEE050B0CE8E}"/>
                  </a:ext>
                </a:extLst>
              </p:cNvPr>
              <p:cNvSpPr>
                <a:spLocks noChangeArrowheads="1"/>
              </p:cNvSpPr>
              <p:nvPr/>
            </p:nvSpPr>
            <p:spPr bwMode="auto">
              <a:xfrm>
                <a:off x="9650414" y="2318178"/>
                <a:ext cx="149225" cy="18415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110">
                <a:extLst>
                  <a:ext uri="{FF2B5EF4-FFF2-40B4-BE49-F238E27FC236}">
                    <a16:creationId xmlns:a16="http://schemas.microsoft.com/office/drawing/2014/main" id="{DC5EA2E3-B165-4460-AA37-4FBF310A3568}"/>
                  </a:ext>
                </a:extLst>
              </p:cNvPr>
              <p:cNvSpPr>
                <a:spLocks noEditPoints="1"/>
              </p:cNvSpPr>
              <p:nvPr/>
            </p:nvSpPr>
            <p:spPr bwMode="auto">
              <a:xfrm>
                <a:off x="9747251" y="2540000"/>
                <a:ext cx="52388" cy="30163"/>
              </a:xfrm>
              <a:custGeom>
                <a:avLst/>
                <a:gdLst>
                  <a:gd name="T0" fmla="*/ 33 w 33"/>
                  <a:gd name="T1" fmla="*/ 19 h 19"/>
                  <a:gd name="T2" fmla="*/ 0 w 33"/>
                  <a:gd name="T3" fmla="*/ 19 h 19"/>
                  <a:gd name="T4" fmla="*/ 17 w 33"/>
                  <a:gd name="T5" fmla="*/ 0 h 19"/>
                  <a:gd name="T6" fmla="*/ 33 w 33"/>
                  <a:gd name="T7" fmla="*/ 19 h 19"/>
                  <a:gd name="T8" fmla="*/ 12 w 33"/>
                  <a:gd name="T9" fmla="*/ 14 h 19"/>
                  <a:gd name="T10" fmla="*/ 22 w 33"/>
                  <a:gd name="T11" fmla="*/ 14 h 19"/>
                  <a:gd name="T12" fmla="*/ 17 w 33"/>
                  <a:gd name="T13" fmla="*/ 7 h 19"/>
                  <a:gd name="T14" fmla="*/ 12 w 33"/>
                  <a:gd name="T15" fmla="*/ 14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9">
                    <a:moveTo>
                      <a:pt x="33" y="19"/>
                    </a:moveTo>
                    <a:lnTo>
                      <a:pt x="0" y="19"/>
                    </a:lnTo>
                    <a:lnTo>
                      <a:pt x="17" y="0"/>
                    </a:lnTo>
                    <a:lnTo>
                      <a:pt x="33" y="19"/>
                    </a:lnTo>
                    <a:close/>
                    <a:moveTo>
                      <a:pt x="12" y="14"/>
                    </a:moveTo>
                    <a:lnTo>
                      <a:pt x="22" y="14"/>
                    </a:lnTo>
                    <a:lnTo>
                      <a:pt x="17" y="7"/>
                    </a:lnTo>
                    <a:lnTo>
                      <a:pt x="12" y="1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111">
                <a:extLst>
                  <a:ext uri="{FF2B5EF4-FFF2-40B4-BE49-F238E27FC236}">
                    <a16:creationId xmlns:a16="http://schemas.microsoft.com/office/drawing/2014/main" id="{F6A210DD-47C6-4668-95B6-ECEF0169ED95}"/>
                  </a:ext>
                </a:extLst>
              </p:cNvPr>
              <p:cNvSpPr>
                <a:spLocks/>
              </p:cNvSpPr>
              <p:nvPr/>
            </p:nvSpPr>
            <p:spPr bwMode="auto">
              <a:xfrm>
                <a:off x="9745357" y="2565762"/>
                <a:ext cx="96838" cy="60326"/>
              </a:xfrm>
              <a:custGeom>
                <a:avLst/>
                <a:gdLst>
                  <a:gd name="T0" fmla="*/ 61 w 61"/>
                  <a:gd name="T1" fmla="*/ 38 h 38"/>
                  <a:gd name="T2" fmla="*/ 0 w 61"/>
                  <a:gd name="T3" fmla="*/ 38 h 38"/>
                  <a:gd name="T4" fmla="*/ 0 w 61"/>
                  <a:gd name="T5" fmla="*/ 0 h 38"/>
                  <a:gd name="T6" fmla="*/ 23 w 61"/>
                  <a:gd name="T7" fmla="*/ 0 h 38"/>
                  <a:gd name="T8" fmla="*/ 61 w 61"/>
                  <a:gd name="T9" fmla="*/ 0 h 38"/>
                  <a:gd name="T10" fmla="*/ 61 w 61"/>
                  <a:gd name="T11" fmla="*/ 38 h 38"/>
                  <a:gd name="T12" fmla="*/ 61 w 61"/>
                  <a:gd name="T13" fmla="*/ 38 h 38"/>
                  <a:gd name="T14" fmla="*/ 61 w 61"/>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38">
                    <a:moveTo>
                      <a:pt x="61" y="38"/>
                    </a:moveTo>
                    <a:lnTo>
                      <a:pt x="0" y="38"/>
                    </a:lnTo>
                    <a:lnTo>
                      <a:pt x="0" y="0"/>
                    </a:lnTo>
                    <a:lnTo>
                      <a:pt x="23" y="0"/>
                    </a:lnTo>
                    <a:lnTo>
                      <a:pt x="61" y="0"/>
                    </a:lnTo>
                    <a:lnTo>
                      <a:pt x="61" y="38"/>
                    </a:lnTo>
                    <a:lnTo>
                      <a:pt x="61" y="38"/>
                    </a:lnTo>
                    <a:lnTo>
                      <a:pt x="61" y="38"/>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 name="Group 17">
            <a:extLst>
              <a:ext uri="{FF2B5EF4-FFF2-40B4-BE49-F238E27FC236}">
                <a16:creationId xmlns:a16="http://schemas.microsoft.com/office/drawing/2014/main" id="{637FB602-A6BA-40A0-8042-2839A5442B78}"/>
              </a:ext>
              <a:ext uri="{C183D7F6-B498-43B3-948B-1728B52AA6E4}">
                <adec:decorative xmlns:adec="http://schemas.microsoft.com/office/drawing/2017/decorative" val="1"/>
              </a:ext>
            </a:extLst>
          </p:cNvPr>
          <p:cNvGrpSpPr>
            <a:grpSpLocks noChangeAspect="1"/>
          </p:cNvGrpSpPr>
          <p:nvPr/>
        </p:nvGrpSpPr>
        <p:grpSpPr>
          <a:xfrm>
            <a:off x="515095" y="1992045"/>
            <a:ext cx="676098" cy="633600"/>
            <a:chOff x="436348" y="2373406"/>
            <a:chExt cx="768293" cy="720000"/>
          </a:xfrm>
        </p:grpSpPr>
        <p:sp>
          <p:nvSpPr>
            <p:cNvPr id="167" name="Freeform 5">
              <a:extLst>
                <a:ext uri="{FF2B5EF4-FFF2-40B4-BE49-F238E27FC236}">
                  <a16:creationId xmlns:a16="http://schemas.microsoft.com/office/drawing/2014/main" id="{54EDE91C-7FE1-4C11-95A0-6D8D766BD316}"/>
                </a:ext>
              </a:extLst>
            </p:cNvPr>
            <p:cNvSpPr>
              <a:spLocks/>
            </p:cNvSpPr>
            <p:nvPr/>
          </p:nvSpPr>
          <p:spPr bwMode="auto">
            <a:xfrm>
              <a:off x="436348" y="2373406"/>
              <a:ext cx="768293" cy="720000"/>
            </a:xfrm>
            <a:custGeom>
              <a:avLst/>
              <a:gdLst>
                <a:gd name="T0" fmla="*/ 32 w 222"/>
                <a:gd name="T1" fmla="*/ 162 h 208"/>
                <a:gd name="T2" fmla="*/ 53 w 222"/>
                <a:gd name="T3" fmla="*/ 31 h 208"/>
                <a:gd name="T4" fmla="*/ 190 w 222"/>
                <a:gd name="T5" fmla="*/ 51 h 208"/>
                <a:gd name="T6" fmla="*/ 165 w 222"/>
                <a:gd name="T7" fmla="*/ 177 h 208"/>
                <a:gd name="T8" fmla="*/ 32 w 222"/>
                <a:gd name="T9" fmla="*/ 162 h 208"/>
              </a:gdLst>
              <a:ahLst/>
              <a:cxnLst>
                <a:cxn ang="0">
                  <a:pos x="T0" y="T1"/>
                </a:cxn>
                <a:cxn ang="0">
                  <a:pos x="T2" y="T3"/>
                </a:cxn>
                <a:cxn ang="0">
                  <a:pos x="T4" y="T5"/>
                </a:cxn>
                <a:cxn ang="0">
                  <a:pos x="T6" y="T7"/>
                </a:cxn>
                <a:cxn ang="0">
                  <a:pos x="T8" y="T9"/>
                </a:cxn>
              </a:cxnLst>
              <a:rect l="0" t="0" r="r" b="b"/>
              <a:pathLst>
                <a:path w="222" h="208">
                  <a:moveTo>
                    <a:pt x="32" y="162"/>
                  </a:moveTo>
                  <a:cubicBezTo>
                    <a:pt x="0" y="121"/>
                    <a:pt x="9" y="62"/>
                    <a:pt x="53" y="31"/>
                  </a:cubicBezTo>
                  <a:cubicBezTo>
                    <a:pt x="97" y="0"/>
                    <a:pt x="158" y="9"/>
                    <a:pt x="190" y="51"/>
                  </a:cubicBezTo>
                  <a:cubicBezTo>
                    <a:pt x="222" y="92"/>
                    <a:pt x="209" y="146"/>
                    <a:pt x="165" y="177"/>
                  </a:cubicBezTo>
                  <a:cubicBezTo>
                    <a:pt x="121" y="208"/>
                    <a:pt x="64" y="204"/>
                    <a:pt x="32" y="162"/>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68" name="Groupe 167">
              <a:extLst>
                <a:ext uri="{FF2B5EF4-FFF2-40B4-BE49-F238E27FC236}">
                  <a16:creationId xmlns:a16="http://schemas.microsoft.com/office/drawing/2014/main" id="{A3BB67BF-95AC-4B21-9694-5B892877B3FB}"/>
                </a:ext>
              </a:extLst>
            </p:cNvPr>
            <p:cNvGrpSpPr>
              <a:grpSpLocks noChangeAspect="1"/>
            </p:cNvGrpSpPr>
            <p:nvPr/>
          </p:nvGrpSpPr>
          <p:grpSpPr>
            <a:xfrm>
              <a:off x="596795" y="2487149"/>
              <a:ext cx="432000" cy="454298"/>
              <a:chOff x="9494838" y="642148"/>
              <a:chExt cx="538163" cy="565940"/>
            </a:xfrm>
            <a:solidFill>
              <a:schemeClr val="bg1"/>
            </a:solidFill>
          </p:grpSpPr>
          <p:sp>
            <p:nvSpPr>
              <p:cNvPr id="169" name="Freeform 6">
                <a:extLst>
                  <a:ext uri="{FF2B5EF4-FFF2-40B4-BE49-F238E27FC236}">
                    <a16:creationId xmlns:a16="http://schemas.microsoft.com/office/drawing/2014/main" id="{2F342C3D-A675-47E6-894E-4879EED65F07}"/>
                  </a:ext>
                </a:extLst>
              </p:cNvPr>
              <p:cNvSpPr>
                <a:spLocks/>
              </p:cNvSpPr>
              <p:nvPr/>
            </p:nvSpPr>
            <p:spPr bwMode="auto">
              <a:xfrm>
                <a:off x="9563101" y="835114"/>
                <a:ext cx="157164" cy="173037"/>
              </a:xfrm>
              <a:custGeom>
                <a:avLst/>
                <a:gdLst>
                  <a:gd name="T0" fmla="*/ 23 w 42"/>
                  <a:gd name="T1" fmla="*/ 45 h 46"/>
                  <a:gd name="T2" fmla="*/ 42 w 42"/>
                  <a:gd name="T3" fmla="*/ 22 h 46"/>
                  <a:gd name="T4" fmla="*/ 22 w 42"/>
                  <a:gd name="T5" fmla="*/ 1 h 46"/>
                  <a:gd name="T6" fmla="*/ 1 w 42"/>
                  <a:gd name="T7" fmla="*/ 24 h 46"/>
                  <a:gd name="T8" fmla="*/ 23 w 42"/>
                  <a:gd name="T9" fmla="*/ 45 h 46"/>
                </a:gdLst>
                <a:ahLst/>
                <a:cxnLst>
                  <a:cxn ang="0">
                    <a:pos x="T0" y="T1"/>
                  </a:cxn>
                  <a:cxn ang="0">
                    <a:pos x="T2" y="T3"/>
                  </a:cxn>
                  <a:cxn ang="0">
                    <a:pos x="T4" y="T5"/>
                  </a:cxn>
                  <a:cxn ang="0">
                    <a:pos x="T6" y="T7"/>
                  </a:cxn>
                  <a:cxn ang="0">
                    <a:pos x="T8" y="T9"/>
                  </a:cxn>
                </a:cxnLst>
                <a:rect l="0" t="0" r="r" b="b"/>
                <a:pathLst>
                  <a:path w="42" h="46">
                    <a:moveTo>
                      <a:pt x="23" y="45"/>
                    </a:moveTo>
                    <a:cubicBezTo>
                      <a:pt x="35" y="44"/>
                      <a:pt x="42" y="34"/>
                      <a:pt x="42" y="22"/>
                    </a:cubicBezTo>
                    <a:cubicBezTo>
                      <a:pt x="42" y="9"/>
                      <a:pt x="33" y="0"/>
                      <a:pt x="22" y="1"/>
                    </a:cubicBezTo>
                    <a:cubicBezTo>
                      <a:pt x="10" y="2"/>
                      <a:pt x="0" y="12"/>
                      <a:pt x="1" y="24"/>
                    </a:cubicBezTo>
                    <a:cubicBezTo>
                      <a:pt x="1" y="36"/>
                      <a:pt x="11" y="46"/>
                      <a:pt x="23"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0" name="Freeform 7">
                <a:extLst>
                  <a:ext uri="{FF2B5EF4-FFF2-40B4-BE49-F238E27FC236}">
                    <a16:creationId xmlns:a16="http://schemas.microsoft.com/office/drawing/2014/main" id="{47F23EC0-4965-4F41-82E8-FD670C1CE2B7}"/>
                  </a:ext>
                </a:extLst>
              </p:cNvPr>
              <p:cNvSpPr>
                <a:spLocks/>
              </p:cNvSpPr>
              <p:nvPr/>
            </p:nvSpPr>
            <p:spPr bwMode="auto">
              <a:xfrm>
                <a:off x="9494838" y="1011238"/>
                <a:ext cx="296863" cy="196850"/>
              </a:xfrm>
              <a:custGeom>
                <a:avLst/>
                <a:gdLst>
                  <a:gd name="T0" fmla="*/ 0 w 79"/>
                  <a:gd name="T1" fmla="*/ 44 h 52"/>
                  <a:gd name="T2" fmla="*/ 1 w 79"/>
                  <a:gd name="T3" fmla="*/ 35 h 52"/>
                  <a:gd name="T4" fmla="*/ 29 w 79"/>
                  <a:gd name="T5" fmla="*/ 6 h 52"/>
                  <a:gd name="T6" fmla="*/ 76 w 79"/>
                  <a:gd name="T7" fmla="*/ 28 h 52"/>
                  <a:gd name="T8" fmla="*/ 65 w 79"/>
                  <a:gd name="T9" fmla="*/ 47 h 52"/>
                  <a:gd name="T10" fmla="*/ 0 w 79"/>
                  <a:gd name="T11" fmla="*/ 44 h 52"/>
                </a:gdLst>
                <a:ahLst/>
                <a:cxnLst>
                  <a:cxn ang="0">
                    <a:pos x="T0" y="T1"/>
                  </a:cxn>
                  <a:cxn ang="0">
                    <a:pos x="T2" y="T3"/>
                  </a:cxn>
                  <a:cxn ang="0">
                    <a:pos x="T4" y="T5"/>
                  </a:cxn>
                  <a:cxn ang="0">
                    <a:pos x="T6" y="T7"/>
                  </a:cxn>
                  <a:cxn ang="0">
                    <a:pos x="T8" y="T9"/>
                  </a:cxn>
                  <a:cxn ang="0">
                    <a:pos x="T10" y="T11"/>
                  </a:cxn>
                </a:cxnLst>
                <a:rect l="0" t="0" r="r" b="b"/>
                <a:pathLst>
                  <a:path w="79" h="52">
                    <a:moveTo>
                      <a:pt x="0" y="44"/>
                    </a:moveTo>
                    <a:cubicBezTo>
                      <a:pt x="0" y="41"/>
                      <a:pt x="0" y="38"/>
                      <a:pt x="1" y="35"/>
                    </a:cubicBezTo>
                    <a:cubicBezTo>
                      <a:pt x="4" y="20"/>
                      <a:pt x="15" y="9"/>
                      <a:pt x="29" y="6"/>
                    </a:cubicBezTo>
                    <a:cubicBezTo>
                      <a:pt x="55" y="0"/>
                      <a:pt x="71" y="13"/>
                      <a:pt x="76" y="28"/>
                    </a:cubicBezTo>
                    <a:cubicBezTo>
                      <a:pt x="79" y="36"/>
                      <a:pt x="73" y="45"/>
                      <a:pt x="65" y="47"/>
                    </a:cubicBezTo>
                    <a:cubicBezTo>
                      <a:pt x="35" y="52"/>
                      <a:pt x="18" y="43"/>
                      <a:pt x="0"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1" name="Freeform 8">
                <a:extLst>
                  <a:ext uri="{FF2B5EF4-FFF2-40B4-BE49-F238E27FC236}">
                    <a16:creationId xmlns:a16="http://schemas.microsoft.com/office/drawing/2014/main" id="{2F08E3DB-C736-439F-B950-2E4DE660C1D6}"/>
                  </a:ext>
                </a:extLst>
              </p:cNvPr>
              <p:cNvSpPr>
                <a:spLocks/>
              </p:cNvSpPr>
              <p:nvPr/>
            </p:nvSpPr>
            <p:spPr bwMode="auto">
              <a:xfrm>
                <a:off x="9807576" y="816064"/>
                <a:ext cx="157164" cy="168275"/>
              </a:xfrm>
              <a:custGeom>
                <a:avLst/>
                <a:gdLst>
                  <a:gd name="T0" fmla="*/ 22 w 42"/>
                  <a:gd name="T1" fmla="*/ 45 h 45"/>
                  <a:gd name="T2" fmla="*/ 42 w 42"/>
                  <a:gd name="T3" fmla="*/ 21 h 45"/>
                  <a:gd name="T4" fmla="*/ 21 w 42"/>
                  <a:gd name="T5" fmla="*/ 1 h 45"/>
                  <a:gd name="T6" fmla="*/ 0 w 42"/>
                  <a:gd name="T7" fmla="*/ 24 h 45"/>
                  <a:gd name="T8" fmla="*/ 22 w 42"/>
                  <a:gd name="T9" fmla="*/ 45 h 45"/>
                </a:gdLst>
                <a:ahLst/>
                <a:cxnLst>
                  <a:cxn ang="0">
                    <a:pos x="T0" y="T1"/>
                  </a:cxn>
                  <a:cxn ang="0">
                    <a:pos x="T2" y="T3"/>
                  </a:cxn>
                  <a:cxn ang="0">
                    <a:pos x="T4" y="T5"/>
                  </a:cxn>
                  <a:cxn ang="0">
                    <a:pos x="T6" y="T7"/>
                  </a:cxn>
                  <a:cxn ang="0">
                    <a:pos x="T8" y="T9"/>
                  </a:cxn>
                </a:cxnLst>
                <a:rect l="0" t="0" r="r" b="b"/>
                <a:pathLst>
                  <a:path w="42" h="45">
                    <a:moveTo>
                      <a:pt x="22" y="45"/>
                    </a:moveTo>
                    <a:cubicBezTo>
                      <a:pt x="34" y="44"/>
                      <a:pt x="42" y="33"/>
                      <a:pt x="42" y="21"/>
                    </a:cubicBezTo>
                    <a:cubicBezTo>
                      <a:pt x="41" y="9"/>
                      <a:pt x="33" y="0"/>
                      <a:pt x="21" y="1"/>
                    </a:cubicBezTo>
                    <a:cubicBezTo>
                      <a:pt x="9" y="2"/>
                      <a:pt x="0" y="12"/>
                      <a:pt x="0" y="24"/>
                    </a:cubicBezTo>
                    <a:cubicBezTo>
                      <a:pt x="1" y="36"/>
                      <a:pt x="10" y="45"/>
                      <a:pt x="22"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2" name="Freeform 9">
                <a:extLst>
                  <a:ext uri="{FF2B5EF4-FFF2-40B4-BE49-F238E27FC236}">
                    <a16:creationId xmlns:a16="http://schemas.microsoft.com/office/drawing/2014/main" id="{7AA57E50-49B0-4D9D-8A9B-BCB1C2ED05F6}"/>
                  </a:ext>
                </a:extLst>
              </p:cNvPr>
              <p:cNvSpPr>
                <a:spLocks/>
              </p:cNvSpPr>
              <p:nvPr/>
            </p:nvSpPr>
            <p:spPr bwMode="auto">
              <a:xfrm>
                <a:off x="9736138" y="993775"/>
                <a:ext cx="296863" cy="190500"/>
              </a:xfrm>
              <a:custGeom>
                <a:avLst/>
                <a:gdLst>
                  <a:gd name="T0" fmla="*/ 0 w 79"/>
                  <a:gd name="T1" fmla="*/ 44 h 51"/>
                  <a:gd name="T2" fmla="*/ 1 w 79"/>
                  <a:gd name="T3" fmla="*/ 34 h 51"/>
                  <a:gd name="T4" fmla="*/ 29 w 79"/>
                  <a:gd name="T5" fmla="*/ 6 h 51"/>
                  <a:gd name="T6" fmla="*/ 76 w 79"/>
                  <a:gd name="T7" fmla="*/ 28 h 51"/>
                  <a:gd name="T8" fmla="*/ 65 w 79"/>
                  <a:gd name="T9" fmla="*/ 46 h 51"/>
                  <a:gd name="T10" fmla="*/ 0 w 79"/>
                  <a:gd name="T11" fmla="*/ 44 h 51"/>
                </a:gdLst>
                <a:ahLst/>
                <a:cxnLst>
                  <a:cxn ang="0">
                    <a:pos x="T0" y="T1"/>
                  </a:cxn>
                  <a:cxn ang="0">
                    <a:pos x="T2" y="T3"/>
                  </a:cxn>
                  <a:cxn ang="0">
                    <a:pos x="T4" y="T5"/>
                  </a:cxn>
                  <a:cxn ang="0">
                    <a:pos x="T6" y="T7"/>
                  </a:cxn>
                  <a:cxn ang="0">
                    <a:pos x="T8" y="T9"/>
                  </a:cxn>
                  <a:cxn ang="0">
                    <a:pos x="T10" y="T11"/>
                  </a:cxn>
                </a:cxnLst>
                <a:rect l="0" t="0" r="r" b="b"/>
                <a:pathLst>
                  <a:path w="79" h="51">
                    <a:moveTo>
                      <a:pt x="0" y="44"/>
                    </a:moveTo>
                    <a:cubicBezTo>
                      <a:pt x="0" y="41"/>
                      <a:pt x="0" y="38"/>
                      <a:pt x="1" y="34"/>
                    </a:cubicBezTo>
                    <a:cubicBezTo>
                      <a:pt x="4" y="20"/>
                      <a:pt x="16" y="9"/>
                      <a:pt x="29" y="6"/>
                    </a:cubicBezTo>
                    <a:cubicBezTo>
                      <a:pt x="56" y="0"/>
                      <a:pt x="71" y="13"/>
                      <a:pt x="76" y="28"/>
                    </a:cubicBezTo>
                    <a:cubicBezTo>
                      <a:pt x="79" y="36"/>
                      <a:pt x="74" y="45"/>
                      <a:pt x="65" y="46"/>
                    </a:cubicBezTo>
                    <a:cubicBezTo>
                      <a:pt x="35" y="51"/>
                      <a:pt x="18" y="43"/>
                      <a:pt x="0"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3" name="Freeform 10">
                <a:extLst>
                  <a:ext uri="{FF2B5EF4-FFF2-40B4-BE49-F238E27FC236}">
                    <a16:creationId xmlns:a16="http://schemas.microsoft.com/office/drawing/2014/main" id="{F31D82CD-0B79-4767-8F3C-6E51B9122857}"/>
                  </a:ext>
                </a:extLst>
              </p:cNvPr>
              <p:cNvSpPr>
                <a:spLocks/>
              </p:cNvSpPr>
              <p:nvPr/>
            </p:nvSpPr>
            <p:spPr bwMode="auto">
              <a:xfrm>
                <a:off x="9645651" y="642148"/>
                <a:ext cx="146050" cy="161925"/>
              </a:xfrm>
              <a:custGeom>
                <a:avLst/>
                <a:gdLst>
                  <a:gd name="T0" fmla="*/ 39 w 39"/>
                  <a:gd name="T1" fmla="*/ 20 h 43"/>
                  <a:gd name="T2" fmla="*/ 20 w 39"/>
                  <a:gd name="T3" fmla="*/ 0 h 43"/>
                  <a:gd name="T4" fmla="*/ 0 w 39"/>
                  <a:gd name="T5" fmla="*/ 20 h 43"/>
                  <a:gd name="T6" fmla="*/ 15 w 39"/>
                  <a:gd name="T7" fmla="*/ 38 h 43"/>
                  <a:gd name="T8" fmla="*/ 14 w 39"/>
                  <a:gd name="T9" fmla="*/ 43 h 43"/>
                  <a:gd name="T10" fmla="*/ 32 w 39"/>
                  <a:gd name="T11" fmla="*/ 35 h 43"/>
                  <a:gd name="T12" fmla="*/ 33 w 39"/>
                  <a:gd name="T13" fmla="*/ 34 h 43"/>
                  <a:gd name="T14" fmla="*/ 33 w 39"/>
                  <a:gd name="T15" fmla="*/ 34 h 43"/>
                  <a:gd name="T16" fmla="*/ 34 w 39"/>
                  <a:gd name="T17" fmla="*/ 33 h 43"/>
                  <a:gd name="T18" fmla="*/ 35 w 39"/>
                  <a:gd name="T19" fmla="*/ 32 h 43"/>
                  <a:gd name="T20" fmla="*/ 35 w 39"/>
                  <a:gd name="T21" fmla="*/ 32 h 43"/>
                  <a:gd name="T22" fmla="*/ 39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39" y="20"/>
                    </a:moveTo>
                    <a:cubicBezTo>
                      <a:pt x="39" y="9"/>
                      <a:pt x="31" y="0"/>
                      <a:pt x="20" y="0"/>
                    </a:cubicBezTo>
                    <a:cubicBezTo>
                      <a:pt x="9" y="0"/>
                      <a:pt x="0" y="9"/>
                      <a:pt x="0" y="20"/>
                    </a:cubicBezTo>
                    <a:cubicBezTo>
                      <a:pt x="0" y="29"/>
                      <a:pt x="7" y="36"/>
                      <a:pt x="15" y="38"/>
                    </a:cubicBezTo>
                    <a:cubicBezTo>
                      <a:pt x="15" y="40"/>
                      <a:pt x="14" y="42"/>
                      <a:pt x="14" y="43"/>
                    </a:cubicBezTo>
                    <a:cubicBezTo>
                      <a:pt x="23" y="41"/>
                      <a:pt x="29" y="37"/>
                      <a:pt x="32" y="35"/>
                    </a:cubicBezTo>
                    <a:cubicBezTo>
                      <a:pt x="32" y="35"/>
                      <a:pt x="32" y="34"/>
                      <a:pt x="33" y="34"/>
                    </a:cubicBezTo>
                    <a:cubicBezTo>
                      <a:pt x="33" y="34"/>
                      <a:pt x="33" y="34"/>
                      <a:pt x="33" y="34"/>
                    </a:cubicBezTo>
                    <a:cubicBezTo>
                      <a:pt x="34" y="33"/>
                      <a:pt x="34" y="33"/>
                      <a:pt x="34" y="33"/>
                    </a:cubicBezTo>
                    <a:cubicBezTo>
                      <a:pt x="34" y="33"/>
                      <a:pt x="35" y="32"/>
                      <a:pt x="35" y="32"/>
                    </a:cubicBezTo>
                    <a:cubicBezTo>
                      <a:pt x="35" y="32"/>
                      <a:pt x="35" y="32"/>
                      <a:pt x="35" y="32"/>
                    </a:cubicBezTo>
                    <a:cubicBezTo>
                      <a:pt x="38" y="29"/>
                      <a:pt x="39" y="24"/>
                      <a:pt x="39"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4" name="Freeform 11">
                <a:extLst>
                  <a:ext uri="{FF2B5EF4-FFF2-40B4-BE49-F238E27FC236}">
                    <a16:creationId xmlns:a16="http://schemas.microsoft.com/office/drawing/2014/main" id="{F4D6DC87-1D20-4370-85CF-8D5969F5FD80}"/>
                  </a:ext>
                </a:extLst>
              </p:cNvPr>
              <p:cNvSpPr>
                <a:spLocks/>
              </p:cNvSpPr>
              <p:nvPr/>
            </p:nvSpPr>
            <p:spPr bwMode="auto">
              <a:xfrm>
                <a:off x="9728201" y="642148"/>
                <a:ext cx="146050" cy="161925"/>
              </a:xfrm>
              <a:custGeom>
                <a:avLst/>
                <a:gdLst>
                  <a:gd name="T0" fmla="*/ 0 w 39"/>
                  <a:gd name="T1" fmla="*/ 20 h 43"/>
                  <a:gd name="T2" fmla="*/ 20 w 39"/>
                  <a:gd name="T3" fmla="*/ 0 h 43"/>
                  <a:gd name="T4" fmla="*/ 39 w 39"/>
                  <a:gd name="T5" fmla="*/ 20 h 43"/>
                  <a:gd name="T6" fmla="*/ 24 w 39"/>
                  <a:gd name="T7" fmla="*/ 38 h 43"/>
                  <a:gd name="T8" fmla="*/ 26 w 39"/>
                  <a:gd name="T9" fmla="*/ 43 h 43"/>
                  <a:gd name="T10" fmla="*/ 7 w 39"/>
                  <a:gd name="T11" fmla="*/ 35 h 43"/>
                  <a:gd name="T12" fmla="*/ 7 w 39"/>
                  <a:gd name="T13" fmla="*/ 34 h 43"/>
                  <a:gd name="T14" fmla="*/ 6 w 39"/>
                  <a:gd name="T15" fmla="*/ 34 h 43"/>
                  <a:gd name="T16" fmla="*/ 6 w 39"/>
                  <a:gd name="T17" fmla="*/ 33 h 43"/>
                  <a:gd name="T18" fmla="*/ 5 w 39"/>
                  <a:gd name="T19" fmla="*/ 32 h 43"/>
                  <a:gd name="T20" fmla="*/ 5 w 39"/>
                  <a:gd name="T21" fmla="*/ 32 h 43"/>
                  <a:gd name="T22" fmla="*/ 0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0" y="20"/>
                    </a:moveTo>
                    <a:cubicBezTo>
                      <a:pt x="0" y="9"/>
                      <a:pt x="9" y="0"/>
                      <a:pt x="20" y="0"/>
                    </a:cubicBezTo>
                    <a:cubicBezTo>
                      <a:pt x="30" y="0"/>
                      <a:pt x="39" y="9"/>
                      <a:pt x="39" y="20"/>
                    </a:cubicBezTo>
                    <a:cubicBezTo>
                      <a:pt x="39" y="29"/>
                      <a:pt x="33" y="36"/>
                      <a:pt x="24" y="38"/>
                    </a:cubicBezTo>
                    <a:cubicBezTo>
                      <a:pt x="24" y="40"/>
                      <a:pt x="25" y="42"/>
                      <a:pt x="26" y="43"/>
                    </a:cubicBezTo>
                    <a:cubicBezTo>
                      <a:pt x="16" y="41"/>
                      <a:pt x="10" y="37"/>
                      <a:pt x="7" y="35"/>
                    </a:cubicBezTo>
                    <a:cubicBezTo>
                      <a:pt x="7" y="35"/>
                      <a:pt x="7" y="34"/>
                      <a:pt x="7" y="34"/>
                    </a:cubicBezTo>
                    <a:cubicBezTo>
                      <a:pt x="7" y="34"/>
                      <a:pt x="6" y="34"/>
                      <a:pt x="6" y="34"/>
                    </a:cubicBezTo>
                    <a:cubicBezTo>
                      <a:pt x="6" y="33"/>
                      <a:pt x="6" y="33"/>
                      <a:pt x="6" y="33"/>
                    </a:cubicBezTo>
                    <a:cubicBezTo>
                      <a:pt x="5" y="33"/>
                      <a:pt x="5" y="32"/>
                      <a:pt x="5" y="32"/>
                    </a:cubicBezTo>
                    <a:cubicBezTo>
                      <a:pt x="5" y="32"/>
                      <a:pt x="5" y="32"/>
                      <a:pt x="5" y="32"/>
                    </a:cubicBezTo>
                    <a:cubicBezTo>
                      <a:pt x="2" y="29"/>
                      <a:pt x="0" y="24"/>
                      <a:pt x="0"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8" name="Group 7">
            <a:extLst>
              <a:ext uri="{FF2B5EF4-FFF2-40B4-BE49-F238E27FC236}">
                <a16:creationId xmlns:a16="http://schemas.microsoft.com/office/drawing/2014/main" id="{5CA3C119-732C-418B-B7BE-DDCE49147F20}"/>
              </a:ext>
              <a:ext uri="{C183D7F6-B498-43B3-948B-1728B52AA6E4}">
                <adec:decorative xmlns:adec="http://schemas.microsoft.com/office/drawing/2017/decorative" val="1"/>
              </a:ext>
            </a:extLst>
          </p:cNvPr>
          <p:cNvGrpSpPr>
            <a:grpSpLocks noChangeAspect="1"/>
          </p:cNvGrpSpPr>
          <p:nvPr/>
        </p:nvGrpSpPr>
        <p:grpSpPr>
          <a:xfrm>
            <a:off x="8306624" y="1001633"/>
            <a:ext cx="676165" cy="633600"/>
            <a:chOff x="8247727" y="1175586"/>
            <a:chExt cx="768369" cy="720000"/>
          </a:xfrm>
        </p:grpSpPr>
        <p:sp>
          <p:nvSpPr>
            <p:cNvPr id="187" name="Freeform 64">
              <a:extLst>
                <a:ext uri="{FF2B5EF4-FFF2-40B4-BE49-F238E27FC236}">
                  <a16:creationId xmlns:a16="http://schemas.microsoft.com/office/drawing/2014/main" id="{29C388CC-101F-4ED2-8B55-24211576FC67}"/>
                </a:ext>
              </a:extLst>
            </p:cNvPr>
            <p:cNvSpPr>
              <a:spLocks/>
            </p:cNvSpPr>
            <p:nvPr/>
          </p:nvSpPr>
          <p:spPr bwMode="auto">
            <a:xfrm>
              <a:off x="8247727" y="1175586"/>
              <a:ext cx="768369" cy="720000"/>
            </a:xfrm>
            <a:custGeom>
              <a:avLst/>
              <a:gdLst>
                <a:gd name="T0" fmla="*/ 34 w 235"/>
                <a:gd name="T1" fmla="*/ 172 h 220"/>
                <a:gd name="T2" fmla="*/ 56 w 235"/>
                <a:gd name="T3" fmla="*/ 33 h 220"/>
                <a:gd name="T4" fmla="*/ 201 w 235"/>
                <a:gd name="T5" fmla="*/ 53 h 220"/>
                <a:gd name="T6" fmla="*/ 175 w 235"/>
                <a:gd name="T7" fmla="*/ 187 h 220"/>
                <a:gd name="T8" fmla="*/ 34 w 235"/>
                <a:gd name="T9" fmla="*/ 172 h 220"/>
              </a:gdLst>
              <a:ahLst/>
              <a:cxnLst>
                <a:cxn ang="0">
                  <a:pos x="T0" y="T1"/>
                </a:cxn>
                <a:cxn ang="0">
                  <a:pos x="T2" y="T3"/>
                </a:cxn>
                <a:cxn ang="0">
                  <a:pos x="T4" y="T5"/>
                </a:cxn>
                <a:cxn ang="0">
                  <a:pos x="T6" y="T7"/>
                </a:cxn>
                <a:cxn ang="0">
                  <a:pos x="T8" y="T9"/>
                </a:cxn>
              </a:cxnLst>
              <a:rect l="0" t="0" r="r" b="b"/>
              <a:pathLst>
                <a:path w="235" h="220">
                  <a:moveTo>
                    <a:pt x="34" y="172"/>
                  </a:moveTo>
                  <a:cubicBezTo>
                    <a:pt x="0" y="128"/>
                    <a:pt x="10" y="66"/>
                    <a:pt x="56" y="33"/>
                  </a:cubicBezTo>
                  <a:cubicBezTo>
                    <a:pt x="102" y="0"/>
                    <a:pt x="167" y="10"/>
                    <a:pt x="201" y="53"/>
                  </a:cubicBezTo>
                  <a:cubicBezTo>
                    <a:pt x="235" y="97"/>
                    <a:pt x="221" y="154"/>
                    <a:pt x="175" y="187"/>
                  </a:cubicBezTo>
                  <a:cubicBezTo>
                    <a:pt x="128" y="220"/>
                    <a:pt x="67" y="216"/>
                    <a:pt x="34" y="172"/>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88" name="Groupe 187">
              <a:extLst>
                <a:ext uri="{FF2B5EF4-FFF2-40B4-BE49-F238E27FC236}">
                  <a16:creationId xmlns:a16="http://schemas.microsoft.com/office/drawing/2014/main" id="{D95D1F64-5823-4F98-833B-77BF7500726B}"/>
                </a:ext>
              </a:extLst>
            </p:cNvPr>
            <p:cNvGrpSpPr/>
            <p:nvPr/>
          </p:nvGrpSpPr>
          <p:grpSpPr>
            <a:xfrm>
              <a:off x="8385923" y="1273705"/>
              <a:ext cx="486449" cy="444991"/>
              <a:chOff x="5892801" y="741363"/>
              <a:chExt cx="558800" cy="511175"/>
            </a:xfrm>
            <a:solidFill>
              <a:schemeClr val="bg1"/>
            </a:solidFill>
          </p:grpSpPr>
          <p:sp>
            <p:nvSpPr>
              <p:cNvPr id="189" name="Freeform 65">
                <a:extLst>
                  <a:ext uri="{FF2B5EF4-FFF2-40B4-BE49-F238E27FC236}">
                    <a16:creationId xmlns:a16="http://schemas.microsoft.com/office/drawing/2014/main" id="{D121BF4B-EAAA-4900-A545-774BAF34140E}"/>
                  </a:ext>
                </a:extLst>
              </p:cNvPr>
              <p:cNvSpPr>
                <a:spLocks/>
              </p:cNvSpPr>
              <p:nvPr/>
            </p:nvSpPr>
            <p:spPr bwMode="auto">
              <a:xfrm>
                <a:off x="6338888" y="1128713"/>
                <a:ext cx="112713" cy="115887"/>
              </a:xfrm>
              <a:custGeom>
                <a:avLst/>
                <a:gdLst>
                  <a:gd name="T0" fmla="*/ 71 w 71"/>
                  <a:gd name="T1" fmla="*/ 38 h 73"/>
                  <a:gd name="T2" fmla="*/ 71 w 71"/>
                  <a:gd name="T3" fmla="*/ 43 h 73"/>
                  <a:gd name="T4" fmla="*/ 71 w 71"/>
                  <a:gd name="T5" fmla="*/ 47 h 73"/>
                  <a:gd name="T6" fmla="*/ 69 w 71"/>
                  <a:gd name="T7" fmla="*/ 54 h 73"/>
                  <a:gd name="T8" fmla="*/ 64 w 71"/>
                  <a:gd name="T9" fmla="*/ 59 h 73"/>
                  <a:gd name="T10" fmla="*/ 61 w 71"/>
                  <a:gd name="T11" fmla="*/ 64 h 73"/>
                  <a:gd name="T12" fmla="*/ 57 w 71"/>
                  <a:gd name="T13" fmla="*/ 66 h 73"/>
                  <a:gd name="T14" fmla="*/ 52 w 71"/>
                  <a:gd name="T15" fmla="*/ 69 h 73"/>
                  <a:gd name="T16" fmla="*/ 47 w 71"/>
                  <a:gd name="T17" fmla="*/ 71 h 73"/>
                  <a:gd name="T18" fmla="*/ 40 w 71"/>
                  <a:gd name="T19" fmla="*/ 73 h 73"/>
                  <a:gd name="T20" fmla="*/ 35 w 71"/>
                  <a:gd name="T21" fmla="*/ 73 h 73"/>
                  <a:gd name="T22" fmla="*/ 31 w 71"/>
                  <a:gd name="T23" fmla="*/ 73 h 73"/>
                  <a:gd name="T24" fmla="*/ 24 w 71"/>
                  <a:gd name="T25" fmla="*/ 71 h 73"/>
                  <a:gd name="T26" fmla="*/ 19 w 71"/>
                  <a:gd name="T27" fmla="*/ 69 h 73"/>
                  <a:gd name="T28" fmla="*/ 14 w 71"/>
                  <a:gd name="T29" fmla="*/ 66 h 73"/>
                  <a:gd name="T30" fmla="*/ 9 w 71"/>
                  <a:gd name="T31" fmla="*/ 64 h 73"/>
                  <a:gd name="T32" fmla="*/ 5 w 71"/>
                  <a:gd name="T33" fmla="*/ 59 h 73"/>
                  <a:gd name="T34" fmla="*/ 2 w 71"/>
                  <a:gd name="T35" fmla="*/ 54 h 73"/>
                  <a:gd name="T36" fmla="*/ 0 w 71"/>
                  <a:gd name="T37" fmla="*/ 47 h 73"/>
                  <a:gd name="T38" fmla="*/ 0 w 71"/>
                  <a:gd name="T39" fmla="*/ 43 h 73"/>
                  <a:gd name="T40" fmla="*/ 0 w 71"/>
                  <a:gd name="T41" fmla="*/ 38 h 73"/>
                  <a:gd name="T42" fmla="*/ 0 w 71"/>
                  <a:gd name="T43" fmla="*/ 31 h 73"/>
                  <a:gd name="T44" fmla="*/ 0 w 71"/>
                  <a:gd name="T45" fmla="*/ 26 h 73"/>
                  <a:gd name="T46" fmla="*/ 2 w 71"/>
                  <a:gd name="T47" fmla="*/ 21 h 73"/>
                  <a:gd name="T48" fmla="*/ 5 w 71"/>
                  <a:gd name="T49" fmla="*/ 16 h 73"/>
                  <a:gd name="T50" fmla="*/ 9 w 71"/>
                  <a:gd name="T51" fmla="*/ 12 h 73"/>
                  <a:gd name="T52" fmla="*/ 14 w 71"/>
                  <a:gd name="T53" fmla="*/ 7 h 73"/>
                  <a:gd name="T54" fmla="*/ 19 w 71"/>
                  <a:gd name="T55" fmla="*/ 5 h 73"/>
                  <a:gd name="T56" fmla="*/ 24 w 71"/>
                  <a:gd name="T57" fmla="*/ 2 h 73"/>
                  <a:gd name="T58" fmla="*/ 31 w 71"/>
                  <a:gd name="T59" fmla="*/ 0 h 73"/>
                  <a:gd name="T60" fmla="*/ 35 w 71"/>
                  <a:gd name="T61" fmla="*/ 0 h 73"/>
                  <a:gd name="T62" fmla="*/ 40 w 71"/>
                  <a:gd name="T63" fmla="*/ 0 h 73"/>
                  <a:gd name="T64" fmla="*/ 47 w 71"/>
                  <a:gd name="T65" fmla="*/ 2 h 73"/>
                  <a:gd name="T66" fmla="*/ 52 w 71"/>
                  <a:gd name="T67" fmla="*/ 5 h 73"/>
                  <a:gd name="T68" fmla="*/ 57 w 71"/>
                  <a:gd name="T69" fmla="*/ 7 h 73"/>
                  <a:gd name="T70" fmla="*/ 61 w 71"/>
                  <a:gd name="T71" fmla="*/ 12 h 73"/>
                  <a:gd name="T72" fmla="*/ 64 w 71"/>
                  <a:gd name="T73" fmla="*/ 16 h 73"/>
                  <a:gd name="T74" fmla="*/ 69 w 71"/>
                  <a:gd name="T75" fmla="*/ 21 h 73"/>
                  <a:gd name="T76" fmla="*/ 71 w 71"/>
                  <a:gd name="T77" fmla="*/ 26 h 73"/>
                  <a:gd name="T78" fmla="*/ 71 w 71"/>
                  <a:gd name="T79"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 h="73">
                    <a:moveTo>
                      <a:pt x="71" y="33"/>
                    </a:moveTo>
                    <a:lnTo>
                      <a:pt x="71" y="38"/>
                    </a:lnTo>
                    <a:lnTo>
                      <a:pt x="71" y="40"/>
                    </a:lnTo>
                    <a:lnTo>
                      <a:pt x="71" y="43"/>
                    </a:lnTo>
                    <a:lnTo>
                      <a:pt x="71" y="45"/>
                    </a:lnTo>
                    <a:lnTo>
                      <a:pt x="71" y="47"/>
                    </a:lnTo>
                    <a:lnTo>
                      <a:pt x="69" y="52"/>
                    </a:lnTo>
                    <a:lnTo>
                      <a:pt x="69" y="54"/>
                    </a:lnTo>
                    <a:lnTo>
                      <a:pt x="66" y="57"/>
                    </a:lnTo>
                    <a:lnTo>
                      <a:pt x="64" y="59"/>
                    </a:lnTo>
                    <a:lnTo>
                      <a:pt x="64" y="61"/>
                    </a:lnTo>
                    <a:lnTo>
                      <a:pt x="61" y="64"/>
                    </a:lnTo>
                    <a:lnTo>
                      <a:pt x="59" y="64"/>
                    </a:lnTo>
                    <a:lnTo>
                      <a:pt x="57" y="66"/>
                    </a:lnTo>
                    <a:lnTo>
                      <a:pt x="54" y="69"/>
                    </a:lnTo>
                    <a:lnTo>
                      <a:pt x="52" y="69"/>
                    </a:lnTo>
                    <a:lnTo>
                      <a:pt x="50" y="71"/>
                    </a:lnTo>
                    <a:lnTo>
                      <a:pt x="47" y="71"/>
                    </a:lnTo>
                    <a:lnTo>
                      <a:pt x="45" y="73"/>
                    </a:lnTo>
                    <a:lnTo>
                      <a:pt x="40" y="73"/>
                    </a:lnTo>
                    <a:lnTo>
                      <a:pt x="38" y="73"/>
                    </a:lnTo>
                    <a:lnTo>
                      <a:pt x="35" y="73"/>
                    </a:lnTo>
                    <a:lnTo>
                      <a:pt x="33" y="73"/>
                    </a:lnTo>
                    <a:lnTo>
                      <a:pt x="31" y="73"/>
                    </a:lnTo>
                    <a:lnTo>
                      <a:pt x="26" y="73"/>
                    </a:lnTo>
                    <a:lnTo>
                      <a:pt x="24" y="71"/>
                    </a:lnTo>
                    <a:lnTo>
                      <a:pt x="21" y="71"/>
                    </a:lnTo>
                    <a:lnTo>
                      <a:pt x="19" y="69"/>
                    </a:lnTo>
                    <a:lnTo>
                      <a:pt x="16" y="69"/>
                    </a:lnTo>
                    <a:lnTo>
                      <a:pt x="14" y="66"/>
                    </a:lnTo>
                    <a:lnTo>
                      <a:pt x="12" y="64"/>
                    </a:lnTo>
                    <a:lnTo>
                      <a:pt x="9" y="64"/>
                    </a:lnTo>
                    <a:lnTo>
                      <a:pt x="7" y="61"/>
                    </a:lnTo>
                    <a:lnTo>
                      <a:pt x="5" y="59"/>
                    </a:lnTo>
                    <a:lnTo>
                      <a:pt x="5" y="57"/>
                    </a:lnTo>
                    <a:lnTo>
                      <a:pt x="2" y="54"/>
                    </a:lnTo>
                    <a:lnTo>
                      <a:pt x="2" y="52"/>
                    </a:lnTo>
                    <a:lnTo>
                      <a:pt x="0" y="47"/>
                    </a:lnTo>
                    <a:lnTo>
                      <a:pt x="0" y="45"/>
                    </a:lnTo>
                    <a:lnTo>
                      <a:pt x="0" y="43"/>
                    </a:lnTo>
                    <a:lnTo>
                      <a:pt x="0" y="40"/>
                    </a:lnTo>
                    <a:lnTo>
                      <a:pt x="0" y="38"/>
                    </a:lnTo>
                    <a:lnTo>
                      <a:pt x="0" y="33"/>
                    </a:lnTo>
                    <a:lnTo>
                      <a:pt x="0" y="31"/>
                    </a:lnTo>
                    <a:lnTo>
                      <a:pt x="0" y="28"/>
                    </a:lnTo>
                    <a:lnTo>
                      <a:pt x="0" y="26"/>
                    </a:lnTo>
                    <a:lnTo>
                      <a:pt x="2" y="24"/>
                    </a:lnTo>
                    <a:lnTo>
                      <a:pt x="2" y="21"/>
                    </a:lnTo>
                    <a:lnTo>
                      <a:pt x="5" y="19"/>
                    </a:lnTo>
                    <a:lnTo>
                      <a:pt x="5" y="16"/>
                    </a:lnTo>
                    <a:lnTo>
                      <a:pt x="7" y="14"/>
                    </a:lnTo>
                    <a:lnTo>
                      <a:pt x="9" y="12"/>
                    </a:lnTo>
                    <a:lnTo>
                      <a:pt x="12" y="9"/>
                    </a:lnTo>
                    <a:lnTo>
                      <a:pt x="14" y="7"/>
                    </a:lnTo>
                    <a:lnTo>
                      <a:pt x="16" y="7"/>
                    </a:lnTo>
                    <a:lnTo>
                      <a:pt x="19" y="5"/>
                    </a:lnTo>
                    <a:lnTo>
                      <a:pt x="21" y="2"/>
                    </a:lnTo>
                    <a:lnTo>
                      <a:pt x="24" y="2"/>
                    </a:lnTo>
                    <a:lnTo>
                      <a:pt x="26" y="2"/>
                    </a:lnTo>
                    <a:lnTo>
                      <a:pt x="31" y="0"/>
                    </a:lnTo>
                    <a:lnTo>
                      <a:pt x="33" y="0"/>
                    </a:lnTo>
                    <a:lnTo>
                      <a:pt x="35" y="0"/>
                    </a:lnTo>
                    <a:lnTo>
                      <a:pt x="38" y="0"/>
                    </a:lnTo>
                    <a:lnTo>
                      <a:pt x="40" y="0"/>
                    </a:lnTo>
                    <a:lnTo>
                      <a:pt x="45" y="2"/>
                    </a:lnTo>
                    <a:lnTo>
                      <a:pt x="47" y="2"/>
                    </a:lnTo>
                    <a:lnTo>
                      <a:pt x="50" y="2"/>
                    </a:lnTo>
                    <a:lnTo>
                      <a:pt x="52" y="5"/>
                    </a:lnTo>
                    <a:lnTo>
                      <a:pt x="54" y="7"/>
                    </a:lnTo>
                    <a:lnTo>
                      <a:pt x="57" y="7"/>
                    </a:lnTo>
                    <a:lnTo>
                      <a:pt x="59" y="9"/>
                    </a:lnTo>
                    <a:lnTo>
                      <a:pt x="61" y="12"/>
                    </a:lnTo>
                    <a:lnTo>
                      <a:pt x="64" y="14"/>
                    </a:lnTo>
                    <a:lnTo>
                      <a:pt x="64" y="16"/>
                    </a:lnTo>
                    <a:lnTo>
                      <a:pt x="66" y="19"/>
                    </a:lnTo>
                    <a:lnTo>
                      <a:pt x="69" y="21"/>
                    </a:lnTo>
                    <a:lnTo>
                      <a:pt x="69" y="24"/>
                    </a:lnTo>
                    <a:lnTo>
                      <a:pt x="71" y="26"/>
                    </a:lnTo>
                    <a:lnTo>
                      <a:pt x="71" y="28"/>
                    </a:lnTo>
                    <a:lnTo>
                      <a:pt x="71" y="31"/>
                    </a:lnTo>
                    <a:lnTo>
                      <a:pt x="71"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90" name="Freeform 66">
                <a:extLst>
                  <a:ext uri="{FF2B5EF4-FFF2-40B4-BE49-F238E27FC236}">
                    <a16:creationId xmlns:a16="http://schemas.microsoft.com/office/drawing/2014/main" id="{41B1116C-2EBF-4C40-A050-B1597A098626}"/>
                  </a:ext>
                </a:extLst>
              </p:cNvPr>
              <p:cNvSpPr>
                <a:spLocks/>
              </p:cNvSpPr>
              <p:nvPr/>
            </p:nvSpPr>
            <p:spPr bwMode="auto">
              <a:xfrm>
                <a:off x="6113463" y="741363"/>
                <a:ext cx="115888" cy="115887"/>
              </a:xfrm>
              <a:custGeom>
                <a:avLst/>
                <a:gdLst>
                  <a:gd name="T0" fmla="*/ 73 w 73"/>
                  <a:gd name="T1" fmla="*/ 38 h 73"/>
                  <a:gd name="T2" fmla="*/ 73 w 73"/>
                  <a:gd name="T3" fmla="*/ 43 h 73"/>
                  <a:gd name="T4" fmla="*/ 71 w 73"/>
                  <a:gd name="T5" fmla="*/ 50 h 73"/>
                  <a:gd name="T6" fmla="*/ 69 w 73"/>
                  <a:gd name="T7" fmla="*/ 54 h 73"/>
                  <a:gd name="T8" fmla="*/ 66 w 73"/>
                  <a:gd name="T9" fmla="*/ 59 h 73"/>
                  <a:gd name="T10" fmla="*/ 64 w 73"/>
                  <a:gd name="T11" fmla="*/ 64 h 73"/>
                  <a:gd name="T12" fmla="*/ 59 w 73"/>
                  <a:gd name="T13" fmla="*/ 66 h 73"/>
                  <a:gd name="T14" fmla="*/ 54 w 73"/>
                  <a:gd name="T15" fmla="*/ 71 h 73"/>
                  <a:gd name="T16" fmla="*/ 47 w 73"/>
                  <a:gd name="T17" fmla="*/ 73 h 73"/>
                  <a:gd name="T18" fmla="*/ 43 w 73"/>
                  <a:gd name="T19" fmla="*/ 73 h 73"/>
                  <a:gd name="T20" fmla="*/ 38 w 73"/>
                  <a:gd name="T21" fmla="*/ 73 h 73"/>
                  <a:gd name="T22" fmla="*/ 31 w 73"/>
                  <a:gd name="T23" fmla="*/ 73 h 73"/>
                  <a:gd name="T24" fmla="*/ 26 w 73"/>
                  <a:gd name="T25" fmla="*/ 73 h 73"/>
                  <a:gd name="T26" fmla="*/ 21 w 73"/>
                  <a:gd name="T27" fmla="*/ 71 h 73"/>
                  <a:gd name="T28" fmla="*/ 17 w 73"/>
                  <a:gd name="T29" fmla="*/ 66 h 73"/>
                  <a:gd name="T30" fmla="*/ 12 w 73"/>
                  <a:gd name="T31" fmla="*/ 64 h 73"/>
                  <a:gd name="T32" fmla="*/ 7 w 73"/>
                  <a:gd name="T33" fmla="*/ 59 h 73"/>
                  <a:gd name="T34" fmla="*/ 5 w 73"/>
                  <a:gd name="T35" fmla="*/ 54 h 73"/>
                  <a:gd name="T36" fmla="*/ 2 w 73"/>
                  <a:gd name="T37" fmla="*/ 50 h 73"/>
                  <a:gd name="T38" fmla="*/ 0 w 73"/>
                  <a:gd name="T39" fmla="*/ 43 h 73"/>
                  <a:gd name="T40" fmla="*/ 0 w 73"/>
                  <a:gd name="T41" fmla="*/ 38 h 73"/>
                  <a:gd name="T42" fmla="*/ 0 w 73"/>
                  <a:gd name="T43" fmla="*/ 33 h 73"/>
                  <a:gd name="T44" fmla="*/ 2 w 73"/>
                  <a:gd name="T45" fmla="*/ 26 h 73"/>
                  <a:gd name="T46" fmla="*/ 5 w 73"/>
                  <a:gd name="T47" fmla="*/ 21 h 73"/>
                  <a:gd name="T48" fmla="*/ 7 w 73"/>
                  <a:gd name="T49" fmla="*/ 16 h 73"/>
                  <a:gd name="T50" fmla="*/ 12 w 73"/>
                  <a:gd name="T51" fmla="*/ 12 h 73"/>
                  <a:gd name="T52" fmla="*/ 17 w 73"/>
                  <a:gd name="T53" fmla="*/ 7 h 73"/>
                  <a:gd name="T54" fmla="*/ 21 w 73"/>
                  <a:gd name="T55" fmla="*/ 5 h 73"/>
                  <a:gd name="T56" fmla="*/ 26 w 73"/>
                  <a:gd name="T57" fmla="*/ 2 h 73"/>
                  <a:gd name="T58" fmla="*/ 31 w 73"/>
                  <a:gd name="T59" fmla="*/ 2 h 73"/>
                  <a:gd name="T60" fmla="*/ 38 w 73"/>
                  <a:gd name="T61" fmla="*/ 0 h 73"/>
                  <a:gd name="T62" fmla="*/ 43 w 73"/>
                  <a:gd name="T63" fmla="*/ 2 h 73"/>
                  <a:gd name="T64" fmla="*/ 47 w 73"/>
                  <a:gd name="T65" fmla="*/ 2 h 73"/>
                  <a:gd name="T66" fmla="*/ 54 w 73"/>
                  <a:gd name="T67" fmla="*/ 5 h 73"/>
                  <a:gd name="T68" fmla="*/ 59 w 73"/>
                  <a:gd name="T69" fmla="*/ 7 h 73"/>
                  <a:gd name="T70" fmla="*/ 64 w 73"/>
                  <a:gd name="T71" fmla="*/ 12 h 73"/>
                  <a:gd name="T72" fmla="*/ 66 w 73"/>
                  <a:gd name="T73" fmla="*/ 16 h 73"/>
                  <a:gd name="T74" fmla="*/ 69 w 73"/>
                  <a:gd name="T75" fmla="*/ 21 h 73"/>
                  <a:gd name="T76" fmla="*/ 71 w 73"/>
                  <a:gd name="T77" fmla="*/ 26 h 73"/>
                  <a:gd name="T78" fmla="*/ 73 w 73"/>
                  <a:gd name="T79" fmla="*/ 3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73" y="35"/>
                    </a:moveTo>
                    <a:lnTo>
                      <a:pt x="73" y="38"/>
                    </a:lnTo>
                    <a:lnTo>
                      <a:pt x="73" y="40"/>
                    </a:lnTo>
                    <a:lnTo>
                      <a:pt x="73" y="43"/>
                    </a:lnTo>
                    <a:lnTo>
                      <a:pt x="73" y="47"/>
                    </a:lnTo>
                    <a:lnTo>
                      <a:pt x="71" y="50"/>
                    </a:lnTo>
                    <a:lnTo>
                      <a:pt x="71" y="52"/>
                    </a:lnTo>
                    <a:lnTo>
                      <a:pt x="69" y="54"/>
                    </a:lnTo>
                    <a:lnTo>
                      <a:pt x="69" y="57"/>
                    </a:lnTo>
                    <a:lnTo>
                      <a:pt x="66" y="59"/>
                    </a:lnTo>
                    <a:lnTo>
                      <a:pt x="64" y="61"/>
                    </a:lnTo>
                    <a:lnTo>
                      <a:pt x="64" y="64"/>
                    </a:lnTo>
                    <a:lnTo>
                      <a:pt x="62" y="66"/>
                    </a:lnTo>
                    <a:lnTo>
                      <a:pt x="59" y="66"/>
                    </a:lnTo>
                    <a:lnTo>
                      <a:pt x="57" y="69"/>
                    </a:lnTo>
                    <a:lnTo>
                      <a:pt x="54" y="71"/>
                    </a:lnTo>
                    <a:lnTo>
                      <a:pt x="52" y="71"/>
                    </a:lnTo>
                    <a:lnTo>
                      <a:pt x="47" y="73"/>
                    </a:lnTo>
                    <a:lnTo>
                      <a:pt x="45" y="73"/>
                    </a:lnTo>
                    <a:lnTo>
                      <a:pt x="43" y="73"/>
                    </a:lnTo>
                    <a:lnTo>
                      <a:pt x="40" y="73"/>
                    </a:lnTo>
                    <a:lnTo>
                      <a:pt x="38" y="73"/>
                    </a:lnTo>
                    <a:lnTo>
                      <a:pt x="33" y="73"/>
                    </a:lnTo>
                    <a:lnTo>
                      <a:pt x="31" y="73"/>
                    </a:lnTo>
                    <a:lnTo>
                      <a:pt x="28" y="73"/>
                    </a:lnTo>
                    <a:lnTo>
                      <a:pt x="26" y="73"/>
                    </a:lnTo>
                    <a:lnTo>
                      <a:pt x="24" y="71"/>
                    </a:lnTo>
                    <a:lnTo>
                      <a:pt x="21" y="71"/>
                    </a:lnTo>
                    <a:lnTo>
                      <a:pt x="19" y="69"/>
                    </a:lnTo>
                    <a:lnTo>
                      <a:pt x="17" y="66"/>
                    </a:lnTo>
                    <a:lnTo>
                      <a:pt x="14" y="66"/>
                    </a:lnTo>
                    <a:lnTo>
                      <a:pt x="12" y="64"/>
                    </a:lnTo>
                    <a:lnTo>
                      <a:pt x="10" y="61"/>
                    </a:lnTo>
                    <a:lnTo>
                      <a:pt x="7" y="59"/>
                    </a:lnTo>
                    <a:lnTo>
                      <a:pt x="7" y="57"/>
                    </a:lnTo>
                    <a:lnTo>
                      <a:pt x="5" y="54"/>
                    </a:lnTo>
                    <a:lnTo>
                      <a:pt x="2" y="52"/>
                    </a:lnTo>
                    <a:lnTo>
                      <a:pt x="2" y="50"/>
                    </a:lnTo>
                    <a:lnTo>
                      <a:pt x="2" y="47"/>
                    </a:lnTo>
                    <a:lnTo>
                      <a:pt x="0" y="43"/>
                    </a:lnTo>
                    <a:lnTo>
                      <a:pt x="0" y="40"/>
                    </a:lnTo>
                    <a:lnTo>
                      <a:pt x="0" y="38"/>
                    </a:lnTo>
                    <a:lnTo>
                      <a:pt x="0" y="35"/>
                    </a:lnTo>
                    <a:lnTo>
                      <a:pt x="0" y="33"/>
                    </a:lnTo>
                    <a:lnTo>
                      <a:pt x="2" y="28"/>
                    </a:lnTo>
                    <a:lnTo>
                      <a:pt x="2" y="26"/>
                    </a:lnTo>
                    <a:lnTo>
                      <a:pt x="2" y="24"/>
                    </a:lnTo>
                    <a:lnTo>
                      <a:pt x="5" y="21"/>
                    </a:lnTo>
                    <a:lnTo>
                      <a:pt x="7" y="19"/>
                    </a:lnTo>
                    <a:lnTo>
                      <a:pt x="7" y="16"/>
                    </a:lnTo>
                    <a:lnTo>
                      <a:pt x="10" y="14"/>
                    </a:lnTo>
                    <a:lnTo>
                      <a:pt x="12" y="12"/>
                    </a:lnTo>
                    <a:lnTo>
                      <a:pt x="14" y="9"/>
                    </a:lnTo>
                    <a:lnTo>
                      <a:pt x="17" y="7"/>
                    </a:lnTo>
                    <a:lnTo>
                      <a:pt x="19" y="7"/>
                    </a:lnTo>
                    <a:lnTo>
                      <a:pt x="21" y="5"/>
                    </a:lnTo>
                    <a:lnTo>
                      <a:pt x="24" y="5"/>
                    </a:lnTo>
                    <a:lnTo>
                      <a:pt x="26" y="2"/>
                    </a:lnTo>
                    <a:lnTo>
                      <a:pt x="28" y="2"/>
                    </a:lnTo>
                    <a:lnTo>
                      <a:pt x="31" y="2"/>
                    </a:lnTo>
                    <a:lnTo>
                      <a:pt x="33" y="2"/>
                    </a:lnTo>
                    <a:lnTo>
                      <a:pt x="38" y="0"/>
                    </a:lnTo>
                    <a:lnTo>
                      <a:pt x="40" y="2"/>
                    </a:lnTo>
                    <a:lnTo>
                      <a:pt x="43" y="2"/>
                    </a:lnTo>
                    <a:lnTo>
                      <a:pt x="45" y="2"/>
                    </a:lnTo>
                    <a:lnTo>
                      <a:pt x="47" y="2"/>
                    </a:lnTo>
                    <a:lnTo>
                      <a:pt x="52" y="5"/>
                    </a:lnTo>
                    <a:lnTo>
                      <a:pt x="54" y="5"/>
                    </a:lnTo>
                    <a:lnTo>
                      <a:pt x="57" y="7"/>
                    </a:lnTo>
                    <a:lnTo>
                      <a:pt x="59" y="7"/>
                    </a:lnTo>
                    <a:lnTo>
                      <a:pt x="62" y="9"/>
                    </a:lnTo>
                    <a:lnTo>
                      <a:pt x="64" y="12"/>
                    </a:lnTo>
                    <a:lnTo>
                      <a:pt x="64" y="14"/>
                    </a:lnTo>
                    <a:lnTo>
                      <a:pt x="66" y="16"/>
                    </a:lnTo>
                    <a:lnTo>
                      <a:pt x="69" y="19"/>
                    </a:lnTo>
                    <a:lnTo>
                      <a:pt x="69" y="21"/>
                    </a:lnTo>
                    <a:lnTo>
                      <a:pt x="71" y="24"/>
                    </a:lnTo>
                    <a:lnTo>
                      <a:pt x="71" y="26"/>
                    </a:lnTo>
                    <a:lnTo>
                      <a:pt x="73" y="28"/>
                    </a:lnTo>
                    <a:lnTo>
                      <a:pt x="73" y="33"/>
                    </a:lnTo>
                    <a:lnTo>
                      <a:pt x="7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91" name="Freeform 67">
                <a:extLst>
                  <a:ext uri="{FF2B5EF4-FFF2-40B4-BE49-F238E27FC236}">
                    <a16:creationId xmlns:a16="http://schemas.microsoft.com/office/drawing/2014/main" id="{C6D37812-9A0B-4AE1-92C1-9AF5201B9AAB}"/>
                  </a:ext>
                </a:extLst>
              </p:cNvPr>
              <p:cNvSpPr>
                <a:spLocks/>
              </p:cNvSpPr>
              <p:nvPr/>
            </p:nvSpPr>
            <p:spPr bwMode="auto">
              <a:xfrm>
                <a:off x="6049963" y="827088"/>
                <a:ext cx="266700" cy="271462"/>
              </a:xfrm>
              <a:custGeom>
                <a:avLst/>
                <a:gdLst>
                  <a:gd name="T0" fmla="*/ 24 w 71"/>
                  <a:gd name="T1" fmla="*/ 9 h 72"/>
                  <a:gd name="T2" fmla="*/ 26 w 71"/>
                  <a:gd name="T3" fmla="*/ 11 h 72"/>
                  <a:gd name="T4" fmla="*/ 29 w 71"/>
                  <a:gd name="T5" fmla="*/ 11 h 72"/>
                  <a:gd name="T6" fmla="*/ 31 w 71"/>
                  <a:gd name="T7" fmla="*/ 12 h 72"/>
                  <a:gd name="T8" fmla="*/ 34 w 71"/>
                  <a:gd name="T9" fmla="*/ 12 h 72"/>
                  <a:gd name="T10" fmla="*/ 37 w 71"/>
                  <a:gd name="T11" fmla="*/ 11 h 72"/>
                  <a:gd name="T12" fmla="*/ 39 w 71"/>
                  <a:gd name="T13" fmla="*/ 11 h 72"/>
                  <a:gd name="T14" fmla="*/ 42 w 71"/>
                  <a:gd name="T15" fmla="*/ 10 h 72"/>
                  <a:gd name="T16" fmla="*/ 44 w 71"/>
                  <a:gd name="T17" fmla="*/ 8 h 72"/>
                  <a:gd name="T18" fmla="*/ 46 w 71"/>
                  <a:gd name="T19" fmla="*/ 7 h 72"/>
                  <a:gd name="T20" fmla="*/ 48 w 71"/>
                  <a:gd name="T21" fmla="*/ 5 h 72"/>
                  <a:gd name="T22" fmla="*/ 49 w 71"/>
                  <a:gd name="T23" fmla="*/ 2 h 72"/>
                  <a:gd name="T24" fmla="*/ 50 w 71"/>
                  <a:gd name="T25" fmla="*/ 0 h 72"/>
                  <a:gd name="T26" fmla="*/ 54 w 71"/>
                  <a:gd name="T27" fmla="*/ 3 h 72"/>
                  <a:gd name="T28" fmla="*/ 57 w 71"/>
                  <a:gd name="T29" fmla="*/ 6 h 72"/>
                  <a:gd name="T30" fmla="*/ 60 w 71"/>
                  <a:gd name="T31" fmla="*/ 9 h 72"/>
                  <a:gd name="T32" fmla="*/ 62 w 71"/>
                  <a:gd name="T33" fmla="*/ 13 h 72"/>
                  <a:gd name="T34" fmla="*/ 64 w 71"/>
                  <a:gd name="T35" fmla="*/ 16 h 72"/>
                  <a:gd name="T36" fmla="*/ 66 w 71"/>
                  <a:gd name="T37" fmla="*/ 20 h 72"/>
                  <a:gd name="T38" fmla="*/ 68 w 71"/>
                  <a:gd name="T39" fmla="*/ 24 h 72"/>
                  <a:gd name="T40" fmla="*/ 69 w 71"/>
                  <a:gd name="T41" fmla="*/ 28 h 72"/>
                  <a:gd name="T42" fmla="*/ 70 w 71"/>
                  <a:gd name="T43" fmla="*/ 33 h 72"/>
                  <a:gd name="T44" fmla="*/ 71 w 71"/>
                  <a:gd name="T45" fmla="*/ 37 h 72"/>
                  <a:gd name="T46" fmla="*/ 71 w 71"/>
                  <a:gd name="T47" fmla="*/ 41 h 72"/>
                  <a:gd name="T48" fmla="*/ 70 w 71"/>
                  <a:gd name="T49" fmla="*/ 46 h 72"/>
                  <a:gd name="T50" fmla="*/ 70 w 71"/>
                  <a:gd name="T51" fmla="*/ 50 h 72"/>
                  <a:gd name="T52" fmla="*/ 69 w 71"/>
                  <a:gd name="T53" fmla="*/ 54 h 72"/>
                  <a:gd name="T54" fmla="*/ 67 w 71"/>
                  <a:gd name="T55" fmla="*/ 58 h 72"/>
                  <a:gd name="T56" fmla="*/ 66 w 71"/>
                  <a:gd name="T57" fmla="*/ 62 h 72"/>
                  <a:gd name="T58" fmla="*/ 65 w 71"/>
                  <a:gd name="T59" fmla="*/ 63 h 72"/>
                  <a:gd name="T60" fmla="*/ 63 w 71"/>
                  <a:gd name="T61" fmla="*/ 65 h 72"/>
                  <a:gd name="T62" fmla="*/ 61 w 71"/>
                  <a:gd name="T63" fmla="*/ 66 h 72"/>
                  <a:gd name="T64" fmla="*/ 0 w 71"/>
                  <a:gd name="T65" fmla="*/ 29 h 72"/>
                  <a:gd name="T66" fmla="*/ 0 w 71"/>
                  <a:gd name="T67" fmla="*/ 26 h 72"/>
                  <a:gd name="T68" fmla="*/ 1 w 71"/>
                  <a:gd name="T69" fmla="*/ 23 h 72"/>
                  <a:gd name="T70" fmla="*/ 1 w 71"/>
                  <a:gd name="T71" fmla="*/ 20 h 72"/>
                  <a:gd name="T72" fmla="*/ 2 w 71"/>
                  <a:gd name="T73" fmla="*/ 17 h 72"/>
                  <a:gd name="T74" fmla="*/ 4 w 71"/>
                  <a:gd name="T75" fmla="*/ 14 h 72"/>
                  <a:gd name="T76" fmla="*/ 5 w 71"/>
                  <a:gd name="T77" fmla="*/ 11 h 72"/>
                  <a:gd name="T78" fmla="*/ 8 w 71"/>
                  <a:gd name="T79" fmla="*/ 9 h 72"/>
                  <a:gd name="T80" fmla="*/ 10 w 71"/>
                  <a:gd name="T81" fmla="*/ 7 h 72"/>
                  <a:gd name="T82" fmla="*/ 12 w 71"/>
                  <a:gd name="T83" fmla="*/ 5 h 72"/>
                  <a:gd name="T84" fmla="*/ 15 w 71"/>
                  <a:gd name="T85" fmla="*/ 4 h 72"/>
                  <a:gd name="T86" fmla="*/ 17 w 71"/>
                  <a:gd name="T87" fmla="*/ 4 h 72"/>
                  <a:gd name="T88" fmla="*/ 19 w 71"/>
                  <a:gd name="T89" fmla="*/ 6 h 72"/>
                  <a:gd name="T90" fmla="*/ 21 w 71"/>
                  <a:gd name="T91"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72">
                    <a:moveTo>
                      <a:pt x="22" y="9"/>
                    </a:moveTo>
                    <a:cubicBezTo>
                      <a:pt x="24" y="9"/>
                      <a:pt x="24" y="9"/>
                      <a:pt x="24" y="9"/>
                    </a:cubicBezTo>
                    <a:cubicBezTo>
                      <a:pt x="25" y="10"/>
                      <a:pt x="25" y="10"/>
                      <a:pt x="25" y="10"/>
                    </a:cubicBezTo>
                    <a:cubicBezTo>
                      <a:pt x="26" y="11"/>
                      <a:pt x="26" y="11"/>
                      <a:pt x="26" y="11"/>
                    </a:cubicBezTo>
                    <a:cubicBezTo>
                      <a:pt x="27" y="11"/>
                      <a:pt x="27" y="11"/>
                      <a:pt x="27" y="11"/>
                    </a:cubicBezTo>
                    <a:cubicBezTo>
                      <a:pt x="29" y="11"/>
                      <a:pt x="29" y="11"/>
                      <a:pt x="29" y="11"/>
                    </a:cubicBezTo>
                    <a:cubicBezTo>
                      <a:pt x="30" y="12"/>
                      <a:pt x="30" y="12"/>
                      <a:pt x="30" y="12"/>
                    </a:cubicBezTo>
                    <a:cubicBezTo>
                      <a:pt x="31" y="12"/>
                      <a:pt x="31" y="12"/>
                      <a:pt x="31" y="12"/>
                    </a:cubicBezTo>
                    <a:cubicBezTo>
                      <a:pt x="33" y="12"/>
                      <a:pt x="33" y="12"/>
                      <a:pt x="33" y="12"/>
                    </a:cubicBezTo>
                    <a:cubicBezTo>
                      <a:pt x="34" y="12"/>
                      <a:pt x="34" y="12"/>
                      <a:pt x="34" y="12"/>
                    </a:cubicBezTo>
                    <a:cubicBezTo>
                      <a:pt x="35" y="12"/>
                      <a:pt x="35" y="12"/>
                      <a:pt x="35" y="12"/>
                    </a:cubicBezTo>
                    <a:cubicBezTo>
                      <a:pt x="37" y="11"/>
                      <a:pt x="37" y="11"/>
                      <a:pt x="37" y="11"/>
                    </a:cubicBezTo>
                    <a:cubicBezTo>
                      <a:pt x="38" y="11"/>
                      <a:pt x="38" y="11"/>
                      <a:pt x="38" y="11"/>
                    </a:cubicBezTo>
                    <a:cubicBezTo>
                      <a:pt x="39" y="11"/>
                      <a:pt x="39" y="11"/>
                      <a:pt x="39" y="11"/>
                    </a:cubicBezTo>
                    <a:cubicBezTo>
                      <a:pt x="40" y="10"/>
                      <a:pt x="40" y="10"/>
                      <a:pt x="40" y="10"/>
                    </a:cubicBezTo>
                    <a:cubicBezTo>
                      <a:pt x="42" y="10"/>
                      <a:pt x="42" y="10"/>
                      <a:pt x="42" y="10"/>
                    </a:cubicBezTo>
                    <a:cubicBezTo>
                      <a:pt x="43" y="9"/>
                      <a:pt x="43" y="9"/>
                      <a:pt x="43" y="9"/>
                    </a:cubicBezTo>
                    <a:cubicBezTo>
                      <a:pt x="44" y="8"/>
                      <a:pt x="44" y="8"/>
                      <a:pt x="44" y="8"/>
                    </a:cubicBezTo>
                    <a:cubicBezTo>
                      <a:pt x="45" y="7"/>
                      <a:pt x="45" y="7"/>
                      <a:pt x="45" y="7"/>
                    </a:cubicBezTo>
                    <a:cubicBezTo>
                      <a:pt x="46" y="7"/>
                      <a:pt x="46" y="7"/>
                      <a:pt x="46" y="7"/>
                    </a:cubicBezTo>
                    <a:cubicBezTo>
                      <a:pt x="47" y="6"/>
                      <a:pt x="47" y="6"/>
                      <a:pt x="47" y="6"/>
                    </a:cubicBezTo>
                    <a:cubicBezTo>
                      <a:pt x="48" y="5"/>
                      <a:pt x="48" y="5"/>
                      <a:pt x="48" y="5"/>
                    </a:cubicBezTo>
                    <a:cubicBezTo>
                      <a:pt x="48" y="3"/>
                      <a:pt x="48" y="3"/>
                      <a:pt x="48" y="3"/>
                    </a:cubicBezTo>
                    <a:cubicBezTo>
                      <a:pt x="49" y="2"/>
                      <a:pt x="49" y="2"/>
                      <a:pt x="49" y="2"/>
                    </a:cubicBezTo>
                    <a:cubicBezTo>
                      <a:pt x="50" y="1"/>
                      <a:pt x="50" y="1"/>
                      <a:pt x="50" y="1"/>
                    </a:cubicBezTo>
                    <a:cubicBezTo>
                      <a:pt x="50" y="0"/>
                      <a:pt x="50" y="0"/>
                      <a:pt x="50" y="0"/>
                    </a:cubicBezTo>
                    <a:cubicBezTo>
                      <a:pt x="52" y="1"/>
                      <a:pt x="52" y="1"/>
                      <a:pt x="52" y="1"/>
                    </a:cubicBezTo>
                    <a:cubicBezTo>
                      <a:pt x="54" y="3"/>
                      <a:pt x="54" y="3"/>
                      <a:pt x="54" y="3"/>
                    </a:cubicBezTo>
                    <a:cubicBezTo>
                      <a:pt x="55" y="4"/>
                      <a:pt x="55" y="4"/>
                      <a:pt x="55" y="4"/>
                    </a:cubicBezTo>
                    <a:cubicBezTo>
                      <a:pt x="57" y="6"/>
                      <a:pt x="57" y="6"/>
                      <a:pt x="57" y="6"/>
                    </a:cubicBezTo>
                    <a:cubicBezTo>
                      <a:pt x="58" y="7"/>
                      <a:pt x="58" y="7"/>
                      <a:pt x="58" y="7"/>
                    </a:cubicBezTo>
                    <a:cubicBezTo>
                      <a:pt x="60" y="9"/>
                      <a:pt x="60" y="9"/>
                      <a:pt x="60" y="9"/>
                    </a:cubicBezTo>
                    <a:cubicBezTo>
                      <a:pt x="61" y="11"/>
                      <a:pt x="61" y="11"/>
                      <a:pt x="61" y="11"/>
                    </a:cubicBezTo>
                    <a:cubicBezTo>
                      <a:pt x="62" y="13"/>
                      <a:pt x="62" y="13"/>
                      <a:pt x="62" y="13"/>
                    </a:cubicBezTo>
                    <a:cubicBezTo>
                      <a:pt x="63" y="14"/>
                      <a:pt x="63" y="14"/>
                      <a:pt x="63" y="14"/>
                    </a:cubicBezTo>
                    <a:cubicBezTo>
                      <a:pt x="64" y="16"/>
                      <a:pt x="64" y="16"/>
                      <a:pt x="64" y="16"/>
                    </a:cubicBezTo>
                    <a:cubicBezTo>
                      <a:pt x="65" y="18"/>
                      <a:pt x="65" y="18"/>
                      <a:pt x="65" y="18"/>
                    </a:cubicBezTo>
                    <a:cubicBezTo>
                      <a:pt x="66" y="20"/>
                      <a:pt x="66" y="20"/>
                      <a:pt x="66" y="20"/>
                    </a:cubicBezTo>
                    <a:cubicBezTo>
                      <a:pt x="67" y="22"/>
                      <a:pt x="67" y="22"/>
                      <a:pt x="67" y="22"/>
                    </a:cubicBezTo>
                    <a:cubicBezTo>
                      <a:pt x="68" y="24"/>
                      <a:pt x="68" y="24"/>
                      <a:pt x="68" y="24"/>
                    </a:cubicBezTo>
                    <a:cubicBezTo>
                      <a:pt x="69" y="26"/>
                      <a:pt x="69" y="26"/>
                      <a:pt x="69" y="26"/>
                    </a:cubicBezTo>
                    <a:cubicBezTo>
                      <a:pt x="69" y="28"/>
                      <a:pt x="69" y="28"/>
                      <a:pt x="69" y="28"/>
                    </a:cubicBezTo>
                    <a:cubicBezTo>
                      <a:pt x="70" y="31"/>
                      <a:pt x="70" y="31"/>
                      <a:pt x="70" y="31"/>
                    </a:cubicBezTo>
                    <a:cubicBezTo>
                      <a:pt x="70" y="33"/>
                      <a:pt x="70" y="33"/>
                      <a:pt x="70" y="33"/>
                    </a:cubicBezTo>
                    <a:cubicBezTo>
                      <a:pt x="70" y="35"/>
                      <a:pt x="70" y="35"/>
                      <a:pt x="70" y="35"/>
                    </a:cubicBezTo>
                    <a:cubicBezTo>
                      <a:pt x="71" y="37"/>
                      <a:pt x="71" y="37"/>
                      <a:pt x="71" y="37"/>
                    </a:cubicBezTo>
                    <a:cubicBezTo>
                      <a:pt x="71" y="39"/>
                      <a:pt x="71" y="39"/>
                      <a:pt x="71" y="39"/>
                    </a:cubicBezTo>
                    <a:cubicBezTo>
                      <a:pt x="71" y="41"/>
                      <a:pt x="71" y="41"/>
                      <a:pt x="71" y="41"/>
                    </a:cubicBezTo>
                    <a:cubicBezTo>
                      <a:pt x="71" y="44"/>
                      <a:pt x="71" y="44"/>
                      <a:pt x="71" y="44"/>
                    </a:cubicBezTo>
                    <a:cubicBezTo>
                      <a:pt x="70" y="46"/>
                      <a:pt x="70" y="46"/>
                      <a:pt x="70" y="46"/>
                    </a:cubicBezTo>
                    <a:cubicBezTo>
                      <a:pt x="70" y="48"/>
                      <a:pt x="70" y="48"/>
                      <a:pt x="70" y="48"/>
                    </a:cubicBezTo>
                    <a:cubicBezTo>
                      <a:pt x="70" y="50"/>
                      <a:pt x="70" y="50"/>
                      <a:pt x="70" y="50"/>
                    </a:cubicBezTo>
                    <a:cubicBezTo>
                      <a:pt x="69" y="52"/>
                      <a:pt x="69" y="52"/>
                      <a:pt x="69" y="52"/>
                    </a:cubicBezTo>
                    <a:cubicBezTo>
                      <a:pt x="69" y="54"/>
                      <a:pt x="69" y="54"/>
                      <a:pt x="69" y="54"/>
                    </a:cubicBezTo>
                    <a:cubicBezTo>
                      <a:pt x="68" y="56"/>
                      <a:pt x="68" y="56"/>
                      <a:pt x="68" y="56"/>
                    </a:cubicBezTo>
                    <a:cubicBezTo>
                      <a:pt x="67" y="58"/>
                      <a:pt x="67" y="58"/>
                      <a:pt x="67" y="58"/>
                    </a:cubicBezTo>
                    <a:cubicBezTo>
                      <a:pt x="67" y="60"/>
                      <a:pt x="67" y="60"/>
                      <a:pt x="67" y="60"/>
                    </a:cubicBezTo>
                    <a:cubicBezTo>
                      <a:pt x="66" y="62"/>
                      <a:pt x="66" y="62"/>
                      <a:pt x="66" y="62"/>
                    </a:cubicBezTo>
                    <a:cubicBezTo>
                      <a:pt x="65" y="63"/>
                      <a:pt x="65" y="63"/>
                      <a:pt x="65" y="63"/>
                    </a:cubicBezTo>
                    <a:cubicBezTo>
                      <a:pt x="65" y="63"/>
                      <a:pt x="65" y="63"/>
                      <a:pt x="65" y="63"/>
                    </a:cubicBezTo>
                    <a:cubicBezTo>
                      <a:pt x="64" y="64"/>
                      <a:pt x="64" y="64"/>
                      <a:pt x="64" y="64"/>
                    </a:cubicBezTo>
                    <a:cubicBezTo>
                      <a:pt x="63" y="65"/>
                      <a:pt x="63" y="65"/>
                      <a:pt x="63" y="65"/>
                    </a:cubicBezTo>
                    <a:cubicBezTo>
                      <a:pt x="62" y="66"/>
                      <a:pt x="62" y="66"/>
                      <a:pt x="62" y="66"/>
                    </a:cubicBezTo>
                    <a:cubicBezTo>
                      <a:pt x="61" y="66"/>
                      <a:pt x="61" y="66"/>
                      <a:pt x="61" y="66"/>
                    </a:cubicBezTo>
                    <a:cubicBezTo>
                      <a:pt x="42" y="72"/>
                      <a:pt x="32" y="13"/>
                      <a:pt x="0" y="31"/>
                    </a:cubicBezTo>
                    <a:cubicBezTo>
                      <a:pt x="0" y="31"/>
                      <a:pt x="0" y="29"/>
                      <a:pt x="0" y="29"/>
                    </a:cubicBezTo>
                    <a:cubicBezTo>
                      <a:pt x="0" y="28"/>
                      <a:pt x="0" y="28"/>
                      <a:pt x="0" y="28"/>
                    </a:cubicBezTo>
                    <a:cubicBezTo>
                      <a:pt x="0" y="26"/>
                      <a:pt x="0" y="26"/>
                      <a:pt x="0" y="26"/>
                    </a:cubicBezTo>
                    <a:cubicBezTo>
                      <a:pt x="0" y="25"/>
                      <a:pt x="0" y="25"/>
                      <a:pt x="0" y="25"/>
                    </a:cubicBezTo>
                    <a:cubicBezTo>
                      <a:pt x="1" y="23"/>
                      <a:pt x="1" y="23"/>
                      <a:pt x="1" y="23"/>
                    </a:cubicBezTo>
                    <a:cubicBezTo>
                      <a:pt x="1" y="21"/>
                      <a:pt x="1" y="21"/>
                      <a:pt x="1" y="21"/>
                    </a:cubicBezTo>
                    <a:cubicBezTo>
                      <a:pt x="1" y="20"/>
                      <a:pt x="1" y="20"/>
                      <a:pt x="1" y="20"/>
                    </a:cubicBezTo>
                    <a:cubicBezTo>
                      <a:pt x="2" y="18"/>
                      <a:pt x="2" y="18"/>
                      <a:pt x="2" y="18"/>
                    </a:cubicBezTo>
                    <a:cubicBezTo>
                      <a:pt x="2" y="17"/>
                      <a:pt x="2" y="17"/>
                      <a:pt x="2" y="17"/>
                    </a:cubicBezTo>
                    <a:cubicBezTo>
                      <a:pt x="3" y="15"/>
                      <a:pt x="3" y="15"/>
                      <a:pt x="3" y="15"/>
                    </a:cubicBezTo>
                    <a:cubicBezTo>
                      <a:pt x="4" y="14"/>
                      <a:pt x="4" y="14"/>
                      <a:pt x="4" y="14"/>
                    </a:cubicBezTo>
                    <a:cubicBezTo>
                      <a:pt x="5" y="13"/>
                      <a:pt x="5" y="13"/>
                      <a:pt x="5" y="13"/>
                    </a:cubicBezTo>
                    <a:cubicBezTo>
                      <a:pt x="5" y="11"/>
                      <a:pt x="5" y="11"/>
                      <a:pt x="5" y="11"/>
                    </a:cubicBezTo>
                    <a:cubicBezTo>
                      <a:pt x="6" y="10"/>
                      <a:pt x="6" y="10"/>
                      <a:pt x="6" y="10"/>
                    </a:cubicBezTo>
                    <a:cubicBezTo>
                      <a:pt x="8" y="9"/>
                      <a:pt x="8" y="9"/>
                      <a:pt x="8" y="9"/>
                    </a:cubicBezTo>
                    <a:cubicBezTo>
                      <a:pt x="9" y="8"/>
                      <a:pt x="9" y="8"/>
                      <a:pt x="9" y="8"/>
                    </a:cubicBezTo>
                    <a:cubicBezTo>
                      <a:pt x="10" y="7"/>
                      <a:pt x="10" y="7"/>
                      <a:pt x="10" y="7"/>
                    </a:cubicBezTo>
                    <a:cubicBezTo>
                      <a:pt x="11" y="6"/>
                      <a:pt x="11" y="6"/>
                      <a:pt x="11" y="6"/>
                    </a:cubicBezTo>
                    <a:cubicBezTo>
                      <a:pt x="12" y="5"/>
                      <a:pt x="12" y="5"/>
                      <a:pt x="12" y="5"/>
                    </a:cubicBezTo>
                    <a:cubicBezTo>
                      <a:pt x="14" y="4"/>
                      <a:pt x="14" y="4"/>
                      <a:pt x="14" y="4"/>
                    </a:cubicBezTo>
                    <a:cubicBezTo>
                      <a:pt x="15" y="4"/>
                      <a:pt x="15" y="4"/>
                      <a:pt x="15" y="4"/>
                    </a:cubicBezTo>
                    <a:cubicBezTo>
                      <a:pt x="17" y="3"/>
                      <a:pt x="17" y="3"/>
                      <a:pt x="17" y="3"/>
                    </a:cubicBezTo>
                    <a:cubicBezTo>
                      <a:pt x="17" y="4"/>
                      <a:pt x="17" y="4"/>
                      <a:pt x="17" y="4"/>
                    </a:cubicBezTo>
                    <a:cubicBezTo>
                      <a:pt x="18" y="5"/>
                      <a:pt x="18" y="5"/>
                      <a:pt x="18" y="5"/>
                    </a:cubicBezTo>
                    <a:cubicBezTo>
                      <a:pt x="19" y="6"/>
                      <a:pt x="19" y="6"/>
                      <a:pt x="19" y="6"/>
                    </a:cubicBezTo>
                    <a:cubicBezTo>
                      <a:pt x="20" y="7"/>
                      <a:pt x="20" y="7"/>
                      <a:pt x="20" y="7"/>
                    </a:cubicBezTo>
                    <a:cubicBezTo>
                      <a:pt x="21" y="8"/>
                      <a:pt x="21" y="8"/>
                      <a:pt x="21" y="8"/>
                    </a:cubicBezTo>
                    <a:lnTo>
                      <a:pt x="2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92" name="Freeform 68">
                <a:extLst>
                  <a:ext uri="{FF2B5EF4-FFF2-40B4-BE49-F238E27FC236}">
                    <a16:creationId xmlns:a16="http://schemas.microsoft.com/office/drawing/2014/main" id="{AA8215DA-4975-4631-B047-6E86B2CD7579}"/>
                  </a:ext>
                </a:extLst>
              </p:cNvPr>
              <p:cNvSpPr>
                <a:spLocks/>
              </p:cNvSpPr>
              <p:nvPr/>
            </p:nvSpPr>
            <p:spPr bwMode="auto">
              <a:xfrm>
                <a:off x="6099176" y="1008063"/>
                <a:ext cx="295275" cy="241300"/>
              </a:xfrm>
              <a:custGeom>
                <a:avLst/>
                <a:gdLst>
                  <a:gd name="T0" fmla="*/ 64 w 79"/>
                  <a:gd name="T1" fmla="*/ 1 h 64"/>
                  <a:gd name="T2" fmla="*/ 66 w 79"/>
                  <a:gd name="T3" fmla="*/ 3 h 64"/>
                  <a:gd name="T4" fmla="*/ 69 w 79"/>
                  <a:gd name="T5" fmla="*/ 5 h 64"/>
                  <a:gd name="T6" fmla="*/ 71 w 79"/>
                  <a:gd name="T7" fmla="*/ 7 h 64"/>
                  <a:gd name="T8" fmla="*/ 73 w 79"/>
                  <a:gd name="T9" fmla="*/ 9 h 64"/>
                  <a:gd name="T10" fmla="*/ 75 w 79"/>
                  <a:gd name="T11" fmla="*/ 12 h 64"/>
                  <a:gd name="T12" fmla="*/ 77 w 79"/>
                  <a:gd name="T13" fmla="*/ 15 h 64"/>
                  <a:gd name="T14" fmla="*/ 78 w 79"/>
                  <a:gd name="T15" fmla="*/ 18 h 64"/>
                  <a:gd name="T16" fmla="*/ 78 w 79"/>
                  <a:gd name="T17" fmla="*/ 21 h 64"/>
                  <a:gd name="T18" fmla="*/ 79 w 79"/>
                  <a:gd name="T19" fmla="*/ 24 h 64"/>
                  <a:gd name="T20" fmla="*/ 78 w 79"/>
                  <a:gd name="T21" fmla="*/ 27 h 64"/>
                  <a:gd name="T22" fmla="*/ 77 w 79"/>
                  <a:gd name="T23" fmla="*/ 29 h 64"/>
                  <a:gd name="T24" fmla="*/ 74 w 79"/>
                  <a:gd name="T25" fmla="*/ 29 h 64"/>
                  <a:gd name="T26" fmla="*/ 72 w 79"/>
                  <a:gd name="T27" fmla="*/ 30 h 64"/>
                  <a:gd name="T28" fmla="*/ 69 w 79"/>
                  <a:gd name="T29" fmla="*/ 32 h 64"/>
                  <a:gd name="T30" fmla="*/ 67 w 79"/>
                  <a:gd name="T31" fmla="*/ 33 h 64"/>
                  <a:gd name="T32" fmla="*/ 65 w 79"/>
                  <a:gd name="T33" fmla="*/ 35 h 64"/>
                  <a:gd name="T34" fmla="*/ 63 w 79"/>
                  <a:gd name="T35" fmla="*/ 37 h 64"/>
                  <a:gd name="T36" fmla="*/ 62 w 79"/>
                  <a:gd name="T37" fmla="*/ 39 h 64"/>
                  <a:gd name="T38" fmla="*/ 61 w 79"/>
                  <a:gd name="T39" fmla="*/ 42 h 64"/>
                  <a:gd name="T40" fmla="*/ 60 w 79"/>
                  <a:gd name="T41" fmla="*/ 44 h 64"/>
                  <a:gd name="T42" fmla="*/ 60 w 79"/>
                  <a:gd name="T43" fmla="*/ 47 h 64"/>
                  <a:gd name="T44" fmla="*/ 60 w 79"/>
                  <a:gd name="T45" fmla="*/ 50 h 64"/>
                  <a:gd name="T46" fmla="*/ 61 w 79"/>
                  <a:gd name="T47" fmla="*/ 52 h 64"/>
                  <a:gd name="T48" fmla="*/ 61 w 79"/>
                  <a:gd name="T49" fmla="*/ 55 h 64"/>
                  <a:gd name="T50" fmla="*/ 63 w 79"/>
                  <a:gd name="T51" fmla="*/ 57 h 64"/>
                  <a:gd name="T52" fmla="*/ 64 w 79"/>
                  <a:gd name="T53" fmla="*/ 59 h 64"/>
                  <a:gd name="T54" fmla="*/ 60 w 79"/>
                  <a:gd name="T55" fmla="*/ 61 h 64"/>
                  <a:gd name="T56" fmla="*/ 56 w 79"/>
                  <a:gd name="T57" fmla="*/ 62 h 64"/>
                  <a:gd name="T58" fmla="*/ 52 w 79"/>
                  <a:gd name="T59" fmla="*/ 63 h 64"/>
                  <a:gd name="T60" fmla="*/ 47 w 79"/>
                  <a:gd name="T61" fmla="*/ 63 h 64"/>
                  <a:gd name="T62" fmla="*/ 43 w 79"/>
                  <a:gd name="T63" fmla="*/ 64 h 64"/>
                  <a:gd name="T64" fmla="*/ 39 w 79"/>
                  <a:gd name="T65" fmla="*/ 63 h 64"/>
                  <a:gd name="T66" fmla="*/ 34 w 79"/>
                  <a:gd name="T67" fmla="*/ 63 h 64"/>
                  <a:gd name="T68" fmla="*/ 30 w 79"/>
                  <a:gd name="T69" fmla="*/ 62 h 64"/>
                  <a:gd name="T70" fmla="*/ 26 w 79"/>
                  <a:gd name="T71" fmla="*/ 60 h 64"/>
                  <a:gd name="T72" fmla="*/ 22 w 79"/>
                  <a:gd name="T73" fmla="*/ 58 h 64"/>
                  <a:gd name="T74" fmla="*/ 18 w 79"/>
                  <a:gd name="T75" fmla="*/ 56 h 64"/>
                  <a:gd name="T76" fmla="*/ 14 w 79"/>
                  <a:gd name="T77" fmla="*/ 54 h 64"/>
                  <a:gd name="T78" fmla="*/ 11 w 79"/>
                  <a:gd name="T79" fmla="*/ 51 h 64"/>
                  <a:gd name="T80" fmla="*/ 8 w 79"/>
                  <a:gd name="T81" fmla="*/ 48 h 64"/>
                  <a:gd name="T82" fmla="*/ 5 w 79"/>
                  <a:gd name="T83" fmla="*/ 45 h 64"/>
                  <a:gd name="T84" fmla="*/ 3 w 79"/>
                  <a:gd name="T85" fmla="*/ 42 h 64"/>
                  <a:gd name="T86" fmla="*/ 2 w 79"/>
                  <a:gd name="T87" fmla="*/ 40 h 64"/>
                  <a:gd name="T88" fmla="*/ 1 w 79"/>
                  <a:gd name="T89" fmla="*/ 38 h 64"/>
                  <a:gd name="T90" fmla="*/ 62 w 79"/>
                  <a:gd name="T91" fmla="*/ 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9" h="64">
                    <a:moveTo>
                      <a:pt x="62" y="1"/>
                    </a:moveTo>
                    <a:cubicBezTo>
                      <a:pt x="62" y="0"/>
                      <a:pt x="64" y="1"/>
                      <a:pt x="64" y="1"/>
                    </a:cubicBezTo>
                    <a:cubicBezTo>
                      <a:pt x="65" y="2"/>
                      <a:pt x="65" y="2"/>
                      <a:pt x="65" y="2"/>
                    </a:cubicBezTo>
                    <a:cubicBezTo>
                      <a:pt x="66" y="3"/>
                      <a:pt x="66" y="3"/>
                      <a:pt x="66" y="3"/>
                    </a:cubicBezTo>
                    <a:cubicBezTo>
                      <a:pt x="68" y="4"/>
                      <a:pt x="68" y="4"/>
                      <a:pt x="68" y="4"/>
                    </a:cubicBezTo>
                    <a:cubicBezTo>
                      <a:pt x="69" y="5"/>
                      <a:pt x="69" y="5"/>
                      <a:pt x="69" y="5"/>
                    </a:cubicBezTo>
                    <a:cubicBezTo>
                      <a:pt x="70" y="6"/>
                      <a:pt x="70" y="6"/>
                      <a:pt x="70" y="6"/>
                    </a:cubicBezTo>
                    <a:cubicBezTo>
                      <a:pt x="71" y="7"/>
                      <a:pt x="71" y="7"/>
                      <a:pt x="71" y="7"/>
                    </a:cubicBezTo>
                    <a:cubicBezTo>
                      <a:pt x="72" y="8"/>
                      <a:pt x="72" y="8"/>
                      <a:pt x="72" y="8"/>
                    </a:cubicBezTo>
                    <a:cubicBezTo>
                      <a:pt x="73" y="9"/>
                      <a:pt x="73" y="9"/>
                      <a:pt x="73" y="9"/>
                    </a:cubicBezTo>
                    <a:cubicBezTo>
                      <a:pt x="74" y="11"/>
                      <a:pt x="74" y="11"/>
                      <a:pt x="74" y="11"/>
                    </a:cubicBezTo>
                    <a:cubicBezTo>
                      <a:pt x="75" y="12"/>
                      <a:pt x="75" y="12"/>
                      <a:pt x="75" y="12"/>
                    </a:cubicBezTo>
                    <a:cubicBezTo>
                      <a:pt x="76" y="13"/>
                      <a:pt x="76" y="13"/>
                      <a:pt x="76" y="13"/>
                    </a:cubicBezTo>
                    <a:cubicBezTo>
                      <a:pt x="77" y="15"/>
                      <a:pt x="77" y="15"/>
                      <a:pt x="77" y="15"/>
                    </a:cubicBezTo>
                    <a:cubicBezTo>
                      <a:pt x="77" y="16"/>
                      <a:pt x="77" y="16"/>
                      <a:pt x="77" y="16"/>
                    </a:cubicBezTo>
                    <a:cubicBezTo>
                      <a:pt x="78" y="18"/>
                      <a:pt x="78" y="18"/>
                      <a:pt x="78" y="18"/>
                    </a:cubicBezTo>
                    <a:cubicBezTo>
                      <a:pt x="78" y="19"/>
                      <a:pt x="78" y="19"/>
                      <a:pt x="78" y="19"/>
                    </a:cubicBezTo>
                    <a:cubicBezTo>
                      <a:pt x="78" y="21"/>
                      <a:pt x="78" y="21"/>
                      <a:pt x="78" y="21"/>
                    </a:cubicBezTo>
                    <a:cubicBezTo>
                      <a:pt x="78" y="23"/>
                      <a:pt x="78" y="23"/>
                      <a:pt x="78" y="23"/>
                    </a:cubicBezTo>
                    <a:cubicBezTo>
                      <a:pt x="79" y="24"/>
                      <a:pt x="79" y="24"/>
                      <a:pt x="79" y="24"/>
                    </a:cubicBezTo>
                    <a:cubicBezTo>
                      <a:pt x="79" y="26"/>
                      <a:pt x="79" y="26"/>
                      <a:pt x="79" y="26"/>
                    </a:cubicBezTo>
                    <a:cubicBezTo>
                      <a:pt x="78" y="27"/>
                      <a:pt x="78" y="27"/>
                      <a:pt x="78" y="27"/>
                    </a:cubicBezTo>
                    <a:cubicBezTo>
                      <a:pt x="78" y="29"/>
                      <a:pt x="78" y="29"/>
                      <a:pt x="78" y="29"/>
                    </a:cubicBezTo>
                    <a:cubicBezTo>
                      <a:pt x="77" y="29"/>
                      <a:pt x="77" y="29"/>
                      <a:pt x="77" y="29"/>
                    </a:cubicBezTo>
                    <a:cubicBezTo>
                      <a:pt x="76" y="29"/>
                      <a:pt x="76" y="29"/>
                      <a:pt x="76" y="29"/>
                    </a:cubicBezTo>
                    <a:cubicBezTo>
                      <a:pt x="74" y="29"/>
                      <a:pt x="74" y="29"/>
                      <a:pt x="74" y="29"/>
                    </a:cubicBezTo>
                    <a:cubicBezTo>
                      <a:pt x="73" y="30"/>
                      <a:pt x="73" y="30"/>
                      <a:pt x="73" y="30"/>
                    </a:cubicBezTo>
                    <a:cubicBezTo>
                      <a:pt x="72" y="30"/>
                      <a:pt x="72" y="30"/>
                      <a:pt x="72" y="30"/>
                    </a:cubicBezTo>
                    <a:cubicBezTo>
                      <a:pt x="70" y="31"/>
                      <a:pt x="70" y="31"/>
                      <a:pt x="70" y="31"/>
                    </a:cubicBezTo>
                    <a:cubicBezTo>
                      <a:pt x="69" y="32"/>
                      <a:pt x="69" y="32"/>
                      <a:pt x="69" y="32"/>
                    </a:cubicBezTo>
                    <a:cubicBezTo>
                      <a:pt x="68" y="32"/>
                      <a:pt x="68" y="32"/>
                      <a:pt x="68" y="32"/>
                    </a:cubicBezTo>
                    <a:cubicBezTo>
                      <a:pt x="67" y="33"/>
                      <a:pt x="67" y="33"/>
                      <a:pt x="67" y="33"/>
                    </a:cubicBezTo>
                    <a:cubicBezTo>
                      <a:pt x="66" y="34"/>
                      <a:pt x="66" y="34"/>
                      <a:pt x="66" y="34"/>
                    </a:cubicBezTo>
                    <a:cubicBezTo>
                      <a:pt x="65" y="35"/>
                      <a:pt x="65" y="35"/>
                      <a:pt x="65" y="35"/>
                    </a:cubicBezTo>
                    <a:cubicBezTo>
                      <a:pt x="64" y="36"/>
                      <a:pt x="64" y="36"/>
                      <a:pt x="64" y="36"/>
                    </a:cubicBezTo>
                    <a:cubicBezTo>
                      <a:pt x="63" y="37"/>
                      <a:pt x="63" y="37"/>
                      <a:pt x="63" y="37"/>
                    </a:cubicBezTo>
                    <a:cubicBezTo>
                      <a:pt x="63" y="38"/>
                      <a:pt x="63" y="38"/>
                      <a:pt x="63" y="38"/>
                    </a:cubicBezTo>
                    <a:cubicBezTo>
                      <a:pt x="62" y="39"/>
                      <a:pt x="62" y="39"/>
                      <a:pt x="62" y="39"/>
                    </a:cubicBezTo>
                    <a:cubicBezTo>
                      <a:pt x="61" y="41"/>
                      <a:pt x="61" y="41"/>
                      <a:pt x="61" y="41"/>
                    </a:cubicBezTo>
                    <a:cubicBezTo>
                      <a:pt x="61" y="42"/>
                      <a:pt x="61" y="42"/>
                      <a:pt x="61" y="42"/>
                    </a:cubicBezTo>
                    <a:cubicBezTo>
                      <a:pt x="61" y="43"/>
                      <a:pt x="61" y="43"/>
                      <a:pt x="61" y="43"/>
                    </a:cubicBezTo>
                    <a:cubicBezTo>
                      <a:pt x="60" y="44"/>
                      <a:pt x="60" y="44"/>
                      <a:pt x="60" y="44"/>
                    </a:cubicBezTo>
                    <a:cubicBezTo>
                      <a:pt x="60" y="46"/>
                      <a:pt x="60" y="46"/>
                      <a:pt x="60" y="46"/>
                    </a:cubicBezTo>
                    <a:cubicBezTo>
                      <a:pt x="60" y="47"/>
                      <a:pt x="60" y="47"/>
                      <a:pt x="60" y="47"/>
                    </a:cubicBezTo>
                    <a:cubicBezTo>
                      <a:pt x="60" y="48"/>
                      <a:pt x="60" y="48"/>
                      <a:pt x="60" y="48"/>
                    </a:cubicBezTo>
                    <a:cubicBezTo>
                      <a:pt x="60" y="50"/>
                      <a:pt x="60" y="50"/>
                      <a:pt x="60" y="50"/>
                    </a:cubicBezTo>
                    <a:cubicBezTo>
                      <a:pt x="60" y="51"/>
                      <a:pt x="60" y="51"/>
                      <a:pt x="60" y="51"/>
                    </a:cubicBezTo>
                    <a:cubicBezTo>
                      <a:pt x="61" y="52"/>
                      <a:pt x="61" y="52"/>
                      <a:pt x="61" y="52"/>
                    </a:cubicBezTo>
                    <a:cubicBezTo>
                      <a:pt x="61" y="54"/>
                      <a:pt x="61" y="54"/>
                      <a:pt x="61" y="54"/>
                    </a:cubicBezTo>
                    <a:cubicBezTo>
                      <a:pt x="61" y="55"/>
                      <a:pt x="61" y="55"/>
                      <a:pt x="61" y="55"/>
                    </a:cubicBezTo>
                    <a:cubicBezTo>
                      <a:pt x="62" y="56"/>
                      <a:pt x="62" y="56"/>
                      <a:pt x="62" y="56"/>
                    </a:cubicBezTo>
                    <a:cubicBezTo>
                      <a:pt x="63" y="57"/>
                      <a:pt x="63" y="57"/>
                      <a:pt x="63" y="57"/>
                    </a:cubicBezTo>
                    <a:cubicBezTo>
                      <a:pt x="63" y="58"/>
                      <a:pt x="63" y="58"/>
                      <a:pt x="63" y="58"/>
                    </a:cubicBezTo>
                    <a:cubicBezTo>
                      <a:pt x="64" y="59"/>
                      <a:pt x="64" y="59"/>
                      <a:pt x="64" y="59"/>
                    </a:cubicBezTo>
                    <a:cubicBezTo>
                      <a:pt x="62" y="60"/>
                      <a:pt x="62" y="60"/>
                      <a:pt x="62" y="60"/>
                    </a:cubicBezTo>
                    <a:cubicBezTo>
                      <a:pt x="60" y="61"/>
                      <a:pt x="60" y="61"/>
                      <a:pt x="60" y="61"/>
                    </a:cubicBezTo>
                    <a:cubicBezTo>
                      <a:pt x="58" y="62"/>
                      <a:pt x="58" y="62"/>
                      <a:pt x="58" y="62"/>
                    </a:cubicBezTo>
                    <a:cubicBezTo>
                      <a:pt x="56" y="62"/>
                      <a:pt x="56" y="62"/>
                      <a:pt x="56" y="62"/>
                    </a:cubicBezTo>
                    <a:cubicBezTo>
                      <a:pt x="54" y="63"/>
                      <a:pt x="54" y="63"/>
                      <a:pt x="54" y="63"/>
                    </a:cubicBezTo>
                    <a:cubicBezTo>
                      <a:pt x="52" y="63"/>
                      <a:pt x="52" y="63"/>
                      <a:pt x="52" y="63"/>
                    </a:cubicBezTo>
                    <a:cubicBezTo>
                      <a:pt x="49" y="63"/>
                      <a:pt x="49" y="63"/>
                      <a:pt x="49" y="63"/>
                    </a:cubicBezTo>
                    <a:cubicBezTo>
                      <a:pt x="47" y="63"/>
                      <a:pt x="47" y="63"/>
                      <a:pt x="47" y="63"/>
                    </a:cubicBezTo>
                    <a:cubicBezTo>
                      <a:pt x="45" y="64"/>
                      <a:pt x="45" y="64"/>
                      <a:pt x="45" y="64"/>
                    </a:cubicBezTo>
                    <a:cubicBezTo>
                      <a:pt x="43" y="64"/>
                      <a:pt x="43" y="64"/>
                      <a:pt x="43" y="64"/>
                    </a:cubicBezTo>
                    <a:cubicBezTo>
                      <a:pt x="41" y="63"/>
                      <a:pt x="41" y="63"/>
                      <a:pt x="41" y="63"/>
                    </a:cubicBezTo>
                    <a:cubicBezTo>
                      <a:pt x="39" y="63"/>
                      <a:pt x="39" y="63"/>
                      <a:pt x="39" y="63"/>
                    </a:cubicBezTo>
                    <a:cubicBezTo>
                      <a:pt x="36" y="63"/>
                      <a:pt x="36" y="63"/>
                      <a:pt x="36" y="63"/>
                    </a:cubicBezTo>
                    <a:cubicBezTo>
                      <a:pt x="34" y="63"/>
                      <a:pt x="34" y="63"/>
                      <a:pt x="34" y="63"/>
                    </a:cubicBezTo>
                    <a:cubicBezTo>
                      <a:pt x="32" y="62"/>
                      <a:pt x="32" y="62"/>
                      <a:pt x="32" y="62"/>
                    </a:cubicBezTo>
                    <a:cubicBezTo>
                      <a:pt x="30" y="62"/>
                      <a:pt x="30" y="62"/>
                      <a:pt x="30" y="62"/>
                    </a:cubicBezTo>
                    <a:cubicBezTo>
                      <a:pt x="28" y="61"/>
                      <a:pt x="28" y="61"/>
                      <a:pt x="28" y="61"/>
                    </a:cubicBezTo>
                    <a:cubicBezTo>
                      <a:pt x="26" y="60"/>
                      <a:pt x="26" y="60"/>
                      <a:pt x="26" y="60"/>
                    </a:cubicBezTo>
                    <a:cubicBezTo>
                      <a:pt x="24" y="59"/>
                      <a:pt x="24" y="59"/>
                      <a:pt x="24" y="59"/>
                    </a:cubicBezTo>
                    <a:cubicBezTo>
                      <a:pt x="22" y="58"/>
                      <a:pt x="22" y="58"/>
                      <a:pt x="22" y="58"/>
                    </a:cubicBezTo>
                    <a:cubicBezTo>
                      <a:pt x="20" y="58"/>
                      <a:pt x="20" y="58"/>
                      <a:pt x="20" y="58"/>
                    </a:cubicBezTo>
                    <a:cubicBezTo>
                      <a:pt x="18" y="56"/>
                      <a:pt x="18" y="56"/>
                      <a:pt x="18" y="56"/>
                    </a:cubicBezTo>
                    <a:cubicBezTo>
                      <a:pt x="16" y="55"/>
                      <a:pt x="16" y="55"/>
                      <a:pt x="16" y="55"/>
                    </a:cubicBezTo>
                    <a:cubicBezTo>
                      <a:pt x="14" y="54"/>
                      <a:pt x="14" y="54"/>
                      <a:pt x="14" y="54"/>
                    </a:cubicBezTo>
                    <a:cubicBezTo>
                      <a:pt x="13" y="53"/>
                      <a:pt x="13" y="53"/>
                      <a:pt x="13" y="53"/>
                    </a:cubicBezTo>
                    <a:cubicBezTo>
                      <a:pt x="11" y="51"/>
                      <a:pt x="11" y="51"/>
                      <a:pt x="11" y="51"/>
                    </a:cubicBezTo>
                    <a:cubicBezTo>
                      <a:pt x="9" y="50"/>
                      <a:pt x="9" y="50"/>
                      <a:pt x="9" y="50"/>
                    </a:cubicBezTo>
                    <a:cubicBezTo>
                      <a:pt x="8" y="48"/>
                      <a:pt x="8" y="48"/>
                      <a:pt x="8" y="48"/>
                    </a:cubicBezTo>
                    <a:cubicBezTo>
                      <a:pt x="6" y="47"/>
                      <a:pt x="6" y="47"/>
                      <a:pt x="6" y="47"/>
                    </a:cubicBezTo>
                    <a:cubicBezTo>
                      <a:pt x="5" y="45"/>
                      <a:pt x="5" y="45"/>
                      <a:pt x="5" y="45"/>
                    </a:cubicBezTo>
                    <a:cubicBezTo>
                      <a:pt x="4" y="43"/>
                      <a:pt x="4" y="43"/>
                      <a:pt x="4" y="43"/>
                    </a:cubicBezTo>
                    <a:cubicBezTo>
                      <a:pt x="3" y="42"/>
                      <a:pt x="3" y="42"/>
                      <a:pt x="3" y="42"/>
                    </a:cubicBezTo>
                    <a:cubicBezTo>
                      <a:pt x="2" y="41"/>
                      <a:pt x="2" y="41"/>
                      <a:pt x="2" y="41"/>
                    </a:cubicBezTo>
                    <a:cubicBezTo>
                      <a:pt x="2" y="40"/>
                      <a:pt x="2" y="40"/>
                      <a:pt x="2" y="40"/>
                    </a:cubicBezTo>
                    <a:cubicBezTo>
                      <a:pt x="2" y="39"/>
                      <a:pt x="2" y="39"/>
                      <a:pt x="2" y="39"/>
                    </a:cubicBezTo>
                    <a:cubicBezTo>
                      <a:pt x="1" y="38"/>
                      <a:pt x="1" y="38"/>
                      <a:pt x="1" y="38"/>
                    </a:cubicBezTo>
                    <a:cubicBezTo>
                      <a:pt x="1" y="38"/>
                      <a:pt x="1" y="37"/>
                      <a:pt x="1" y="37"/>
                    </a:cubicBezTo>
                    <a:cubicBezTo>
                      <a:pt x="0" y="15"/>
                      <a:pt x="56" y="49"/>
                      <a:pt x="6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0" name="Freeform 69">
                <a:extLst>
                  <a:ext uri="{FF2B5EF4-FFF2-40B4-BE49-F238E27FC236}">
                    <a16:creationId xmlns:a16="http://schemas.microsoft.com/office/drawing/2014/main" id="{AC3A2CF2-9D78-4699-AF3E-ADF7ECE102E4}"/>
                  </a:ext>
                </a:extLst>
              </p:cNvPr>
              <p:cNvSpPr>
                <a:spLocks/>
              </p:cNvSpPr>
              <p:nvPr/>
            </p:nvSpPr>
            <p:spPr bwMode="auto">
              <a:xfrm>
                <a:off x="5940426" y="947738"/>
                <a:ext cx="200025" cy="304800"/>
              </a:xfrm>
              <a:custGeom>
                <a:avLst/>
                <a:gdLst>
                  <a:gd name="T0" fmla="*/ 53 w 53"/>
                  <a:gd name="T1" fmla="*/ 73 h 81"/>
                  <a:gd name="T2" fmla="*/ 29 w 53"/>
                  <a:gd name="T3" fmla="*/ 77 h 81"/>
                  <a:gd name="T4" fmla="*/ 26 w 53"/>
                  <a:gd name="T5" fmla="*/ 77 h 81"/>
                  <a:gd name="T6" fmla="*/ 23 w 53"/>
                  <a:gd name="T7" fmla="*/ 75 h 81"/>
                  <a:gd name="T8" fmla="*/ 20 w 53"/>
                  <a:gd name="T9" fmla="*/ 74 h 81"/>
                  <a:gd name="T10" fmla="*/ 20 w 53"/>
                  <a:gd name="T11" fmla="*/ 71 h 81"/>
                  <a:gd name="T12" fmla="*/ 21 w 53"/>
                  <a:gd name="T13" fmla="*/ 69 h 81"/>
                  <a:gd name="T14" fmla="*/ 21 w 53"/>
                  <a:gd name="T15" fmla="*/ 66 h 81"/>
                  <a:gd name="T16" fmla="*/ 21 w 53"/>
                  <a:gd name="T17" fmla="*/ 63 h 81"/>
                  <a:gd name="T18" fmla="*/ 21 w 53"/>
                  <a:gd name="T19" fmla="*/ 61 h 81"/>
                  <a:gd name="T20" fmla="*/ 20 w 53"/>
                  <a:gd name="T21" fmla="*/ 58 h 81"/>
                  <a:gd name="T22" fmla="*/ 19 w 53"/>
                  <a:gd name="T23" fmla="*/ 55 h 81"/>
                  <a:gd name="T24" fmla="*/ 18 w 53"/>
                  <a:gd name="T25" fmla="*/ 53 h 81"/>
                  <a:gd name="T26" fmla="*/ 16 w 53"/>
                  <a:gd name="T27" fmla="*/ 51 h 81"/>
                  <a:gd name="T28" fmla="*/ 15 w 53"/>
                  <a:gd name="T29" fmla="*/ 49 h 81"/>
                  <a:gd name="T30" fmla="*/ 12 w 53"/>
                  <a:gd name="T31" fmla="*/ 48 h 81"/>
                  <a:gd name="T32" fmla="*/ 10 w 53"/>
                  <a:gd name="T33" fmla="*/ 46 h 81"/>
                  <a:gd name="T34" fmla="*/ 8 w 53"/>
                  <a:gd name="T35" fmla="*/ 46 h 81"/>
                  <a:gd name="T36" fmla="*/ 5 w 53"/>
                  <a:gd name="T37" fmla="*/ 45 h 81"/>
                  <a:gd name="T38" fmla="*/ 2 w 53"/>
                  <a:gd name="T39" fmla="*/ 45 h 81"/>
                  <a:gd name="T40" fmla="*/ 0 w 53"/>
                  <a:gd name="T41" fmla="*/ 45 h 81"/>
                  <a:gd name="T42" fmla="*/ 0 w 53"/>
                  <a:gd name="T43" fmla="*/ 41 h 81"/>
                  <a:gd name="T44" fmla="*/ 1 w 53"/>
                  <a:gd name="T45" fmla="*/ 36 h 81"/>
                  <a:gd name="T46" fmla="*/ 3 w 53"/>
                  <a:gd name="T47" fmla="*/ 32 h 81"/>
                  <a:gd name="T48" fmla="*/ 5 w 53"/>
                  <a:gd name="T49" fmla="*/ 28 h 81"/>
                  <a:gd name="T50" fmla="*/ 7 w 53"/>
                  <a:gd name="T51" fmla="*/ 25 h 81"/>
                  <a:gd name="T52" fmla="*/ 9 w 53"/>
                  <a:gd name="T53" fmla="*/ 21 h 81"/>
                  <a:gd name="T54" fmla="*/ 12 w 53"/>
                  <a:gd name="T55" fmla="*/ 17 h 81"/>
                  <a:gd name="T56" fmla="*/ 15 w 53"/>
                  <a:gd name="T57" fmla="*/ 14 h 81"/>
                  <a:gd name="T58" fmla="*/ 18 w 53"/>
                  <a:gd name="T59" fmla="*/ 11 h 81"/>
                  <a:gd name="T60" fmla="*/ 22 w 53"/>
                  <a:gd name="T61" fmla="*/ 9 h 81"/>
                  <a:gd name="T62" fmla="*/ 25 w 53"/>
                  <a:gd name="T63" fmla="*/ 7 h 81"/>
                  <a:gd name="T64" fmla="*/ 29 w 53"/>
                  <a:gd name="T65" fmla="*/ 5 h 81"/>
                  <a:gd name="T66" fmla="*/ 33 w 53"/>
                  <a:gd name="T67" fmla="*/ 3 h 81"/>
                  <a:gd name="T68" fmla="*/ 37 w 53"/>
                  <a:gd name="T69" fmla="*/ 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 h="81">
                    <a:moveTo>
                      <a:pt x="46" y="14"/>
                    </a:moveTo>
                    <a:cubicBezTo>
                      <a:pt x="42" y="30"/>
                      <a:pt x="30" y="57"/>
                      <a:pt x="53" y="73"/>
                    </a:cubicBezTo>
                    <a:cubicBezTo>
                      <a:pt x="44" y="81"/>
                      <a:pt x="30" y="78"/>
                      <a:pt x="30" y="78"/>
                    </a:cubicBezTo>
                    <a:cubicBezTo>
                      <a:pt x="29" y="77"/>
                      <a:pt x="29" y="77"/>
                      <a:pt x="29" y="77"/>
                    </a:cubicBezTo>
                    <a:cubicBezTo>
                      <a:pt x="27" y="77"/>
                      <a:pt x="27" y="77"/>
                      <a:pt x="27" y="77"/>
                    </a:cubicBezTo>
                    <a:cubicBezTo>
                      <a:pt x="26" y="77"/>
                      <a:pt x="26" y="77"/>
                      <a:pt x="26" y="77"/>
                    </a:cubicBezTo>
                    <a:cubicBezTo>
                      <a:pt x="24" y="76"/>
                      <a:pt x="24" y="76"/>
                      <a:pt x="24" y="76"/>
                    </a:cubicBezTo>
                    <a:cubicBezTo>
                      <a:pt x="23" y="75"/>
                      <a:pt x="23" y="75"/>
                      <a:pt x="23" y="75"/>
                    </a:cubicBezTo>
                    <a:cubicBezTo>
                      <a:pt x="22" y="74"/>
                      <a:pt x="22" y="74"/>
                      <a:pt x="22" y="74"/>
                    </a:cubicBezTo>
                    <a:cubicBezTo>
                      <a:pt x="20" y="74"/>
                      <a:pt x="20" y="74"/>
                      <a:pt x="20" y="74"/>
                    </a:cubicBezTo>
                    <a:cubicBezTo>
                      <a:pt x="19" y="73"/>
                      <a:pt x="19" y="73"/>
                      <a:pt x="19" y="73"/>
                    </a:cubicBezTo>
                    <a:cubicBezTo>
                      <a:pt x="20" y="71"/>
                      <a:pt x="20" y="71"/>
                      <a:pt x="20" y="71"/>
                    </a:cubicBezTo>
                    <a:cubicBezTo>
                      <a:pt x="20" y="70"/>
                      <a:pt x="20" y="70"/>
                      <a:pt x="20" y="70"/>
                    </a:cubicBezTo>
                    <a:cubicBezTo>
                      <a:pt x="21" y="69"/>
                      <a:pt x="21" y="69"/>
                      <a:pt x="21" y="69"/>
                    </a:cubicBezTo>
                    <a:cubicBezTo>
                      <a:pt x="21" y="67"/>
                      <a:pt x="21" y="67"/>
                      <a:pt x="21" y="67"/>
                    </a:cubicBezTo>
                    <a:cubicBezTo>
                      <a:pt x="21" y="66"/>
                      <a:pt x="21" y="66"/>
                      <a:pt x="21" y="66"/>
                    </a:cubicBezTo>
                    <a:cubicBezTo>
                      <a:pt x="21" y="65"/>
                      <a:pt x="21" y="65"/>
                      <a:pt x="21" y="65"/>
                    </a:cubicBezTo>
                    <a:cubicBezTo>
                      <a:pt x="21" y="63"/>
                      <a:pt x="21" y="63"/>
                      <a:pt x="21" y="63"/>
                    </a:cubicBezTo>
                    <a:cubicBezTo>
                      <a:pt x="21" y="62"/>
                      <a:pt x="21" y="62"/>
                      <a:pt x="21" y="62"/>
                    </a:cubicBezTo>
                    <a:cubicBezTo>
                      <a:pt x="21" y="61"/>
                      <a:pt x="21" y="61"/>
                      <a:pt x="21" y="61"/>
                    </a:cubicBezTo>
                    <a:cubicBezTo>
                      <a:pt x="21" y="59"/>
                      <a:pt x="21" y="59"/>
                      <a:pt x="21" y="59"/>
                    </a:cubicBezTo>
                    <a:cubicBezTo>
                      <a:pt x="20" y="58"/>
                      <a:pt x="20" y="58"/>
                      <a:pt x="20" y="58"/>
                    </a:cubicBezTo>
                    <a:cubicBezTo>
                      <a:pt x="20" y="57"/>
                      <a:pt x="20" y="57"/>
                      <a:pt x="20" y="57"/>
                    </a:cubicBezTo>
                    <a:cubicBezTo>
                      <a:pt x="19" y="55"/>
                      <a:pt x="19" y="55"/>
                      <a:pt x="19" y="55"/>
                    </a:cubicBezTo>
                    <a:cubicBezTo>
                      <a:pt x="19" y="54"/>
                      <a:pt x="19" y="54"/>
                      <a:pt x="19" y="54"/>
                    </a:cubicBezTo>
                    <a:cubicBezTo>
                      <a:pt x="18" y="53"/>
                      <a:pt x="18" y="53"/>
                      <a:pt x="18" y="53"/>
                    </a:cubicBezTo>
                    <a:cubicBezTo>
                      <a:pt x="17" y="52"/>
                      <a:pt x="17" y="52"/>
                      <a:pt x="17" y="52"/>
                    </a:cubicBezTo>
                    <a:cubicBezTo>
                      <a:pt x="16" y="51"/>
                      <a:pt x="16" y="51"/>
                      <a:pt x="16" y="51"/>
                    </a:cubicBezTo>
                    <a:cubicBezTo>
                      <a:pt x="15" y="50"/>
                      <a:pt x="15" y="50"/>
                      <a:pt x="15" y="50"/>
                    </a:cubicBezTo>
                    <a:cubicBezTo>
                      <a:pt x="15" y="49"/>
                      <a:pt x="15" y="49"/>
                      <a:pt x="15" y="49"/>
                    </a:cubicBezTo>
                    <a:cubicBezTo>
                      <a:pt x="13" y="48"/>
                      <a:pt x="13" y="48"/>
                      <a:pt x="13" y="48"/>
                    </a:cubicBezTo>
                    <a:cubicBezTo>
                      <a:pt x="12" y="48"/>
                      <a:pt x="12" y="48"/>
                      <a:pt x="12" y="48"/>
                    </a:cubicBezTo>
                    <a:cubicBezTo>
                      <a:pt x="11" y="47"/>
                      <a:pt x="11" y="47"/>
                      <a:pt x="11" y="47"/>
                    </a:cubicBezTo>
                    <a:cubicBezTo>
                      <a:pt x="10" y="46"/>
                      <a:pt x="10" y="46"/>
                      <a:pt x="10" y="46"/>
                    </a:cubicBezTo>
                    <a:cubicBezTo>
                      <a:pt x="9" y="46"/>
                      <a:pt x="9" y="46"/>
                      <a:pt x="9" y="46"/>
                    </a:cubicBezTo>
                    <a:cubicBezTo>
                      <a:pt x="8" y="46"/>
                      <a:pt x="8" y="46"/>
                      <a:pt x="8" y="46"/>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3"/>
                      <a:pt x="0" y="43"/>
                      <a:pt x="0" y="43"/>
                    </a:cubicBezTo>
                    <a:cubicBezTo>
                      <a:pt x="0" y="41"/>
                      <a:pt x="0" y="41"/>
                      <a:pt x="0" y="41"/>
                    </a:cubicBezTo>
                    <a:cubicBezTo>
                      <a:pt x="1" y="39"/>
                      <a:pt x="1" y="39"/>
                      <a:pt x="1" y="39"/>
                    </a:cubicBezTo>
                    <a:cubicBezTo>
                      <a:pt x="1" y="36"/>
                      <a:pt x="1" y="36"/>
                      <a:pt x="1" y="36"/>
                    </a:cubicBezTo>
                    <a:cubicBezTo>
                      <a:pt x="2" y="34"/>
                      <a:pt x="2" y="34"/>
                      <a:pt x="2" y="34"/>
                    </a:cubicBezTo>
                    <a:cubicBezTo>
                      <a:pt x="3" y="32"/>
                      <a:pt x="3" y="32"/>
                      <a:pt x="3" y="32"/>
                    </a:cubicBezTo>
                    <a:cubicBezTo>
                      <a:pt x="4" y="30"/>
                      <a:pt x="4" y="30"/>
                      <a:pt x="4" y="30"/>
                    </a:cubicBezTo>
                    <a:cubicBezTo>
                      <a:pt x="5" y="28"/>
                      <a:pt x="5" y="28"/>
                      <a:pt x="5" y="28"/>
                    </a:cubicBezTo>
                    <a:cubicBezTo>
                      <a:pt x="6" y="26"/>
                      <a:pt x="6" y="26"/>
                      <a:pt x="6" y="26"/>
                    </a:cubicBezTo>
                    <a:cubicBezTo>
                      <a:pt x="7" y="25"/>
                      <a:pt x="7" y="25"/>
                      <a:pt x="7" y="25"/>
                    </a:cubicBezTo>
                    <a:cubicBezTo>
                      <a:pt x="8" y="23"/>
                      <a:pt x="8" y="23"/>
                      <a:pt x="8" y="23"/>
                    </a:cubicBezTo>
                    <a:cubicBezTo>
                      <a:pt x="9" y="21"/>
                      <a:pt x="9" y="21"/>
                      <a:pt x="9" y="21"/>
                    </a:cubicBezTo>
                    <a:cubicBezTo>
                      <a:pt x="10" y="19"/>
                      <a:pt x="10" y="19"/>
                      <a:pt x="10" y="19"/>
                    </a:cubicBezTo>
                    <a:cubicBezTo>
                      <a:pt x="12" y="17"/>
                      <a:pt x="12" y="17"/>
                      <a:pt x="12" y="17"/>
                    </a:cubicBezTo>
                    <a:cubicBezTo>
                      <a:pt x="13" y="16"/>
                      <a:pt x="13" y="16"/>
                      <a:pt x="13" y="16"/>
                    </a:cubicBezTo>
                    <a:cubicBezTo>
                      <a:pt x="15" y="14"/>
                      <a:pt x="15" y="14"/>
                      <a:pt x="15" y="14"/>
                    </a:cubicBezTo>
                    <a:cubicBezTo>
                      <a:pt x="16" y="13"/>
                      <a:pt x="16" y="13"/>
                      <a:pt x="16" y="13"/>
                    </a:cubicBezTo>
                    <a:cubicBezTo>
                      <a:pt x="18" y="11"/>
                      <a:pt x="18" y="11"/>
                      <a:pt x="18" y="11"/>
                    </a:cubicBezTo>
                    <a:cubicBezTo>
                      <a:pt x="20" y="10"/>
                      <a:pt x="20" y="10"/>
                      <a:pt x="20" y="10"/>
                    </a:cubicBezTo>
                    <a:cubicBezTo>
                      <a:pt x="22" y="9"/>
                      <a:pt x="22" y="9"/>
                      <a:pt x="22" y="9"/>
                    </a:cubicBezTo>
                    <a:cubicBezTo>
                      <a:pt x="23" y="8"/>
                      <a:pt x="23" y="8"/>
                      <a:pt x="23" y="8"/>
                    </a:cubicBezTo>
                    <a:cubicBezTo>
                      <a:pt x="25" y="7"/>
                      <a:pt x="25" y="7"/>
                      <a:pt x="25" y="7"/>
                    </a:cubicBezTo>
                    <a:cubicBezTo>
                      <a:pt x="27" y="6"/>
                      <a:pt x="27" y="6"/>
                      <a:pt x="27" y="6"/>
                    </a:cubicBezTo>
                    <a:cubicBezTo>
                      <a:pt x="29" y="5"/>
                      <a:pt x="29" y="5"/>
                      <a:pt x="29" y="5"/>
                    </a:cubicBezTo>
                    <a:cubicBezTo>
                      <a:pt x="31" y="4"/>
                      <a:pt x="31" y="4"/>
                      <a:pt x="31" y="4"/>
                    </a:cubicBezTo>
                    <a:cubicBezTo>
                      <a:pt x="33" y="3"/>
                      <a:pt x="33" y="3"/>
                      <a:pt x="33" y="3"/>
                    </a:cubicBezTo>
                    <a:cubicBezTo>
                      <a:pt x="35" y="2"/>
                      <a:pt x="35" y="2"/>
                      <a:pt x="35" y="2"/>
                    </a:cubicBezTo>
                    <a:cubicBezTo>
                      <a:pt x="35" y="2"/>
                      <a:pt x="37" y="2"/>
                      <a:pt x="37" y="2"/>
                    </a:cubicBezTo>
                    <a:cubicBezTo>
                      <a:pt x="46" y="0"/>
                      <a:pt x="48" y="3"/>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1" name="Freeform 70">
                <a:extLst>
                  <a:ext uri="{FF2B5EF4-FFF2-40B4-BE49-F238E27FC236}">
                    <a16:creationId xmlns:a16="http://schemas.microsoft.com/office/drawing/2014/main" id="{E125F29F-67E0-4ADB-9CF0-94DB5B1CDD5A}"/>
                  </a:ext>
                </a:extLst>
              </p:cNvPr>
              <p:cNvSpPr>
                <a:spLocks/>
              </p:cNvSpPr>
              <p:nvPr/>
            </p:nvSpPr>
            <p:spPr bwMode="auto">
              <a:xfrm>
                <a:off x="5892801" y="1128713"/>
                <a:ext cx="115888" cy="115887"/>
              </a:xfrm>
              <a:custGeom>
                <a:avLst/>
                <a:gdLst>
                  <a:gd name="T0" fmla="*/ 73 w 73"/>
                  <a:gd name="T1" fmla="*/ 38 h 73"/>
                  <a:gd name="T2" fmla="*/ 73 w 73"/>
                  <a:gd name="T3" fmla="*/ 43 h 73"/>
                  <a:gd name="T4" fmla="*/ 71 w 73"/>
                  <a:gd name="T5" fmla="*/ 47 h 73"/>
                  <a:gd name="T6" fmla="*/ 68 w 73"/>
                  <a:gd name="T7" fmla="*/ 54 h 73"/>
                  <a:gd name="T8" fmla="*/ 66 w 73"/>
                  <a:gd name="T9" fmla="*/ 59 h 73"/>
                  <a:gd name="T10" fmla="*/ 61 w 73"/>
                  <a:gd name="T11" fmla="*/ 64 h 73"/>
                  <a:gd name="T12" fmla="*/ 56 w 73"/>
                  <a:gd name="T13" fmla="*/ 66 h 73"/>
                  <a:gd name="T14" fmla="*/ 52 w 73"/>
                  <a:gd name="T15" fmla="*/ 69 h 73"/>
                  <a:gd name="T16" fmla="*/ 47 w 73"/>
                  <a:gd name="T17" fmla="*/ 71 h 73"/>
                  <a:gd name="T18" fmla="*/ 42 w 73"/>
                  <a:gd name="T19" fmla="*/ 73 h 73"/>
                  <a:gd name="T20" fmla="*/ 35 w 73"/>
                  <a:gd name="T21" fmla="*/ 73 h 73"/>
                  <a:gd name="T22" fmla="*/ 30 w 73"/>
                  <a:gd name="T23" fmla="*/ 73 h 73"/>
                  <a:gd name="T24" fmla="*/ 26 w 73"/>
                  <a:gd name="T25" fmla="*/ 71 h 73"/>
                  <a:gd name="T26" fmla="*/ 18 w 73"/>
                  <a:gd name="T27" fmla="*/ 69 h 73"/>
                  <a:gd name="T28" fmla="*/ 14 w 73"/>
                  <a:gd name="T29" fmla="*/ 66 h 73"/>
                  <a:gd name="T30" fmla="*/ 9 w 73"/>
                  <a:gd name="T31" fmla="*/ 64 h 73"/>
                  <a:gd name="T32" fmla="*/ 7 w 73"/>
                  <a:gd name="T33" fmla="*/ 59 h 73"/>
                  <a:gd name="T34" fmla="*/ 4 w 73"/>
                  <a:gd name="T35" fmla="*/ 54 h 73"/>
                  <a:gd name="T36" fmla="*/ 2 w 73"/>
                  <a:gd name="T37" fmla="*/ 47 h 73"/>
                  <a:gd name="T38" fmla="*/ 0 w 73"/>
                  <a:gd name="T39" fmla="*/ 43 h 73"/>
                  <a:gd name="T40" fmla="*/ 0 w 73"/>
                  <a:gd name="T41" fmla="*/ 38 h 73"/>
                  <a:gd name="T42" fmla="*/ 0 w 73"/>
                  <a:gd name="T43" fmla="*/ 31 h 73"/>
                  <a:gd name="T44" fmla="*/ 2 w 73"/>
                  <a:gd name="T45" fmla="*/ 26 h 73"/>
                  <a:gd name="T46" fmla="*/ 4 w 73"/>
                  <a:gd name="T47" fmla="*/ 21 h 73"/>
                  <a:gd name="T48" fmla="*/ 7 w 73"/>
                  <a:gd name="T49" fmla="*/ 16 h 73"/>
                  <a:gd name="T50" fmla="*/ 9 w 73"/>
                  <a:gd name="T51" fmla="*/ 12 h 73"/>
                  <a:gd name="T52" fmla="*/ 14 w 73"/>
                  <a:gd name="T53" fmla="*/ 7 h 73"/>
                  <a:gd name="T54" fmla="*/ 18 w 73"/>
                  <a:gd name="T55" fmla="*/ 5 h 73"/>
                  <a:gd name="T56" fmla="*/ 26 w 73"/>
                  <a:gd name="T57" fmla="*/ 2 h 73"/>
                  <a:gd name="T58" fmla="*/ 30 w 73"/>
                  <a:gd name="T59" fmla="*/ 0 h 73"/>
                  <a:gd name="T60" fmla="*/ 35 w 73"/>
                  <a:gd name="T61" fmla="*/ 0 h 73"/>
                  <a:gd name="T62" fmla="*/ 42 w 73"/>
                  <a:gd name="T63" fmla="*/ 0 h 73"/>
                  <a:gd name="T64" fmla="*/ 47 w 73"/>
                  <a:gd name="T65" fmla="*/ 2 h 73"/>
                  <a:gd name="T66" fmla="*/ 52 w 73"/>
                  <a:gd name="T67" fmla="*/ 5 h 73"/>
                  <a:gd name="T68" fmla="*/ 56 w 73"/>
                  <a:gd name="T69" fmla="*/ 7 h 73"/>
                  <a:gd name="T70" fmla="*/ 61 w 73"/>
                  <a:gd name="T71" fmla="*/ 12 h 73"/>
                  <a:gd name="T72" fmla="*/ 66 w 73"/>
                  <a:gd name="T73" fmla="*/ 16 h 73"/>
                  <a:gd name="T74" fmla="*/ 68 w 73"/>
                  <a:gd name="T75" fmla="*/ 21 h 73"/>
                  <a:gd name="T76" fmla="*/ 71 w 73"/>
                  <a:gd name="T77" fmla="*/ 26 h 73"/>
                  <a:gd name="T78" fmla="*/ 73 w 73"/>
                  <a:gd name="T79"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73" y="33"/>
                    </a:moveTo>
                    <a:lnTo>
                      <a:pt x="73" y="38"/>
                    </a:lnTo>
                    <a:lnTo>
                      <a:pt x="73" y="40"/>
                    </a:lnTo>
                    <a:lnTo>
                      <a:pt x="73" y="43"/>
                    </a:lnTo>
                    <a:lnTo>
                      <a:pt x="71" y="45"/>
                    </a:lnTo>
                    <a:lnTo>
                      <a:pt x="71" y="47"/>
                    </a:lnTo>
                    <a:lnTo>
                      <a:pt x="71" y="52"/>
                    </a:lnTo>
                    <a:lnTo>
                      <a:pt x="68" y="54"/>
                    </a:lnTo>
                    <a:lnTo>
                      <a:pt x="68" y="57"/>
                    </a:lnTo>
                    <a:lnTo>
                      <a:pt x="66" y="59"/>
                    </a:lnTo>
                    <a:lnTo>
                      <a:pt x="63" y="61"/>
                    </a:lnTo>
                    <a:lnTo>
                      <a:pt x="61" y="64"/>
                    </a:lnTo>
                    <a:lnTo>
                      <a:pt x="59" y="64"/>
                    </a:lnTo>
                    <a:lnTo>
                      <a:pt x="56" y="66"/>
                    </a:lnTo>
                    <a:lnTo>
                      <a:pt x="54" y="69"/>
                    </a:lnTo>
                    <a:lnTo>
                      <a:pt x="52" y="69"/>
                    </a:lnTo>
                    <a:lnTo>
                      <a:pt x="49" y="71"/>
                    </a:lnTo>
                    <a:lnTo>
                      <a:pt x="47" y="71"/>
                    </a:lnTo>
                    <a:lnTo>
                      <a:pt x="44" y="73"/>
                    </a:lnTo>
                    <a:lnTo>
                      <a:pt x="42" y="73"/>
                    </a:lnTo>
                    <a:lnTo>
                      <a:pt x="40" y="73"/>
                    </a:lnTo>
                    <a:lnTo>
                      <a:pt x="35" y="73"/>
                    </a:lnTo>
                    <a:lnTo>
                      <a:pt x="33" y="73"/>
                    </a:lnTo>
                    <a:lnTo>
                      <a:pt x="30" y="73"/>
                    </a:lnTo>
                    <a:lnTo>
                      <a:pt x="28" y="73"/>
                    </a:lnTo>
                    <a:lnTo>
                      <a:pt x="26" y="71"/>
                    </a:lnTo>
                    <a:lnTo>
                      <a:pt x="21" y="71"/>
                    </a:lnTo>
                    <a:lnTo>
                      <a:pt x="18" y="69"/>
                    </a:lnTo>
                    <a:lnTo>
                      <a:pt x="16" y="69"/>
                    </a:lnTo>
                    <a:lnTo>
                      <a:pt x="14" y="66"/>
                    </a:lnTo>
                    <a:lnTo>
                      <a:pt x="11" y="64"/>
                    </a:lnTo>
                    <a:lnTo>
                      <a:pt x="9" y="64"/>
                    </a:lnTo>
                    <a:lnTo>
                      <a:pt x="9" y="61"/>
                    </a:lnTo>
                    <a:lnTo>
                      <a:pt x="7" y="59"/>
                    </a:lnTo>
                    <a:lnTo>
                      <a:pt x="4" y="57"/>
                    </a:lnTo>
                    <a:lnTo>
                      <a:pt x="4" y="54"/>
                    </a:lnTo>
                    <a:lnTo>
                      <a:pt x="2" y="52"/>
                    </a:lnTo>
                    <a:lnTo>
                      <a:pt x="2" y="47"/>
                    </a:lnTo>
                    <a:lnTo>
                      <a:pt x="0" y="45"/>
                    </a:lnTo>
                    <a:lnTo>
                      <a:pt x="0" y="43"/>
                    </a:lnTo>
                    <a:lnTo>
                      <a:pt x="0" y="40"/>
                    </a:lnTo>
                    <a:lnTo>
                      <a:pt x="0" y="38"/>
                    </a:lnTo>
                    <a:lnTo>
                      <a:pt x="0" y="33"/>
                    </a:lnTo>
                    <a:lnTo>
                      <a:pt x="0" y="31"/>
                    </a:lnTo>
                    <a:lnTo>
                      <a:pt x="0" y="28"/>
                    </a:lnTo>
                    <a:lnTo>
                      <a:pt x="2" y="26"/>
                    </a:lnTo>
                    <a:lnTo>
                      <a:pt x="2" y="24"/>
                    </a:lnTo>
                    <a:lnTo>
                      <a:pt x="4" y="21"/>
                    </a:lnTo>
                    <a:lnTo>
                      <a:pt x="4" y="19"/>
                    </a:lnTo>
                    <a:lnTo>
                      <a:pt x="7" y="16"/>
                    </a:lnTo>
                    <a:lnTo>
                      <a:pt x="9" y="14"/>
                    </a:lnTo>
                    <a:lnTo>
                      <a:pt x="9" y="12"/>
                    </a:lnTo>
                    <a:lnTo>
                      <a:pt x="11" y="9"/>
                    </a:lnTo>
                    <a:lnTo>
                      <a:pt x="14" y="7"/>
                    </a:lnTo>
                    <a:lnTo>
                      <a:pt x="16" y="7"/>
                    </a:lnTo>
                    <a:lnTo>
                      <a:pt x="18" y="5"/>
                    </a:lnTo>
                    <a:lnTo>
                      <a:pt x="21" y="2"/>
                    </a:lnTo>
                    <a:lnTo>
                      <a:pt x="26" y="2"/>
                    </a:lnTo>
                    <a:lnTo>
                      <a:pt x="28" y="2"/>
                    </a:lnTo>
                    <a:lnTo>
                      <a:pt x="30" y="0"/>
                    </a:lnTo>
                    <a:lnTo>
                      <a:pt x="33" y="0"/>
                    </a:lnTo>
                    <a:lnTo>
                      <a:pt x="35" y="0"/>
                    </a:lnTo>
                    <a:lnTo>
                      <a:pt x="40" y="0"/>
                    </a:lnTo>
                    <a:lnTo>
                      <a:pt x="42" y="0"/>
                    </a:lnTo>
                    <a:lnTo>
                      <a:pt x="44" y="2"/>
                    </a:lnTo>
                    <a:lnTo>
                      <a:pt x="47" y="2"/>
                    </a:lnTo>
                    <a:lnTo>
                      <a:pt x="49" y="2"/>
                    </a:lnTo>
                    <a:lnTo>
                      <a:pt x="52" y="5"/>
                    </a:lnTo>
                    <a:lnTo>
                      <a:pt x="54" y="7"/>
                    </a:lnTo>
                    <a:lnTo>
                      <a:pt x="56" y="7"/>
                    </a:lnTo>
                    <a:lnTo>
                      <a:pt x="59" y="9"/>
                    </a:lnTo>
                    <a:lnTo>
                      <a:pt x="61" y="12"/>
                    </a:lnTo>
                    <a:lnTo>
                      <a:pt x="63" y="14"/>
                    </a:lnTo>
                    <a:lnTo>
                      <a:pt x="66" y="16"/>
                    </a:lnTo>
                    <a:lnTo>
                      <a:pt x="68" y="19"/>
                    </a:lnTo>
                    <a:lnTo>
                      <a:pt x="68" y="21"/>
                    </a:lnTo>
                    <a:lnTo>
                      <a:pt x="71" y="24"/>
                    </a:lnTo>
                    <a:lnTo>
                      <a:pt x="71" y="26"/>
                    </a:lnTo>
                    <a:lnTo>
                      <a:pt x="71" y="28"/>
                    </a:lnTo>
                    <a:lnTo>
                      <a:pt x="73" y="31"/>
                    </a:lnTo>
                    <a:lnTo>
                      <a:pt x="7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213" name="Groupe 212">
            <a:extLst>
              <a:ext uri="{FF2B5EF4-FFF2-40B4-BE49-F238E27FC236}">
                <a16:creationId xmlns:a16="http://schemas.microsoft.com/office/drawing/2014/main" id="{4B4881D4-1C38-43C4-A4AE-C97BADD0BCF9}"/>
              </a:ext>
              <a:ext uri="{C183D7F6-B498-43B3-948B-1728B52AA6E4}">
                <adec:decorative xmlns:adec="http://schemas.microsoft.com/office/drawing/2017/decorative" val="1"/>
              </a:ext>
            </a:extLst>
          </p:cNvPr>
          <p:cNvGrpSpPr>
            <a:grpSpLocks noChangeAspect="1"/>
          </p:cNvGrpSpPr>
          <p:nvPr/>
        </p:nvGrpSpPr>
        <p:grpSpPr>
          <a:xfrm>
            <a:off x="9280798" y="1001633"/>
            <a:ext cx="672517" cy="633600"/>
            <a:chOff x="6886576" y="628650"/>
            <a:chExt cx="877888" cy="827087"/>
          </a:xfrm>
        </p:grpSpPr>
        <p:sp>
          <p:nvSpPr>
            <p:cNvPr id="214" name="Freeform 73">
              <a:extLst>
                <a:ext uri="{FF2B5EF4-FFF2-40B4-BE49-F238E27FC236}">
                  <a16:creationId xmlns:a16="http://schemas.microsoft.com/office/drawing/2014/main" id="{4FFD94C5-7E92-4540-860C-FBBDDBBA61DB}"/>
                </a:ext>
              </a:extLst>
            </p:cNvPr>
            <p:cNvSpPr>
              <a:spLocks/>
            </p:cNvSpPr>
            <p:nvPr/>
          </p:nvSpPr>
          <p:spPr bwMode="auto">
            <a:xfrm>
              <a:off x="6886576" y="628650"/>
              <a:ext cx="877888" cy="827087"/>
            </a:xfrm>
            <a:custGeom>
              <a:avLst/>
              <a:gdLst>
                <a:gd name="T0" fmla="*/ 33 w 234"/>
                <a:gd name="T1" fmla="*/ 172 h 220"/>
                <a:gd name="T2" fmla="*/ 56 w 234"/>
                <a:gd name="T3" fmla="*/ 33 h 220"/>
                <a:gd name="T4" fmla="*/ 200 w 234"/>
                <a:gd name="T5" fmla="*/ 53 h 220"/>
                <a:gd name="T6" fmla="*/ 174 w 234"/>
                <a:gd name="T7" fmla="*/ 187 h 220"/>
                <a:gd name="T8" fmla="*/ 33 w 234"/>
                <a:gd name="T9" fmla="*/ 172 h 220"/>
              </a:gdLst>
              <a:ahLst/>
              <a:cxnLst>
                <a:cxn ang="0">
                  <a:pos x="T0" y="T1"/>
                </a:cxn>
                <a:cxn ang="0">
                  <a:pos x="T2" y="T3"/>
                </a:cxn>
                <a:cxn ang="0">
                  <a:pos x="T4" y="T5"/>
                </a:cxn>
                <a:cxn ang="0">
                  <a:pos x="T6" y="T7"/>
                </a:cxn>
                <a:cxn ang="0">
                  <a:pos x="T8" y="T9"/>
                </a:cxn>
              </a:cxnLst>
              <a:rect l="0" t="0" r="r" b="b"/>
              <a:pathLst>
                <a:path w="234" h="220">
                  <a:moveTo>
                    <a:pt x="33" y="172"/>
                  </a:moveTo>
                  <a:cubicBezTo>
                    <a:pt x="0" y="128"/>
                    <a:pt x="10" y="66"/>
                    <a:pt x="56" y="33"/>
                  </a:cubicBezTo>
                  <a:cubicBezTo>
                    <a:pt x="102" y="0"/>
                    <a:pt x="167" y="10"/>
                    <a:pt x="200" y="53"/>
                  </a:cubicBezTo>
                  <a:cubicBezTo>
                    <a:pt x="234" y="97"/>
                    <a:pt x="220" y="154"/>
                    <a:pt x="174" y="187"/>
                  </a:cubicBezTo>
                  <a:cubicBezTo>
                    <a:pt x="128" y="220"/>
                    <a:pt x="67" y="216"/>
                    <a:pt x="33" y="172"/>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215" name="Groupe 214">
              <a:extLst>
                <a:ext uri="{FF2B5EF4-FFF2-40B4-BE49-F238E27FC236}">
                  <a16:creationId xmlns:a16="http://schemas.microsoft.com/office/drawing/2014/main" id="{FFE1672C-80E3-426F-A937-80039CB5578B}"/>
                </a:ext>
              </a:extLst>
            </p:cNvPr>
            <p:cNvGrpSpPr/>
            <p:nvPr/>
          </p:nvGrpSpPr>
          <p:grpSpPr>
            <a:xfrm>
              <a:off x="7092951" y="771525"/>
              <a:ext cx="458788" cy="552450"/>
              <a:chOff x="7092951" y="771525"/>
              <a:chExt cx="458788" cy="552450"/>
            </a:xfrm>
          </p:grpSpPr>
          <p:sp>
            <p:nvSpPr>
              <p:cNvPr id="216" name="Oval 74">
                <a:extLst>
                  <a:ext uri="{FF2B5EF4-FFF2-40B4-BE49-F238E27FC236}">
                    <a16:creationId xmlns:a16="http://schemas.microsoft.com/office/drawing/2014/main" id="{1D13C04A-D681-49C2-8CAA-B74B8220FF12}"/>
                  </a:ext>
                </a:extLst>
              </p:cNvPr>
              <p:cNvSpPr>
                <a:spLocks noChangeArrowheads="1"/>
              </p:cNvSpPr>
              <p:nvPr/>
            </p:nvSpPr>
            <p:spPr bwMode="auto">
              <a:xfrm>
                <a:off x="7381876" y="771525"/>
                <a:ext cx="104775" cy="1095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7" name="Oval 75">
                <a:extLst>
                  <a:ext uri="{FF2B5EF4-FFF2-40B4-BE49-F238E27FC236}">
                    <a16:creationId xmlns:a16="http://schemas.microsoft.com/office/drawing/2014/main" id="{FB342AE7-B107-4354-BA6F-AE7DB7811154}"/>
                  </a:ext>
                </a:extLst>
              </p:cNvPr>
              <p:cNvSpPr>
                <a:spLocks noChangeArrowheads="1"/>
              </p:cNvSpPr>
              <p:nvPr/>
            </p:nvSpPr>
            <p:spPr bwMode="auto">
              <a:xfrm>
                <a:off x="7186613" y="771525"/>
                <a:ext cx="106363" cy="1095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8" name="Freeform 76">
                <a:extLst>
                  <a:ext uri="{FF2B5EF4-FFF2-40B4-BE49-F238E27FC236}">
                    <a16:creationId xmlns:a16="http://schemas.microsoft.com/office/drawing/2014/main" id="{0332978F-2348-421B-9B96-48D18BB49D9D}"/>
                  </a:ext>
                </a:extLst>
              </p:cNvPr>
              <p:cNvSpPr>
                <a:spLocks/>
              </p:cNvSpPr>
              <p:nvPr/>
            </p:nvSpPr>
            <p:spPr bwMode="auto">
              <a:xfrm>
                <a:off x="7337426" y="1222375"/>
                <a:ext cx="11113" cy="82550"/>
              </a:xfrm>
              <a:custGeom>
                <a:avLst/>
                <a:gdLst>
                  <a:gd name="T0" fmla="*/ 0 w 3"/>
                  <a:gd name="T1" fmla="*/ 0 h 22"/>
                  <a:gd name="T2" fmla="*/ 0 w 3"/>
                  <a:gd name="T3" fmla="*/ 22 h 22"/>
                  <a:gd name="T4" fmla="*/ 3 w 3"/>
                  <a:gd name="T5" fmla="*/ 21 h 22"/>
                  <a:gd name="T6" fmla="*/ 3 w 3"/>
                  <a:gd name="T7" fmla="*/ 0 h 22"/>
                  <a:gd name="T8" fmla="*/ 0 w 3"/>
                  <a:gd name="T9" fmla="*/ 0 h 22"/>
                </a:gdLst>
                <a:ahLst/>
                <a:cxnLst>
                  <a:cxn ang="0">
                    <a:pos x="T0" y="T1"/>
                  </a:cxn>
                  <a:cxn ang="0">
                    <a:pos x="T2" y="T3"/>
                  </a:cxn>
                  <a:cxn ang="0">
                    <a:pos x="T4" y="T5"/>
                  </a:cxn>
                  <a:cxn ang="0">
                    <a:pos x="T6" y="T7"/>
                  </a:cxn>
                  <a:cxn ang="0">
                    <a:pos x="T8" y="T9"/>
                  </a:cxn>
                </a:cxnLst>
                <a:rect l="0" t="0" r="r" b="b"/>
                <a:pathLst>
                  <a:path w="3" h="22">
                    <a:moveTo>
                      <a:pt x="0" y="0"/>
                    </a:moveTo>
                    <a:cubicBezTo>
                      <a:pt x="0" y="22"/>
                      <a:pt x="0" y="22"/>
                      <a:pt x="0" y="22"/>
                    </a:cubicBezTo>
                    <a:cubicBezTo>
                      <a:pt x="1" y="22"/>
                      <a:pt x="2" y="22"/>
                      <a:pt x="3" y="21"/>
                    </a:cubicBezTo>
                    <a:cubicBezTo>
                      <a:pt x="3" y="0"/>
                      <a:pt x="3" y="0"/>
                      <a:pt x="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9" name="Freeform 77">
                <a:extLst>
                  <a:ext uri="{FF2B5EF4-FFF2-40B4-BE49-F238E27FC236}">
                    <a16:creationId xmlns:a16="http://schemas.microsoft.com/office/drawing/2014/main" id="{1E028735-6E16-4412-AC43-19D528AA13C4}"/>
                  </a:ext>
                </a:extLst>
              </p:cNvPr>
              <p:cNvSpPr>
                <a:spLocks noEditPoints="1"/>
              </p:cNvSpPr>
              <p:nvPr/>
            </p:nvSpPr>
            <p:spPr bwMode="auto">
              <a:xfrm>
                <a:off x="7092951" y="887413"/>
                <a:ext cx="458788" cy="436562"/>
              </a:xfrm>
              <a:custGeom>
                <a:avLst/>
                <a:gdLst>
                  <a:gd name="T0" fmla="*/ 107 w 122"/>
                  <a:gd name="T1" fmla="*/ 0 h 116"/>
                  <a:gd name="T2" fmla="*/ 76 w 122"/>
                  <a:gd name="T3" fmla="*/ 0 h 116"/>
                  <a:gd name="T4" fmla="*/ 63 w 122"/>
                  <a:gd name="T5" fmla="*/ 7 h 116"/>
                  <a:gd name="T6" fmla="*/ 52 w 122"/>
                  <a:gd name="T7" fmla="*/ 0 h 116"/>
                  <a:gd name="T8" fmla="*/ 27 w 122"/>
                  <a:gd name="T9" fmla="*/ 0 h 116"/>
                  <a:gd name="T10" fmla="*/ 15 w 122"/>
                  <a:gd name="T11" fmla="*/ 8 h 116"/>
                  <a:gd name="T12" fmla="*/ 1 w 122"/>
                  <a:gd name="T13" fmla="*/ 46 h 116"/>
                  <a:gd name="T14" fmla="*/ 4 w 122"/>
                  <a:gd name="T15" fmla="*/ 54 h 116"/>
                  <a:gd name="T16" fmla="*/ 12 w 122"/>
                  <a:gd name="T17" fmla="*/ 50 h 116"/>
                  <a:gd name="T18" fmla="*/ 24 w 122"/>
                  <a:gd name="T19" fmla="*/ 18 h 116"/>
                  <a:gd name="T20" fmla="*/ 26 w 122"/>
                  <a:gd name="T21" fmla="*/ 18 h 116"/>
                  <a:gd name="T22" fmla="*/ 26 w 122"/>
                  <a:gd name="T23" fmla="*/ 21 h 116"/>
                  <a:gd name="T24" fmla="*/ 7 w 122"/>
                  <a:gd name="T25" fmla="*/ 73 h 116"/>
                  <a:gd name="T26" fmla="*/ 19 w 122"/>
                  <a:gd name="T27" fmla="*/ 73 h 116"/>
                  <a:gd name="T28" fmla="*/ 20 w 122"/>
                  <a:gd name="T29" fmla="*/ 73 h 116"/>
                  <a:gd name="T30" fmla="*/ 26 w 122"/>
                  <a:gd name="T31" fmla="*/ 73 h 116"/>
                  <a:gd name="T32" fmla="*/ 26 w 122"/>
                  <a:gd name="T33" fmla="*/ 107 h 116"/>
                  <a:gd name="T34" fmla="*/ 28 w 122"/>
                  <a:gd name="T35" fmla="*/ 112 h 116"/>
                  <a:gd name="T36" fmla="*/ 54 w 122"/>
                  <a:gd name="T37" fmla="*/ 113 h 116"/>
                  <a:gd name="T38" fmla="*/ 54 w 122"/>
                  <a:gd name="T39" fmla="*/ 89 h 116"/>
                  <a:gd name="T40" fmla="*/ 54 w 122"/>
                  <a:gd name="T41" fmla="*/ 85 h 116"/>
                  <a:gd name="T42" fmla="*/ 54 w 122"/>
                  <a:gd name="T43" fmla="*/ 68 h 116"/>
                  <a:gd name="T44" fmla="*/ 39 w 122"/>
                  <a:gd name="T45" fmla="*/ 54 h 116"/>
                  <a:gd name="T46" fmla="*/ 39 w 122"/>
                  <a:gd name="T47" fmla="*/ 47 h 116"/>
                  <a:gd name="T48" fmla="*/ 46 w 122"/>
                  <a:gd name="T49" fmla="*/ 47 h 116"/>
                  <a:gd name="T50" fmla="*/ 57 w 122"/>
                  <a:gd name="T51" fmla="*/ 58 h 116"/>
                  <a:gd name="T52" fmla="*/ 75 w 122"/>
                  <a:gd name="T53" fmla="*/ 58 h 116"/>
                  <a:gd name="T54" fmla="*/ 86 w 122"/>
                  <a:gd name="T55" fmla="*/ 47 h 116"/>
                  <a:gd name="T56" fmla="*/ 93 w 122"/>
                  <a:gd name="T57" fmla="*/ 47 h 116"/>
                  <a:gd name="T58" fmla="*/ 93 w 122"/>
                  <a:gd name="T59" fmla="*/ 54 h 116"/>
                  <a:gd name="T60" fmla="*/ 79 w 122"/>
                  <a:gd name="T61" fmla="*/ 68 h 116"/>
                  <a:gd name="T62" fmla="*/ 79 w 122"/>
                  <a:gd name="T63" fmla="*/ 85 h 116"/>
                  <a:gd name="T64" fmla="*/ 79 w 122"/>
                  <a:gd name="T65" fmla="*/ 89 h 116"/>
                  <a:gd name="T66" fmla="*/ 79 w 122"/>
                  <a:gd name="T67" fmla="*/ 109 h 116"/>
                  <a:gd name="T68" fmla="*/ 106 w 122"/>
                  <a:gd name="T69" fmla="*/ 108 h 116"/>
                  <a:gd name="T70" fmla="*/ 107 w 122"/>
                  <a:gd name="T71" fmla="*/ 108 h 116"/>
                  <a:gd name="T72" fmla="*/ 107 w 122"/>
                  <a:gd name="T73" fmla="*/ 108 h 116"/>
                  <a:gd name="T74" fmla="*/ 107 w 122"/>
                  <a:gd name="T75" fmla="*/ 56 h 116"/>
                  <a:gd name="T76" fmla="*/ 107 w 122"/>
                  <a:gd name="T77" fmla="*/ 18 h 116"/>
                  <a:gd name="T78" fmla="*/ 110 w 122"/>
                  <a:gd name="T79" fmla="*/ 18 h 116"/>
                  <a:gd name="T80" fmla="*/ 110 w 122"/>
                  <a:gd name="T81" fmla="*/ 50 h 116"/>
                  <a:gd name="T82" fmla="*/ 116 w 122"/>
                  <a:gd name="T83" fmla="*/ 56 h 116"/>
                  <a:gd name="T84" fmla="*/ 122 w 122"/>
                  <a:gd name="T85" fmla="*/ 50 h 116"/>
                  <a:gd name="T86" fmla="*/ 122 w 122"/>
                  <a:gd name="T87" fmla="*/ 18 h 116"/>
                  <a:gd name="T88" fmla="*/ 122 w 122"/>
                  <a:gd name="T89" fmla="*/ 15 h 116"/>
                  <a:gd name="T90" fmla="*/ 107 w 122"/>
                  <a:gd name="T91" fmla="*/ 0 h 116"/>
                  <a:gd name="T92" fmla="*/ 66 w 122"/>
                  <a:gd name="T93" fmla="*/ 56 h 116"/>
                  <a:gd name="T94" fmla="*/ 55 w 122"/>
                  <a:gd name="T95" fmla="*/ 45 h 116"/>
                  <a:gd name="T96" fmla="*/ 66 w 122"/>
                  <a:gd name="T97" fmla="*/ 33 h 116"/>
                  <a:gd name="T98" fmla="*/ 78 w 122"/>
                  <a:gd name="T99" fmla="*/ 45 h 116"/>
                  <a:gd name="T100" fmla="*/ 66 w 122"/>
                  <a:gd name="T101" fmla="*/ 5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2" h="116">
                    <a:moveTo>
                      <a:pt x="107" y="0"/>
                    </a:moveTo>
                    <a:cubicBezTo>
                      <a:pt x="76" y="0"/>
                      <a:pt x="76" y="0"/>
                      <a:pt x="76" y="0"/>
                    </a:cubicBezTo>
                    <a:cubicBezTo>
                      <a:pt x="70" y="0"/>
                      <a:pt x="66" y="3"/>
                      <a:pt x="63" y="7"/>
                    </a:cubicBezTo>
                    <a:cubicBezTo>
                      <a:pt x="61" y="3"/>
                      <a:pt x="57" y="0"/>
                      <a:pt x="52" y="0"/>
                    </a:cubicBezTo>
                    <a:cubicBezTo>
                      <a:pt x="27" y="0"/>
                      <a:pt x="27" y="0"/>
                      <a:pt x="27" y="0"/>
                    </a:cubicBezTo>
                    <a:cubicBezTo>
                      <a:pt x="22" y="0"/>
                      <a:pt x="17" y="3"/>
                      <a:pt x="15" y="8"/>
                    </a:cubicBezTo>
                    <a:cubicBezTo>
                      <a:pt x="1" y="46"/>
                      <a:pt x="1" y="46"/>
                      <a:pt x="1" y="46"/>
                    </a:cubicBezTo>
                    <a:cubicBezTo>
                      <a:pt x="0" y="49"/>
                      <a:pt x="1" y="53"/>
                      <a:pt x="4" y="54"/>
                    </a:cubicBezTo>
                    <a:cubicBezTo>
                      <a:pt x="7" y="55"/>
                      <a:pt x="11" y="54"/>
                      <a:pt x="12" y="50"/>
                    </a:cubicBezTo>
                    <a:cubicBezTo>
                      <a:pt x="24" y="18"/>
                      <a:pt x="24" y="18"/>
                      <a:pt x="24" y="18"/>
                    </a:cubicBezTo>
                    <a:cubicBezTo>
                      <a:pt x="26" y="18"/>
                      <a:pt x="26" y="18"/>
                      <a:pt x="26" y="18"/>
                    </a:cubicBezTo>
                    <a:cubicBezTo>
                      <a:pt x="26" y="21"/>
                      <a:pt x="26" y="21"/>
                      <a:pt x="26" y="21"/>
                    </a:cubicBezTo>
                    <a:cubicBezTo>
                      <a:pt x="7" y="73"/>
                      <a:pt x="7" y="73"/>
                      <a:pt x="7" y="73"/>
                    </a:cubicBezTo>
                    <a:cubicBezTo>
                      <a:pt x="19" y="73"/>
                      <a:pt x="19" y="73"/>
                      <a:pt x="19" y="73"/>
                    </a:cubicBezTo>
                    <a:cubicBezTo>
                      <a:pt x="20" y="73"/>
                      <a:pt x="20" y="73"/>
                      <a:pt x="20" y="73"/>
                    </a:cubicBezTo>
                    <a:cubicBezTo>
                      <a:pt x="26" y="73"/>
                      <a:pt x="26" y="73"/>
                      <a:pt x="26" y="73"/>
                    </a:cubicBezTo>
                    <a:cubicBezTo>
                      <a:pt x="26" y="107"/>
                      <a:pt x="26" y="107"/>
                      <a:pt x="26" y="107"/>
                    </a:cubicBezTo>
                    <a:cubicBezTo>
                      <a:pt x="26" y="110"/>
                      <a:pt x="27" y="111"/>
                      <a:pt x="28" y="112"/>
                    </a:cubicBezTo>
                    <a:cubicBezTo>
                      <a:pt x="32" y="116"/>
                      <a:pt x="42" y="115"/>
                      <a:pt x="54" y="113"/>
                    </a:cubicBezTo>
                    <a:cubicBezTo>
                      <a:pt x="54" y="89"/>
                      <a:pt x="54" y="89"/>
                      <a:pt x="54" y="89"/>
                    </a:cubicBezTo>
                    <a:cubicBezTo>
                      <a:pt x="54" y="85"/>
                      <a:pt x="54" y="85"/>
                      <a:pt x="54" y="85"/>
                    </a:cubicBezTo>
                    <a:cubicBezTo>
                      <a:pt x="54" y="68"/>
                      <a:pt x="54" y="68"/>
                      <a:pt x="54" y="68"/>
                    </a:cubicBezTo>
                    <a:cubicBezTo>
                      <a:pt x="39" y="54"/>
                      <a:pt x="39" y="54"/>
                      <a:pt x="39" y="54"/>
                    </a:cubicBezTo>
                    <a:cubicBezTo>
                      <a:pt x="38" y="52"/>
                      <a:pt x="38" y="49"/>
                      <a:pt x="39" y="47"/>
                    </a:cubicBezTo>
                    <a:cubicBezTo>
                      <a:pt x="41" y="45"/>
                      <a:pt x="44" y="45"/>
                      <a:pt x="46" y="47"/>
                    </a:cubicBezTo>
                    <a:cubicBezTo>
                      <a:pt x="57" y="58"/>
                      <a:pt x="57" y="58"/>
                      <a:pt x="57" y="58"/>
                    </a:cubicBezTo>
                    <a:cubicBezTo>
                      <a:pt x="75" y="58"/>
                      <a:pt x="75" y="58"/>
                      <a:pt x="75" y="58"/>
                    </a:cubicBezTo>
                    <a:cubicBezTo>
                      <a:pt x="86" y="47"/>
                      <a:pt x="86" y="47"/>
                      <a:pt x="86" y="47"/>
                    </a:cubicBezTo>
                    <a:cubicBezTo>
                      <a:pt x="88" y="45"/>
                      <a:pt x="91" y="45"/>
                      <a:pt x="93" y="47"/>
                    </a:cubicBezTo>
                    <a:cubicBezTo>
                      <a:pt x="95" y="49"/>
                      <a:pt x="95" y="52"/>
                      <a:pt x="93" y="54"/>
                    </a:cubicBezTo>
                    <a:cubicBezTo>
                      <a:pt x="79" y="68"/>
                      <a:pt x="79" y="68"/>
                      <a:pt x="79" y="68"/>
                    </a:cubicBezTo>
                    <a:cubicBezTo>
                      <a:pt x="79" y="85"/>
                      <a:pt x="79" y="85"/>
                      <a:pt x="79" y="85"/>
                    </a:cubicBezTo>
                    <a:cubicBezTo>
                      <a:pt x="79" y="89"/>
                      <a:pt x="79" y="89"/>
                      <a:pt x="79" y="89"/>
                    </a:cubicBezTo>
                    <a:cubicBezTo>
                      <a:pt x="79" y="109"/>
                      <a:pt x="79" y="109"/>
                      <a:pt x="79" y="109"/>
                    </a:cubicBezTo>
                    <a:cubicBezTo>
                      <a:pt x="90" y="107"/>
                      <a:pt x="100" y="106"/>
                      <a:pt x="106" y="108"/>
                    </a:cubicBezTo>
                    <a:cubicBezTo>
                      <a:pt x="106" y="108"/>
                      <a:pt x="107" y="108"/>
                      <a:pt x="107" y="108"/>
                    </a:cubicBezTo>
                    <a:cubicBezTo>
                      <a:pt x="107" y="108"/>
                      <a:pt x="107" y="108"/>
                      <a:pt x="107" y="108"/>
                    </a:cubicBezTo>
                    <a:cubicBezTo>
                      <a:pt x="107" y="56"/>
                      <a:pt x="107" y="56"/>
                      <a:pt x="107" y="56"/>
                    </a:cubicBezTo>
                    <a:cubicBezTo>
                      <a:pt x="107" y="18"/>
                      <a:pt x="107" y="18"/>
                      <a:pt x="107" y="18"/>
                    </a:cubicBezTo>
                    <a:cubicBezTo>
                      <a:pt x="110" y="18"/>
                      <a:pt x="110" y="18"/>
                      <a:pt x="110" y="18"/>
                    </a:cubicBezTo>
                    <a:cubicBezTo>
                      <a:pt x="110" y="50"/>
                      <a:pt x="110" y="50"/>
                      <a:pt x="110" y="50"/>
                    </a:cubicBezTo>
                    <a:cubicBezTo>
                      <a:pt x="110" y="53"/>
                      <a:pt x="112" y="56"/>
                      <a:pt x="116" y="56"/>
                    </a:cubicBezTo>
                    <a:cubicBezTo>
                      <a:pt x="119" y="56"/>
                      <a:pt x="122" y="53"/>
                      <a:pt x="122" y="50"/>
                    </a:cubicBezTo>
                    <a:cubicBezTo>
                      <a:pt x="122" y="18"/>
                      <a:pt x="122" y="18"/>
                      <a:pt x="122" y="18"/>
                    </a:cubicBezTo>
                    <a:cubicBezTo>
                      <a:pt x="122" y="15"/>
                      <a:pt x="122" y="15"/>
                      <a:pt x="122" y="15"/>
                    </a:cubicBezTo>
                    <a:cubicBezTo>
                      <a:pt x="122" y="6"/>
                      <a:pt x="115" y="0"/>
                      <a:pt x="107" y="0"/>
                    </a:cubicBezTo>
                    <a:close/>
                    <a:moveTo>
                      <a:pt x="66" y="56"/>
                    </a:moveTo>
                    <a:cubicBezTo>
                      <a:pt x="60" y="56"/>
                      <a:pt x="55" y="51"/>
                      <a:pt x="55" y="45"/>
                    </a:cubicBezTo>
                    <a:cubicBezTo>
                      <a:pt x="55" y="39"/>
                      <a:pt x="60" y="33"/>
                      <a:pt x="66" y="33"/>
                    </a:cubicBezTo>
                    <a:cubicBezTo>
                      <a:pt x="73" y="33"/>
                      <a:pt x="78" y="39"/>
                      <a:pt x="78" y="45"/>
                    </a:cubicBezTo>
                    <a:cubicBezTo>
                      <a:pt x="78" y="51"/>
                      <a:pt x="73" y="56"/>
                      <a:pt x="66" y="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7" name="Group 6">
            <a:extLst>
              <a:ext uri="{FF2B5EF4-FFF2-40B4-BE49-F238E27FC236}">
                <a16:creationId xmlns:a16="http://schemas.microsoft.com/office/drawing/2014/main" id="{AC23DDDA-B205-4EC7-85AE-EF71810ABE9D}"/>
              </a:ext>
              <a:ext uri="{C183D7F6-B498-43B3-948B-1728B52AA6E4}">
                <adec:decorative xmlns:adec="http://schemas.microsoft.com/office/drawing/2017/decorative" val="1"/>
              </a:ext>
            </a:extLst>
          </p:cNvPr>
          <p:cNvGrpSpPr>
            <a:grpSpLocks noChangeAspect="1"/>
          </p:cNvGrpSpPr>
          <p:nvPr/>
        </p:nvGrpSpPr>
        <p:grpSpPr>
          <a:xfrm>
            <a:off x="7333531" y="1001633"/>
            <a:ext cx="675086" cy="633600"/>
            <a:chOff x="7346523" y="1182992"/>
            <a:chExt cx="767143" cy="720000"/>
          </a:xfrm>
        </p:grpSpPr>
        <p:sp>
          <p:nvSpPr>
            <p:cNvPr id="234" name="Freeform 63">
              <a:extLst>
                <a:ext uri="{FF2B5EF4-FFF2-40B4-BE49-F238E27FC236}">
                  <a16:creationId xmlns:a16="http://schemas.microsoft.com/office/drawing/2014/main" id="{1753BA90-6188-4796-951E-A2B94A289D61}"/>
                </a:ext>
              </a:extLst>
            </p:cNvPr>
            <p:cNvSpPr>
              <a:spLocks/>
            </p:cNvSpPr>
            <p:nvPr/>
          </p:nvSpPr>
          <p:spPr bwMode="auto">
            <a:xfrm>
              <a:off x="7346523" y="1182992"/>
              <a:ext cx="767143" cy="720000"/>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 name="Group 2">
              <a:extLst>
                <a:ext uri="{FF2B5EF4-FFF2-40B4-BE49-F238E27FC236}">
                  <a16:creationId xmlns:a16="http://schemas.microsoft.com/office/drawing/2014/main" id="{6BA11F7A-1C3B-4B94-942F-AE5D70CAAD58}"/>
                </a:ext>
              </a:extLst>
            </p:cNvPr>
            <p:cNvGrpSpPr/>
            <p:nvPr/>
          </p:nvGrpSpPr>
          <p:grpSpPr>
            <a:xfrm>
              <a:off x="7526523" y="1341564"/>
              <a:ext cx="404285" cy="410000"/>
              <a:chOff x="7526523" y="1341564"/>
              <a:chExt cx="404285" cy="410000"/>
            </a:xfrm>
            <a:solidFill>
              <a:schemeClr val="bg1"/>
            </a:solidFill>
          </p:grpSpPr>
          <p:sp>
            <p:nvSpPr>
              <p:cNvPr id="235" name="Freeform 64">
                <a:extLst>
                  <a:ext uri="{FF2B5EF4-FFF2-40B4-BE49-F238E27FC236}">
                    <a16:creationId xmlns:a16="http://schemas.microsoft.com/office/drawing/2014/main" id="{0BF57577-EEE0-4EED-8427-2BD09ADD11EF}"/>
                  </a:ext>
                </a:extLst>
              </p:cNvPr>
              <p:cNvSpPr>
                <a:spLocks/>
              </p:cNvSpPr>
              <p:nvPr/>
            </p:nvSpPr>
            <p:spPr bwMode="auto">
              <a:xfrm>
                <a:off x="7526523" y="1521564"/>
                <a:ext cx="334286" cy="230000"/>
              </a:xfrm>
              <a:custGeom>
                <a:avLst/>
                <a:gdLst>
                  <a:gd name="T0" fmla="*/ 82 w 99"/>
                  <a:gd name="T1" fmla="*/ 63 h 68"/>
                  <a:gd name="T2" fmla="*/ 81 w 99"/>
                  <a:gd name="T3" fmla="*/ 54 h 68"/>
                  <a:gd name="T4" fmla="*/ 89 w 99"/>
                  <a:gd name="T5" fmla="*/ 46 h 68"/>
                  <a:gd name="T6" fmla="*/ 96 w 99"/>
                  <a:gd name="T7" fmla="*/ 37 h 68"/>
                  <a:gd name="T8" fmla="*/ 99 w 99"/>
                  <a:gd name="T9" fmla="*/ 29 h 68"/>
                  <a:gd name="T10" fmla="*/ 92 w 99"/>
                  <a:gd name="T11" fmla="*/ 27 h 68"/>
                  <a:gd name="T12" fmla="*/ 85 w 99"/>
                  <a:gd name="T13" fmla="*/ 37 h 68"/>
                  <a:gd name="T14" fmla="*/ 77 w 99"/>
                  <a:gd name="T15" fmla="*/ 44 h 68"/>
                  <a:gd name="T16" fmla="*/ 69 w 99"/>
                  <a:gd name="T17" fmla="*/ 48 h 68"/>
                  <a:gd name="T18" fmla="*/ 60 w 99"/>
                  <a:gd name="T19" fmla="*/ 50 h 68"/>
                  <a:gd name="T20" fmla="*/ 55 w 99"/>
                  <a:gd name="T21" fmla="*/ 50 h 68"/>
                  <a:gd name="T22" fmla="*/ 50 w 99"/>
                  <a:gd name="T23" fmla="*/ 51 h 68"/>
                  <a:gd name="T24" fmla="*/ 43 w 99"/>
                  <a:gd name="T25" fmla="*/ 52 h 68"/>
                  <a:gd name="T26" fmla="*/ 35 w 99"/>
                  <a:gd name="T27" fmla="*/ 49 h 68"/>
                  <a:gd name="T28" fmla="*/ 29 w 99"/>
                  <a:gd name="T29" fmla="*/ 40 h 68"/>
                  <a:gd name="T30" fmla="*/ 25 w 99"/>
                  <a:gd name="T31" fmla="*/ 36 h 68"/>
                  <a:gd name="T32" fmla="*/ 18 w 99"/>
                  <a:gd name="T33" fmla="*/ 29 h 68"/>
                  <a:gd name="T34" fmla="*/ 10 w 99"/>
                  <a:gd name="T35" fmla="*/ 17 h 68"/>
                  <a:gd name="T36" fmla="*/ 8 w 99"/>
                  <a:gd name="T37" fmla="*/ 9 h 68"/>
                  <a:gd name="T38" fmla="*/ 7 w 99"/>
                  <a:gd name="T39" fmla="*/ 3 h 68"/>
                  <a:gd name="T40" fmla="*/ 0 w 99"/>
                  <a:gd name="T41" fmla="*/ 4 h 68"/>
                  <a:gd name="T42" fmla="*/ 0 w 99"/>
                  <a:gd name="T43" fmla="*/ 15 h 68"/>
                  <a:gd name="T44" fmla="*/ 2 w 99"/>
                  <a:gd name="T45" fmla="*/ 23 h 68"/>
                  <a:gd name="T46" fmla="*/ 5 w 99"/>
                  <a:gd name="T47" fmla="*/ 31 h 68"/>
                  <a:gd name="T48" fmla="*/ 9 w 99"/>
                  <a:gd name="T49" fmla="*/ 39 h 68"/>
                  <a:gd name="T50" fmla="*/ 15 w 99"/>
                  <a:gd name="T51" fmla="*/ 48 h 68"/>
                  <a:gd name="T52" fmla="*/ 21 w 99"/>
                  <a:gd name="T53" fmla="*/ 53 h 68"/>
                  <a:gd name="T54" fmla="*/ 32 w 99"/>
                  <a:gd name="T55" fmla="*/ 61 h 68"/>
                  <a:gd name="T56" fmla="*/ 40 w 99"/>
                  <a:gd name="T57" fmla="*/ 64 h 68"/>
                  <a:gd name="T58" fmla="*/ 46 w 99"/>
                  <a:gd name="T59" fmla="*/ 66 h 68"/>
                  <a:gd name="T60" fmla="*/ 55 w 99"/>
                  <a:gd name="T61" fmla="*/ 67 h 68"/>
                  <a:gd name="T62" fmla="*/ 64 w 99"/>
                  <a:gd name="T63" fmla="*/ 68 h 68"/>
                  <a:gd name="T64" fmla="*/ 70 w 99"/>
                  <a:gd name="T65" fmla="*/ 67 h 68"/>
                  <a:gd name="T66" fmla="*/ 80 w 99"/>
                  <a:gd name="T6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68">
                    <a:moveTo>
                      <a:pt x="83" y="63"/>
                    </a:moveTo>
                    <a:cubicBezTo>
                      <a:pt x="82" y="63"/>
                      <a:pt x="82" y="63"/>
                      <a:pt x="82" y="63"/>
                    </a:cubicBezTo>
                    <a:cubicBezTo>
                      <a:pt x="81" y="62"/>
                      <a:pt x="81" y="62"/>
                      <a:pt x="80" y="61"/>
                    </a:cubicBezTo>
                    <a:cubicBezTo>
                      <a:pt x="79" y="58"/>
                      <a:pt x="79" y="56"/>
                      <a:pt x="81" y="54"/>
                    </a:cubicBezTo>
                    <a:cubicBezTo>
                      <a:pt x="82" y="53"/>
                      <a:pt x="83" y="52"/>
                      <a:pt x="84" y="51"/>
                    </a:cubicBezTo>
                    <a:cubicBezTo>
                      <a:pt x="86" y="50"/>
                      <a:pt x="88" y="48"/>
                      <a:pt x="89" y="46"/>
                    </a:cubicBezTo>
                    <a:cubicBezTo>
                      <a:pt x="91" y="44"/>
                      <a:pt x="92" y="43"/>
                      <a:pt x="93" y="41"/>
                    </a:cubicBezTo>
                    <a:cubicBezTo>
                      <a:pt x="94" y="39"/>
                      <a:pt x="95" y="38"/>
                      <a:pt x="96" y="37"/>
                    </a:cubicBezTo>
                    <a:cubicBezTo>
                      <a:pt x="97" y="35"/>
                      <a:pt x="98" y="33"/>
                      <a:pt x="98" y="31"/>
                    </a:cubicBezTo>
                    <a:cubicBezTo>
                      <a:pt x="99" y="30"/>
                      <a:pt x="99" y="30"/>
                      <a:pt x="99" y="29"/>
                    </a:cubicBezTo>
                    <a:cubicBezTo>
                      <a:pt x="99" y="27"/>
                      <a:pt x="98" y="26"/>
                      <a:pt x="96" y="26"/>
                    </a:cubicBezTo>
                    <a:cubicBezTo>
                      <a:pt x="94" y="25"/>
                      <a:pt x="93" y="26"/>
                      <a:pt x="92" y="27"/>
                    </a:cubicBezTo>
                    <a:cubicBezTo>
                      <a:pt x="91" y="29"/>
                      <a:pt x="90" y="30"/>
                      <a:pt x="90" y="31"/>
                    </a:cubicBezTo>
                    <a:cubicBezTo>
                      <a:pt x="88" y="34"/>
                      <a:pt x="87" y="36"/>
                      <a:pt x="85" y="37"/>
                    </a:cubicBezTo>
                    <a:cubicBezTo>
                      <a:pt x="84" y="39"/>
                      <a:pt x="82" y="40"/>
                      <a:pt x="81" y="41"/>
                    </a:cubicBezTo>
                    <a:cubicBezTo>
                      <a:pt x="80" y="42"/>
                      <a:pt x="78" y="43"/>
                      <a:pt x="77" y="44"/>
                    </a:cubicBezTo>
                    <a:cubicBezTo>
                      <a:pt x="75" y="45"/>
                      <a:pt x="74" y="45"/>
                      <a:pt x="73" y="46"/>
                    </a:cubicBezTo>
                    <a:cubicBezTo>
                      <a:pt x="71" y="47"/>
                      <a:pt x="70" y="47"/>
                      <a:pt x="69" y="48"/>
                    </a:cubicBezTo>
                    <a:cubicBezTo>
                      <a:pt x="67" y="48"/>
                      <a:pt x="66" y="49"/>
                      <a:pt x="64" y="49"/>
                    </a:cubicBezTo>
                    <a:cubicBezTo>
                      <a:pt x="63" y="49"/>
                      <a:pt x="61" y="49"/>
                      <a:pt x="60" y="50"/>
                    </a:cubicBezTo>
                    <a:cubicBezTo>
                      <a:pt x="59" y="50"/>
                      <a:pt x="59" y="50"/>
                      <a:pt x="58" y="50"/>
                    </a:cubicBezTo>
                    <a:cubicBezTo>
                      <a:pt x="57" y="50"/>
                      <a:pt x="56" y="50"/>
                      <a:pt x="55" y="50"/>
                    </a:cubicBezTo>
                    <a:cubicBezTo>
                      <a:pt x="54" y="50"/>
                      <a:pt x="53" y="50"/>
                      <a:pt x="53" y="50"/>
                    </a:cubicBezTo>
                    <a:cubicBezTo>
                      <a:pt x="52" y="50"/>
                      <a:pt x="51" y="51"/>
                      <a:pt x="50" y="51"/>
                    </a:cubicBezTo>
                    <a:cubicBezTo>
                      <a:pt x="49" y="52"/>
                      <a:pt x="48" y="52"/>
                      <a:pt x="47" y="52"/>
                    </a:cubicBezTo>
                    <a:cubicBezTo>
                      <a:pt x="45" y="53"/>
                      <a:pt x="44" y="52"/>
                      <a:pt x="43" y="52"/>
                    </a:cubicBezTo>
                    <a:cubicBezTo>
                      <a:pt x="42" y="52"/>
                      <a:pt x="40" y="52"/>
                      <a:pt x="39" y="52"/>
                    </a:cubicBezTo>
                    <a:cubicBezTo>
                      <a:pt x="37" y="51"/>
                      <a:pt x="36" y="50"/>
                      <a:pt x="35" y="49"/>
                    </a:cubicBezTo>
                    <a:cubicBezTo>
                      <a:pt x="33" y="48"/>
                      <a:pt x="32" y="46"/>
                      <a:pt x="31" y="44"/>
                    </a:cubicBezTo>
                    <a:cubicBezTo>
                      <a:pt x="30" y="43"/>
                      <a:pt x="30" y="42"/>
                      <a:pt x="29" y="40"/>
                    </a:cubicBezTo>
                    <a:cubicBezTo>
                      <a:pt x="29" y="40"/>
                      <a:pt x="29" y="39"/>
                      <a:pt x="29" y="39"/>
                    </a:cubicBezTo>
                    <a:cubicBezTo>
                      <a:pt x="28" y="38"/>
                      <a:pt x="26" y="37"/>
                      <a:pt x="25" y="36"/>
                    </a:cubicBezTo>
                    <a:cubicBezTo>
                      <a:pt x="24" y="35"/>
                      <a:pt x="22" y="34"/>
                      <a:pt x="21" y="33"/>
                    </a:cubicBezTo>
                    <a:cubicBezTo>
                      <a:pt x="20" y="32"/>
                      <a:pt x="19" y="30"/>
                      <a:pt x="18" y="29"/>
                    </a:cubicBezTo>
                    <a:cubicBezTo>
                      <a:pt x="16" y="28"/>
                      <a:pt x="15" y="26"/>
                      <a:pt x="14" y="24"/>
                    </a:cubicBezTo>
                    <a:cubicBezTo>
                      <a:pt x="13" y="22"/>
                      <a:pt x="12" y="20"/>
                      <a:pt x="10" y="17"/>
                    </a:cubicBezTo>
                    <a:cubicBezTo>
                      <a:pt x="10" y="16"/>
                      <a:pt x="9" y="15"/>
                      <a:pt x="9" y="14"/>
                    </a:cubicBezTo>
                    <a:cubicBezTo>
                      <a:pt x="9" y="12"/>
                      <a:pt x="8" y="11"/>
                      <a:pt x="8" y="9"/>
                    </a:cubicBezTo>
                    <a:cubicBezTo>
                      <a:pt x="8" y="7"/>
                      <a:pt x="7" y="6"/>
                      <a:pt x="7" y="4"/>
                    </a:cubicBezTo>
                    <a:cubicBezTo>
                      <a:pt x="7" y="4"/>
                      <a:pt x="7" y="3"/>
                      <a:pt x="7" y="3"/>
                    </a:cubicBezTo>
                    <a:cubicBezTo>
                      <a:pt x="6" y="1"/>
                      <a:pt x="4" y="0"/>
                      <a:pt x="2" y="1"/>
                    </a:cubicBezTo>
                    <a:cubicBezTo>
                      <a:pt x="1" y="1"/>
                      <a:pt x="0" y="3"/>
                      <a:pt x="0" y="4"/>
                    </a:cubicBezTo>
                    <a:cubicBezTo>
                      <a:pt x="0" y="5"/>
                      <a:pt x="0" y="7"/>
                      <a:pt x="0" y="9"/>
                    </a:cubicBezTo>
                    <a:cubicBezTo>
                      <a:pt x="0" y="11"/>
                      <a:pt x="0" y="13"/>
                      <a:pt x="0" y="15"/>
                    </a:cubicBezTo>
                    <a:cubicBezTo>
                      <a:pt x="0" y="17"/>
                      <a:pt x="1" y="18"/>
                      <a:pt x="1" y="20"/>
                    </a:cubicBezTo>
                    <a:cubicBezTo>
                      <a:pt x="1" y="21"/>
                      <a:pt x="1" y="22"/>
                      <a:pt x="2" y="23"/>
                    </a:cubicBezTo>
                    <a:cubicBezTo>
                      <a:pt x="2" y="24"/>
                      <a:pt x="3" y="26"/>
                      <a:pt x="3" y="27"/>
                    </a:cubicBezTo>
                    <a:cubicBezTo>
                      <a:pt x="3" y="29"/>
                      <a:pt x="4" y="30"/>
                      <a:pt x="5" y="31"/>
                    </a:cubicBezTo>
                    <a:cubicBezTo>
                      <a:pt x="5" y="32"/>
                      <a:pt x="6" y="33"/>
                      <a:pt x="6" y="35"/>
                    </a:cubicBezTo>
                    <a:cubicBezTo>
                      <a:pt x="7" y="36"/>
                      <a:pt x="8" y="38"/>
                      <a:pt x="9" y="39"/>
                    </a:cubicBezTo>
                    <a:cubicBezTo>
                      <a:pt x="10" y="41"/>
                      <a:pt x="11" y="42"/>
                      <a:pt x="11" y="43"/>
                    </a:cubicBezTo>
                    <a:cubicBezTo>
                      <a:pt x="13" y="45"/>
                      <a:pt x="14" y="46"/>
                      <a:pt x="15" y="48"/>
                    </a:cubicBezTo>
                    <a:cubicBezTo>
                      <a:pt x="16" y="48"/>
                      <a:pt x="16" y="49"/>
                      <a:pt x="17" y="49"/>
                    </a:cubicBezTo>
                    <a:cubicBezTo>
                      <a:pt x="18" y="51"/>
                      <a:pt x="19" y="52"/>
                      <a:pt x="21" y="53"/>
                    </a:cubicBezTo>
                    <a:cubicBezTo>
                      <a:pt x="23" y="55"/>
                      <a:pt x="25" y="57"/>
                      <a:pt x="28" y="58"/>
                    </a:cubicBezTo>
                    <a:cubicBezTo>
                      <a:pt x="29" y="59"/>
                      <a:pt x="31" y="60"/>
                      <a:pt x="32" y="61"/>
                    </a:cubicBezTo>
                    <a:cubicBezTo>
                      <a:pt x="34" y="62"/>
                      <a:pt x="36" y="63"/>
                      <a:pt x="38" y="64"/>
                    </a:cubicBezTo>
                    <a:cubicBezTo>
                      <a:pt x="39" y="64"/>
                      <a:pt x="40" y="64"/>
                      <a:pt x="40" y="64"/>
                    </a:cubicBezTo>
                    <a:cubicBezTo>
                      <a:pt x="41" y="65"/>
                      <a:pt x="42" y="65"/>
                      <a:pt x="42" y="65"/>
                    </a:cubicBezTo>
                    <a:cubicBezTo>
                      <a:pt x="44" y="65"/>
                      <a:pt x="45" y="66"/>
                      <a:pt x="46" y="66"/>
                    </a:cubicBezTo>
                    <a:cubicBezTo>
                      <a:pt x="47" y="66"/>
                      <a:pt x="48" y="67"/>
                      <a:pt x="49" y="67"/>
                    </a:cubicBezTo>
                    <a:cubicBezTo>
                      <a:pt x="51" y="67"/>
                      <a:pt x="53" y="67"/>
                      <a:pt x="55" y="67"/>
                    </a:cubicBezTo>
                    <a:cubicBezTo>
                      <a:pt x="57" y="68"/>
                      <a:pt x="59" y="68"/>
                      <a:pt x="61" y="68"/>
                    </a:cubicBezTo>
                    <a:cubicBezTo>
                      <a:pt x="62" y="68"/>
                      <a:pt x="63" y="68"/>
                      <a:pt x="64" y="68"/>
                    </a:cubicBezTo>
                    <a:cubicBezTo>
                      <a:pt x="65" y="68"/>
                      <a:pt x="65" y="68"/>
                      <a:pt x="66" y="67"/>
                    </a:cubicBezTo>
                    <a:cubicBezTo>
                      <a:pt x="67" y="67"/>
                      <a:pt x="69" y="67"/>
                      <a:pt x="70" y="67"/>
                    </a:cubicBezTo>
                    <a:cubicBezTo>
                      <a:pt x="72" y="66"/>
                      <a:pt x="74" y="66"/>
                      <a:pt x="76" y="65"/>
                    </a:cubicBezTo>
                    <a:cubicBezTo>
                      <a:pt x="77" y="65"/>
                      <a:pt x="79" y="65"/>
                      <a:pt x="80" y="64"/>
                    </a:cubicBezTo>
                    <a:cubicBezTo>
                      <a:pt x="81" y="64"/>
                      <a:pt x="82" y="64"/>
                      <a:pt x="83"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65">
                <a:extLst>
                  <a:ext uri="{FF2B5EF4-FFF2-40B4-BE49-F238E27FC236}">
                    <a16:creationId xmlns:a16="http://schemas.microsoft.com/office/drawing/2014/main" id="{269CB655-DCB5-411B-B62C-A209A81CCFB2}"/>
                  </a:ext>
                </a:extLst>
              </p:cNvPr>
              <p:cNvSpPr>
                <a:spLocks/>
              </p:cNvSpPr>
              <p:nvPr/>
            </p:nvSpPr>
            <p:spPr bwMode="auto">
              <a:xfrm>
                <a:off x="7626523" y="1412992"/>
                <a:ext cx="88571" cy="94286"/>
              </a:xfrm>
              <a:custGeom>
                <a:avLst/>
                <a:gdLst>
                  <a:gd name="T0" fmla="*/ 14 w 26"/>
                  <a:gd name="T1" fmla="*/ 27 h 28"/>
                  <a:gd name="T2" fmla="*/ 26 w 26"/>
                  <a:gd name="T3" fmla="*/ 13 h 28"/>
                  <a:gd name="T4" fmla="*/ 13 w 26"/>
                  <a:gd name="T5" fmla="*/ 0 h 28"/>
                  <a:gd name="T6" fmla="*/ 1 w 26"/>
                  <a:gd name="T7" fmla="*/ 15 h 28"/>
                  <a:gd name="T8" fmla="*/ 14 w 26"/>
                  <a:gd name="T9" fmla="*/ 27 h 28"/>
                </a:gdLst>
                <a:ahLst/>
                <a:cxnLst>
                  <a:cxn ang="0">
                    <a:pos x="T0" y="T1"/>
                  </a:cxn>
                  <a:cxn ang="0">
                    <a:pos x="T2" y="T3"/>
                  </a:cxn>
                  <a:cxn ang="0">
                    <a:pos x="T4" y="T5"/>
                  </a:cxn>
                  <a:cxn ang="0">
                    <a:pos x="T6" y="T7"/>
                  </a:cxn>
                  <a:cxn ang="0">
                    <a:pos x="T8" y="T9"/>
                  </a:cxn>
                </a:cxnLst>
                <a:rect l="0" t="0" r="r" b="b"/>
                <a:pathLst>
                  <a:path w="26" h="28">
                    <a:moveTo>
                      <a:pt x="14" y="27"/>
                    </a:moveTo>
                    <a:cubicBezTo>
                      <a:pt x="21" y="27"/>
                      <a:pt x="26" y="20"/>
                      <a:pt x="26" y="13"/>
                    </a:cubicBezTo>
                    <a:cubicBezTo>
                      <a:pt x="26" y="5"/>
                      <a:pt x="21" y="0"/>
                      <a:pt x="13" y="0"/>
                    </a:cubicBezTo>
                    <a:cubicBezTo>
                      <a:pt x="6" y="1"/>
                      <a:pt x="0" y="7"/>
                      <a:pt x="1" y="15"/>
                    </a:cubicBezTo>
                    <a:cubicBezTo>
                      <a:pt x="1" y="22"/>
                      <a:pt x="7" y="28"/>
                      <a:pt x="14" y="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66">
                <a:extLst>
                  <a:ext uri="{FF2B5EF4-FFF2-40B4-BE49-F238E27FC236}">
                    <a16:creationId xmlns:a16="http://schemas.microsoft.com/office/drawing/2014/main" id="{458026EE-5887-4935-BBCF-F4BC942BB5DA}"/>
                  </a:ext>
                </a:extLst>
              </p:cNvPr>
              <p:cNvSpPr>
                <a:spLocks/>
              </p:cNvSpPr>
              <p:nvPr/>
            </p:nvSpPr>
            <p:spPr bwMode="auto">
              <a:xfrm>
                <a:off x="7782237" y="1490135"/>
                <a:ext cx="101429" cy="102857"/>
              </a:xfrm>
              <a:custGeom>
                <a:avLst/>
                <a:gdLst>
                  <a:gd name="T0" fmla="*/ 11 w 30"/>
                  <a:gd name="T1" fmla="*/ 28 h 30"/>
                  <a:gd name="T2" fmla="*/ 27 w 30"/>
                  <a:gd name="T3" fmla="*/ 19 h 30"/>
                  <a:gd name="T4" fmla="*/ 20 w 30"/>
                  <a:gd name="T5" fmla="*/ 3 h 30"/>
                  <a:gd name="T6" fmla="*/ 3 w 30"/>
                  <a:gd name="T7" fmla="*/ 11 h 30"/>
                  <a:gd name="T8" fmla="*/ 11 w 30"/>
                  <a:gd name="T9" fmla="*/ 28 h 30"/>
                </a:gdLst>
                <a:ahLst/>
                <a:cxnLst>
                  <a:cxn ang="0">
                    <a:pos x="T0" y="T1"/>
                  </a:cxn>
                  <a:cxn ang="0">
                    <a:pos x="T2" y="T3"/>
                  </a:cxn>
                  <a:cxn ang="0">
                    <a:pos x="T4" y="T5"/>
                  </a:cxn>
                  <a:cxn ang="0">
                    <a:pos x="T6" y="T7"/>
                  </a:cxn>
                  <a:cxn ang="0">
                    <a:pos x="T8" y="T9"/>
                  </a:cxn>
                </a:cxnLst>
                <a:rect l="0" t="0" r="r" b="b"/>
                <a:pathLst>
                  <a:path w="30" h="30">
                    <a:moveTo>
                      <a:pt x="11" y="28"/>
                    </a:moveTo>
                    <a:cubicBezTo>
                      <a:pt x="18" y="30"/>
                      <a:pt x="24" y="26"/>
                      <a:pt x="27" y="19"/>
                    </a:cubicBezTo>
                    <a:cubicBezTo>
                      <a:pt x="30" y="12"/>
                      <a:pt x="27" y="5"/>
                      <a:pt x="20" y="3"/>
                    </a:cubicBezTo>
                    <a:cubicBezTo>
                      <a:pt x="14" y="0"/>
                      <a:pt x="6" y="4"/>
                      <a:pt x="3" y="11"/>
                    </a:cubicBezTo>
                    <a:cubicBezTo>
                      <a:pt x="0" y="18"/>
                      <a:pt x="4" y="25"/>
                      <a:pt x="11"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67">
                <a:extLst>
                  <a:ext uri="{FF2B5EF4-FFF2-40B4-BE49-F238E27FC236}">
                    <a16:creationId xmlns:a16="http://schemas.microsoft.com/office/drawing/2014/main" id="{32A17D74-3210-4216-83DF-3A83CE8AD7EC}"/>
                  </a:ext>
                </a:extLst>
              </p:cNvPr>
              <p:cNvSpPr>
                <a:spLocks/>
              </p:cNvSpPr>
              <p:nvPr/>
            </p:nvSpPr>
            <p:spPr bwMode="auto">
              <a:xfrm>
                <a:off x="7630808" y="1592992"/>
                <a:ext cx="97143" cy="97143"/>
              </a:xfrm>
              <a:custGeom>
                <a:avLst/>
                <a:gdLst>
                  <a:gd name="T0" fmla="*/ 10 w 29"/>
                  <a:gd name="T1" fmla="*/ 27 h 29"/>
                  <a:gd name="T2" fmla="*/ 27 w 29"/>
                  <a:gd name="T3" fmla="*/ 18 h 29"/>
                  <a:gd name="T4" fmla="*/ 20 w 29"/>
                  <a:gd name="T5" fmla="*/ 2 h 29"/>
                  <a:gd name="T6" fmla="*/ 3 w 29"/>
                  <a:gd name="T7" fmla="*/ 10 h 29"/>
                  <a:gd name="T8" fmla="*/ 10 w 29"/>
                  <a:gd name="T9" fmla="*/ 27 h 29"/>
                </a:gdLst>
                <a:ahLst/>
                <a:cxnLst>
                  <a:cxn ang="0">
                    <a:pos x="T0" y="T1"/>
                  </a:cxn>
                  <a:cxn ang="0">
                    <a:pos x="T2" y="T3"/>
                  </a:cxn>
                  <a:cxn ang="0">
                    <a:pos x="T4" y="T5"/>
                  </a:cxn>
                  <a:cxn ang="0">
                    <a:pos x="T6" y="T7"/>
                  </a:cxn>
                  <a:cxn ang="0">
                    <a:pos x="T8" y="T9"/>
                  </a:cxn>
                </a:cxnLst>
                <a:rect l="0" t="0" r="r" b="b"/>
                <a:pathLst>
                  <a:path w="29" h="29">
                    <a:moveTo>
                      <a:pt x="10" y="27"/>
                    </a:moveTo>
                    <a:cubicBezTo>
                      <a:pt x="17" y="29"/>
                      <a:pt x="24" y="25"/>
                      <a:pt x="27" y="18"/>
                    </a:cubicBezTo>
                    <a:cubicBezTo>
                      <a:pt x="29" y="12"/>
                      <a:pt x="27" y="4"/>
                      <a:pt x="20" y="2"/>
                    </a:cubicBezTo>
                    <a:cubicBezTo>
                      <a:pt x="13" y="0"/>
                      <a:pt x="5" y="3"/>
                      <a:pt x="3" y="10"/>
                    </a:cubicBezTo>
                    <a:cubicBezTo>
                      <a:pt x="0" y="17"/>
                      <a:pt x="3" y="25"/>
                      <a:pt x="10" y="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68">
                <a:extLst>
                  <a:ext uri="{FF2B5EF4-FFF2-40B4-BE49-F238E27FC236}">
                    <a16:creationId xmlns:a16="http://schemas.microsoft.com/office/drawing/2014/main" id="{163B5D84-8758-4954-98D7-B875ADF1BCDE}"/>
                  </a:ext>
                </a:extLst>
              </p:cNvPr>
              <p:cNvSpPr>
                <a:spLocks/>
              </p:cNvSpPr>
              <p:nvPr/>
            </p:nvSpPr>
            <p:spPr bwMode="auto">
              <a:xfrm>
                <a:off x="7526523" y="1341564"/>
                <a:ext cx="320000" cy="284286"/>
              </a:xfrm>
              <a:custGeom>
                <a:avLst/>
                <a:gdLst>
                  <a:gd name="T0" fmla="*/ 2 w 95"/>
                  <a:gd name="T1" fmla="*/ 51 h 84"/>
                  <a:gd name="T2" fmla="*/ 7 w 95"/>
                  <a:gd name="T3" fmla="*/ 53 h 84"/>
                  <a:gd name="T4" fmla="*/ 10 w 95"/>
                  <a:gd name="T5" fmla="*/ 60 h 84"/>
                  <a:gd name="T6" fmla="*/ 11 w 95"/>
                  <a:gd name="T7" fmla="*/ 63 h 84"/>
                  <a:gd name="T8" fmla="*/ 13 w 95"/>
                  <a:gd name="T9" fmla="*/ 70 h 84"/>
                  <a:gd name="T10" fmla="*/ 18 w 95"/>
                  <a:gd name="T11" fmla="*/ 78 h 84"/>
                  <a:gd name="T12" fmla="*/ 26 w 95"/>
                  <a:gd name="T13" fmla="*/ 83 h 84"/>
                  <a:gd name="T14" fmla="*/ 24 w 95"/>
                  <a:gd name="T15" fmla="*/ 72 h 84"/>
                  <a:gd name="T16" fmla="*/ 20 w 95"/>
                  <a:gd name="T17" fmla="*/ 62 h 84"/>
                  <a:gd name="T18" fmla="*/ 20 w 95"/>
                  <a:gd name="T19" fmla="*/ 51 h 84"/>
                  <a:gd name="T20" fmla="*/ 21 w 95"/>
                  <a:gd name="T21" fmla="*/ 45 h 84"/>
                  <a:gd name="T22" fmla="*/ 24 w 95"/>
                  <a:gd name="T23" fmla="*/ 37 h 84"/>
                  <a:gd name="T24" fmla="*/ 27 w 95"/>
                  <a:gd name="T25" fmla="*/ 32 h 84"/>
                  <a:gd name="T26" fmla="*/ 28 w 95"/>
                  <a:gd name="T27" fmla="*/ 25 h 84"/>
                  <a:gd name="T28" fmla="*/ 37 w 95"/>
                  <a:gd name="T29" fmla="*/ 17 h 84"/>
                  <a:gd name="T30" fmla="*/ 45 w 95"/>
                  <a:gd name="T31" fmla="*/ 17 h 84"/>
                  <a:gd name="T32" fmla="*/ 48 w 95"/>
                  <a:gd name="T33" fmla="*/ 18 h 84"/>
                  <a:gd name="T34" fmla="*/ 56 w 95"/>
                  <a:gd name="T35" fmla="*/ 14 h 84"/>
                  <a:gd name="T36" fmla="*/ 62 w 95"/>
                  <a:gd name="T37" fmla="*/ 13 h 84"/>
                  <a:gd name="T38" fmla="*/ 68 w 95"/>
                  <a:gd name="T39" fmla="*/ 12 h 84"/>
                  <a:gd name="T40" fmla="*/ 77 w 95"/>
                  <a:gd name="T41" fmla="*/ 13 h 84"/>
                  <a:gd name="T42" fmla="*/ 82 w 95"/>
                  <a:gd name="T43" fmla="*/ 14 h 84"/>
                  <a:gd name="T44" fmla="*/ 87 w 95"/>
                  <a:gd name="T45" fmla="*/ 15 h 84"/>
                  <a:gd name="T46" fmla="*/ 92 w 95"/>
                  <a:gd name="T47" fmla="*/ 16 h 84"/>
                  <a:gd name="T48" fmla="*/ 93 w 95"/>
                  <a:gd name="T49" fmla="*/ 10 h 84"/>
                  <a:gd name="T50" fmla="*/ 85 w 95"/>
                  <a:gd name="T51" fmla="*/ 6 h 84"/>
                  <a:gd name="T52" fmla="*/ 81 w 95"/>
                  <a:gd name="T53" fmla="*/ 4 h 84"/>
                  <a:gd name="T54" fmla="*/ 73 w 95"/>
                  <a:gd name="T55" fmla="*/ 1 h 84"/>
                  <a:gd name="T56" fmla="*/ 67 w 95"/>
                  <a:gd name="T57" fmla="*/ 0 h 84"/>
                  <a:gd name="T58" fmla="*/ 62 w 95"/>
                  <a:gd name="T59" fmla="*/ 0 h 84"/>
                  <a:gd name="T60" fmla="*/ 55 w 95"/>
                  <a:gd name="T61" fmla="*/ 0 h 84"/>
                  <a:gd name="T62" fmla="*/ 50 w 95"/>
                  <a:gd name="T63" fmla="*/ 1 h 84"/>
                  <a:gd name="T64" fmla="*/ 41 w 95"/>
                  <a:gd name="T65" fmla="*/ 3 h 84"/>
                  <a:gd name="T66" fmla="*/ 33 w 95"/>
                  <a:gd name="T67" fmla="*/ 6 h 84"/>
                  <a:gd name="T68" fmla="*/ 22 w 95"/>
                  <a:gd name="T69" fmla="*/ 13 h 84"/>
                  <a:gd name="T70" fmla="*/ 13 w 95"/>
                  <a:gd name="T71" fmla="*/ 23 h 84"/>
                  <a:gd name="T72" fmla="*/ 6 w 95"/>
                  <a:gd name="T73" fmla="*/ 33 h 84"/>
                  <a:gd name="T74" fmla="*/ 3 w 95"/>
                  <a:gd name="T75" fmla="*/ 40 h 84"/>
                  <a:gd name="T76" fmla="*/ 1 w 95"/>
                  <a:gd name="T77" fmla="*/ 47 h 84"/>
                  <a:gd name="T78" fmla="*/ 0 w 95"/>
                  <a:gd name="T79" fmla="*/ 5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84">
                    <a:moveTo>
                      <a:pt x="0" y="52"/>
                    </a:moveTo>
                    <a:cubicBezTo>
                      <a:pt x="1" y="52"/>
                      <a:pt x="1" y="51"/>
                      <a:pt x="2" y="51"/>
                    </a:cubicBezTo>
                    <a:cubicBezTo>
                      <a:pt x="2" y="51"/>
                      <a:pt x="3" y="51"/>
                      <a:pt x="4" y="51"/>
                    </a:cubicBezTo>
                    <a:cubicBezTo>
                      <a:pt x="5" y="51"/>
                      <a:pt x="6" y="52"/>
                      <a:pt x="7" y="53"/>
                    </a:cubicBezTo>
                    <a:cubicBezTo>
                      <a:pt x="9" y="54"/>
                      <a:pt x="9" y="55"/>
                      <a:pt x="10" y="57"/>
                    </a:cubicBezTo>
                    <a:cubicBezTo>
                      <a:pt x="10" y="58"/>
                      <a:pt x="10" y="59"/>
                      <a:pt x="10" y="60"/>
                    </a:cubicBezTo>
                    <a:cubicBezTo>
                      <a:pt x="10" y="60"/>
                      <a:pt x="10" y="61"/>
                      <a:pt x="11" y="61"/>
                    </a:cubicBezTo>
                    <a:cubicBezTo>
                      <a:pt x="11" y="62"/>
                      <a:pt x="11" y="62"/>
                      <a:pt x="11" y="63"/>
                    </a:cubicBezTo>
                    <a:cubicBezTo>
                      <a:pt x="11" y="64"/>
                      <a:pt x="12" y="65"/>
                      <a:pt x="12" y="66"/>
                    </a:cubicBezTo>
                    <a:cubicBezTo>
                      <a:pt x="12" y="68"/>
                      <a:pt x="13" y="69"/>
                      <a:pt x="13" y="70"/>
                    </a:cubicBezTo>
                    <a:cubicBezTo>
                      <a:pt x="14" y="71"/>
                      <a:pt x="14" y="73"/>
                      <a:pt x="15" y="74"/>
                    </a:cubicBezTo>
                    <a:cubicBezTo>
                      <a:pt x="16" y="75"/>
                      <a:pt x="17" y="77"/>
                      <a:pt x="18" y="78"/>
                    </a:cubicBezTo>
                    <a:cubicBezTo>
                      <a:pt x="19" y="79"/>
                      <a:pt x="20" y="81"/>
                      <a:pt x="21" y="82"/>
                    </a:cubicBezTo>
                    <a:cubicBezTo>
                      <a:pt x="22" y="84"/>
                      <a:pt x="24" y="84"/>
                      <a:pt x="26" y="83"/>
                    </a:cubicBezTo>
                    <a:cubicBezTo>
                      <a:pt x="27" y="82"/>
                      <a:pt x="28" y="80"/>
                      <a:pt x="27" y="78"/>
                    </a:cubicBezTo>
                    <a:cubicBezTo>
                      <a:pt x="26" y="76"/>
                      <a:pt x="24" y="74"/>
                      <a:pt x="24" y="72"/>
                    </a:cubicBezTo>
                    <a:cubicBezTo>
                      <a:pt x="23" y="70"/>
                      <a:pt x="22" y="68"/>
                      <a:pt x="21" y="66"/>
                    </a:cubicBezTo>
                    <a:cubicBezTo>
                      <a:pt x="21" y="65"/>
                      <a:pt x="21" y="63"/>
                      <a:pt x="20" y="62"/>
                    </a:cubicBezTo>
                    <a:cubicBezTo>
                      <a:pt x="20" y="60"/>
                      <a:pt x="20" y="58"/>
                      <a:pt x="20" y="56"/>
                    </a:cubicBezTo>
                    <a:cubicBezTo>
                      <a:pt x="20" y="54"/>
                      <a:pt x="20" y="52"/>
                      <a:pt x="20" y="51"/>
                    </a:cubicBezTo>
                    <a:cubicBezTo>
                      <a:pt x="20" y="50"/>
                      <a:pt x="20" y="50"/>
                      <a:pt x="20" y="49"/>
                    </a:cubicBezTo>
                    <a:cubicBezTo>
                      <a:pt x="21" y="48"/>
                      <a:pt x="21" y="46"/>
                      <a:pt x="21" y="45"/>
                    </a:cubicBezTo>
                    <a:cubicBezTo>
                      <a:pt x="22" y="44"/>
                      <a:pt x="22" y="42"/>
                      <a:pt x="23" y="41"/>
                    </a:cubicBezTo>
                    <a:cubicBezTo>
                      <a:pt x="23" y="40"/>
                      <a:pt x="24" y="39"/>
                      <a:pt x="24" y="37"/>
                    </a:cubicBezTo>
                    <a:cubicBezTo>
                      <a:pt x="25" y="36"/>
                      <a:pt x="25" y="35"/>
                      <a:pt x="26" y="35"/>
                    </a:cubicBezTo>
                    <a:cubicBezTo>
                      <a:pt x="26" y="34"/>
                      <a:pt x="27" y="33"/>
                      <a:pt x="27" y="32"/>
                    </a:cubicBezTo>
                    <a:cubicBezTo>
                      <a:pt x="27" y="31"/>
                      <a:pt x="27" y="30"/>
                      <a:pt x="27" y="29"/>
                    </a:cubicBezTo>
                    <a:cubicBezTo>
                      <a:pt x="27" y="28"/>
                      <a:pt x="28" y="26"/>
                      <a:pt x="28" y="25"/>
                    </a:cubicBezTo>
                    <a:cubicBezTo>
                      <a:pt x="29" y="24"/>
                      <a:pt x="29" y="23"/>
                      <a:pt x="30" y="22"/>
                    </a:cubicBezTo>
                    <a:cubicBezTo>
                      <a:pt x="32" y="20"/>
                      <a:pt x="34" y="18"/>
                      <a:pt x="37" y="17"/>
                    </a:cubicBezTo>
                    <a:cubicBezTo>
                      <a:pt x="39" y="17"/>
                      <a:pt x="40" y="17"/>
                      <a:pt x="41" y="17"/>
                    </a:cubicBezTo>
                    <a:cubicBezTo>
                      <a:pt x="43" y="17"/>
                      <a:pt x="44" y="17"/>
                      <a:pt x="45" y="17"/>
                    </a:cubicBezTo>
                    <a:cubicBezTo>
                      <a:pt x="46" y="17"/>
                      <a:pt x="47" y="17"/>
                      <a:pt x="47" y="18"/>
                    </a:cubicBezTo>
                    <a:cubicBezTo>
                      <a:pt x="48" y="18"/>
                      <a:pt x="48" y="18"/>
                      <a:pt x="48" y="18"/>
                    </a:cubicBezTo>
                    <a:cubicBezTo>
                      <a:pt x="49" y="17"/>
                      <a:pt x="49" y="17"/>
                      <a:pt x="50" y="17"/>
                    </a:cubicBezTo>
                    <a:cubicBezTo>
                      <a:pt x="52" y="16"/>
                      <a:pt x="54" y="15"/>
                      <a:pt x="56" y="14"/>
                    </a:cubicBezTo>
                    <a:cubicBezTo>
                      <a:pt x="57" y="14"/>
                      <a:pt x="58" y="14"/>
                      <a:pt x="59" y="13"/>
                    </a:cubicBezTo>
                    <a:cubicBezTo>
                      <a:pt x="60" y="13"/>
                      <a:pt x="61" y="13"/>
                      <a:pt x="62" y="13"/>
                    </a:cubicBezTo>
                    <a:cubicBezTo>
                      <a:pt x="64" y="12"/>
                      <a:pt x="66" y="12"/>
                      <a:pt x="68" y="12"/>
                    </a:cubicBezTo>
                    <a:cubicBezTo>
                      <a:pt x="68" y="12"/>
                      <a:pt x="68" y="12"/>
                      <a:pt x="68" y="12"/>
                    </a:cubicBezTo>
                    <a:cubicBezTo>
                      <a:pt x="69" y="12"/>
                      <a:pt x="71" y="12"/>
                      <a:pt x="72" y="12"/>
                    </a:cubicBezTo>
                    <a:cubicBezTo>
                      <a:pt x="73" y="12"/>
                      <a:pt x="75" y="12"/>
                      <a:pt x="77" y="13"/>
                    </a:cubicBezTo>
                    <a:cubicBezTo>
                      <a:pt x="78" y="13"/>
                      <a:pt x="79" y="13"/>
                      <a:pt x="80" y="13"/>
                    </a:cubicBezTo>
                    <a:cubicBezTo>
                      <a:pt x="80" y="13"/>
                      <a:pt x="81" y="13"/>
                      <a:pt x="82" y="14"/>
                    </a:cubicBezTo>
                    <a:cubicBezTo>
                      <a:pt x="83" y="14"/>
                      <a:pt x="83" y="14"/>
                      <a:pt x="84" y="14"/>
                    </a:cubicBezTo>
                    <a:cubicBezTo>
                      <a:pt x="85" y="14"/>
                      <a:pt x="86" y="15"/>
                      <a:pt x="87" y="15"/>
                    </a:cubicBezTo>
                    <a:cubicBezTo>
                      <a:pt x="88" y="16"/>
                      <a:pt x="88" y="16"/>
                      <a:pt x="89" y="16"/>
                    </a:cubicBezTo>
                    <a:cubicBezTo>
                      <a:pt x="90" y="17"/>
                      <a:pt x="91" y="17"/>
                      <a:pt x="92" y="16"/>
                    </a:cubicBezTo>
                    <a:cubicBezTo>
                      <a:pt x="94" y="16"/>
                      <a:pt x="95" y="13"/>
                      <a:pt x="94" y="12"/>
                    </a:cubicBezTo>
                    <a:cubicBezTo>
                      <a:pt x="94" y="11"/>
                      <a:pt x="93" y="10"/>
                      <a:pt x="93" y="10"/>
                    </a:cubicBezTo>
                    <a:cubicBezTo>
                      <a:pt x="91" y="9"/>
                      <a:pt x="90" y="8"/>
                      <a:pt x="89" y="7"/>
                    </a:cubicBezTo>
                    <a:cubicBezTo>
                      <a:pt x="88" y="7"/>
                      <a:pt x="86" y="6"/>
                      <a:pt x="85" y="6"/>
                    </a:cubicBezTo>
                    <a:cubicBezTo>
                      <a:pt x="85" y="5"/>
                      <a:pt x="84" y="5"/>
                      <a:pt x="83" y="5"/>
                    </a:cubicBezTo>
                    <a:cubicBezTo>
                      <a:pt x="83" y="4"/>
                      <a:pt x="82" y="4"/>
                      <a:pt x="81" y="4"/>
                    </a:cubicBezTo>
                    <a:cubicBezTo>
                      <a:pt x="79" y="3"/>
                      <a:pt x="78" y="3"/>
                      <a:pt x="77" y="2"/>
                    </a:cubicBezTo>
                    <a:cubicBezTo>
                      <a:pt x="76" y="2"/>
                      <a:pt x="75" y="2"/>
                      <a:pt x="73" y="1"/>
                    </a:cubicBezTo>
                    <a:cubicBezTo>
                      <a:pt x="72" y="1"/>
                      <a:pt x="71" y="1"/>
                      <a:pt x="70" y="1"/>
                    </a:cubicBezTo>
                    <a:cubicBezTo>
                      <a:pt x="69" y="1"/>
                      <a:pt x="68" y="0"/>
                      <a:pt x="67" y="0"/>
                    </a:cubicBezTo>
                    <a:cubicBezTo>
                      <a:pt x="66" y="0"/>
                      <a:pt x="64" y="0"/>
                      <a:pt x="63" y="0"/>
                    </a:cubicBezTo>
                    <a:cubicBezTo>
                      <a:pt x="63" y="0"/>
                      <a:pt x="63" y="0"/>
                      <a:pt x="62" y="0"/>
                    </a:cubicBezTo>
                    <a:cubicBezTo>
                      <a:pt x="61" y="0"/>
                      <a:pt x="60" y="0"/>
                      <a:pt x="59" y="0"/>
                    </a:cubicBezTo>
                    <a:cubicBezTo>
                      <a:pt x="58" y="0"/>
                      <a:pt x="57" y="0"/>
                      <a:pt x="55" y="0"/>
                    </a:cubicBezTo>
                    <a:cubicBezTo>
                      <a:pt x="55" y="0"/>
                      <a:pt x="54" y="0"/>
                      <a:pt x="53" y="0"/>
                    </a:cubicBezTo>
                    <a:cubicBezTo>
                      <a:pt x="52" y="0"/>
                      <a:pt x="51" y="1"/>
                      <a:pt x="50" y="1"/>
                    </a:cubicBezTo>
                    <a:cubicBezTo>
                      <a:pt x="48" y="1"/>
                      <a:pt x="47" y="1"/>
                      <a:pt x="45" y="2"/>
                    </a:cubicBezTo>
                    <a:cubicBezTo>
                      <a:pt x="44" y="2"/>
                      <a:pt x="43" y="2"/>
                      <a:pt x="41" y="3"/>
                    </a:cubicBezTo>
                    <a:cubicBezTo>
                      <a:pt x="40" y="3"/>
                      <a:pt x="39" y="4"/>
                      <a:pt x="38" y="4"/>
                    </a:cubicBezTo>
                    <a:cubicBezTo>
                      <a:pt x="36" y="5"/>
                      <a:pt x="35" y="6"/>
                      <a:pt x="33" y="6"/>
                    </a:cubicBezTo>
                    <a:cubicBezTo>
                      <a:pt x="31" y="8"/>
                      <a:pt x="28" y="9"/>
                      <a:pt x="26" y="10"/>
                    </a:cubicBezTo>
                    <a:cubicBezTo>
                      <a:pt x="25" y="11"/>
                      <a:pt x="23" y="12"/>
                      <a:pt x="22" y="13"/>
                    </a:cubicBezTo>
                    <a:cubicBezTo>
                      <a:pt x="21" y="15"/>
                      <a:pt x="19" y="16"/>
                      <a:pt x="18" y="17"/>
                    </a:cubicBezTo>
                    <a:cubicBezTo>
                      <a:pt x="16" y="19"/>
                      <a:pt x="14" y="21"/>
                      <a:pt x="13" y="23"/>
                    </a:cubicBezTo>
                    <a:cubicBezTo>
                      <a:pt x="11" y="25"/>
                      <a:pt x="10" y="26"/>
                      <a:pt x="9" y="28"/>
                    </a:cubicBezTo>
                    <a:cubicBezTo>
                      <a:pt x="8" y="30"/>
                      <a:pt x="7" y="31"/>
                      <a:pt x="6" y="33"/>
                    </a:cubicBezTo>
                    <a:cubicBezTo>
                      <a:pt x="5" y="34"/>
                      <a:pt x="5" y="36"/>
                      <a:pt x="4" y="37"/>
                    </a:cubicBezTo>
                    <a:cubicBezTo>
                      <a:pt x="4" y="38"/>
                      <a:pt x="3" y="39"/>
                      <a:pt x="3" y="40"/>
                    </a:cubicBezTo>
                    <a:cubicBezTo>
                      <a:pt x="3" y="41"/>
                      <a:pt x="2" y="43"/>
                      <a:pt x="2" y="44"/>
                    </a:cubicBezTo>
                    <a:cubicBezTo>
                      <a:pt x="2" y="45"/>
                      <a:pt x="1" y="46"/>
                      <a:pt x="1" y="47"/>
                    </a:cubicBezTo>
                    <a:cubicBezTo>
                      <a:pt x="1" y="47"/>
                      <a:pt x="1" y="48"/>
                      <a:pt x="1" y="49"/>
                    </a:cubicBezTo>
                    <a:cubicBezTo>
                      <a:pt x="0" y="50"/>
                      <a:pt x="0" y="51"/>
                      <a:pt x="0"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69">
                <a:extLst>
                  <a:ext uri="{FF2B5EF4-FFF2-40B4-BE49-F238E27FC236}">
                    <a16:creationId xmlns:a16="http://schemas.microsoft.com/office/drawing/2014/main" id="{736557D0-BEB3-4203-8120-BDEF09C7D266}"/>
                  </a:ext>
                </a:extLst>
              </p:cNvPr>
              <p:cNvSpPr>
                <a:spLocks/>
              </p:cNvSpPr>
              <p:nvPr/>
            </p:nvSpPr>
            <p:spPr bwMode="auto">
              <a:xfrm>
                <a:off x="7722237" y="1385849"/>
                <a:ext cx="208571" cy="345714"/>
              </a:xfrm>
              <a:custGeom>
                <a:avLst/>
                <a:gdLst>
                  <a:gd name="T0" fmla="*/ 38 w 62"/>
                  <a:gd name="T1" fmla="*/ 3 h 102"/>
                  <a:gd name="T2" fmla="*/ 31 w 62"/>
                  <a:gd name="T3" fmla="*/ 6 h 102"/>
                  <a:gd name="T4" fmla="*/ 24 w 62"/>
                  <a:gd name="T5" fmla="*/ 3 h 102"/>
                  <a:gd name="T6" fmla="*/ 14 w 62"/>
                  <a:gd name="T7" fmla="*/ 2 h 102"/>
                  <a:gd name="T8" fmla="*/ 0 w 62"/>
                  <a:gd name="T9" fmla="*/ 5 h 102"/>
                  <a:gd name="T10" fmla="*/ 3 w 62"/>
                  <a:gd name="T11" fmla="*/ 10 h 102"/>
                  <a:gd name="T12" fmla="*/ 3 w 62"/>
                  <a:gd name="T13" fmla="*/ 10 h 102"/>
                  <a:gd name="T14" fmla="*/ 6 w 62"/>
                  <a:gd name="T15" fmla="*/ 10 h 102"/>
                  <a:gd name="T16" fmla="*/ 10 w 62"/>
                  <a:gd name="T17" fmla="*/ 10 h 102"/>
                  <a:gd name="T18" fmla="*/ 22 w 62"/>
                  <a:gd name="T19" fmla="*/ 13 h 102"/>
                  <a:gd name="T20" fmla="*/ 33 w 62"/>
                  <a:gd name="T21" fmla="*/ 20 h 102"/>
                  <a:gd name="T22" fmla="*/ 35 w 62"/>
                  <a:gd name="T23" fmla="*/ 22 h 102"/>
                  <a:gd name="T24" fmla="*/ 39 w 62"/>
                  <a:gd name="T25" fmla="*/ 26 h 102"/>
                  <a:gd name="T26" fmla="*/ 43 w 62"/>
                  <a:gd name="T27" fmla="*/ 32 h 102"/>
                  <a:gd name="T28" fmla="*/ 51 w 62"/>
                  <a:gd name="T29" fmla="*/ 43 h 102"/>
                  <a:gd name="T30" fmla="*/ 48 w 62"/>
                  <a:gd name="T31" fmla="*/ 55 h 102"/>
                  <a:gd name="T32" fmla="*/ 45 w 62"/>
                  <a:gd name="T33" fmla="*/ 58 h 102"/>
                  <a:gd name="T34" fmla="*/ 44 w 62"/>
                  <a:gd name="T35" fmla="*/ 65 h 102"/>
                  <a:gd name="T36" fmla="*/ 41 w 62"/>
                  <a:gd name="T37" fmla="*/ 77 h 102"/>
                  <a:gd name="T38" fmla="*/ 33 w 62"/>
                  <a:gd name="T39" fmla="*/ 88 h 102"/>
                  <a:gd name="T40" fmla="*/ 25 w 62"/>
                  <a:gd name="T41" fmla="*/ 95 h 102"/>
                  <a:gd name="T42" fmla="*/ 30 w 62"/>
                  <a:gd name="T43" fmla="*/ 101 h 102"/>
                  <a:gd name="T44" fmla="*/ 34 w 62"/>
                  <a:gd name="T45" fmla="*/ 99 h 102"/>
                  <a:gd name="T46" fmla="*/ 39 w 62"/>
                  <a:gd name="T47" fmla="*/ 95 h 102"/>
                  <a:gd name="T48" fmla="*/ 42 w 62"/>
                  <a:gd name="T49" fmla="*/ 93 h 102"/>
                  <a:gd name="T50" fmla="*/ 45 w 62"/>
                  <a:gd name="T51" fmla="*/ 89 h 102"/>
                  <a:gd name="T52" fmla="*/ 48 w 62"/>
                  <a:gd name="T53" fmla="*/ 87 h 102"/>
                  <a:gd name="T54" fmla="*/ 50 w 62"/>
                  <a:gd name="T55" fmla="*/ 84 h 102"/>
                  <a:gd name="T56" fmla="*/ 53 w 62"/>
                  <a:gd name="T57" fmla="*/ 79 h 102"/>
                  <a:gd name="T58" fmla="*/ 57 w 62"/>
                  <a:gd name="T59" fmla="*/ 72 h 102"/>
                  <a:gd name="T60" fmla="*/ 60 w 62"/>
                  <a:gd name="T61" fmla="*/ 65 h 102"/>
                  <a:gd name="T62" fmla="*/ 62 w 62"/>
                  <a:gd name="T63" fmla="*/ 57 h 102"/>
                  <a:gd name="T64" fmla="*/ 62 w 62"/>
                  <a:gd name="T65" fmla="*/ 46 h 102"/>
                  <a:gd name="T66" fmla="*/ 61 w 62"/>
                  <a:gd name="T67" fmla="*/ 34 h 102"/>
                  <a:gd name="T68" fmla="*/ 59 w 62"/>
                  <a:gd name="T69" fmla="*/ 27 h 102"/>
                  <a:gd name="T70" fmla="*/ 54 w 62"/>
                  <a:gd name="T71" fmla="*/ 16 h 102"/>
                  <a:gd name="T72" fmla="*/ 47 w 62"/>
                  <a:gd name="T73" fmla="*/ 7 h 102"/>
                  <a:gd name="T74" fmla="*/ 39 w 62"/>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102">
                    <a:moveTo>
                      <a:pt x="39" y="0"/>
                    </a:moveTo>
                    <a:cubicBezTo>
                      <a:pt x="39" y="1"/>
                      <a:pt x="39" y="2"/>
                      <a:pt x="38" y="3"/>
                    </a:cubicBezTo>
                    <a:cubicBezTo>
                      <a:pt x="37" y="5"/>
                      <a:pt x="36" y="5"/>
                      <a:pt x="35" y="6"/>
                    </a:cubicBezTo>
                    <a:cubicBezTo>
                      <a:pt x="33" y="6"/>
                      <a:pt x="32" y="6"/>
                      <a:pt x="31" y="6"/>
                    </a:cubicBezTo>
                    <a:cubicBezTo>
                      <a:pt x="30" y="6"/>
                      <a:pt x="28" y="5"/>
                      <a:pt x="27" y="4"/>
                    </a:cubicBezTo>
                    <a:cubicBezTo>
                      <a:pt x="26" y="4"/>
                      <a:pt x="25" y="4"/>
                      <a:pt x="24" y="3"/>
                    </a:cubicBezTo>
                    <a:cubicBezTo>
                      <a:pt x="22" y="3"/>
                      <a:pt x="21" y="3"/>
                      <a:pt x="19" y="3"/>
                    </a:cubicBezTo>
                    <a:cubicBezTo>
                      <a:pt x="18" y="2"/>
                      <a:pt x="16" y="2"/>
                      <a:pt x="14" y="2"/>
                    </a:cubicBezTo>
                    <a:cubicBezTo>
                      <a:pt x="10" y="2"/>
                      <a:pt x="7" y="2"/>
                      <a:pt x="3" y="2"/>
                    </a:cubicBezTo>
                    <a:cubicBezTo>
                      <a:pt x="2" y="2"/>
                      <a:pt x="1" y="3"/>
                      <a:pt x="0" y="5"/>
                    </a:cubicBezTo>
                    <a:cubicBezTo>
                      <a:pt x="0" y="6"/>
                      <a:pt x="0" y="7"/>
                      <a:pt x="0" y="8"/>
                    </a:cubicBezTo>
                    <a:cubicBezTo>
                      <a:pt x="1" y="9"/>
                      <a:pt x="2" y="10"/>
                      <a:pt x="3" y="10"/>
                    </a:cubicBezTo>
                    <a:cubicBezTo>
                      <a:pt x="3" y="10"/>
                      <a:pt x="3" y="10"/>
                      <a:pt x="3" y="10"/>
                    </a:cubicBezTo>
                    <a:cubicBezTo>
                      <a:pt x="3" y="10"/>
                      <a:pt x="3" y="10"/>
                      <a:pt x="3" y="10"/>
                    </a:cubicBezTo>
                    <a:cubicBezTo>
                      <a:pt x="4" y="10"/>
                      <a:pt x="5" y="10"/>
                      <a:pt x="6" y="10"/>
                    </a:cubicBezTo>
                    <a:cubicBezTo>
                      <a:pt x="6" y="10"/>
                      <a:pt x="6" y="10"/>
                      <a:pt x="6" y="10"/>
                    </a:cubicBezTo>
                    <a:cubicBezTo>
                      <a:pt x="7" y="10"/>
                      <a:pt x="7" y="10"/>
                      <a:pt x="7" y="10"/>
                    </a:cubicBezTo>
                    <a:cubicBezTo>
                      <a:pt x="8" y="10"/>
                      <a:pt x="9" y="10"/>
                      <a:pt x="10" y="10"/>
                    </a:cubicBezTo>
                    <a:cubicBezTo>
                      <a:pt x="12" y="10"/>
                      <a:pt x="14" y="10"/>
                      <a:pt x="16" y="11"/>
                    </a:cubicBezTo>
                    <a:cubicBezTo>
                      <a:pt x="18" y="11"/>
                      <a:pt x="20" y="12"/>
                      <a:pt x="22" y="13"/>
                    </a:cubicBezTo>
                    <a:cubicBezTo>
                      <a:pt x="25" y="14"/>
                      <a:pt x="27" y="15"/>
                      <a:pt x="29" y="17"/>
                    </a:cubicBezTo>
                    <a:cubicBezTo>
                      <a:pt x="31" y="18"/>
                      <a:pt x="32" y="19"/>
                      <a:pt x="33" y="20"/>
                    </a:cubicBezTo>
                    <a:cubicBezTo>
                      <a:pt x="33" y="20"/>
                      <a:pt x="34" y="21"/>
                      <a:pt x="34" y="21"/>
                    </a:cubicBezTo>
                    <a:cubicBezTo>
                      <a:pt x="35" y="21"/>
                      <a:pt x="35" y="21"/>
                      <a:pt x="35" y="22"/>
                    </a:cubicBezTo>
                    <a:cubicBezTo>
                      <a:pt x="35" y="22"/>
                      <a:pt x="36" y="23"/>
                      <a:pt x="36" y="23"/>
                    </a:cubicBezTo>
                    <a:cubicBezTo>
                      <a:pt x="37" y="24"/>
                      <a:pt x="38" y="25"/>
                      <a:pt x="39" y="26"/>
                    </a:cubicBezTo>
                    <a:cubicBezTo>
                      <a:pt x="40" y="28"/>
                      <a:pt x="41" y="30"/>
                      <a:pt x="42" y="32"/>
                    </a:cubicBezTo>
                    <a:cubicBezTo>
                      <a:pt x="42" y="32"/>
                      <a:pt x="42" y="32"/>
                      <a:pt x="43" y="32"/>
                    </a:cubicBezTo>
                    <a:cubicBezTo>
                      <a:pt x="45" y="33"/>
                      <a:pt x="47" y="35"/>
                      <a:pt x="48" y="37"/>
                    </a:cubicBezTo>
                    <a:cubicBezTo>
                      <a:pt x="49" y="38"/>
                      <a:pt x="50" y="41"/>
                      <a:pt x="51" y="43"/>
                    </a:cubicBezTo>
                    <a:cubicBezTo>
                      <a:pt x="51" y="45"/>
                      <a:pt x="51" y="47"/>
                      <a:pt x="51" y="50"/>
                    </a:cubicBezTo>
                    <a:cubicBezTo>
                      <a:pt x="50" y="52"/>
                      <a:pt x="49" y="53"/>
                      <a:pt x="48" y="55"/>
                    </a:cubicBezTo>
                    <a:cubicBezTo>
                      <a:pt x="47" y="56"/>
                      <a:pt x="47" y="57"/>
                      <a:pt x="46" y="57"/>
                    </a:cubicBezTo>
                    <a:cubicBezTo>
                      <a:pt x="45" y="58"/>
                      <a:pt x="45" y="58"/>
                      <a:pt x="45" y="58"/>
                    </a:cubicBezTo>
                    <a:cubicBezTo>
                      <a:pt x="45" y="59"/>
                      <a:pt x="45" y="59"/>
                      <a:pt x="45" y="60"/>
                    </a:cubicBezTo>
                    <a:cubicBezTo>
                      <a:pt x="45" y="61"/>
                      <a:pt x="45" y="63"/>
                      <a:pt x="44" y="65"/>
                    </a:cubicBezTo>
                    <a:cubicBezTo>
                      <a:pt x="44" y="67"/>
                      <a:pt x="43" y="69"/>
                      <a:pt x="43" y="72"/>
                    </a:cubicBezTo>
                    <a:cubicBezTo>
                      <a:pt x="42" y="73"/>
                      <a:pt x="41" y="75"/>
                      <a:pt x="41" y="77"/>
                    </a:cubicBezTo>
                    <a:cubicBezTo>
                      <a:pt x="40" y="79"/>
                      <a:pt x="38" y="81"/>
                      <a:pt x="37" y="83"/>
                    </a:cubicBezTo>
                    <a:cubicBezTo>
                      <a:pt x="36" y="85"/>
                      <a:pt x="35" y="87"/>
                      <a:pt x="33" y="88"/>
                    </a:cubicBezTo>
                    <a:cubicBezTo>
                      <a:pt x="31" y="90"/>
                      <a:pt x="30" y="92"/>
                      <a:pt x="28" y="93"/>
                    </a:cubicBezTo>
                    <a:cubicBezTo>
                      <a:pt x="27" y="94"/>
                      <a:pt x="26" y="94"/>
                      <a:pt x="25" y="95"/>
                    </a:cubicBezTo>
                    <a:cubicBezTo>
                      <a:pt x="24" y="97"/>
                      <a:pt x="24" y="99"/>
                      <a:pt x="26" y="101"/>
                    </a:cubicBezTo>
                    <a:cubicBezTo>
                      <a:pt x="26" y="101"/>
                      <a:pt x="28" y="102"/>
                      <a:pt x="30" y="101"/>
                    </a:cubicBezTo>
                    <a:cubicBezTo>
                      <a:pt x="30" y="101"/>
                      <a:pt x="31" y="100"/>
                      <a:pt x="32" y="100"/>
                    </a:cubicBezTo>
                    <a:cubicBezTo>
                      <a:pt x="33" y="99"/>
                      <a:pt x="33" y="99"/>
                      <a:pt x="34" y="99"/>
                    </a:cubicBezTo>
                    <a:cubicBezTo>
                      <a:pt x="35" y="98"/>
                      <a:pt x="36" y="97"/>
                      <a:pt x="37" y="97"/>
                    </a:cubicBezTo>
                    <a:cubicBezTo>
                      <a:pt x="37" y="96"/>
                      <a:pt x="38" y="96"/>
                      <a:pt x="39" y="95"/>
                    </a:cubicBezTo>
                    <a:cubicBezTo>
                      <a:pt x="39" y="95"/>
                      <a:pt x="40" y="94"/>
                      <a:pt x="40" y="94"/>
                    </a:cubicBezTo>
                    <a:cubicBezTo>
                      <a:pt x="41" y="94"/>
                      <a:pt x="41" y="93"/>
                      <a:pt x="42" y="93"/>
                    </a:cubicBezTo>
                    <a:cubicBezTo>
                      <a:pt x="42" y="92"/>
                      <a:pt x="43" y="91"/>
                      <a:pt x="44" y="91"/>
                    </a:cubicBezTo>
                    <a:cubicBezTo>
                      <a:pt x="44" y="90"/>
                      <a:pt x="45" y="90"/>
                      <a:pt x="45" y="89"/>
                    </a:cubicBezTo>
                    <a:cubicBezTo>
                      <a:pt x="46" y="89"/>
                      <a:pt x="47" y="88"/>
                      <a:pt x="47" y="87"/>
                    </a:cubicBezTo>
                    <a:cubicBezTo>
                      <a:pt x="47" y="87"/>
                      <a:pt x="48" y="87"/>
                      <a:pt x="48" y="87"/>
                    </a:cubicBezTo>
                    <a:cubicBezTo>
                      <a:pt x="48" y="86"/>
                      <a:pt x="48" y="86"/>
                      <a:pt x="49" y="86"/>
                    </a:cubicBezTo>
                    <a:cubicBezTo>
                      <a:pt x="49" y="85"/>
                      <a:pt x="50" y="84"/>
                      <a:pt x="50" y="84"/>
                    </a:cubicBezTo>
                    <a:cubicBezTo>
                      <a:pt x="51" y="83"/>
                      <a:pt x="51" y="82"/>
                      <a:pt x="52" y="81"/>
                    </a:cubicBezTo>
                    <a:cubicBezTo>
                      <a:pt x="52" y="81"/>
                      <a:pt x="53" y="80"/>
                      <a:pt x="53" y="79"/>
                    </a:cubicBezTo>
                    <a:cubicBezTo>
                      <a:pt x="54" y="78"/>
                      <a:pt x="55" y="77"/>
                      <a:pt x="55" y="76"/>
                    </a:cubicBezTo>
                    <a:cubicBezTo>
                      <a:pt x="56" y="75"/>
                      <a:pt x="56" y="74"/>
                      <a:pt x="57" y="72"/>
                    </a:cubicBezTo>
                    <a:cubicBezTo>
                      <a:pt x="57" y="71"/>
                      <a:pt x="58" y="70"/>
                      <a:pt x="58" y="69"/>
                    </a:cubicBezTo>
                    <a:cubicBezTo>
                      <a:pt x="59" y="68"/>
                      <a:pt x="59" y="66"/>
                      <a:pt x="60" y="65"/>
                    </a:cubicBezTo>
                    <a:cubicBezTo>
                      <a:pt x="60" y="64"/>
                      <a:pt x="60" y="63"/>
                      <a:pt x="61" y="62"/>
                    </a:cubicBezTo>
                    <a:cubicBezTo>
                      <a:pt x="61" y="60"/>
                      <a:pt x="61" y="59"/>
                      <a:pt x="62" y="57"/>
                    </a:cubicBezTo>
                    <a:cubicBezTo>
                      <a:pt x="62" y="55"/>
                      <a:pt x="62" y="54"/>
                      <a:pt x="62" y="52"/>
                    </a:cubicBezTo>
                    <a:cubicBezTo>
                      <a:pt x="62" y="50"/>
                      <a:pt x="62" y="48"/>
                      <a:pt x="62" y="46"/>
                    </a:cubicBezTo>
                    <a:cubicBezTo>
                      <a:pt x="62" y="43"/>
                      <a:pt x="62" y="40"/>
                      <a:pt x="62" y="38"/>
                    </a:cubicBezTo>
                    <a:cubicBezTo>
                      <a:pt x="61" y="37"/>
                      <a:pt x="61" y="35"/>
                      <a:pt x="61" y="34"/>
                    </a:cubicBezTo>
                    <a:cubicBezTo>
                      <a:pt x="61" y="33"/>
                      <a:pt x="61" y="33"/>
                      <a:pt x="60" y="32"/>
                    </a:cubicBezTo>
                    <a:cubicBezTo>
                      <a:pt x="60" y="30"/>
                      <a:pt x="59" y="28"/>
                      <a:pt x="59" y="27"/>
                    </a:cubicBezTo>
                    <a:cubicBezTo>
                      <a:pt x="58" y="25"/>
                      <a:pt x="58" y="24"/>
                      <a:pt x="57" y="22"/>
                    </a:cubicBezTo>
                    <a:cubicBezTo>
                      <a:pt x="56" y="20"/>
                      <a:pt x="55" y="18"/>
                      <a:pt x="54" y="16"/>
                    </a:cubicBezTo>
                    <a:cubicBezTo>
                      <a:pt x="53" y="14"/>
                      <a:pt x="51" y="13"/>
                      <a:pt x="50" y="11"/>
                    </a:cubicBezTo>
                    <a:cubicBezTo>
                      <a:pt x="49" y="10"/>
                      <a:pt x="48" y="8"/>
                      <a:pt x="47" y="7"/>
                    </a:cubicBezTo>
                    <a:cubicBezTo>
                      <a:pt x="46" y="6"/>
                      <a:pt x="45" y="5"/>
                      <a:pt x="44" y="4"/>
                    </a:cubicBezTo>
                    <a:cubicBezTo>
                      <a:pt x="42" y="2"/>
                      <a:pt x="41" y="1"/>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a:extLst>
              <a:ext uri="{FF2B5EF4-FFF2-40B4-BE49-F238E27FC236}">
                <a16:creationId xmlns:a16="http://schemas.microsoft.com/office/drawing/2014/main" id="{29DBFD1C-7AB9-4A32-B87F-963532B12472}"/>
              </a:ext>
              <a:ext uri="{C183D7F6-B498-43B3-948B-1728B52AA6E4}">
                <adec:decorative xmlns:adec="http://schemas.microsoft.com/office/drawing/2017/decorative" val="1"/>
              </a:ext>
            </a:extLst>
          </p:cNvPr>
          <p:cNvGrpSpPr>
            <a:grpSpLocks noChangeAspect="1"/>
          </p:cNvGrpSpPr>
          <p:nvPr/>
        </p:nvGrpSpPr>
        <p:grpSpPr>
          <a:xfrm>
            <a:off x="1488688" y="1992045"/>
            <a:ext cx="675840" cy="633600"/>
            <a:chOff x="1367504" y="2373406"/>
            <a:chExt cx="768000" cy="720000"/>
          </a:xfrm>
        </p:grpSpPr>
        <p:sp>
          <p:nvSpPr>
            <p:cNvPr id="510" name="Freeform 241">
              <a:extLst>
                <a:ext uri="{FF2B5EF4-FFF2-40B4-BE49-F238E27FC236}">
                  <a16:creationId xmlns:a16="http://schemas.microsoft.com/office/drawing/2014/main" id="{4FB58F0E-862E-485E-A436-DA401090C15D}"/>
                </a:ext>
              </a:extLst>
            </p:cNvPr>
            <p:cNvSpPr>
              <a:spLocks/>
            </p:cNvSpPr>
            <p:nvPr/>
          </p:nvSpPr>
          <p:spPr bwMode="auto">
            <a:xfrm>
              <a:off x="1367504" y="2373406"/>
              <a:ext cx="768000" cy="720000"/>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1" name="Groupe 510">
              <a:extLst>
                <a:ext uri="{FF2B5EF4-FFF2-40B4-BE49-F238E27FC236}">
                  <a16:creationId xmlns:a16="http://schemas.microsoft.com/office/drawing/2014/main" id="{DEB23155-2E01-43FB-AFFA-D8C6848C224A}"/>
                </a:ext>
              </a:extLst>
            </p:cNvPr>
            <p:cNvGrpSpPr>
              <a:grpSpLocks noChangeAspect="1"/>
            </p:cNvGrpSpPr>
            <p:nvPr/>
          </p:nvGrpSpPr>
          <p:grpSpPr>
            <a:xfrm>
              <a:off x="1543047" y="2530659"/>
              <a:ext cx="432000" cy="389672"/>
              <a:chOff x="1692275" y="4181475"/>
              <a:chExt cx="550863" cy="496888"/>
            </a:xfrm>
            <a:solidFill>
              <a:schemeClr val="bg1"/>
            </a:solidFill>
          </p:grpSpPr>
          <p:sp>
            <p:nvSpPr>
              <p:cNvPr id="512" name="Freeform 242">
                <a:extLst>
                  <a:ext uri="{FF2B5EF4-FFF2-40B4-BE49-F238E27FC236}">
                    <a16:creationId xmlns:a16="http://schemas.microsoft.com/office/drawing/2014/main" id="{56070F56-BFE8-493F-A837-AD4057DB1922}"/>
                  </a:ext>
                </a:extLst>
              </p:cNvPr>
              <p:cNvSpPr>
                <a:spLocks/>
              </p:cNvSpPr>
              <p:nvPr/>
            </p:nvSpPr>
            <p:spPr bwMode="auto">
              <a:xfrm>
                <a:off x="1762125" y="431138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243">
                <a:extLst>
                  <a:ext uri="{FF2B5EF4-FFF2-40B4-BE49-F238E27FC236}">
                    <a16:creationId xmlns:a16="http://schemas.microsoft.com/office/drawing/2014/main" id="{5E7220EA-8341-4F0F-92C4-A07C47033E0E}"/>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244">
                <a:extLst>
                  <a:ext uri="{FF2B5EF4-FFF2-40B4-BE49-F238E27FC236}">
                    <a16:creationId xmlns:a16="http://schemas.microsoft.com/office/drawing/2014/main" id="{3BCEDD18-A781-4CF9-AD24-A17D80F41094}"/>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2" name="Group 161">
            <a:extLst>
              <a:ext uri="{FF2B5EF4-FFF2-40B4-BE49-F238E27FC236}">
                <a16:creationId xmlns:a16="http://schemas.microsoft.com/office/drawing/2014/main" id="{D2DDF650-FFDB-46AE-B950-C583EF113449}"/>
              </a:ext>
              <a:ext uri="{C183D7F6-B498-43B3-948B-1728B52AA6E4}">
                <adec:decorative xmlns:adec="http://schemas.microsoft.com/office/drawing/2017/decorative" val="1"/>
              </a:ext>
            </a:extLst>
          </p:cNvPr>
          <p:cNvGrpSpPr>
            <a:grpSpLocks noChangeAspect="1"/>
          </p:cNvGrpSpPr>
          <p:nvPr/>
        </p:nvGrpSpPr>
        <p:grpSpPr>
          <a:xfrm>
            <a:off x="9280798" y="1992045"/>
            <a:ext cx="671123" cy="633600"/>
            <a:chOff x="9394503" y="2308900"/>
            <a:chExt cx="762640" cy="720000"/>
          </a:xfrm>
        </p:grpSpPr>
        <p:sp>
          <p:nvSpPr>
            <p:cNvPr id="522" name="Freeform 117">
              <a:extLst>
                <a:ext uri="{FF2B5EF4-FFF2-40B4-BE49-F238E27FC236}">
                  <a16:creationId xmlns:a16="http://schemas.microsoft.com/office/drawing/2014/main" id="{4928BB43-0F84-4FCF-A2F2-F511F5FE70CF}"/>
                </a:ext>
              </a:extLst>
            </p:cNvPr>
            <p:cNvSpPr>
              <a:spLocks/>
            </p:cNvSpPr>
            <p:nvPr/>
          </p:nvSpPr>
          <p:spPr bwMode="auto">
            <a:xfrm>
              <a:off x="9394503" y="2308900"/>
              <a:ext cx="762640" cy="720000"/>
            </a:xfrm>
            <a:custGeom>
              <a:avLst/>
              <a:gdLst>
                <a:gd name="T0" fmla="*/ 42 w 294"/>
                <a:gd name="T1" fmla="*/ 214 h 274"/>
                <a:gd name="T2" fmla="*/ 70 w 294"/>
                <a:gd name="T3" fmla="*/ 41 h 274"/>
                <a:gd name="T4" fmla="*/ 251 w 294"/>
                <a:gd name="T5" fmla="*/ 66 h 274"/>
                <a:gd name="T6" fmla="*/ 219 w 294"/>
                <a:gd name="T7" fmla="*/ 233 h 274"/>
                <a:gd name="T8" fmla="*/ 42 w 294"/>
                <a:gd name="T9" fmla="*/ 214 h 274"/>
              </a:gdLst>
              <a:ahLst/>
              <a:cxnLst>
                <a:cxn ang="0">
                  <a:pos x="T0" y="T1"/>
                </a:cxn>
                <a:cxn ang="0">
                  <a:pos x="T2" y="T3"/>
                </a:cxn>
                <a:cxn ang="0">
                  <a:pos x="T4" y="T5"/>
                </a:cxn>
                <a:cxn ang="0">
                  <a:pos x="T6" y="T7"/>
                </a:cxn>
                <a:cxn ang="0">
                  <a:pos x="T8" y="T9"/>
                </a:cxn>
              </a:cxnLst>
              <a:rect l="0" t="0" r="r" b="b"/>
              <a:pathLst>
                <a:path w="294" h="274">
                  <a:moveTo>
                    <a:pt x="42" y="214"/>
                  </a:moveTo>
                  <a:cubicBezTo>
                    <a:pt x="0" y="159"/>
                    <a:pt x="13" y="82"/>
                    <a:pt x="70" y="41"/>
                  </a:cubicBezTo>
                  <a:cubicBezTo>
                    <a:pt x="128" y="0"/>
                    <a:pt x="209" y="11"/>
                    <a:pt x="251" y="66"/>
                  </a:cubicBezTo>
                  <a:cubicBezTo>
                    <a:pt x="294" y="121"/>
                    <a:pt x="276" y="192"/>
                    <a:pt x="219" y="233"/>
                  </a:cubicBezTo>
                  <a:cubicBezTo>
                    <a:pt x="161" y="274"/>
                    <a:pt x="84" y="269"/>
                    <a:pt x="42" y="21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23" name="Groupe 522">
              <a:extLst>
                <a:ext uri="{FF2B5EF4-FFF2-40B4-BE49-F238E27FC236}">
                  <a16:creationId xmlns:a16="http://schemas.microsoft.com/office/drawing/2014/main" id="{38131A71-2088-4655-BFF0-C9EC283367A3}"/>
                </a:ext>
              </a:extLst>
            </p:cNvPr>
            <p:cNvGrpSpPr/>
            <p:nvPr/>
          </p:nvGrpSpPr>
          <p:grpSpPr>
            <a:xfrm rot="1149511">
              <a:off x="9596737" y="2433164"/>
              <a:ext cx="358174" cy="404467"/>
              <a:chOff x="7940675" y="1608138"/>
              <a:chExt cx="466726" cy="527050"/>
            </a:xfrm>
            <a:solidFill>
              <a:schemeClr val="bg1"/>
            </a:solidFill>
          </p:grpSpPr>
          <p:sp>
            <p:nvSpPr>
              <p:cNvPr id="524" name="Freeform 118">
                <a:extLst>
                  <a:ext uri="{FF2B5EF4-FFF2-40B4-BE49-F238E27FC236}">
                    <a16:creationId xmlns:a16="http://schemas.microsoft.com/office/drawing/2014/main" id="{ECE6E49A-490D-4066-8E09-4F266E8B2923}"/>
                  </a:ext>
                </a:extLst>
              </p:cNvPr>
              <p:cNvSpPr>
                <a:spLocks/>
              </p:cNvSpPr>
              <p:nvPr/>
            </p:nvSpPr>
            <p:spPr bwMode="auto">
              <a:xfrm>
                <a:off x="7940675" y="1824038"/>
                <a:ext cx="80963" cy="307975"/>
              </a:xfrm>
              <a:custGeom>
                <a:avLst/>
                <a:gdLst>
                  <a:gd name="T0" fmla="*/ 9 w 24"/>
                  <a:gd name="T1" fmla="*/ 0 h 90"/>
                  <a:gd name="T2" fmla="*/ 24 w 24"/>
                  <a:gd name="T3" fmla="*/ 0 h 90"/>
                  <a:gd name="T4" fmla="*/ 24 w 24"/>
                  <a:gd name="T5" fmla="*/ 90 h 90"/>
                  <a:gd name="T6" fmla="*/ 0 w 24"/>
                  <a:gd name="T7" fmla="*/ 90 h 90"/>
                  <a:gd name="T8" fmla="*/ 0 w 24"/>
                  <a:gd name="T9" fmla="*/ 10 h 90"/>
                  <a:gd name="T10" fmla="*/ 9 w 24"/>
                  <a:gd name="T11" fmla="*/ 0 h 90"/>
                </a:gdLst>
                <a:ahLst/>
                <a:cxnLst>
                  <a:cxn ang="0">
                    <a:pos x="T0" y="T1"/>
                  </a:cxn>
                  <a:cxn ang="0">
                    <a:pos x="T2" y="T3"/>
                  </a:cxn>
                  <a:cxn ang="0">
                    <a:pos x="T4" y="T5"/>
                  </a:cxn>
                  <a:cxn ang="0">
                    <a:pos x="T6" y="T7"/>
                  </a:cxn>
                  <a:cxn ang="0">
                    <a:pos x="T8" y="T9"/>
                  </a:cxn>
                  <a:cxn ang="0">
                    <a:pos x="T10" y="T11"/>
                  </a:cxn>
                </a:cxnLst>
                <a:rect l="0" t="0" r="r" b="b"/>
                <a:pathLst>
                  <a:path w="24" h="90">
                    <a:moveTo>
                      <a:pt x="9" y="0"/>
                    </a:moveTo>
                    <a:cubicBezTo>
                      <a:pt x="24" y="0"/>
                      <a:pt x="24" y="0"/>
                      <a:pt x="24" y="0"/>
                    </a:cubicBezTo>
                    <a:cubicBezTo>
                      <a:pt x="24" y="90"/>
                      <a:pt x="24" y="90"/>
                      <a:pt x="24" y="90"/>
                    </a:cubicBezTo>
                    <a:cubicBezTo>
                      <a:pt x="0" y="90"/>
                      <a:pt x="0" y="90"/>
                      <a:pt x="0" y="90"/>
                    </a:cubicBezTo>
                    <a:cubicBezTo>
                      <a:pt x="0" y="10"/>
                      <a:pt x="0" y="10"/>
                      <a:pt x="0" y="10"/>
                    </a:cubicBezTo>
                    <a:cubicBezTo>
                      <a:pt x="0" y="10"/>
                      <a:pt x="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19">
                <a:extLst>
                  <a:ext uri="{FF2B5EF4-FFF2-40B4-BE49-F238E27FC236}">
                    <a16:creationId xmlns:a16="http://schemas.microsoft.com/office/drawing/2014/main" id="{2EB89AE4-3BA2-4C1E-A369-03A27FA2B1E5}"/>
                  </a:ext>
                </a:extLst>
              </p:cNvPr>
              <p:cNvSpPr>
                <a:spLocks/>
              </p:cNvSpPr>
              <p:nvPr/>
            </p:nvSpPr>
            <p:spPr bwMode="auto">
              <a:xfrm>
                <a:off x="8059738" y="1608138"/>
                <a:ext cx="347663" cy="527050"/>
              </a:xfrm>
              <a:custGeom>
                <a:avLst/>
                <a:gdLst>
                  <a:gd name="T0" fmla="*/ 54 w 103"/>
                  <a:gd name="T1" fmla="*/ 54 h 154"/>
                  <a:gd name="T2" fmla="*/ 56 w 103"/>
                  <a:gd name="T3" fmla="*/ 54 h 154"/>
                  <a:gd name="T4" fmla="*/ 86 w 103"/>
                  <a:gd name="T5" fmla="*/ 54 h 154"/>
                  <a:gd name="T6" fmla="*/ 99 w 103"/>
                  <a:gd name="T7" fmla="*/ 62 h 154"/>
                  <a:gd name="T8" fmla="*/ 94 w 103"/>
                  <a:gd name="T9" fmla="*/ 82 h 154"/>
                  <a:gd name="T10" fmla="*/ 94 w 103"/>
                  <a:gd name="T11" fmla="*/ 84 h 154"/>
                  <a:gd name="T12" fmla="*/ 92 w 103"/>
                  <a:gd name="T13" fmla="*/ 104 h 154"/>
                  <a:gd name="T14" fmla="*/ 91 w 103"/>
                  <a:gd name="T15" fmla="*/ 106 h 154"/>
                  <a:gd name="T16" fmla="*/ 90 w 103"/>
                  <a:gd name="T17" fmla="*/ 128 h 154"/>
                  <a:gd name="T18" fmla="*/ 90 w 103"/>
                  <a:gd name="T19" fmla="*/ 129 h 154"/>
                  <a:gd name="T20" fmla="*/ 95 w 103"/>
                  <a:gd name="T21" fmla="*/ 143 h 154"/>
                  <a:gd name="T22" fmla="*/ 84 w 103"/>
                  <a:gd name="T23" fmla="*/ 154 h 154"/>
                  <a:gd name="T24" fmla="*/ 81 w 103"/>
                  <a:gd name="T25" fmla="*/ 154 h 154"/>
                  <a:gd name="T26" fmla="*/ 7 w 103"/>
                  <a:gd name="T27" fmla="*/ 154 h 154"/>
                  <a:gd name="T28" fmla="*/ 0 w 103"/>
                  <a:gd name="T29" fmla="*/ 147 h 154"/>
                  <a:gd name="T30" fmla="*/ 0 w 103"/>
                  <a:gd name="T31" fmla="*/ 64 h 154"/>
                  <a:gd name="T32" fmla="*/ 1 w 103"/>
                  <a:gd name="T33" fmla="*/ 61 h 154"/>
                  <a:gd name="T34" fmla="*/ 22 w 103"/>
                  <a:gd name="T35" fmla="*/ 37 h 154"/>
                  <a:gd name="T36" fmla="*/ 33 w 103"/>
                  <a:gd name="T37" fmla="*/ 24 h 154"/>
                  <a:gd name="T38" fmla="*/ 36 w 103"/>
                  <a:gd name="T39" fmla="*/ 17 h 154"/>
                  <a:gd name="T40" fmla="*/ 36 w 103"/>
                  <a:gd name="T41" fmla="*/ 11 h 154"/>
                  <a:gd name="T42" fmla="*/ 50 w 103"/>
                  <a:gd name="T43" fmla="*/ 2 h 154"/>
                  <a:gd name="T44" fmla="*/ 57 w 103"/>
                  <a:gd name="T45" fmla="*/ 7 h 154"/>
                  <a:gd name="T46" fmla="*/ 60 w 103"/>
                  <a:gd name="T47" fmla="*/ 18 h 154"/>
                  <a:gd name="T48" fmla="*/ 57 w 103"/>
                  <a:gd name="T49" fmla="*/ 45 h 154"/>
                  <a:gd name="T50" fmla="*/ 54 w 103"/>
                  <a:gd name="T51" fmla="*/ 53 h 154"/>
                  <a:gd name="T52" fmla="*/ 54 w 103"/>
                  <a:gd name="T53" fmla="*/ 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154">
                    <a:moveTo>
                      <a:pt x="54" y="54"/>
                    </a:moveTo>
                    <a:cubicBezTo>
                      <a:pt x="56" y="54"/>
                      <a:pt x="56" y="54"/>
                      <a:pt x="56" y="54"/>
                    </a:cubicBezTo>
                    <a:cubicBezTo>
                      <a:pt x="66" y="54"/>
                      <a:pt x="76" y="54"/>
                      <a:pt x="86" y="54"/>
                    </a:cubicBezTo>
                    <a:cubicBezTo>
                      <a:pt x="92" y="54"/>
                      <a:pt x="96" y="57"/>
                      <a:pt x="99" y="62"/>
                    </a:cubicBezTo>
                    <a:cubicBezTo>
                      <a:pt x="103" y="69"/>
                      <a:pt x="101" y="78"/>
                      <a:pt x="94" y="82"/>
                    </a:cubicBezTo>
                    <a:cubicBezTo>
                      <a:pt x="93" y="83"/>
                      <a:pt x="93" y="83"/>
                      <a:pt x="94" y="84"/>
                    </a:cubicBezTo>
                    <a:cubicBezTo>
                      <a:pt x="99" y="90"/>
                      <a:pt x="98" y="100"/>
                      <a:pt x="92" y="104"/>
                    </a:cubicBezTo>
                    <a:cubicBezTo>
                      <a:pt x="90" y="105"/>
                      <a:pt x="90" y="105"/>
                      <a:pt x="91" y="106"/>
                    </a:cubicBezTo>
                    <a:cubicBezTo>
                      <a:pt x="97" y="112"/>
                      <a:pt x="97" y="122"/>
                      <a:pt x="90" y="128"/>
                    </a:cubicBezTo>
                    <a:cubicBezTo>
                      <a:pt x="89" y="128"/>
                      <a:pt x="89" y="128"/>
                      <a:pt x="90" y="129"/>
                    </a:cubicBezTo>
                    <a:cubicBezTo>
                      <a:pt x="94" y="132"/>
                      <a:pt x="96" y="138"/>
                      <a:pt x="95" y="143"/>
                    </a:cubicBezTo>
                    <a:cubicBezTo>
                      <a:pt x="94" y="149"/>
                      <a:pt x="89" y="153"/>
                      <a:pt x="84" y="154"/>
                    </a:cubicBezTo>
                    <a:cubicBezTo>
                      <a:pt x="83" y="154"/>
                      <a:pt x="82" y="154"/>
                      <a:pt x="81" y="154"/>
                    </a:cubicBezTo>
                    <a:cubicBezTo>
                      <a:pt x="56" y="154"/>
                      <a:pt x="32" y="154"/>
                      <a:pt x="7" y="154"/>
                    </a:cubicBezTo>
                    <a:cubicBezTo>
                      <a:pt x="3" y="154"/>
                      <a:pt x="0" y="151"/>
                      <a:pt x="0" y="147"/>
                    </a:cubicBezTo>
                    <a:cubicBezTo>
                      <a:pt x="0" y="119"/>
                      <a:pt x="0" y="92"/>
                      <a:pt x="0" y="64"/>
                    </a:cubicBezTo>
                    <a:cubicBezTo>
                      <a:pt x="0" y="63"/>
                      <a:pt x="0" y="62"/>
                      <a:pt x="1" y="61"/>
                    </a:cubicBezTo>
                    <a:cubicBezTo>
                      <a:pt x="8" y="53"/>
                      <a:pt x="15" y="45"/>
                      <a:pt x="22" y="37"/>
                    </a:cubicBezTo>
                    <a:cubicBezTo>
                      <a:pt x="26" y="33"/>
                      <a:pt x="30" y="29"/>
                      <a:pt x="33" y="24"/>
                    </a:cubicBezTo>
                    <a:cubicBezTo>
                      <a:pt x="35" y="22"/>
                      <a:pt x="36" y="20"/>
                      <a:pt x="36" y="17"/>
                    </a:cubicBezTo>
                    <a:cubicBezTo>
                      <a:pt x="36" y="15"/>
                      <a:pt x="36" y="13"/>
                      <a:pt x="36" y="11"/>
                    </a:cubicBezTo>
                    <a:cubicBezTo>
                      <a:pt x="37" y="5"/>
                      <a:pt x="44" y="0"/>
                      <a:pt x="50" y="2"/>
                    </a:cubicBezTo>
                    <a:cubicBezTo>
                      <a:pt x="53" y="2"/>
                      <a:pt x="55" y="4"/>
                      <a:pt x="57" y="7"/>
                    </a:cubicBezTo>
                    <a:cubicBezTo>
                      <a:pt x="59" y="10"/>
                      <a:pt x="59" y="14"/>
                      <a:pt x="60" y="18"/>
                    </a:cubicBezTo>
                    <a:cubicBezTo>
                      <a:pt x="60" y="27"/>
                      <a:pt x="60" y="36"/>
                      <a:pt x="57" y="45"/>
                    </a:cubicBezTo>
                    <a:cubicBezTo>
                      <a:pt x="57" y="47"/>
                      <a:pt x="56" y="50"/>
                      <a:pt x="54" y="53"/>
                    </a:cubicBezTo>
                    <a:cubicBezTo>
                      <a:pt x="54" y="53"/>
                      <a:pt x="54" y="53"/>
                      <a:pt x="54"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 name="Group 22">
            <a:extLst>
              <a:ext uri="{FF2B5EF4-FFF2-40B4-BE49-F238E27FC236}">
                <a16:creationId xmlns:a16="http://schemas.microsoft.com/office/drawing/2014/main" id="{8C078FF0-73B3-4970-93CA-884412C811EF}"/>
              </a:ext>
              <a:ext uri="{C183D7F6-B498-43B3-948B-1728B52AA6E4}">
                <adec:decorative xmlns:adec="http://schemas.microsoft.com/office/drawing/2017/decorative" val="1"/>
              </a:ext>
            </a:extLst>
          </p:cNvPr>
          <p:cNvGrpSpPr>
            <a:grpSpLocks noChangeAspect="1"/>
          </p:cNvGrpSpPr>
          <p:nvPr/>
        </p:nvGrpSpPr>
        <p:grpSpPr>
          <a:xfrm>
            <a:off x="5389581" y="1992045"/>
            <a:ext cx="677804" cy="633600"/>
            <a:chOff x="5456256" y="2376333"/>
            <a:chExt cx="770232" cy="720000"/>
          </a:xfrm>
        </p:grpSpPr>
        <p:sp>
          <p:nvSpPr>
            <p:cNvPr id="547" name="Freeform 198">
              <a:extLst>
                <a:ext uri="{FF2B5EF4-FFF2-40B4-BE49-F238E27FC236}">
                  <a16:creationId xmlns:a16="http://schemas.microsoft.com/office/drawing/2014/main" id="{7FDF3EF0-8631-4DA6-A38A-9BDAE4CE978F}"/>
                </a:ext>
              </a:extLst>
            </p:cNvPr>
            <p:cNvSpPr>
              <a:spLocks/>
            </p:cNvSpPr>
            <p:nvPr/>
          </p:nvSpPr>
          <p:spPr bwMode="auto">
            <a:xfrm>
              <a:off x="5456256" y="2376333"/>
              <a:ext cx="770232" cy="720000"/>
            </a:xfrm>
            <a:custGeom>
              <a:avLst/>
              <a:gdLst>
                <a:gd name="T0" fmla="*/ 36 w 253"/>
                <a:gd name="T1" fmla="*/ 185 h 236"/>
                <a:gd name="T2" fmla="*/ 61 w 253"/>
                <a:gd name="T3" fmla="*/ 35 h 236"/>
                <a:gd name="T4" fmla="*/ 216 w 253"/>
                <a:gd name="T5" fmla="*/ 57 h 236"/>
                <a:gd name="T6" fmla="*/ 188 w 253"/>
                <a:gd name="T7" fmla="*/ 201 h 236"/>
                <a:gd name="T8" fmla="*/ 36 w 253"/>
                <a:gd name="T9" fmla="*/ 185 h 236"/>
              </a:gdLst>
              <a:ahLst/>
              <a:cxnLst>
                <a:cxn ang="0">
                  <a:pos x="T0" y="T1"/>
                </a:cxn>
                <a:cxn ang="0">
                  <a:pos x="T2" y="T3"/>
                </a:cxn>
                <a:cxn ang="0">
                  <a:pos x="T4" y="T5"/>
                </a:cxn>
                <a:cxn ang="0">
                  <a:pos x="T6" y="T7"/>
                </a:cxn>
                <a:cxn ang="0">
                  <a:pos x="T8" y="T9"/>
                </a:cxn>
              </a:cxnLst>
              <a:rect l="0" t="0" r="r" b="b"/>
              <a:pathLst>
                <a:path w="253" h="236">
                  <a:moveTo>
                    <a:pt x="36" y="185"/>
                  </a:moveTo>
                  <a:cubicBezTo>
                    <a:pt x="0" y="137"/>
                    <a:pt x="11" y="70"/>
                    <a:pt x="61" y="35"/>
                  </a:cubicBezTo>
                  <a:cubicBezTo>
                    <a:pt x="110" y="0"/>
                    <a:pt x="180" y="10"/>
                    <a:pt x="216" y="57"/>
                  </a:cubicBezTo>
                  <a:cubicBezTo>
                    <a:pt x="253" y="104"/>
                    <a:pt x="238" y="166"/>
                    <a:pt x="188" y="201"/>
                  </a:cubicBezTo>
                  <a:cubicBezTo>
                    <a:pt x="138" y="236"/>
                    <a:pt x="73" y="232"/>
                    <a:pt x="36" y="185"/>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48" name="Groupe 547">
              <a:extLst>
                <a:ext uri="{FF2B5EF4-FFF2-40B4-BE49-F238E27FC236}">
                  <a16:creationId xmlns:a16="http://schemas.microsoft.com/office/drawing/2014/main" id="{77FC2A04-C98F-46BC-8652-A555987C3A4B}"/>
                </a:ext>
              </a:extLst>
            </p:cNvPr>
            <p:cNvGrpSpPr/>
            <p:nvPr/>
          </p:nvGrpSpPr>
          <p:grpSpPr>
            <a:xfrm>
              <a:off x="5587633" y="2574687"/>
              <a:ext cx="504901" cy="336171"/>
              <a:chOff x="7621588" y="1962150"/>
              <a:chExt cx="622300" cy="414337"/>
            </a:xfrm>
            <a:solidFill>
              <a:schemeClr val="bg1"/>
            </a:solidFill>
          </p:grpSpPr>
          <p:sp>
            <p:nvSpPr>
              <p:cNvPr id="549" name="Freeform 199">
                <a:extLst>
                  <a:ext uri="{FF2B5EF4-FFF2-40B4-BE49-F238E27FC236}">
                    <a16:creationId xmlns:a16="http://schemas.microsoft.com/office/drawing/2014/main" id="{A70689A4-3F27-49C9-A44D-C4EE5A8235BF}"/>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200">
                <a:extLst>
                  <a:ext uri="{FF2B5EF4-FFF2-40B4-BE49-F238E27FC236}">
                    <a16:creationId xmlns:a16="http://schemas.microsoft.com/office/drawing/2014/main" id="{9D553AB8-3EAC-4F64-A1D3-A9435C0EED4A}"/>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26" name="Rectangle 486">
            <a:extLst>
              <a:ext uri="{FF2B5EF4-FFF2-40B4-BE49-F238E27FC236}">
                <a16:creationId xmlns:a16="http://schemas.microsoft.com/office/drawing/2014/main" id="{BAD75D2D-9656-4AC3-B1A7-9E9FCDB1262D}"/>
              </a:ext>
              <a:ext uri="{C183D7F6-B498-43B3-948B-1728B52AA6E4}">
                <adec:decorative xmlns:adec="http://schemas.microsoft.com/office/drawing/2017/decorative" val="1"/>
              </a:ext>
            </a:extLst>
          </p:cNvPr>
          <p:cNvSpPr>
            <a:spLocks noChangeArrowheads="1"/>
          </p:cNvSpPr>
          <p:nvPr/>
        </p:nvSpPr>
        <p:spPr bwMode="auto">
          <a:xfrm>
            <a:off x="403200" y="3410536"/>
            <a:ext cx="1761701"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fr-FR" sz="2400">
                <a:latin typeface="+mj-lt"/>
                <a:cs typeface="Arial" pitchFamily="34" charset="0"/>
              </a:rPr>
              <a:t>EDUCATION</a:t>
            </a:r>
          </a:p>
        </p:txBody>
      </p:sp>
      <p:grpSp>
        <p:nvGrpSpPr>
          <p:cNvPr id="184" name="Group 183">
            <a:extLst>
              <a:ext uri="{FF2B5EF4-FFF2-40B4-BE49-F238E27FC236}">
                <a16:creationId xmlns:a16="http://schemas.microsoft.com/office/drawing/2014/main" id="{0B9FD405-12BA-4C8A-AD96-5F967955A1A2}"/>
              </a:ext>
              <a:ext uri="{C183D7F6-B498-43B3-948B-1728B52AA6E4}">
                <adec:decorative xmlns:adec="http://schemas.microsoft.com/office/drawing/2017/decorative" val="1"/>
              </a:ext>
            </a:extLst>
          </p:cNvPr>
          <p:cNvGrpSpPr/>
          <p:nvPr/>
        </p:nvGrpSpPr>
        <p:grpSpPr>
          <a:xfrm>
            <a:off x="594259" y="1649705"/>
            <a:ext cx="6446720" cy="123111"/>
            <a:chOff x="462617" y="1922349"/>
            <a:chExt cx="6446720" cy="123111"/>
          </a:xfrm>
        </p:grpSpPr>
        <p:sp>
          <p:nvSpPr>
            <p:cNvPr id="233" name="Rectangle 61">
              <a:extLst>
                <a:ext uri="{FF2B5EF4-FFF2-40B4-BE49-F238E27FC236}">
                  <a16:creationId xmlns:a16="http://schemas.microsoft.com/office/drawing/2014/main" id="{8D801CF6-2A51-4285-91DC-A29B5B73BA79}"/>
                </a:ext>
              </a:extLst>
            </p:cNvPr>
            <p:cNvSpPr>
              <a:spLocks noChangeArrowheads="1"/>
            </p:cNvSpPr>
            <p:nvPr/>
          </p:nvSpPr>
          <p:spPr bwMode="auto">
            <a:xfrm>
              <a:off x="6274548" y="1922349"/>
              <a:ext cx="63478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Collaboration</a:t>
              </a:r>
              <a:endParaRPr kumimoji="0" lang="fr-FR" altLang="fr-FR" sz="800" b="0" i="0" u="none" strike="noStrike" cap="none" normalizeH="0" baseline="0">
                <a:ln>
                  <a:noFill/>
                </a:ln>
                <a:solidFill>
                  <a:schemeClr val="tx1"/>
                </a:solidFill>
                <a:effectLst/>
                <a:latin typeface="+mn-lt"/>
              </a:endParaRPr>
            </a:p>
          </p:txBody>
        </p:sp>
        <p:sp>
          <p:nvSpPr>
            <p:cNvPr id="193" name="Rectangle 141">
              <a:extLst>
                <a:ext uri="{FF2B5EF4-FFF2-40B4-BE49-F238E27FC236}">
                  <a16:creationId xmlns:a16="http://schemas.microsoft.com/office/drawing/2014/main" id="{6E118E93-9ED2-48F1-92B0-522EE73A8CEE}"/>
                </a:ext>
              </a:extLst>
            </p:cNvPr>
            <p:cNvSpPr>
              <a:spLocks noChangeArrowheads="1"/>
            </p:cNvSpPr>
            <p:nvPr/>
          </p:nvSpPr>
          <p:spPr bwMode="auto">
            <a:xfrm>
              <a:off x="1415480" y="1922349"/>
              <a:ext cx="5802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Professional</a:t>
              </a:r>
              <a:endParaRPr kumimoji="0" lang="fr-FR" altLang="fr-FR" sz="800" b="0" i="0" u="none" strike="noStrike" cap="none" normalizeH="0" baseline="0">
                <a:ln>
                  <a:noFill/>
                </a:ln>
                <a:solidFill>
                  <a:schemeClr val="tx1"/>
                </a:solidFill>
                <a:effectLst/>
                <a:latin typeface="+mn-lt"/>
              </a:endParaRPr>
            </a:p>
          </p:txBody>
        </p:sp>
        <p:sp>
          <p:nvSpPr>
            <p:cNvPr id="344" name="Rectangle 98">
              <a:extLst>
                <a:ext uri="{FF2B5EF4-FFF2-40B4-BE49-F238E27FC236}">
                  <a16:creationId xmlns:a16="http://schemas.microsoft.com/office/drawing/2014/main" id="{C67584EA-D3AF-4FAE-9A1F-25ECC3888CE6}"/>
                </a:ext>
              </a:extLst>
            </p:cNvPr>
            <p:cNvSpPr>
              <a:spLocks noChangeArrowheads="1"/>
            </p:cNvSpPr>
            <p:nvPr/>
          </p:nvSpPr>
          <p:spPr bwMode="auto">
            <a:xfrm>
              <a:off x="462617" y="1922349"/>
              <a:ext cx="46326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err="1">
                  <a:ln>
                    <a:noFill/>
                  </a:ln>
                  <a:solidFill>
                    <a:srgbClr val="000000"/>
                  </a:solidFill>
                  <a:effectLst/>
                  <a:latin typeface="+mn-lt"/>
                </a:rPr>
                <a:t>Employee</a:t>
              </a:r>
              <a:endParaRPr kumimoji="0" lang="fr-FR" altLang="fr-FR" sz="800" b="0" i="0" u="none" strike="noStrike" cap="none" normalizeH="0" baseline="0">
                <a:ln>
                  <a:noFill/>
                </a:ln>
                <a:solidFill>
                  <a:schemeClr val="tx1"/>
                </a:solidFill>
                <a:effectLst/>
                <a:latin typeface="+mn-lt"/>
              </a:endParaRPr>
            </a:p>
          </p:txBody>
        </p:sp>
      </p:grpSp>
      <p:grpSp>
        <p:nvGrpSpPr>
          <p:cNvPr id="30" name="Group 29">
            <a:extLst>
              <a:ext uri="{FF2B5EF4-FFF2-40B4-BE49-F238E27FC236}">
                <a16:creationId xmlns:a16="http://schemas.microsoft.com/office/drawing/2014/main" id="{E3496508-3649-4079-85E9-6E71A6C91AAD}"/>
              </a:ext>
              <a:ext uri="{C183D7F6-B498-43B3-948B-1728B52AA6E4}">
                <adec:decorative xmlns:adec="http://schemas.microsoft.com/office/drawing/2017/decorative" val="1"/>
              </a:ext>
            </a:extLst>
          </p:cNvPr>
          <p:cNvGrpSpPr>
            <a:grpSpLocks noChangeAspect="1"/>
          </p:cNvGrpSpPr>
          <p:nvPr/>
        </p:nvGrpSpPr>
        <p:grpSpPr>
          <a:xfrm>
            <a:off x="6364880" y="1992045"/>
            <a:ext cx="674643" cy="633600"/>
            <a:chOff x="6371386" y="2370424"/>
            <a:chExt cx="766640" cy="720000"/>
          </a:xfrm>
        </p:grpSpPr>
        <p:sp>
          <p:nvSpPr>
            <p:cNvPr id="363" name="Freeform 21">
              <a:extLst>
                <a:ext uri="{FF2B5EF4-FFF2-40B4-BE49-F238E27FC236}">
                  <a16:creationId xmlns:a16="http://schemas.microsoft.com/office/drawing/2014/main" id="{6E2AEB06-7BDF-421E-8AC3-CF886ABFE209}"/>
                </a:ext>
              </a:extLst>
            </p:cNvPr>
            <p:cNvSpPr>
              <a:spLocks/>
            </p:cNvSpPr>
            <p:nvPr/>
          </p:nvSpPr>
          <p:spPr bwMode="auto">
            <a:xfrm>
              <a:off x="6371386" y="2370424"/>
              <a:ext cx="766640" cy="720000"/>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05" name="Groupe 404">
              <a:extLst>
                <a:ext uri="{FF2B5EF4-FFF2-40B4-BE49-F238E27FC236}">
                  <a16:creationId xmlns:a16="http://schemas.microsoft.com/office/drawing/2014/main" id="{BC4DE912-62DE-4804-BCBA-EB824D65BE21}"/>
                </a:ext>
              </a:extLst>
            </p:cNvPr>
            <p:cNvGrpSpPr/>
            <p:nvPr/>
          </p:nvGrpSpPr>
          <p:grpSpPr>
            <a:xfrm>
              <a:off x="6528231" y="2531339"/>
              <a:ext cx="459045" cy="380004"/>
              <a:chOff x="4838050" y="1170254"/>
              <a:chExt cx="540662" cy="447568"/>
            </a:xfrm>
            <a:solidFill>
              <a:schemeClr val="bg1"/>
            </a:solidFill>
          </p:grpSpPr>
          <p:sp>
            <p:nvSpPr>
              <p:cNvPr id="406" name="Freeform 68">
                <a:extLst>
                  <a:ext uri="{FF2B5EF4-FFF2-40B4-BE49-F238E27FC236}">
                    <a16:creationId xmlns:a16="http://schemas.microsoft.com/office/drawing/2014/main" id="{FAB17091-3BE9-4FBD-9FE1-83161E5A7B46}"/>
                  </a:ext>
                </a:extLst>
              </p:cNvPr>
              <p:cNvSpPr>
                <a:spLocks/>
              </p:cNvSpPr>
              <p:nvPr/>
            </p:nvSpPr>
            <p:spPr bwMode="auto">
              <a:xfrm>
                <a:off x="5061834" y="1170254"/>
                <a:ext cx="93094" cy="107416"/>
              </a:xfrm>
              <a:custGeom>
                <a:avLst/>
                <a:gdLst>
                  <a:gd name="T0" fmla="*/ 163 w 326"/>
                  <a:gd name="T1" fmla="*/ 377 h 377"/>
                  <a:gd name="T2" fmla="*/ 326 w 326"/>
                  <a:gd name="T3" fmla="*/ 175 h 377"/>
                  <a:gd name="T4" fmla="*/ 163 w 326"/>
                  <a:gd name="T5" fmla="*/ 0 h 377"/>
                  <a:gd name="T6" fmla="*/ 0 w 326"/>
                  <a:gd name="T7" fmla="*/ 175 h 377"/>
                  <a:gd name="T8" fmla="*/ 163 w 326"/>
                  <a:gd name="T9" fmla="*/ 377 h 377"/>
                </a:gdLst>
                <a:ahLst/>
                <a:cxnLst>
                  <a:cxn ang="0">
                    <a:pos x="T0" y="T1"/>
                  </a:cxn>
                  <a:cxn ang="0">
                    <a:pos x="T2" y="T3"/>
                  </a:cxn>
                  <a:cxn ang="0">
                    <a:pos x="T4" y="T5"/>
                  </a:cxn>
                  <a:cxn ang="0">
                    <a:pos x="T6" y="T7"/>
                  </a:cxn>
                  <a:cxn ang="0">
                    <a:pos x="T8" y="T9"/>
                  </a:cxn>
                </a:cxnLst>
                <a:rect l="0" t="0" r="r" b="b"/>
                <a:pathLst>
                  <a:path w="326" h="377">
                    <a:moveTo>
                      <a:pt x="163" y="377"/>
                    </a:moveTo>
                    <a:cubicBezTo>
                      <a:pt x="255" y="375"/>
                      <a:pt x="326" y="267"/>
                      <a:pt x="326" y="175"/>
                    </a:cubicBezTo>
                    <a:cubicBezTo>
                      <a:pt x="326" y="81"/>
                      <a:pt x="253" y="2"/>
                      <a:pt x="163" y="0"/>
                    </a:cubicBezTo>
                    <a:cubicBezTo>
                      <a:pt x="73" y="2"/>
                      <a:pt x="0" y="81"/>
                      <a:pt x="0" y="175"/>
                    </a:cubicBezTo>
                    <a:cubicBezTo>
                      <a:pt x="0" y="267"/>
                      <a:pt x="71" y="375"/>
                      <a:pt x="163" y="3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07" name="Freeform 69">
                <a:extLst>
                  <a:ext uri="{FF2B5EF4-FFF2-40B4-BE49-F238E27FC236}">
                    <a16:creationId xmlns:a16="http://schemas.microsoft.com/office/drawing/2014/main" id="{0AE60CCC-4CA6-443E-9BB3-649078D4650D}"/>
                  </a:ext>
                </a:extLst>
              </p:cNvPr>
              <p:cNvSpPr>
                <a:spLocks/>
              </p:cNvSpPr>
              <p:nvPr/>
            </p:nvSpPr>
            <p:spPr bwMode="auto">
              <a:xfrm>
                <a:off x="5099430" y="1285727"/>
                <a:ext cx="17903" cy="10742"/>
              </a:xfrm>
              <a:custGeom>
                <a:avLst/>
                <a:gdLst>
                  <a:gd name="T0" fmla="*/ 53 w 61"/>
                  <a:gd name="T1" fmla="*/ 1 h 38"/>
                  <a:gd name="T2" fmla="*/ 7 w 61"/>
                  <a:gd name="T3" fmla="*/ 1 h 38"/>
                  <a:gd name="T4" fmla="*/ 3 w 61"/>
                  <a:gd name="T5" fmla="*/ 4 h 38"/>
                  <a:gd name="T6" fmla="*/ 0 w 61"/>
                  <a:gd name="T7" fmla="*/ 10 h 38"/>
                  <a:gd name="T8" fmla="*/ 0 w 61"/>
                  <a:gd name="T9" fmla="*/ 14 h 38"/>
                  <a:gd name="T10" fmla="*/ 11 w 61"/>
                  <a:gd name="T11" fmla="*/ 36 h 38"/>
                  <a:gd name="T12" fmla="*/ 14 w 61"/>
                  <a:gd name="T13" fmla="*/ 38 h 38"/>
                  <a:gd name="T14" fmla="*/ 30 w 61"/>
                  <a:gd name="T15" fmla="*/ 38 h 38"/>
                  <a:gd name="T16" fmla="*/ 47 w 61"/>
                  <a:gd name="T17" fmla="*/ 38 h 38"/>
                  <a:gd name="T18" fmla="*/ 50 w 61"/>
                  <a:gd name="T19" fmla="*/ 36 h 38"/>
                  <a:gd name="T20" fmla="*/ 58 w 61"/>
                  <a:gd name="T21" fmla="*/ 20 h 38"/>
                  <a:gd name="T22" fmla="*/ 58 w 61"/>
                  <a:gd name="T23" fmla="*/ 4 h 38"/>
                  <a:gd name="T24" fmla="*/ 53 w 61"/>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8">
                    <a:moveTo>
                      <a:pt x="53" y="1"/>
                    </a:moveTo>
                    <a:cubicBezTo>
                      <a:pt x="38" y="0"/>
                      <a:pt x="23" y="0"/>
                      <a:pt x="7" y="1"/>
                    </a:cubicBezTo>
                    <a:cubicBezTo>
                      <a:pt x="5" y="1"/>
                      <a:pt x="4" y="2"/>
                      <a:pt x="3" y="4"/>
                    </a:cubicBezTo>
                    <a:cubicBezTo>
                      <a:pt x="2" y="6"/>
                      <a:pt x="1" y="8"/>
                      <a:pt x="0" y="10"/>
                    </a:cubicBezTo>
                    <a:cubicBezTo>
                      <a:pt x="0" y="11"/>
                      <a:pt x="0" y="13"/>
                      <a:pt x="0" y="14"/>
                    </a:cubicBezTo>
                    <a:cubicBezTo>
                      <a:pt x="4" y="21"/>
                      <a:pt x="7" y="29"/>
                      <a:pt x="11" y="36"/>
                    </a:cubicBezTo>
                    <a:cubicBezTo>
                      <a:pt x="12" y="37"/>
                      <a:pt x="12" y="38"/>
                      <a:pt x="14" y="38"/>
                    </a:cubicBezTo>
                    <a:cubicBezTo>
                      <a:pt x="19" y="38"/>
                      <a:pt x="25" y="38"/>
                      <a:pt x="30" y="38"/>
                    </a:cubicBezTo>
                    <a:cubicBezTo>
                      <a:pt x="36" y="38"/>
                      <a:pt x="41" y="38"/>
                      <a:pt x="47" y="38"/>
                    </a:cubicBezTo>
                    <a:cubicBezTo>
                      <a:pt x="48" y="38"/>
                      <a:pt x="49" y="37"/>
                      <a:pt x="50" y="36"/>
                    </a:cubicBezTo>
                    <a:cubicBezTo>
                      <a:pt x="52" y="30"/>
                      <a:pt x="54" y="25"/>
                      <a:pt x="58" y="20"/>
                    </a:cubicBezTo>
                    <a:cubicBezTo>
                      <a:pt x="61" y="14"/>
                      <a:pt x="61" y="10"/>
                      <a:pt x="58" y="4"/>
                    </a:cubicBezTo>
                    <a:cubicBezTo>
                      <a:pt x="57" y="2"/>
                      <a:pt x="56" y="1"/>
                      <a:pt x="5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08" name="Freeform 70">
                <a:extLst>
                  <a:ext uri="{FF2B5EF4-FFF2-40B4-BE49-F238E27FC236}">
                    <a16:creationId xmlns:a16="http://schemas.microsoft.com/office/drawing/2014/main" id="{E2F2372A-97B0-449D-A13E-9C0BEB4A8DAB}"/>
                  </a:ext>
                </a:extLst>
              </p:cNvPr>
              <p:cNvSpPr>
                <a:spLocks/>
              </p:cNvSpPr>
              <p:nvPr/>
            </p:nvSpPr>
            <p:spPr bwMode="auto">
              <a:xfrm>
                <a:off x="5029609" y="1285727"/>
                <a:ext cx="158439" cy="88619"/>
              </a:xfrm>
              <a:custGeom>
                <a:avLst/>
                <a:gdLst>
                  <a:gd name="T0" fmla="*/ 554 w 554"/>
                  <a:gd name="T1" fmla="*/ 101 h 311"/>
                  <a:gd name="T2" fmla="*/ 458 w 554"/>
                  <a:gd name="T3" fmla="*/ 0 h 311"/>
                  <a:gd name="T4" fmla="*/ 371 w 554"/>
                  <a:gd name="T5" fmla="*/ 0 h 311"/>
                  <a:gd name="T6" fmla="*/ 310 w 554"/>
                  <a:gd name="T7" fmla="*/ 118 h 311"/>
                  <a:gd name="T8" fmla="*/ 304 w 554"/>
                  <a:gd name="T9" fmla="*/ 89 h 311"/>
                  <a:gd name="T10" fmla="*/ 294 w 554"/>
                  <a:gd name="T11" fmla="*/ 46 h 311"/>
                  <a:gd name="T12" fmla="*/ 260 w 554"/>
                  <a:gd name="T13" fmla="*/ 46 h 311"/>
                  <a:gd name="T14" fmla="*/ 258 w 554"/>
                  <a:gd name="T15" fmla="*/ 48 h 311"/>
                  <a:gd name="T16" fmla="*/ 245 w 554"/>
                  <a:gd name="T17" fmla="*/ 111 h 311"/>
                  <a:gd name="T18" fmla="*/ 243 w 554"/>
                  <a:gd name="T19" fmla="*/ 118 h 311"/>
                  <a:gd name="T20" fmla="*/ 182 w 554"/>
                  <a:gd name="T21" fmla="*/ 0 h 311"/>
                  <a:gd name="T22" fmla="*/ 95 w 554"/>
                  <a:gd name="T23" fmla="*/ 0 h 311"/>
                  <a:gd name="T24" fmla="*/ 0 w 554"/>
                  <a:gd name="T25" fmla="*/ 101 h 311"/>
                  <a:gd name="T26" fmla="*/ 0 w 554"/>
                  <a:gd name="T27" fmla="*/ 311 h 311"/>
                  <a:gd name="T28" fmla="*/ 554 w 554"/>
                  <a:gd name="T29" fmla="*/ 311 h 311"/>
                  <a:gd name="T30" fmla="*/ 554 w 554"/>
                  <a:gd name="T31" fmla="*/ 10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4" h="311">
                    <a:moveTo>
                      <a:pt x="554" y="101"/>
                    </a:moveTo>
                    <a:cubicBezTo>
                      <a:pt x="554" y="45"/>
                      <a:pt x="511" y="0"/>
                      <a:pt x="458" y="0"/>
                    </a:cubicBezTo>
                    <a:cubicBezTo>
                      <a:pt x="371" y="0"/>
                      <a:pt x="371" y="0"/>
                      <a:pt x="371" y="0"/>
                    </a:cubicBezTo>
                    <a:cubicBezTo>
                      <a:pt x="310" y="118"/>
                      <a:pt x="310" y="118"/>
                      <a:pt x="310" y="118"/>
                    </a:cubicBezTo>
                    <a:cubicBezTo>
                      <a:pt x="308" y="109"/>
                      <a:pt x="306" y="99"/>
                      <a:pt x="304" y="89"/>
                    </a:cubicBezTo>
                    <a:cubicBezTo>
                      <a:pt x="300" y="75"/>
                      <a:pt x="297" y="61"/>
                      <a:pt x="294" y="46"/>
                    </a:cubicBezTo>
                    <a:cubicBezTo>
                      <a:pt x="283" y="46"/>
                      <a:pt x="271" y="46"/>
                      <a:pt x="260" y="46"/>
                    </a:cubicBezTo>
                    <a:cubicBezTo>
                      <a:pt x="258" y="46"/>
                      <a:pt x="258" y="47"/>
                      <a:pt x="258" y="48"/>
                    </a:cubicBezTo>
                    <a:cubicBezTo>
                      <a:pt x="254" y="69"/>
                      <a:pt x="249" y="90"/>
                      <a:pt x="245" y="111"/>
                    </a:cubicBezTo>
                    <a:cubicBezTo>
                      <a:pt x="244" y="113"/>
                      <a:pt x="244" y="116"/>
                      <a:pt x="243" y="118"/>
                    </a:cubicBezTo>
                    <a:cubicBezTo>
                      <a:pt x="182" y="0"/>
                      <a:pt x="182" y="0"/>
                      <a:pt x="182" y="0"/>
                    </a:cubicBezTo>
                    <a:cubicBezTo>
                      <a:pt x="95" y="0"/>
                      <a:pt x="95" y="0"/>
                      <a:pt x="95" y="0"/>
                    </a:cubicBezTo>
                    <a:cubicBezTo>
                      <a:pt x="42" y="0"/>
                      <a:pt x="0" y="45"/>
                      <a:pt x="0" y="101"/>
                    </a:cubicBezTo>
                    <a:cubicBezTo>
                      <a:pt x="0" y="311"/>
                      <a:pt x="0" y="311"/>
                      <a:pt x="0" y="311"/>
                    </a:cubicBezTo>
                    <a:cubicBezTo>
                      <a:pt x="554" y="311"/>
                      <a:pt x="554" y="311"/>
                      <a:pt x="554" y="311"/>
                    </a:cubicBezTo>
                    <a:lnTo>
                      <a:pt x="554" y="101"/>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09" name="Oval 71">
                <a:extLst>
                  <a:ext uri="{FF2B5EF4-FFF2-40B4-BE49-F238E27FC236}">
                    <a16:creationId xmlns:a16="http://schemas.microsoft.com/office/drawing/2014/main" id="{9BBB8432-BBC9-4283-885A-F92132CAD326}"/>
                  </a:ext>
                </a:extLst>
              </p:cNvPr>
              <p:cNvSpPr>
                <a:spLocks noChangeArrowheads="1"/>
              </p:cNvSpPr>
              <p:nvPr/>
            </p:nvSpPr>
            <p:spPr bwMode="auto">
              <a:xfrm>
                <a:off x="4842525" y="1223962"/>
                <a:ext cx="99360" cy="108312"/>
              </a:xfrm>
              <a:prstGeom prst="ellipse">
                <a:avLst/>
              </a:pr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10" name="Freeform 72">
                <a:extLst>
                  <a:ext uri="{FF2B5EF4-FFF2-40B4-BE49-F238E27FC236}">
                    <a16:creationId xmlns:a16="http://schemas.microsoft.com/office/drawing/2014/main" id="{0E3A26D0-2E81-4981-A0A9-57252478B9D1}"/>
                  </a:ext>
                </a:extLst>
              </p:cNvPr>
              <p:cNvSpPr>
                <a:spLocks/>
              </p:cNvSpPr>
              <p:nvPr/>
            </p:nvSpPr>
            <p:spPr bwMode="auto">
              <a:xfrm>
                <a:off x="4838050" y="1343910"/>
                <a:ext cx="155754" cy="273912"/>
              </a:xfrm>
              <a:custGeom>
                <a:avLst/>
                <a:gdLst>
                  <a:gd name="T0" fmla="*/ 436 w 542"/>
                  <a:gd name="T1" fmla="*/ 419 h 958"/>
                  <a:gd name="T2" fmla="*/ 421 w 542"/>
                  <a:gd name="T3" fmla="*/ 420 h 958"/>
                  <a:gd name="T4" fmla="*/ 411 w 542"/>
                  <a:gd name="T5" fmla="*/ 419 h 958"/>
                  <a:gd name="T6" fmla="*/ 330 w 542"/>
                  <a:gd name="T7" fmla="*/ 419 h 958"/>
                  <a:gd name="T8" fmla="*/ 330 w 542"/>
                  <a:gd name="T9" fmla="*/ 175 h 958"/>
                  <a:gd name="T10" fmla="*/ 165 w 542"/>
                  <a:gd name="T11" fmla="*/ 0 h 958"/>
                  <a:gd name="T12" fmla="*/ 0 w 542"/>
                  <a:gd name="T13" fmla="*/ 175 h 958"/>
                  <a:gd name="T14" fmla="*/ 0 w 542"/>
                  <a:gd name="T15" fmla="*/ 445 h 958"/>
                  <a:gd name="T16" fmla="*/ 52 w 542"/>
                  <a:gd name="T17" fmla="*/ 572 h 958"/>
                  <a:gd name="T18" fmla="*/ 132 w 542"/>
                  <a:gd name="T19" fmla="*/ 620 h 958"/>
                  <a:gd name="T20" fmla="*/ 330 w 542"/>
                  <a:gd name="T21" fmla="*/ 620 h 958"/>
                  <a:gd name="T22" fmla="*/ 330 w 542"/>
                  <a:gd name="T23" fmla="*/ 845 h 958"/>
                  <a:gd name="T24" fmla="*/ 436 w 542"/>
                  <a:gd name="T25" fmla="*/ 958 h 958"/>
                  <a:gd name="T26" fmla="*/ 542 w 542"/>
                  <a:gd name="T27" fmla="*/ 845 h 958"/>
                  <a:gd name="T28" fmla="*/ 542 w 542"/>
                  <a:gd name="T29" fmla="*/ 531 h 958"/>
                  <a:gd name="T30" fmla="*/ 436 w 542"/>
                  <a:gd name="T31" fmla="*/ 41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436" y="419"/>
                    </a:moveTo>
                    <a:cubicBezTo>
                      <a:pt x="431" y="419"/>
                      <a:pt x="426" y="419"/>
                      <a:pt x="421" y="420"/>
                    </a:cubicBezTo>
                    <a:cubicBezTo>
                      <a:pt x="418" y="420"/>
                      <a:pt x="414" y="419"/>
                      <a:pt x="411" y="419"/>
                    </a:cubicBezTo>
                    <a:cubicBezTo>
                      <a:pt x="330" y="419"/>
                      <a:pt x="330" y="419"/>
                      <a:pt x="330" y="419"/>
                    </a:cubicBezTo>
                    <a:cubicBezTo>
                      <a:pt x="330" y="175"/>
                      <a:pt x="330" y="175"/>
                      <a:pt x="330" y="175"/>
                    </a:cubicBezTo>
                    <a:cubicBezTo>
                      <a:pt x="330" y="78"/>
                      <a:pt x="256" y="0"/>
                      <a:pt x="165" y="0"/>
                    </a:cubicBezTo>
                    <a:cubicBezTo>
                      <a:pt x="74" y="0"/>
                      <a:pt x="0" y="78"/>
                      <a:pt x="0" y="175"/>
                    </a:cubicBezTo>
                    <a:cubicBezTo>
                      <a:pt x="0" y="445"/>
                      <a:pt x="0" y="445"/>
                      <a:pt x="0" y="445"/>
                    </a:cubicBezTo>
                    <a:cubicBezTo>
                      <a:pt x="0" y="495"/>
                      <a:pt x="20" y="540"/>
                      <a:pt x="52" y="572"/>
                    </a:cubicBezTo>
                    <a:cubicBezTo>
                      <a:pt x="69" y="601"/>
                      <a:pt x="98" y="620"/>
                      <a:pt x="132" y="620"/>
                    </a:cubicBezTo>
                    <a:cubicBezTo>
                      <a:pt x="330" y="620"/>
                      <a:pt x="330" y="620"/>
                      <a:pt x="330" y="620"/>
                    </a:cubicBezTo>
                    <a:cubicBezTo>
                      <a:pt x="330" y="845"/>
                      <a:pt x="330" y="845"/>
                      <a:pt x="330" y="845"/>
                    </a:cubicBezTo>
                    <a:cubicBezTo>
                      <a:pt x="330" y="907"/>
                      <a:pt x="377" y="958"/>
                      <a:pt x="436" y="958"/>
                    </a:cubicBezTo>
                    <a:cubicBezTo>
                      <a:pt x="494" y="958"/>
                      <a:pt x="542" y="907"/>
                      <a:pt x="542" y="845"/>
                    </a:cubicBezTo>
                    <a:cubicBezTo>
                      <a:pt x="542" y="531"/>
                      <a:pt x="542" y="531"/>
                      <a:pt x="542" y="531"/>
                    </a:cubicBezTo>
                    <a:cubicBezTo>
                      <a:pt x="542" y="469"/>
                      <a:pt x="494" y="419"/>
                      <a:pt x="436" y="4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11" name="Oval 73">
                <a:extLst>
                  <a:ext uri="{FF2B5EF4-FFF2-40B4-BE49-F238E27FC236}">
                    <a16:creationId xmlns:a16="http://schemas.microsoft.com/office/drawing/2014/main" id="{386E0C18-FF99-4B71-A719-D50110C37602}"/>
                  </a:ext>
                </a:extLst>
              </p:cNvPr>
              <p:cNvSpPr>
                <a:spLocks noChangeArrowheads="1"/>
              </p:cNvSpPr>
              <p:nvPr/>
            </p:nvSpPr>
            <p:spPr bwMode="auto">
              <a:xfrm>
                <a:off x="5276068" y="1223962"/>
                <a:ext cx="100255" cy="108312"/>
              </a:xfrm>
              <a:prstGeom prst="ellipse">
                <a:avLst/>
              </a:pr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12" name="Freeform 74">
                <a:extLst>
                  <a:ext uri="{FF2B5EF4-FFF2-40B4-BE49-F238E27FC236}">
                    <a16:creationId xmlns:a16="http://schemas.microsoft.com/office/drawing/2014/main" id="{57B751DE-420E-47E1-BD6E-C2E4B130F97E}"/>
                  </a:ext>
                </a:extLst>
              </p:cNvPr>
              <p:cNvSpPr>
                <a:spLocks/>
              </p:cNvSpPr>
              <p:nvPr/>
            </p:nvSpPr>
            <p:spPr bwMode="auto">
              <a:xfrm>
                <a:off x="5223853" y="1343910"/>
                <a:ext cx="154859" cy="273912"/>
              </a:xfrm>
              <a:custGeom>
                <a:avLst/>
                <a:gdLst>
                  <a:gd name="T0" fmla="*/ 377 w 542"/>
                  <a:gd name="T1" fmla="*/ 0 h 958"/>
                  <a:gd name="T2" fmla="*/ 212 w 542"/>
                  <a:gd name="T3" fmla="*/ 175 h 958"/>
                  <a:gd name="T4" fmla="*/ 212 w 542"/>
                  <a:gd name="T5" fmla="*/ 419 h 958"/>
                  <a:gd name="T6" fmla="*/ 132 w 542"/>
                  <a:gd name="T7" fmla="*/ 419 h 958"/>
                  <a:gd name="T8" fmla="*/ 121 w 542"/>
                  <a:gd name="T9" fmla="*/ 420 h 958"/>
                  <a:gd name="T10" fmla="*/ 106 w 542"/>
                  <a:gd name="T11" fmla="*/ 419 h 958"/>
                  <a:gd name="T12" fmla="*/ 0 w 542"/>
                  <a:gd name="T13" fmla="*/ 531 h 958"/>
                  <a:gd name="T14" fmla="*/ 0 w 542"/>
                  <a:gd name="T15" fmla="*/ 845 h 958"/>
                  <a:gd name="T16" fmla="*/ 106 w 542"/>
                  <a:gd name="T17" fmla="*/ 958 h 958"/>
                  <a:gd name="T18" fmla="*/ 212 w 542"/>
                  <a:gd name="T19" fmla="*/ 845 h 958"/>
                  <a:gd name="T20" fmla="*/ 212 w 542"/>
                  <a:gd name="T21" fmla="*/ 620 h 958"/>
                  <a:gd name="T22" fmla="*/ 410 w 542"/>
                  <a:gd name="T23" fmla="*/ 620 h 958"/>
                  <a:gd name="T24" fmla="*/ 490 w 542"/>
                  <a:gd name="T25" fmla="*/ 572 h 958"/>
                  <a:gd name="T26" fmla="*/ 542 w 542"/>
                  <a:gd name="T27" fmla="*/ 445 h 958"/>
                  <a:gd name="T28" fmla="*/ 542 w 542"/>
                  <a:gd name="T29" fmla="*/ 175 h 958"/>
                  <a:gd name="T30" fmla="*/ 377 w 542"/>
                  <a:gd name="T31" fmla="*/ 0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377" y="0"/>
                    </a:moveTo>
                    <a:cubicBezTo>
                      <a:pt x="286" y="0"/>
                      <a:pt x="212" y="78"/>
                      <a:pt x="212" y="175"/>
                    </a:cubicBezTo>
                    <a:cubicBezTo>
                      <a:pt x="212" y="419"/>
                      <a:pt x="212" y="419"/>
                      <a:pt x="212" y="419"/>
                    </a:cubicBezTo>
                    <a:cubicBezTo>
                      <a:pt x="132" y="419"/>
                      <a:pt x="132" y="419"/>
                      <a:pt x="132" y="419"/>
                    </a:cubicBezTo>
                    <a:cubicBezTo>
                      <a:pt x="128" y="419"/>
                      <a:pt x="124" y="420"/>
                      <a:pt x="121" y="420"/>
                    </a:cubicBezTo>
                    <a:cubicBezTo>
                      <a:pt x="116" y="419"/>
                      <a:pt x="111" y="419"/>
                      <a:pt x="106" y="419"/>
                    </a:cubicBezTo>
                    <a:cubicBezTo>
                      <a:pt x="48" y="419"/>
                      <a:pt x="0" y="469"/>
                      <a:pt x="0" y="531"/>
                    </a:cubicBezTo>
                    <a:cubicBezTo>
                      <a:pt x="0" y="845"/>
                      <a:pt x="0" y="845"/>
                      <a:pt x="0" y="845"/>
                    </a:cubicBezTo>
                    <a:cubicBezTo>
                      <a:pt x="0" y="907"/>
                      <a:pt x="48" y="958"/>
                      <a:pt x="106" y="958"/>
                    </a:cubicBezTo>
                    <a:cubicBezTo>
                      <a:pt x="165" y="958"/>
                      <a:pt x="212" y="907"/>
                      <a:pt x="212" y="845"/>
                    </a:cubicBezTo>
                    <a:cubicBezTo>
                      <a:pt x="212" y="620"/>
                      <a:pt x="212" y="620"/>
                      <a:pt x="212" y="620"/>
                    </a:cubicBezTo>
                    <a:cubicBezTo>
                      <a:pt x="410" y="620"/>
                      <a:pt x="410" y="620"/>
                      <a:pt x="410" y="620"/>
                    </a:cubicBezTo>
                    <a:cubicBezTo>
                      <a:pt x="444" y="620"/>
                      <a:pt x="473" y="601"/>
                      <a:pt x="490" y="572"/>
                    </a:cubicBezTo>
                    <a:cubicBezTo>
                      <a:pt x="522" y="540"/>
                      <a:pt x="542" y="495"/>
                      <a:pt x="542" y="445"/>
                    </a:cubicBezTo>
                    <a:cubicBezTo>
                      <a:pt x="542" y="175"/>
                      <a:pt x="542" y="175"/>
                      <a:pt x="542" y="175"/>
                    </a:cubicBezTo>
                    <a:cubicBezTo>
                      <a:pt x="542" y="78"/>
                      <a:pt x="468" y="0"/>
                      <a:pt x="37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13" name="Rectangle 75">
                <a:extLst>
                  <a:ext uri="{FF2B5EF4-FFF2-40B4-BE49-F238E27FC236}">
                    <a16:creationId xmlns:a16="http://schemas.microsoft.com/office/drawing/2014/main" id="{5F0C93B0-DAFF-4AEE-9E32-22B2AF79E7CE}"/>
                  </a:ext>
                </a:extLst>
              </p:cNvPr>
              <p:cNvSpPr>
                <a:spLocks noChangeArrowheads="1"/>
              </p:cNvSpPr>
              <p:nvPr/>
            </p:nvSpPr>
            <p:spPr bwMode="auto">
              <a:xfrm>
                <a:off x="5009916" y="1447746"/>
                <a:ext cx="196930" cy="170076"/>
              </a:xfrm>
              <a:prstGeom prst="rect">
                <a:avLst/>
              </a:pr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14" name="Freeform 76">
                <a:extLst>
                  <a:ext uri="{FF2B5EF4-FFF2-40B4-BE49-F238E27FC236}">
                    <a16:creationId xmlns:a16="http://schemas.microsoft.com/office/drawing/2014/main" id="{17016577-B338-470A-B585-E634BD8C924C}"/>
                  </a:ext>
                </a:extLst>
              </p:cNvPr>
              <p:cNvSpPr>
                <a:spLocks/>
              </p:cNvSpPr>
              <p:nvPr/>
            </p:nvSpPr>
            <p:spPr bwMode="auto">
              <a:xfrm>
                <a:off x="4955313" y="1387772"/>
                <a:ext cx="307032" cy="42072"/>
              </a:xfrm>
              <a:custGeom>
                <a:avLst/>
                <a:gdLst>
                  <a:gd name="T0" fmla="*/ 1009 w 1073"/>
                  <a:gd name="T1" fmla="*/ 145 h 145"/>
                  <a:gd name="T2" fmla="*/ 1073 w 1073"/>
                  <a:gd name="T3" fmla="*/ 73 h 145"/>
                  <a:gd name="T4" fmla="*/ 1009 w 1073"/>
                  <a:gd name="T5" fmla="*/ 0 h 145"/>
                  <a:gd name="T6" fmla="*/ 64 w 1073"/>
                  <a:gd name="T7" fmla="*/ 0 h 145"/>
                  <a:gd name="T8" fmla="*/ 0 w 1073"/>
                  <a:gd name="T9" fmla="*/ 73 h 145"/>
                  <a:gd name="T10" fmla="*/ 64 w 1073"/>
                  <a:gd name="T11" fmla="*/ 145 h 145"/>
                  <a:gd name="T12" fmla="*/ 99 w 1073"/>
                  <a:gd name="T13" fmla="*/ 145 h 145"/>
                  <a:gd name="T14" fmla="*/ 193 w 1073"/>
                  <a:gd name="T15" fmla="*/ 145 h 145"/>
                  <a:gd name="T16" fmla="*/ 880 w 1073"/>
                  <a:gd name="T17" fmla="*/ 145 h 145"/>
                  <a:gd name="T18" fmla="*/ 939 w 1073"/>
                  <a:gd name="T19" fmla="*/ 145 h 145"/>
                  <a:gd name="T20" fmla="*/ 1009 w 1073"/>
                  <a:gd name="T21"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3" h="145">
                    <a:moveTo>
                      <a:pt x="1009" y="145"/>
                    </a:moveTo>
                    <a:cubicBezTo>
                      <a:pt x="1045" y="145"/>
                      <a:pt x="1073" y="113"/>
                      <a:pt x="1073" y="73"/>
                    </a:cubicBezTo>
                    <a:cubicBezTo>
                      <a:pt x="1073" y="33"/>
                      <a:pt x="1045" y="0"/>
                      <a:pt x="1009" y="0"/>
                    </a:cubicBezTo>
                    <a:cubicBezTo>
                      <a:pt x="64" y="0"/>
                      <a:pt x="64" y="0"/>
                      <a:pt x="64" y="0"/>
                    </a:cubicBezTo>
                    <a:cubicBezTo>
                      <a:pt x="29" y="0"/>
                      <a:pt x="0" y="33"/>
                      <a:pt x="0" y="73"/>
                    </a:cubicBezTo>
                    <a:cubicBezTo>
                      <a:pt x="0" y="113"/>
                      <a:pt x="29" y="145"/>
                      <a:pt x="64" y="145"/>
                    </a:cubicBezTo>
                    <a:cubicBezTo>
                      <a:pt x="99" y="145"/>
                      <a:pt x="99" y="145"/>
                      <a:pt x="99" y="145"/>
                    </a:cubicBezTo>
                    <a:cubicBezTo>
                      <a:pt x="193" y="145"/>
                      <a:pt x="193" y="145"/>
                      <a:pt x="193" y="145"/>
                    </a:cubicBezTo>
                    <a:cubicBezTo>
                      <a:pt x="880" y="145"/>
                      <a:pt x="880" y="145"/>
                      <a:pt x="880" y="145"/>
                    </a:cubicBezTo>
                    <a:cubicBezTo>
                      <a:pt x="939" y="145"/>
                      <a:pt x="939" y="145"/>
                      <a:pt x="939" y="145"/>
                    </a:cubicBezTo>
                    <a:lnTo>
                      <a:pt x="1009" y="145"/>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5" name="Group 4">
            <a:extLst>
              <a:ext uri="{FF2B5EF4-FFF2-40B4-BE49-F238E27FC236}">
                <a16:creationId xmlns:a16="http://schemas.microsoft.com/office/drawing/2014/main" id="{D27EB7B7-D765-4D93-BFF3-03EF2129049F}"/>
              </a:ext>
              <a:ext uri="{C183D7F6-B498-43B3-948B-1728B52AA6E4}">
                <adec:decorative xmlns:adec="http://schemas.microsoft.com/office/drawing/2017/decorative" val="1"/>
              </a:ext>
            </a:extLst>
          </p:cNvPr>
          <p:cNvGrpSpPr>
            <a:grpSpLocks noChangeAspect="1"/>
          </p:cNvGrpSpPr>
          <p:nvPr/>
        </p:nvGrpSpPr>
        <p:grpSpPr>
          <a:xfrm>
            <a:off x="8309156" y="1992045"/>
            <a:ext cx="674150" cy="633600"/>
            <a:chOff x="2356823" y="3564736"/>
            <a:chExt cx="766080" cy="720000"/>
          </a:xfrm>
        </p:grpSpPr>
        <p:sp>
          <p:nvSpPr>
            <p:cNvPr id="334" name="Freeform 54">
              <a:extLst>
                <a:ext uri="{FF2B5EF4-FFF2-40B4-BE49-F238E27FC236}">
                  <a16:creationId xmlns:a16="http://schemas.microsoft.com/office/drawing/2014/main" id="{D7227B04-525E-4A52-B9CA-C3C8A1724342}"/>
                </a:ext>
              </a:extLst>
            </p:cNvPr>
            <p:cNvSpPr>
              <a:spLocks/>
            </p:cNvSpPr>
            <p:nvPr/>
          </p:nvSpPr>
          <p:spPr bwMode="auto">
            <a:xfrm>
              <a:off x="2356823" y="3564736"/>
              <a:ext cx="766080" cy="72000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35" name="Group 715">
              <a:extLst>
                <a:ext uri="{FF2B5EF4-FFF2-40B4-BE49-F238E27FC236}">
                  <a16:creationId xmlns:a16="http://schemas.microsoft.com/office/drawing/2014/main" id="{041FB8BA-F310-4BA9-B9D2-8189DF95843C}"/>
                </a:ext>
              </a:extLst>
            </p:cNvPr>
            <p:cNvGrpSpPr/>
            <p:nvPr/>
          </p:nvGrpSpPr>
          <p:grpSpPr>
            <a:xfrm>
              <a:off x="2490280" y="3694972"/>
              <a:ext cx="428603" cy="455191"/>
              <a:chOff x="5100002" y="2050960"/>
              <a:chExt cx="674017" cy="715831"/>
            </a:xfrm>
            <a:solidFill>
              <a:schemeClr val="bg1"/>
            </a:solidFill>
          </p:grpSpPr>
          <p:sp>
            <p:nvSpPr>
              <p:cNvPr id="336" name="Freeform 30">
                <a:extLst>
                  <a:ext uri="{FF2B5EF4-FFF2-40B4-BE49-F238E27FC236}">
                    <a16:creationId xmlns:a16="http://schemas.microsoft.com/office/drawing/2014/main" id="{43EA186A-77F1-415F-8F47-A2C12A5DAA29}"/>
                  </a:ext>
                </a:extLst>
              </p:cNvPr>
              <p:cNvSpPr>
                <a:spLocks/>
              </p:cNvSpPr>
              <p:nvPr/>
            </p:nvSpPr>
            <p:spPr bwMode="auto">
              <a:xfrm>
                <a:off x="5100002" y="2195062"/>
                <a:ext cx="533452" cy="571729"/>
              </a:xfrm>
              <a:custGeom>
                <a:avLst/>
                <a:gdLst>
                  <a:gd name="T0" fmla="*/ 998 w 1442"/>
                  <a:gd name="T1" fmla="*/ 990 h 1441"/>
                  <a:gd name="T2" fmla="*/ 893 w 1442"/>
                  <a:gd name="T3" fmla="*/ 966 h 1441"/>
                  <a:gd name="T4" fmla="*/ 673 w 1442"/>
                  <a:gd name="T5" fmla="*/ 798 h 1441"/>
                  <a:gd name="T6" fmla="*/ 643 w 1442"/>
                  <a:gd name="T7" fmla="*/ 769 h 1441"/>
                  <a:gd name="T8" fmla="*/ 475 w 1442"/>
                  <a:gd name="T9" fmla="*/ 549 h 1441"/>
                  <a:gd name="T10" fmla="*/ 451 w 1442"/>
                  <a:gd name="T11" fmla="*/ 444 h 1441"/>
                  <a:gd name="T12" fmla="*/ 514 w 1442"/>
                  <a:gd name="T13" fmla="*/ 381 h 1441"/>
                  <a:gd name="T14" fmla="*/ 132 w 1442"/>
                  <a:gd name="T15" fmla="*/ 0 h 1441"/>
                  <a:gd name="T16" fmla="*/ 10 w 1442"/>
                  <a:gd name="T17" fmla="*/ 305 h 1441"/>
                  <a:gd name="T18" fmla="*/ 91 w 1442"/>
                  <a:gd name="T19" fmla="*/ 661 h 1441"/>
                  <a:gd name="T20" fmla="*/ 353 w 1442"/>
                  <a:gd name="T21" fmla="*/ 1014 h 1441"/>
                  <a:gd name="T22" fmla="*/ 353 w 1442"/>
                  <a:gd name="T23" fmla="*/ 1015 h 1441"/>
                  <a:gd name="T24" fmla="*/ 429 w 1442"/>
                  <a:gd name="T25" fmla="*/ 1091 h 1441"/>
                  <a:gd name="T26" fmla="*/ 431 w 1442"/>
                  <a:gd name="T27" fmla="*/ 1093 h 1441"/>
                  <a:gd name="T28" fmla="*/ 780 w 1442"/>
                  <a:gd name="T29" fmla="*/ 1350 h 1441"/>
                  <a:gd name="T30" fmla="*/ 1137 w 1442"/>
                  <a:gd name="T31" fmla="*/ 1432 h 1441"/>
                  <a:gd name="T32" fmla="*/ 1442 w 1442"/>
                  <a:gd name="T33" fmla="*/ 1309 h 1441"/>
                  <a:gd name="T34" fmla="*/ 1060 w 1442"/>
                  <a:gd name="T35" fmla="*/ 928 h 1441"/>
                  <a:gd name="T36" fmla="*/ 998 w 1442"/>
                  <a:gd name="T37" fmla="*/ 990 h 1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2" h="1441">
                    <a:moveTo>
                      <a:pt x="998" y="990"/>
                    </a:moveTo>
                    <a:cubicBezTo>
                      <a:pt x="993" y="995"/>
                      <a:pt x="963" y="1002"/>
                      <a:pt x="893" y="966"/>
                    </a:cubicBezTo>
                    <a:cubicBezTo>
                      <a:pt x="825" y="932"/>
                      <a:pt x="747" y="872"/>
                      <a:pt x="673" y="798"/>
                    </a:cubicBezTo>
                    <a:cubicBezTo>
                      <a:pt x="643" y="769"/>
                      <a:pt x="643" y="769"/>
                      <a:pt x="643" y="769"/>
                    </a:cubicBezTo>
                    <a:cubicBezTo>
                      <a:pt x="569" y="695"/>
                      <a:pt x="509" y="616"/>
                      <a:pt x="475" y="549"/>
                    </a:cubicBezTo>
                    <a:cubicBezTo>
                      <a:pt x="440" y="479"/>
                      <a:pt x="446" y="449"/>
                      <a:pt x="451" y="444"/>
                    </a:cubicBezTo>
                    <a:cubicBezTo>
                      <a:pt x="514" y="381"/>
                      <a:pt x="514" y="381"/>
                      <a:pt x="514" y="381"/>
                    </a:cubicBezTo>
                    <a:cubicBezTo>
                      <a:pt x="132" y="0"/>
                      <a:pt x="132" y="0"/>
                      <a:pt x="132" y="0"/>
                    </a:cubicBezTo>
                    <a:cubicBezTo>
                      <a:pt x="22" y="147"/>
                      <a:pt x="10" y="290"/>
                      <a:pt x="10" y="305"/>
                    </a:cubicBezTo>
                    <a:cubicBezTo>
                      <a:pt x="0" y="415"/>
                      <a:pt x="27" y="535"/>
                      <a:pt x="91" y="661"/>
                    </a:cubicBezTo>
                    <a:cubicBezTo>
                      <a:pt x="150" y="777"/>
                      <a:pt x="238" y="896"/>
                      <a:pt x="353" y="1014"/>
                    </a:cubicBezTo>
                    <a:cubicBezTo>
                      <a:pt x="353" y="1015"/>
                      <a:pt x="353" y="1015"/>
                      <a:pt x="353" y="1015"/>
                    </a:cubicBezTo>
                    <a:cubicBezTo>
                      <a:pt x="429" y="1091"/>
                      <a:pt x="429" y="1091"/>
                      <a:pt x="429" y="1091"/>
                    </a:cubicBezTo>
                    <a:cubicBezTo>
                      <a:pt x="430" y="1091"/>
                      <a:pt x="431" y="1092"/>
                      <a:pt x="431" y="1093"/>
                    </a:cubicBezTo>
                    <a:cubicBezTo>
                      <a:pt x="548" y="1205"/>
                      <a:pt x="666" y="1292"/>
                      <a:pt x="780" y="1350"/>
                    </a:cubicBezTo>
                    <a:cubicBezTo>
                      <a:pt x="907" y="1414"/>
                      <a:pt x="1027" y="1441"/>
                      <a:pt x="1137" y="1432"/>
                    </a:cubicBezTo>
                    <a:cubicBezTo>
                      <a:pt x="1152" y="1431"/>
                      <a:pt x="1294" y="1420"/>
                      <a:pt x="1442" y="1309"/>
                    </a:cubicBezTo>
                    <a:cubicBezTo>
                      <a:pt x="1060" y="928"/>
                      <a:pt x="1060" y="928"/>
                      <a:pt x="1060" y="928"/>
                    </a:cubicBezTo>
                    <a:lnTo>
                      <a:pt x="998" y="9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7" name="Freeform 31">
                <a:extLst>
                  <a:ext uri="{FF2B5EF4-FFF2-40B4-BE49-F238E27FC236}">
                    <a16:creationId xmlns:a16="http://schemas.microsoft.com/office/drawing/2014/main" id="{DF6AD7B3-C18C-4CD4-BDF6-97A72A5BEAF5}"/>
                  </a:ext>
                </a:extLst>
              </p:cNvPr>
              <p:cNvSpPr>
                <a:spLocks/>
              </p:cNvSpPr>
              <p:nvPr/>
            </p:nvSpPr>
            <p:spPr bwMode="auto">
              <a:xfrm>
                <a:off x="5512095" y="2514145"/>
                <a:ext cx="167631" cy="181531"/>
              </a:xfrm>
              <a:custGeom>
                <a:avLst/>
                <a:gdLst>
                  <a:gd name="T0" fmla="*/ 110 w 452"/>
                  <a:gd name="T1" fmla="*/ 15 h 457"/>
                  <a:gd name="T2" fmla="*/ 56 w 452"/>
                  <a:gd name="T3" fmla="*/ 15 h 457"/>
                  <a:gd name="T4" fmla="*/ 0 w 452"/>
                  <a:gd name="T5" fmla="*/ 71 h 457"/>
                  <a:gd name="T6" fmla="*/ 386 w 452"/>
                  <a:gd name="T7" fmla="*/ 457 h 457"/>
                  <a:gd name="T8" fmla="*/ 443 w 452"/>
                  <a:gd name="T9" fmla="*/ 396 h 457"/>
                  <a:gd name="T10" fmla="*/ 452 w 452"/>
                  <a:gd name="T11" fmla="*/ 372 h 457"/>
                  <a:gd name="T12" fmla="*/ 441 w 452"/>
                  <a:gd name="T13" fmla="*/ 345 h 457"/>
                  <a:gd name="T14" fmla="*/ 110 w 452"/>
                  <a:gd name="T15" fmla="*/ 15 h 4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457">
                    <a:moveTo>
                      <a:pt x="110" y="15"/>
                    </a:moveTo>
                    <a:cubicBezTo>
                      <a:pt x="95" y="0"/>
                      <a:pt x="71" y="0"/>
                      <a:pt x="56" y="15"/>
                    </a:cubicBezTo>
                    <a:cubicBezTo>
                      <a:pt x="0" y="71"/>
                      <a:pt x="0" y="71"/>
                      <a:pt x="0" y="71"/>
                    </a:cubicBezTo>
                    <a:cubicBezTo>
                      <a:pt x="386" y="457"/>
                      <a:pt x="386" y="457"/>
                      <a:pt x="386" y="457"/>
                    </a:cubicBezTo>
                    <a:cubicBezTo>
                      <a:pt x="405" y="439"/>
                      <a:pt x="424" y="418"/>
                      <a:pt x="443" y="396"/>
                    </a:cubicBezTo>
                    <a:cubicBezTo>
                      <a:pt x="449" y="389"/>
                      <a:pt x="452" y="380"/>
                      <a:pt x="452" y="372"/>
                    </a:cubicBezTo>
                    <a:cubicBezTo>
                      <a:pt x="452" y="362"/>
                      <a:pt x="448" y="352"/>
                      <a:pt x="441" y="345"/>
                    </a:cubicBezTo>
                    <a:lnTo>
                      <a:pt x="11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8" name="Freeform 32">
                <a:extLst>
                  <a:ext uri="{FF2B5EF4-FFF2-40B4-BE49-F238E27FC236}">
                    <a16:creationId xmlns:a16="http://schemas.microsoft.com/office/drawing/2014/main" id="{EA59D675-C4D4-4D43-BF7F-0A5133876C54}"/>
                  </a:ext>
                </a:extLst>
              </p:cNvPr>
              <p:cNvSpPr>
                <a:spLocks/>
              </p:cNvSpPr>
              <p:nvPr/>
            </p:nvSpPr>
            <p:spPr bwMode="auto">
              <a:xfrm>
                <a:off x="5167228" y="2144533"/>
                <a:ext cx="167631" cy="180595"/>
              </a:xfrm>
              <a:custGeom>
                <a:avLst/>
                <a:gdLst>
                  <a:gd name="T0" fmla="*/ 442 w 453"/>
                  <a:gd name="T1" fmla="*/ 399 h 455"/>
                  <a:gd name="T2" fmla="*/ 453 w 453"/>
                  <a:gd name="T3" fmla="*/ 372 h 455"/>
                  <a:gd name="T4" fmla="*/ 442 w 453"/>
                  <a:gd name="T5" fmla="*/ 345 h 455"/>
                  <a:gd name="T6" fmla="*/ 111 w 453"/>
                  <a:gd name="T7" fmla="*/ 15 h 455"/>
                  <a:gd name="T8" fmla="*/ 60 w 453"/>
                  <a:gd name="T9" fmla="*/ 13 h 455"/>
                  <a:gd name="T10" fmla="*/ 0 w 453"/>
                  <a:gd name="T11" fmla="*/ 69 h 455"/>
                  <a:gd name="T12" fmla="*/ 386 w 453"/>
                  <a:gd name="T13" fmla="*/ 455 h 455"/>
                  <a:gd name="T14" fmla="*/ 442 w 453"/>
                  <a:gd name="T15" fmla="*/ 399 h 4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3" h="455">
                    <a:moveTo>
                      <a:pt x="442" y="399"/>
                    </a:moveTo>
                    <a:cubicBezTo>
                      <a:pt x="449" y="392"/>
                      <a:pt x="453" y="382"/>
                      <a:pt x="453" y="372"/>
                    </a:cubicBezTo>
                    <a:cubicBezTo>
                      <a:pt x="453" y="362"/>
                      <a:pt x="449" y="352"/>
                      <a:pt x="442" y="345"/>
                    </a:cubicBezTo>
                    <a:cubicBezTo>
                      <a:pt x="111" y="15"/>
                      <a:pt x="111" y="15"/>
                      <a:pt x="111" y="15"/>
                    </a:cubicBezTo>
                    <a:cubicBezTo>
                      <a:pt x="98" y="1"/>
                      <a:pt x="75" y="0"/>
                      <a:pt x="60" y="13"/>
                    </a:cubicBezTo>
                    <a:cubicBezTo>
                      <a:pt x="38" y="31"/>
                      <a:pt x="18" y="50"/>
                      <a:pt x="0" y="69"/>
                    </a:cubicBezTo>
                    <a:cubicBezTo>
                      <a:pt x="386" y="455"/>
                      <a:pt x="386" y="455"/>
                      <a:pt x="386" y="455"/>
                    </a:cubicBezTo>
                    <a:lnTo>
                      <a:pt x="442"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9" name="Freeform 33">
                <a:extLst>
                  <a:ext uri="{FF2B5EF4-FFF2-40B4-BE49-F238E27FC236}">
                    <a16:creationId xmlns:a16="http://schemas.microsoft.com/office/drawing/2014/main" id="{4E5CEFA2-0889-48F2-9A31-675616157362}"/>
                  </a:ext>
                </a:extLst>
              </p:cNvPr>
              <p:cNvSpPr>
                <a:spLocks noEditPoints="1"/>
              </p:cNvSpPr>
              <p:nvPr/>
            </p:nvSpPr>
            <p:spPr bwMode="auto">
              <a:xfrm>
                <a:off x="5433518" y="2050960"/>
                <a:ext cx="340501" cy="349961"/>
              </a:xfrm>
              <a:custGeom>
                <a:avLst/>
                <a:gdLst>
                  <a:gd name="T0" fmla="*/ 784 w 919"/>
                  <a:gd name="T1" fmla="*/ 110 h 882"/>
                  <a:gd name="T2" fmla="*/ 460 w 919"/>
                  <a:gd name="T3" fmla="*/ 0 h 882"/>
                  <a:gd name="T4" fmla="*/ 136 w 919"/>
                  <a:gd name="T5" fmla="*/ 110 h 882"/>
                  <a:gd name="T6" fmla="*/ 0 w 919"/>
                  <a:gd name="T7" fmla="*/ 379 h 882"/>
                  <a:gd name="T8" fmla="*/ 136 w 919"/>
                  <a:gd name="T9" fmla="*/ 649 h 882"/>
                  <a:gd name="T10" fmla="*/ 220 w 919"/>
                  <a:gd name="T11" fmla="*/ 703 h 882"/>
                  <a:gd name="T12" fmla="*/ 220 w 919"/>
                  <a:gd name="T13" fmla="*/ 864 h 882"/>
                  <a:gd name="T14" fmla="*/ 232 w 919"/>
                  <a:gd name="T15" fmla="*/ 881 h 882"/>
                  <a:gd name="T16" fmla="*/ 239 w 919"/>
                  <a:gd name="T17" fmla="*/ 882 h 882"/>
                  <a:gd name="T18" fmla="*/ 252 w 919"/>
                  <a:gd name="T19" fmla="*/ 876 h 882"/>
                  <a:gd name="T20" fmla="*/ 369 w 919"/>
                  <a:gd name="T21" fmla="*/ 751 h 882"/>
                  <a:gd name="T22" fmla="*/ 460 w 919"/>
                  <a:gd name="T23" fmla="*/ 758 h 882"/>
                  <a:gd name="T24" fmla="*/ 784 w 919"/>
                  <a:gd name="T25" fmla="*/ 649 h 882"/>
                  <a:gd name="T26" fmla="*/ 919 w 919"/>
                  <a:gd name="T27" fmla="*/ 379 h 882"/>
                  <a:gd name="T28" fmla="*/ 784 w 919"/>
                  <a:gd name="T29" fmla="*/ 110 h 882"/>
                  <a:gd name="T30" fmla="*/ 239 w 919"/>
                  <a:gd name="T31" fmla="*/ 424 h 882"/>
                  <a:gd name="T32" fmla="*/ 184 w 919"/>
                  <a:gd name="T33" fmla="*/ 368 h 882"/>
                  <a:gd name="T34" fmla="*/ 239 w 919"/>
                  <a:gd name="T35" fmla="*/ 313 h 882"/>
                  <a:gd name="T36" fmla="*/ 294 w 919"/>
                  <a:gd name="T37" fmla="*/ 368 h 882"/>
                  <a:gd name="T38" fmla="*/ 239 w 919"/>
                  <a:gd name="T39" fmla="*/ 424 h 882"/>
                  <a:gd name="T40" fmla="*/ 460 w 919"/>
                  <a:gd name="T41" fmla="*/ 424 h 882"/>
                  <a:gd name="T42" fmla="*/ 405 w 919"/>
                  <a:gd name="T43" fmla="*/ 368 h 882"/>
                  <a:gd name="T44" fmla="*/ 460 w 919"/>
                  <a:gd name="T45" fmla="*/ 313 h 882"/>
                  <a:gd name="T46" fmla="*/ 515 w 919"/>
                  <a:gd name="T47" fmla="*/ 368 h 882"/>
                  <a:gd name="T48" fmla="*/ 460 w 919"/>
                  <a:gd name="T49" fmla="*/ 424 h 882"/>
                  <a:gd name="T50" fmla="*/ 680 w 919"/>
                  <a:gd name="T51" fmla="*/ 424 h 882"/>
                  <a:gd name="T52" fmla="*/ 625 w 919"/>
                  <a:gd name="T53" fmla="*/ 368 h 882"/>
                  <a:gd name="T54" fmla="*/ 680 w 919"/>
                  <a:gd name="T55" fmla="*/ 313 h 882"/>
                  <a:gd name="T56" fmla="*/ 736 w 919"/>
                  <a:gd name="T57" fmla="*/ 368 h 882"/>
                  <a:gd name="T58" fmla="*/ 680 w 919"/>
                  <a:gd name="T59" fmla="*/ 424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9" h="882">
                    <a:moveTo>
                      <a:pt x="784" y="110"/>
                    </a:moveTo>
                    <a:cubicBezTo>
                      <a:pt x="697" y="39"/>
                      <a:pt x="582" y="0"/>
                      <a:pt x="460" y="0"/>
                    </a:cubicBezTo>
                    <a:cubicBezTo>
                      <a:pt x="338" y="0"/>
                      <a:pt x="223" y="39"/>
                      <a:pt x="136" y="110"/>
                    </a:cubicBezTo>
                    <a:cubicBezTo>
                      <a:pt x="48" y="182"/>
                      <a:pt x="0" y="277"/>
                      <a:pt x="0" y="379"/>
                    </a:cubicBezTo>
                    <a:cubicBezTo>
                      <a:pt x="0" y="481"/>
                      <a:pt x="48" y="577"/>
                      <a:pt x="136" y="649"/>
                    </a:cubicBezTo>
                    <a:cubicBezTo>
                      <a:pt x="162" y="670"/>
                      <a:pt x="190" y="688"/>
                      <a:pt x="220" y="703"/>
                    </a:cubicBezTo>
                    <a:cubicBezTo>
                      <a:pt x="220" y="864"/>
                      <a:pt x="220" y="864"/>
                      <a:pt x="220" y="864"/>
                    </a:cubicBezTo>
                    <a:cubicBezTo>
                      <a:pt x="220" y="871"/>
                      <a:pt x="225" y="878"/>
                      <a:pt x="232" y="881"/>
                    </a:cubicBezTo>
                    <a:cubicBezTo>
                      <a:pt x="234" y="882"/>
                      <a:pt x="237" y="882"/>
                      <a:pt x="239" y="882"/>
                    </a:cubicBezTo>
                    <a:cubicBezTo>
                      <a:pt x="244" y="882"/>
                      <a:pt x="249" y="880"/>
                      <a:pt x="252" y="876"/>
                    </a:cubicBezTo>
                    <a:cubicBezTo>
                      <a:pt x="369" y="751"/>
                      <a:pt x="369" y="751"/>
                      <a:pt x="369" y="751"/>
                    </a:cubicBezTo>
                    <a:cubicBezTo>
                      <a:pt x="398" y="756"/>
                      <a:pt x="429" y="758"/>
                      <a:pt x="460" y="758"/>
                    </a:cubicBezTo>
                    <a:cubicBezTo>
                      <a:pt x="582" y="758"/>
                      <a:pt x="697" y="719"/>
                      <a:pt x="784" y="649"/>
                    </a:cubicBezTo>
                    <a:cubicBezTo>
                      <a:pt x="871" y="577"/>
                      <a:pt x="919" y="481"/>
                      <a:pt x="919" y="379"/>
                    </a:cubicBezTo>
                    <a:cubicBezTo>
                      <a:pt x="919" y="277"/>
                      <a:pt x="871" y="182"/>
                      <a:pt x="784" y="110"/>
                    </a:cubicBezTo>
                    <a:close/>
                    <a:moveTo>
                      <a:pt x="239" y="424"/>
                    </a:moveTo>
                    <a:cubicBezTo>
                      <a:pt x="209" y="424"/>
                      <a:pt x="184" y="399"/>
                      <a:pt x="184" y="368"/>
                    </a:cubicBezTo>
                    <a:cubicBezTo>
                      <a:pt x="184" y="338"/>
                      <a:pt x="209" y="313"/>
                      <a:pt x="239" y="313"/>
                    </a:cubicBezTo>
                    <a:cubicBezTo>
                      <a:pt x="270" y="313"/>
                      <a:pt x="294" y="338"/>
                      <a:pt x="294" y="368"/>
                    </a:cubicBezTo>
                    <a:cubicBezTo>
                      <a:pt x="294" y="399"/>
                      <a:pt x="270" y="424"/>
                      <a:pt x="239" y="424"/>
                    </a:cubicBezTo>
                    <a:close/>
                    <a:moveTo>
                      <a:pt x="460" y="424"/>
                    </a:moveTo>
                    <a:cubicBezTo>
                      <a:pt x="430" y="424"/>
                      <a:pt x="405" y="399"/>
                      <a:pt x="405" y="368"/>
                    </a:cubicBezTo>
                    <a:cubicBezTo>
                      <a:pt x="405" y="338"/>
                      <a:pt x="430" y="313"/>
                      <a:pt x="460" y="313"/>
                    </a:cubicBezTo>
                    <a:cubicBezTo>
                      <a:pt x="491" y="313"/>
                      <a:pt x="515" y="338"/>
                      <a:pt x="515" y="368"/>
                    </a:cubicBezTo>
                    <a:cubicBezTo>
                      <a:pt x="515" y="399"/>
                      <a:pt x="491" y="424"/>
                      <a:pt x="460" y="424"/>
                    </a:cubicBezTo>
                    <a:close/>
                    <a:moveTo>
                      <a:pt x="680" y="424"/>
                    </a:moveTo>
                    <a:cubicBezTo>
                      <a:pt x="650" y="424"/>
                      <a:pt x="625" y="399"/>
                      <a:pt x="625" y="368"/>
                    </a:cubicBezTo>
                    <a:cubicBezTo>
                      <a:pt x="625" y="338"/>
                      <a:pt x="650" y="313"/>
                      <a:pt x="680" y="313"/>
                    </a:cubicBezTo>
                    <a:cubicBezTo>
                      <a:pt x="711" y="313"/>
                      <a:pt x="736" y="338"/>
                      <a:pt x="736" y="368"/>
                    </a:cubicBezTo>
                    <a:cubicBezTo>
                      <a:pt x="736" y="399"/>
                      <a:pt x="711" y="424"/>
                      <a:pt x="680" y="4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183" name="Group 182">
            <a:extLst>
              <a:ext uri="{FF2B5EF4-FFF2-40B4-BE49-F238E27FC236}">
                <a16:creationId xmlns:a16="http://schemas.microsoft.com/office/drawing/2014/main" id="{1D6EC252-11F7-4699-902D-3A1FBBB584C5}"/>
              </a:ext>
              <a:ext uri="{C183D7F6-B498-43B3-948B-1728B52AA6E4}">
                <adec:decorative xmlns:adec="http://schemas.microsoft.com/office/drawing/2017/decorative" val="1"/>
              </a:ext>
            </a:extLst>
          </p:cNvPr>
          <p:cNvGrpSpPr/>
          <p:nvPr/>
        </p:nvGrpSpPr>
        <p:grpSpPr>
          <a:xfrm>
            <a:off x="582847" y="2729394"/>
            <a:ext cx="7498243" cy="123111"/>
            <a:chOff x="451205" y="3046249"/>
            <a:chExt cx="7498243" cy="123111"/>
          </a:xfrm>
        </p:grpSpPr>
        <p:sp>
          <p:nvSpPr>
            <p:cNvPr id="361" name="Rectangle 170">
              <a:extLst>
                <a:ext uri="{FF2B5EF4-FFF2-40B4-BE49-F238E27FC236}">
                  <a16:creationId xmlns:a16="http://schemas.microsoft.com/office/drawing/2014/main" id="{821B0644-CF70-467A-AD8C-8F7DFEC7320D}"/>
                </a:ext>
              </a:extLst>
            </p:cNvPr>
            <p:cNvSpPr>
              <a:spLocks noChangeArrowheads="1"/>
            </p:cNvSpPr>
            <p:nvPr/>
          </p:nvSpPr>
          <p:spPr bwMode="auto">
            <a:xfrm>
              <a:off x="451205" y="3046249"/>
              <a:ext cx="49212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fr-FR" sz="800">
                  <a:solidFill>
                    <a:srgbClr val="000000"/>
                  </a:solidFill>
                  <a:latin typeface="+mn-lt"/>
                </a:rPr>
                <a:t>Discussion</a:t>
              </a:r>
              <a:endParaRPr kumimoji="0" lang="fr-FR" altLang="fr-FR" sz="800" b="0" i="0" u="none" strike="noStrike" cap="none" normalizeH="0" baseline="0">
                <a:ln>
                  <a:noFill/>
                </a:ln>
                <a:solidFill>
                  <a:schemeClr val="tx1"/>
                </a:solidFill>
                <a:effectLst/>
                <a:latin typeface="+mn-lt"/>
              </a:endParaRPr>
            </a:p>
          </p:txBody>
        </p:sp>
        <p:sp>
          <p:nvSpPr>
            <p:cNvPr id="343" name="Rectangle 95">
              <a:extLst>
                <a:ext uri="{FF2B5EF4-FFF2-40B4-BE49-F238E27FC236}">
                  <a16:creationId xmlns:a16="http://schemas.microsoft.com/office/drawing/2014/main" id="{E305AB3D-8359-4859-8E02-C9CA61D475A7}"/>
                </a:ext>
              </a:extLst>
            </p:cNvPr>
            <p:cNvSpPr>
              <a:spLocks noChangeArrowheads="1"/>
            </p:cNvSpPr>
            <p:nvPr/>
          </p:nvSpPr>
          <p:spPr bwMode="auto">
            <a:xfrm>
              <a:off x="7188494" y="3046249"/>
              <a:ext cx="76095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Service </a:t>
              </a:r>
              <a:r>
                <a:rPr lang="fr-FR" altLang="fr-FR" sz="800">
                  <a:solidFill>
                    <a:srgbClr val="000000"/>
                  </a:solidFill>
                  <a:latin typeface="+mn-lt"/>
                </a:rPr>
                <a:t>Desk</a:t>
              </a:r>
              <a:endParaRPr kumimoji="0" lang="fr-FR" altLang="fr-FR" sz="800" b="0" i="0" u="none" strike="noStrike" cap="none" normalizeH="0" baseline="0">
                <a:ln>
                  <a:noFill/>
                </a:ln>
                <a:solidFill>
                  <a:schemeClr val="tx1"/>
                </a:solidFill>
                <a:effectLst/>
                <a:latin typeface="+mn-lt"/>
              </a:endParaRPr>
            </a:p>
          </p:txBody>
        </p:sp>
      </p:grpSp>
      <p:grpSp>
        <p:nvGrpSpPr>
          <p:cNvPr id="175" name="Group 174">
            <a:extLst>
              <a:ext uri="{FF2B5EF4-FFF2-40B4-BE49-F238E27FC236}">
                <a16:creationId xmlns:a16="http://schemas.microsoft.com/office/drawing/2014/main" id="{D7DB825A-8117-405F-A93A-A47C27908A38}"/>
              </a:ext>
              <a:ext uri="{C183D7F6-B498-43B3-948B-1728B52AA6E4}">
                <adec:decorative xmlns:adec="http://schemas.microsoft.com/office/drawing/2017/decorative" val="1"/>
              </a:ext>
            </a:extLst>
          </p:cNvPr>
          <p:cNvGrpSpPr>
            <a:grpSpLocks noChangeAspect="1"/>
          </p:cNvGrpSpPr>
          <p:nvPr/>
        </p:nvGrpSpPr>
        <p:grpSpPr>
          <a:xfrm>
            <a:off x="1496136" y="3888243"/>
            <a:ext cx="675418" cy="633600"/>
            <a:chOff x="3414800" y="4246605"/>
            <a:chExt cx="767520" cy="720000"/>
          </a:xfrm>
        </p:grpSpPr>
        <p:sp>
          <p:nvSpPr>
            <p:cNvPr id="444" name="Freeform 78">
              <a:extLst>
                <a:ext uri="{FF2B5EF4-FFF2-40B4-BE49-F238E27FC236}">
                  <a16:creationId xmlns:a16="http://schemas.microsoft.com/office/drawing/2014/main" id="{CACE3B46-C6C1-44C4-90B5-4E24F4FFD65D}"/>
                </a:ext>
              </a:extLst>
            </p:cNvPr>
            <p:cNvSpPr>
              <a:spLocks/>
            </p:cNvSpPr>
            <p:nvPr/>
          </p:nvSpPr>
          <p:spPr bwMode="auto">
            <a:xfrm>
              <a:off x="3414800" y="4246605"/>
              <a:ext cx="767520" cy="720000"/>
            </a:xfrm>
            <a:custGeom>
              <a:avLst/>
              <a:gdLst>
                <a:gd name="T0" fmla="*/ 52 w 441"/>
                <a:gd name="T1" fmla="*/ 298 h 410"/>
                <a:gd name="T2" fmla="*/ 128 w 441"/>
                <a:gd name="T3" fmla="*/ 48 h 410"/>
                <a:gd name="T4" fmla="*/ 390 w 441"/>
                <a:gd name="T5" fmla="*/ 122 h 410"/>
                <a:gd name="T6" fmla="*/ 307 w 441"/>
                <a:gd name="T7" fmla="*/ 362 h 410"/>
                <a:gd name="T8" fmla="*/ 52 w 441"/>
                <a:gd name="T9" fmla="*/ 298 h 410"/>
              </a:gdLst>
              <a:ahLst/>
              <a:cxnLst>
                <a:cxn ang="0">
                  <a:pos x="T0" y="T1"/>
                </a:cxn>
                <a:cxn ang="0">
                  <a:pos x="T2" y="T3"/>
                </a:cxn>
                <a:cxn ang="0">
                  <a:pos x="T4" y="T5"/>
                </a:cxn>
                <a:cxn ang="0">
                  <a:pos x="T6" y="T7"/>
                </a:cxn>
                <a:cxn ang="0">
                  <a:pos x="T8" y="T9"/>
                </a:cxn>
              </a:cxnLst>
              <a:rect l="0" t="0" r="r" b="b"/>
              <a:pathLst>
                <a:path w="441" h="410">
                  <a:moveTo>
                    <a:pt x="52" y="298"/>
                  </a:moveTo>
                  <a:cubicBezTo>
                    <a:pt x="0" y="209"/>
                    <a:pt x="35" y="97"/>
                    <a:pt x="128" y="48"/>
                  </a:cubicBezTo>
                  <a:cubicBezTo>
                    <a:pt x="222" y="0"/>
                    <a:pt x="339" y="33"/>
                    <a:pt x="390" y="122"/>
                  </a:cubicBezTo>
                  <a:cubicBezTo>
                    <a:pt x="441" y="212"/>
                    <a:pt x="401" y="313"/>
                    <a:pt x="307" y="362"/>
                  </a:cubicBezTo>
                  <a:cubicBezTo>
                    <a:pt x="214" y="410"/>
                    <a:pt x="103" y="388"/>
                    <a:pt x="52" y="298"/>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60"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4"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46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6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6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6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63" name="Group 162">
            <a:extLst>
              <a:ext uri="{FF2B5EF4-FFF2-40B4-BE49-F238E27FC236}">
                <a16:creationId xmlns:a16="http://schemas.microsoft.com/office/drawing/2014/main" id="{8834E14F-4CCA-4F3B-9AA7-11A155940611}"/>
              </a:ext>
              <a:ext uri="{C183D7F6-B498-43B3-948B-1728B52AA6E4}">
                <adec:decorative xmlns:adec="http://schemas.microsoft.com/office/drawing/2017/decorative" val="1"/>
              </a:ext>
            </a:extLst>
          </p:cNvPr>
          <p:cNvGrpSpPr>
            <a:grpSpLocks noChangeAspect="1"/>
          </p:cNvGrpSpPr>
          <p:nvPr/>
        </p:nvGrpSpPr>
        <p:grpSpPr>
          <a:xfrm>
            <a:off x="10249413" y="1992045"/>
            <a:ext cx="671123" cy="633600"/>
            <a:chOff x="10365839" y="2308900"/>
            <a:chExt cx="762640" cy="720000"/>
          </a:xfrm>
        </p:grpSpPr>
        <p:sp>
          <p:nvSpPr>
            <p:cNvPr id="490" name="Freeform 117">
              <a:extLst>
                <a:ext uri="{FF2B5EF4-FFF2-40B4-BE49-F238E27FC236}">
                  <a16:creationId xmlns:a16="http://schemas.microsoft.com/office/drawing/2014/main" id="{85B55A9C-7262-409B-A2FE-A0A6C9BFAD84}"/>
                </a:ext>
              </a:extLst>
            </p:cNvPr>
            <p:cNvSpPr>
              <a:spLocks/>
            </p:cNvSpPr>
            <p:nvPr/>
          </p:nvSpPr>
          <p:spPr bwMode="auto">
            <a:xfrm>
              <a:off x="10365839" y="2308900"/>
              <a:ext cx="762640" cy="720000"/>
            </a:xfrm>
            <a:custGeom>
              <a:avLst/>
              <a:gdLst>
                <a:gd name="T0" fmla="*/ 42 w 294"/>
                <a:gd name="T1" fmla="*/ 214 h 274"/>
                <a:gd name="T2" fmla="*/ 70 w 294"/>
                <a:gd name="T3" fmla="*/ 41 h 274"/>
                <a:gd name="T4" fmla="*/ 251 w 294"/>
                <a:gd name="T5" fmla="*/ 66 h 274"/>
                <a:gd name="T6" fmla="*/ 219 w 294"/>
                <a:gd name="T7" fmla="*/ 233 h 274"/>
                <a:gd name="T8" fmla="*/ 42 w 294"/>
                <a:gd name="T9" fmla="*/ 214 h 274"/>
              </a:gdLst>
              <a:ahLst/>
              <a:cxnLst>
                <a:cxn ang="0">
                  <a:pos x="T0" y="T1"/>
                </a:cxn>
                <a:cxn ang="0">
                  <a:pos x="T2" y="T3"/>
                </a:cxn>
                <a:cxn ang="0">
                  <a:pos x="T4" y="T5"/>
                </a:cxn>
                <a:cxn ang="0">
                  <a:pos x="T6" y="T7"/>
                </a:cxn>
                <a:cxn ang="0">
                  <a:pos x="T8" y="T9"/>
                </a:cxn>
              </a:cxnLst>
              <a:rect l="0" t="0" r="r" b="b"/>
              <a:pathLst>
                <a:path w="294" h="274">
                  <a:moveTo>
                    <a:pt x="42" y="214"/>
                  </a:moveTo>
                  <a:cubicBezTo>
                    <a:pt x="0" y="159"/>
                    <a:pt x="13" y="82"/>
                    <a:pt x="70" y="41"/>
                  </a:cubicBezTo>
                  <a:cubicBezTo>
                    <a:pt x="128" y="0"/>
                    <a:pt x="209" y="11"/>
                    <a:pt x="251" y="66"/>
                  </a:cubicBezTo>
                  <a:cubicBezTo>
                    <a:pt x="294" y="121"/>
                    <a:pt x="276" y="192"/>
                    <a:pt x="219" y="233"/>
                  </a:cubicBezTo>
                  <a:cubicBezTo>
                    <a:pt x="161" y="274"/>
                    <a:pt x="84" y="269"/>
                    <a:pt x="42" y="21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15" name="Groupe 514">
              <a:extLst>
                <a:ext uri="{FF2B5EF4-FFF2-40B4-BE49-F238E27FC236}">
                  <a16:creationId xmlns:a16="http://schemas.microsoft.com/office/drawing/2014/main" id="{7AD4DA95-6003-4F4D-A33D-EF90B4D0E8A1}"/>
                </a:ext>
              </a:extLst>
            </p:cNvPr>
            <p:cNvGrpSpPr/>
            <p:nvPr/>
          </p:nvGrpSpPr>
          <p:grpSpPr>
            <a:xfrm rot="1243048" flipH="1" flipV="1">
              <a:off x="10538092" y="2513691"/>
              <a:ext cx="358174" cy="404467"/>
              <a:chOff x="7940675" y="1608138"/>
              <a:chExt cx="466726" cy="527050"/>
            </a:xfrm>
            <a:solidFill>
              <a:schemeClr val="bg1"/>
            </a:solidFill>
          </p:grpSpPr>
          <p:sp>
            <p:nvSpPr>
              <p:cNvPr id="516" name="Freeform 118">
                <a:extLst>
                  <a:ext uri="{FF2B5EF4-FFF2-40B4-BE49-F238E27FC236}">
                    <a16:creationId xmlns:a16="http://schemas.microsoft.com/office/drawing/2014/main" id="{A1842B2B-D43C-4B54-9C4B-138C5627B1EF}"/>
                  </a:ext>
                </a:extLst>
              </p:cNvPr>
              <p:cNvSpPr>
                <a:spLocks/>
              </p:cNvSpPr>
              <p:nvPr/>
            </p:nvSpPr>
            <p:spPr bwMode="auto">
              <a:xfrm>
                <a:off x="7940675" y="1824038"/>
                <a:ext cx="80963" cy="307975"/>
              </a:xfrm>
              <a:custGeom>
                <a:avLst/>
                <a:gdLst>
                  <a:gd name="T0" fmla="*/ 9 w 24"/>
                  <a:gd name="T1" fmla="*/ 0 h 90"/>
                  <a:gd name="T2" fmla="*/ 24 w 24"/>
                  <a:gd name="T3" fmla="*/ 0 h 90"/>
                  <a:gd name="T4" fmla="*/ 24 w 24"/>
                  <a:gd name="T5" fmla="*/ 90 h 90"/>
                  <a:gd name="T6" fmla="*/ 0 w 24"/>
                  <a:gd name="T7" fmla="*/ 90 h 90"/>
                  <a:gd name="T8" fmla="*/ 0 w 24"/>
                  <a:gd name="T9" fmla="*/ 10 h 90"/>
                  <a:gd name="T10" fmla="*/ 9 w 24"/>
                  <a:gd name="T11" fmla="*/ 0 h 90"/>
                </a:gdLst>
                <a:ahLst/>
                <a:cxnLst>
                  <a:cxn ang="0">
                    <a:pos x="T0" y="T1"/>
                  </a:cxn>
                  <a:cxn ang="0">
                    <a:pos x="T2" y="T3"/>
                  </a:cxn>
                  <a:cxn ang="0">
                    <a:pos x="T4" y="T5"/>
                  </a:cxn>
                  <a:cxn ang="0">
                    <a:pos x="T6" y="T7"/>
                  </a:cxn>
                  <a:cxn ang="0">
                    <a:pos x="T8" y="T9"/>
                  </a:cxn>
                  <a:cxn ang="0">
                    <a:pos x="T10" y="T11"/>
                  </a:cxn>
                </a:cxnLst>
                <a:rect l="0" t="0" r="r" b="b"/>
                <a:pathLst>
                  <a:path w="24" h="90">
                    <a:moveTo>
                      <a:pt x="9" y="0"/>
                    </a:moveTo>
                    <a:cubicBezTo>
                      <a:pt x="24" y="0"/>
                      <a:pt x="24" y="0"/>
                      <a:pt x="24" y="0"/>
                    </a:cubicBezTo>
                    <a:cubicBezTo>
                      <a:pt x="24" y="90"/>
                      <a:pt x="24" y="90"/>
                      <a:pt x="24" y="90"/>
                    </a:cubicBezTo>
                    <a:cubicBezTo>
                      <a:pt x="0" y="90"/>
                      <a:pt x="0" y="90"/>
                      <a:pt x="0" y="90"/>
                    </a:cubicBezTo>
                    <a:cubicBezTo>
                      <a:pt x="0" y="10"/>
                      <a:pt x="0" y="10"/>
                      <a:pt x="0" y="10"/>
                    </a:cubicBezTo>
                    <a:cubicBezTo>
                      <a:pt x="0" y="10"/>
                      <a:pt x="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19">
                <a:extLst>
                  <a:ext uri="{FF2B5EF4-FFF2-40B4-BE49-F238E27FC236}">
                    <a16:creationId xmlns:a16="http://schemas.microsoft.com/office/drawing/2014/main" id="{D6DAE887-DB70-47FB-9247-7B433CC7FF96}"/>
                  </a:ext>
                </a:extLst>
              </p:cNvPr>
              <p:cNvSpPr>
                <a:spLocks/>
              </p:cNvSpPr>
              <p:nvPr/>
            </p:nvSpPr>
            <p:spPr bwMode="auto">
              <a:xfrm>
                <a:off x="8059738" y="1608138"/>
                <a:ext cx="347663" cy="527050"/>
              </a:xfrm>
              <a:custGeom>
                <a:avLst/>
                <a:gdLst>
                  <a:gd name="T0" fmla="*/ 54 w 103"/>
                  <a:gd name="T1" fmla="*/ 54 h 154"/>
                  <a:gd name="T2" fmla="*/ 56 w 103"/>
                  <a:gd name="T3" fmla="*/ 54 h 154"/>
                  <a:gd name="T4" fmla="*/ 86 w 103"/>
                  <a:gd name="T5" fmla="*/ 54 h 154"/>
                  <a:gd name="T6" fmla="*/ 99 w 103"/>
                  <a:gd name="T7" fmla="*/ 62 h 154"/>
                  <a:gd name="T8" fmla="*/ 94 w 103"/>
                  <a:gd name="T9" fmla="*/ 82 h 154"/>
                  <a:gd name="T10" fmla="*/ 94 w 103"/>
                  <a:gd name="T11" fmla="*/ 84 h 154"/>
                  <a:gd name="T12" fmla="*/ 92 w 103"/>
                  <a:gd name="T13" fmla="*/ 104 h 154"/>
                  <a:gd name="T14" fmla="*/ 91 w 103"/>
                  <a:gd name="T15" fmla="*/ 106 h 154"/>
                  <a:gd name="T16" fmla="*/ 90 w 103"/>
                  <a:gd name="T17" fmla="*/ 128 h 154"/>
                  <a:gd name="T18" fmla="*/ 90 w 103"/>
                  <a:gd name="T19" fmla="*/ 129 h 154"/>
                  <a:gd name="T20" fmla="*/ 95 w 103"/>
                  <a:gd name="T21" fmla="*/ 143 h 154"/>
                  <a:gd name="T22" fmla="*/ 84 w 103"/>
                  <a:gd name="T23" fmla="*/ 154 h 154"/>
                  <a:gd name="T24" fmla="*/ 81 w 103"/>
                  <a:gd name="T25" fmla="*/ 154 h 154"/>
                  <a:gd name="T26" fmla="*/ 7 w 103"/>
                  <a:gd name="T27" fmla="*/ 154 h 154"/>
                  <a:gd name="T28" fmla="*/ 0 w 103"/>
                  <a:gd name="T29" fmla="*/ 147 h 154"/>
                  <a:gd name="T30" fmla="*/ 0 w 103"/>
                  <a:gd name="T31" fmla="*/ 64 h 154"/>
                  <a:gd name="T32" fmla="*/ 1 w 103"/>
                  <a:gd name="T33" fmla="*/ 61 h 154"/>
                  <a:gd name="T34" fmla="*/ 22 w 103"/>
                  <a:gd name="T35" fmla="*/ 37 h 154"/>
                  <a:gd name="T36" fmla="*/ 33 w 103"/>
                  <a:gd name="T37" fmla="*/ 24 h 154"/>
                  <a:gd name="T38" fmla="*/ 36 w 103"/>
                  <a:gd name="T39" fmla="*/ 17 h 154"/>
                  <a:gd name="T40" fmla="*/ 36 w 103"/>
                  <a:gd name="T41" fmla="*/ 11 h 154"/>
                  <a:gd name="T42" fmla="*/ 50 w 103"/>
                  <a:gd name="T43" fmla="*/ 2 h 154"/>
                  <a:gd name="T44" fmla="*/ 57 w 103"/>
                  <a:gd name="T45" fmla="*/ 7 h 154"/>
                  <a:gd name="T46" fmla="*/ 60 w 103"/>
                  <a:gd name="T47" fmla="*/ 18 h 154"/>
                  <a:gd name="T48" fmla="*/ 57 w 103"/>
                  <a:gd name="T49" fmla="*/ 45 h 154"/>
                  <a:gd name="T50" fmla="*/ 54 w 103"/>
                  <a:gd name="T51" fmla="*/ 53 h 154"/>
                  <a:gd name="T52" fmla="*/ 54 w 103"/>
                  <a:gd name="T53" fmla="*/ 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154">
                    <a:moveTo>
                      <a:pt x="54" y="54"/>
                    </a:moveTo>
                    <a:cubicBezTo>
                      <a:pt x="56" y="54"/>
                      <a:pt x="56" y="54"/>
                      <a:pt x="56" y="54"/>
                    </a:cubicBezTo>
                    <a:cubicBezTo>
                      <a:pt x="66" y="54"/>
                      <a:pt x="76" y="54"/>
                      <a:pt x="86" y="54"/>
                    </a:cubicBezTo>
                    <a:cubicBezTo>
                      <a:pt x="92" y="54"/>
                      <a:pt x="96" y="57"/>
                      <a:pt x="99" y="62"/>
                    </a:cubicBezTo>
                    <a:cubicBezTo>
                      <a:pt x="103" y="69"/>
                      <a:pt x="101" y="78"/>
                      <a:pt x="94" y="82"/>
                    </a:cubicBezTo>
                    <a:cubicBezTo>
                      <a:pt x="93" y="83"/>
                      <a:pt x="93" y="83"/>
                      <a:pt x="94" y="84"/>
                    </a:cubicBezTo>
                    <a:cubicBezTo>
                      <a:pt x="99" y="90"/>
                      <a:pt x="98" y="100"/>
                      <a:pt x="92" y="104"/>
                    </a:cubicBezTo>
                    <a:cubicBezTo>
                      <a:pt x="90" y="105"/>
                      <a:pt x="90" y="105"/>
                      <a:pt x="91" y="106"/>
                    </a:cubicBezTo>
                    <a:cubicBezTo>
                      <a:pt x="97" y="112"/>
                      <a:pt x="97" y="122"/>
                      <a:pt x="90" y="128"/>
                    </a:cubicBezTo>
                    <a:cubicBezTo>
                      <a:pt x="89" y="128"/>
                      <a:pt x="89" y="128"/>
                      <a:pt x="90" y="129"/>
                    </a:cubicBezTo>
                    <a:cubicBezTo>
                      <a:pt x="94" y="132"/>
                      <a:pt x="96" y="138"/>
                      <a:pt x="95" y="143"/>
                    </a:cubicBezTo>
                    <a:cubicBezTo>
                      <a:pt x="94" y="149"/>
                      <a:pt x="89" y="153"/>
                      <a:pt x="84" y="154"/>
                    </a:cubicBezTo>
                    <a:cubicBezTo>
                      <a:pt x="83" y="154"/>
                      <a:pt x="82" y="154"/>
                      <a:pt x="81" y="154"/>
                    </a:cubicBezTo>
                    <a:cubicBezTo>
                      <a:pt x="56" y="154"/>
                      <a:pt x="32" y="154"/>
                      <a:pt x="7" y="154"/>
                    </a:cubicBezTo>
                    <a:cubicBezTo>
                      <a:pt x="3" y="154"/>
                      <a:pt x="0" y="151"/>
                      <a:pt x="0" y="147"/>
                    </a:cubicBezTo>
                    <a:cubicBezTo>
                      <a:pt x="0" y="119"/>
                      <a:pt x="0" y="92"/>
                      <a:pt x="0" y="64"/>
                    </a:cubicBezTo>
                    <a:cubicBezTo>
                      <a:pt x="0" y="63"/>
                      <a:pt x="0" y="62"/>
                      <a:pt x="1" y="61"/>
                    </a:cubicBezTo>
                    <a:cubicBezTo>
                      <a:pt x="8" y="53"/>
                      <a:pt x="15" y="45"/>
                      <a:pt x="22" y="37"/>
                    </a:cubicBezTo>
                    <a:cubicBezTo>
                      <a:pt x="26" y="33"/>
                      <a:pt x="30" y="29"/>
                      <a:pt x="33" y="24"/>
                    </a:cubicBezTo>
                    <a:cubicBezTo>
                      <a:pt x="35" y="22"/>
                      <a:pt x="36" y="20"/>
                      <a:pt x="36" y="17"/>
                    </a:cubicBezTo>
                    <a:cubicBezTo>
                      <a:pt x="36" y="15"/>
                      <a:pt x="36" y="13"/>
                      <a:pt x="36" y="11"/>
                    </a:cubicBezTo>
                    <a:cubicBezTo>
                      <a:pt x="37" y="5"/>
                      <a:pt x="44" y="0"/>
                      <a:pt x="50" y="2"/>
                    </a:cubicBezTo>
                    <a:cubicBezTo>
                      <a:pt x="53" y="2"/>
                      <a:pt x="55" y="4"/>
                      <a:pt x="57" y="7"/>
                    </a:cubicBezTo>
                    <a:cubicBezTo>
                      <a:pt x="59" y="10"/>
                      <a:pt x="59" y="14"/>
                      <a:pt x="60" y="18"/>
                    </a:cubicBezTo>
                    <a:cubicBezTo>
                      <a:pt x="60" y="27"/>
                      <a:pt x="60" y="36"/>
                      <a:pt x="57" y="45"/>
                    </a:cubicBezTo>
                    <a:cubicBezTo>
                      <a:pt x="57" y="47"/>
                      <a:pt x="56" y="50"/>
                      <a:pt x="54" y="53"/>
                    </a:cubicBezTo>
                    <a:cubicBezTo>
                      <a:pt x="54" y="53"/>
                      <a:pt x="54" y="53"/>
                      <a:pt x="54"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 name="Groupe 28">
            <a:extLst>
              <a:ext uri="{FF2B5EF4-FFF2-40B4-BE49-F238E27FC236}">
                <a16:creationId xmlns:a16="http://schemas.microsoft.com/office/drawing/2014/main" id="{C0DE0DC3-A28B-46CF-A488-E1CB2BDD398B}"/>
              </a:ext>
              <a:ext uri="{C183D7F6-B498-43B3-948B-1728B52AA6E4}">
                <adec:decorative xmlns:adec="http://schemas.microsoft.com/office/drawing/2017/decorative" val="1"/>
              </a:ext>
            </a:extLst>
          </p:cNvPr>
          <p:cNvGrpSpPr>
            <a:grpSpLocks noChangeAspect="1"/>
          </p:cNvGrpSpPr>
          <p:nvPr/>
        </p:nvGrpSpPr>
        <p:grpSpPr>
          <a:xfrm>
            <a:off x="7337018" y="1992045"/>
            <a:ext cx="674643" cy="633600"/>
            <a:chOff x="5056174" y="5220865"/>
            <a:chExt cx="902946" cy="848014"/>
          </a:xfrm>
        </p:grpSpPr>
        <p:sp>
          <p:nvSpPr>
            <p:cNvPr id="532" name="Freeform 87">
              <a:extLst>
                <a:ext uri="{FF2B5EF4-FFF2-40B4-BE49-F238E27FC236}">
                  <a16:creationId xmlns:a16="http://schemas.microsoft.com/office/drawing/2014/main" id="{BF6E2E4A-FED9-406D-B0F7-863253C36AEC}"/>
                </a:ext>
              </a:extLst>
            </p:cNvPr>
            <p:cNvSpPr>
              <a:spLocks/>
            </p:cNvSpPr>
            <p:nvPr/>
          </p:nvSpPr>
          <p:spPr bwMode="auto">
            <a:xfrm>
              <a:off x="5056174" y="5220865"/>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33" name="Freeform 47">
              <a:extLst>
                <a:ext uri="{FF2B5EF4-FFF2-40B4-BE49-F238E27FC236}">
                  <a16:creationId xmlns:a16="http://schemas.microsoft.com/office/drawing/2014/main" id="{317683B5-B5AB-4D0C-89A2-AC819EC5F25E}"/>
                </a:ext>
              </a:extLst>
            </p:cNvPr>
            <p:cNvSpPr>
              <a:spLocks noEditPoints="1"/>
            </p:cNvSpPr>
            <p:nvPr/>
          </p:nvSpPr>
          <p:spPr bwMode="auto">
            <a:xfrm>
              <a:off x="5248040" y="5357050"/>
              <a:ext cx="484172" cy="577910"/>
            </a:xfrm>
            <a:custGeom>
              <a:avLst/>
              <a:gdLst>
                <a:gd name="T0" fmla="*/ 19 w 563"/>
                <a:gd name="T1" fmla="*/ 368 h 672"/>
                <a:gd name="T2" fmla="*/ 4 w 563"/>
                <a:gd name="T3" fmla="*/ 380 h 672"/>
                <a:gd name="T4" fmla="*/ 0 w 563"/>
                <a:gd name="T5" fmla="*/ 425 h 672"/>
                <a:gd name="T6" fmla="*/ 8 w 563"/>
                <a:gd name="T7" fmla="*/ 443 h 672"/>
                <a:gd name="T8" fmla="*/ 26 w 563"/>
                <a:gd name="T9" fmla="*/ 451 h 672"/>
                <a:gd name="T10" fmla="*/ 70 w 563"/>
                <a:gd name="T11" fmla="*/ 468 h 672"/>
                <a:gd name="T12" fmla="*/ 104 w 563"/>
                <a:gd name="T13" fmla="*/ 490 h 672"/>
                <a:gd name="T14" fmla="*/ 125 w 563"/>
                <a:gd name="T15" fmla="*/ 324 h 672"/>
                <a:gd name="T16" fmla="*/ 95 w 563"/>
                <a:gd name="T17" fmla="*/ 333 h 672"/>
                <a:gd name="T18" fmla="*/ 64 w 563"/>
                <a:gd name="T19" fmla="*/ 359 h 672"/>
                <a:gd name="T20" fmla="*/ 510 w 563"/>
                <a:gd name="T21" fmla="*/ 283 h 672"/>
                <a:gd name="T22" fmla="*/ 538 w 563"/>
                <a:gd name="T23" fmla="*/ 248 h 672"/>
                <a:gd name="T24" fmla="*/ 528 w 563"/>
                <a:gd name="T25" fmla="*/ 175 h 672"/>
                <a:gd name="T26" fmla="*/ 482 w 563"/>
                <a:gd name="T27" fmla="*/ 91 h 672"/>
                <a:gd name="T28" fmla="*/ 408 w 563"/>
                <a:gd name="T29" fmla="*/ 31 h 672"/>
                <a:gd name="T30" fmla="*/ 316 w 563"/>
                <a:gd name="T31" fmla="*/ 1 h 672"/>
                <a:gd name="T32" fmla="*/ 248 w 563"/>
                <a:gd name="T33" fmla="*/ 1 h 672"/>
                <a:gd name="T34" fmla="*/ 156 w 563"/>
                <a:gd name="T35" fmla="*/ 31 h 672"/>
                <a:gd name="T36" fmla="*/ 82 w 563"/>
                <a:gd name="T37" fmla="*/ 91 h 672"/>
                <a:gd name="T38" fmla="*/ 36 w 563"/>
                <a:gd name="T39" fmla="*/ 175 h 672"/>
                <a:gd name="T40" fmla="*/ 26 w 563"/>
                <a:gd name="T41" fmla="*/ 352 h 672"/>
                <a:gd name="T42" fmla="*/ 56 w 563"/>
                <a:gd name="T43" fmla="*/ 227 h 672"/>
                <a:gd name="T44" fmla="*/ 82 w 563"/>
                <a:gd name="T45" fmla="*/ 152 h 672"/>
                <a:gd name="T46" fmla="*/ 135 w 563"/>
                <a:gd name="T47" fmla="*/ 99 h 672"/>
                <a:gd name="T48" fmla="*/ 209 w 563"/>
                <a:gd name="T49" fmla="*/ 69 h 672"/>
                <a:gd name="T50" fmla="*/ 290 w 563"/>
                <a:gd name="T51" fmla="*/ 62 h 672"/>
                <a:gd name="T52" fmla="*/ 355 w 563"/>
                <a:gd name="T53" fmla="*/ 69 h 672"/>
                <a:gd name="T54" fmla="*/ 429 w 563"/>
                <a:gd name="T55" fmla="*/ 99 h 672"/>
                <a:gd name="T56" fmla="*/ 482 w 563"/>
                <a:gd name="T57" fmla="*/ 152 h 672"/>
                <a:gd name="T58" fmla="*/ 508 w 563"/>
                <a:gd name="T59" fmla="*/ 227 h 672"/>
                <a:gd name="T60" fmla="*/ 506 w 563"/>
                <a:gd name="T61" fmla="*/ 368 h 672"/>
                <a:gd name="T62" fmla="*/ 486 w 563"/>
                <a:gd name="T63" fmla="*/ 343 h 672"/>
                <a:gd name="T64" fmla="*/ 448 w 563"/>
                <a:gd name="T65" fmla="*/ 326 h 672"/>
                <a:gd name="T66" fmla="*/ 448 w 563"/>
                <a:gd name="T67" fmla="*/ 493 h 672"/>
                <a:gd name="T68" fmla="*/ 486 w 563"/>
                <a:gd name="T69" fmla="*/ 474 h 672"/>
                <a:gd name="T70" fmla="*/ 516 w 563"/>
                <a:gd name="T71" fmla="*/ 451 h 672"/>
                <a:gd name="T72" fmla="*/ 514 w 563"/>
                <a:gd name="T73" fmla="*/ 486 h 672"/>
                <a:gd name="T74" fmla="*/ 490 w 563"/>
                <a:gd name="T75" fmla="*/ 545 h 672"/>
                <a:gd name="T76" fmla="*/ 447 w 563"/>
                <a:gd name="T77" fmla="*/ 590 h 672"/>
                <a:gd name="T78" fmla="*/ 391 w 563"/>
                <a:gd name="T79" fmla="*/ 619 h 672"/>
                <a:gd name="T80" fmla="*/ 356 w 563"/>
                <a:gd name="T81" fmla="*/ 620 h 672"/>
                <a:gd name="T82" fmla="*/ 341 w 563"/>
                <a:gd name="T83" fmla="*/ 603 h 672"/>
                <a:gd name="T84" fmla="*/ 324 w 563"/>
                <a:gd name="T85" fmla="*/ 599 h 672"/>
                <a:gd name="T86" fmla="*/ 299 w 563"/>
                <a:gd name="T87" fmla="*/ 610 h 672"/>
                <a:gd name="T88" fmla="*/ 289 w 563"/>
                <a:gd name="T89" fmla="*/ 636 h 672"/>
                <a:gd name="T90" fmla="*/ 294 w 563"/>
                <a:gd name="T91" fmla="*/ 655 h 672"/>
                <a:gd name="T92" fmla="*/ 317 w 563"/>
                <a:gd name="T93" fmla="*/ 671 h 672"/>
                <a:gd name="T94" fmla="*/ 337 w 563"/>
                <a:gd name="T95" fmla="*/ 669 h 672"/>
                <a:gd name="T96" fmla="*/ 355 w 563"/>
                <a:gd name="T97" fmla="*/ 655 h 672"/>
                <a:gd name="T98" fmla="*/ 377 w 563"/>
                <a:gd name="T99" fmla="*/ 642 h 672"/>
                <a:gd name="T100" fmla="*/ 443 w 563"/>
                <a:gd name="T101" fmla="*/ 616 h 672"/>
                <a:gd name="T102" fmla="*/ 495 w 563"/>
                <a:gd name="T103" fmla="*/ 569 h 672"/>
                <a:gd name="T104" fmla="*/ 528 w 563"/>
                <a:gd name="T105" fmla="*/ 507 h 672"/>
                <a:gd name="T106" fmla="*/ 536 w 563"/>
                <a:gd name="T107" fmla="*/ 451 h 672"/>
                <a:gd name="T108" fmla="*/ 549 w 563"/>
                <a:gd name="T109" fmla="*/ 450 h 672"/>
                <a:gd name="T110" fmla="*/ 562 w 563"/>
                <a:gd name="T111" fmla="*/ 435 h 672"/>
                <a:gd name="T112" fmla="*/ 563 w 563"/>
                <a:gd name="T113" fmla="*/ 394 h 672"/>
                <a:gd name="T114" fmla="*/ 556 w 563"/>
                <a:gd name="T115" fmla="*/ 374 h 672"/>
                <a:gd name="T116" fmla="*/ 538 w 563"/>
                <a:gd name="T117" fmla="*/ 36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3" h="672">
                  <a:moveTo>
                    <a:pt x="57" y="368"/>
                  </a:moveTo>
                  <a:lnTo>
                    <a:pt x="26" y="368"/>
                  </a:lnTo>
                  <a:lnTo>
                    <a:pt x="26" y="368"/>
                  </a:lnTo>
                  <a:lnTo>
                    <a:pt x="19" y="368"/>
                  </a:lnTo>
                  <a:lnTo>
                    <a:pt x="13" y="370"/>
                  </a:lnTo>
                  <a:lnTo>
                    <a:pt x="8" y="374"/>
                  </a:lnTo>
                  <a:lnTo>
                    <a:pt x="4" y="380"/>
                  </a:lnTo>
                  <a:lnTo>
                    <a:pt x="4" y="380"/>
                  </a:lnTo>
                  <a:lnTo>
                    <a:pt x="1" y="386"/>
                  </a:lnTo>
                  <a:lnTo>
                    <a:pt x="0" y="394"/>
                  </a:lnTo>
                  <a:lnTo>
                    <a:pt x="0" y="425"/>
                  </a:lnTo>
                  <a:lnTo>
                    <a:pt x="0" y="425"/>
                  </a:lnTo>
                  <a:lnTo>
                    <a:pt x="1" y="430"/>
                  </a:lnTo>
                  <a:lnTo>
                    <a:pt x="2" y="435"/>
                  </a:lnTo>
                  <a:lnTo>
                    <a:pt x="5" y="439"/>
                  </a:lnTo>
                  <a:lnTo>
                    <a:pt x="8" y="443"/>
                  </a:lnTo>
                  <a:lnTo>
                    <a:pt x="12" y="447"/>
                  </a:lnTo>
                  <a:lnTo>
                    <a:pt x="15" y="450"/>
                  </a:lnTo>
                  <a:lnTo>
                    <a:pt x="21" y="451"/>
                  </a:lnTo>
                  <a:lnTo>
                    <a:pt x="26" y="451"/>
                  </a:lnTo>
                  <a:lnTo>
                    <a:pt x="57" y="451"/>
                  </a:lnTo>
                  <a:lnTo>
                    <a:pt x="57" y="451"/>
                  </a:lnTo>
                  <a:lnTo>
                    <a:pt x="64" y="460"/>
                  </a:lnTo>
                  <a:lnTo>
                    <a:pt x="70" y="468"/>
                  </a:lnTo>
                  <a:lnTo>
                    <a:pt x="78" y="474"/>
                  </a:lnTo>
                  <a:lnTo>
                    <a:pt x="86" y="481"/>
                  </a:lnTo>
                  <a:lnTo>
                    <a:pt x="95" y="486"/>
                  </a:lnTo>
                  <a:lnTo>
                    <a:pt x="104" y="490"/>
                  </a:lnTo>
                  <a:lnTo>
                    <a:pt x="114" y="493"/>
                  </a:lnTo>
                  <a:lnTo>
                    <a:pt x="125" y="495"/>
                  </a:lnTo>
                  <a:lnTo>
                    <a:pt x="125" y="381"/>
                  </a:lnTo>
                  <a:lnTo>
                    <a:pt x="125" y="324"/>
                  </a:lnTo>
                  <a:lnTo>
                    <a:pt x="125" y="324"/>
                  </a:lnTo>
                  <a:lnTo>
                    <a:pt x="114" y="326"/>
                  </a:lnTo>
                  <a:lnTo>
                    <a:pt x="104" y="329"/>
                  </a:lnTo>
                  <a:lnTo>
                    <a:pt x="95" y="333"/>
                  </a:lnTo>
                  <a:lnTo>
                    <a:pt x="86" y="338"/>
                  </a:lnTo>
                  <a:lnTo>
                    <a:pt x="78" y="343"/>
                  </a:lnTo>
                  <a:lnTo>
                    <a:pt x="70" y="351"/>
                  </a:lnTo>
                  <a:lnTo>
                    <a:pt x="64" y="359"/>
                  </a:lnTo>
                  <a:lnTo>
                    <a:pt x="57" y="368"/>
                  </a:lnTo>
                  <a:lnTo>
                    <a:pt x="57" y="368"/>
                  </a:lnTo>
                  <a:close/>
                  <a:moveTo>
                    <a:pt x="510" y="248"/>
                  </a:moveTo>
                  <a:lnTo>
                    <a:pt x="510" y="283"/>
                  </a:lnTo>
                  <a:lnTo>
                    <a:pt x="510" y="352"/>
                  </a:lnTo>
                  <a:lnTo>
                    <a:pt x="538" y="352"/>
                  </a:lnTo>
                  <a:lnTo>
                    <a:pt x="538" y="286"/>
                  </a:lnTo>
                  <a:lnTo>
                    <a:pt x="538" y="248"/>
                  </a:lnTo>
                  <a:lnTo>
                    <a:pt x="538" y="248"/>
                  </a:lnTo>
                  <a:lnTo>
                    <a:pt x="537" y="224"/>
                  </a:lnTo>
                  <a:lnTo>
                    <a:pt x="533" y="199"/>
                  </a:lnTo>
                  <a:lnTo>
                    <a:pt x="528" y="175"/>
                  </a:lnTo>
                  <a:lnTo>
                    <a:pt x="519" y="152"/>
                  </a:lnTo>
                  <a:lnTo>
                    <a:pt x="508" y="130"/>
                  </a:lnTo>
                  <a:lnTo>
                    <a:pt x="497" y="110"/>
                  </a:lnTo>
                  <a:lnTo>
                    <a:pt x="482" y="91"/>
                  </a:lnTo>
                  <a:lnTo>
                    <a:pt x="465" y="73"/>
                  </a:lnTo>
                  <a:lnTo>
                    <a:pt x="448" y="57"/>
                  </a:lnTo>
                  <a:lnTo>
                    <a:pt x="429" y="43"/>
                  </a:lnTo>
                  <a:lnTo>
                    <a:pt x="408" y="31"/>
                  </a:lnTo>
                  <a:lnTo>
                    <a:pt x="387" y="19"/>
                  </a:lnTo>
                  <a:lnTo>
                    <a:pt x="364" y="12"/>
                  </a:lnTo>
                  <a:lnTo>
                    <a:pt x="341" y="5"/>
                  </a:lnTo>
                  <a:lnTo>
                    <a:pt x="316" y="1"/>
                  </a:lnTo>
                  <a:lnTo>
                    <a:pt x="290" y="0"/>
                  </a:lnTo>
                  <a:lnTo>
                    <a:pt x="274" y="0"/>
                  </a:lnTo>
                  <a:lnTo>
                    <a:pt x="274" y="0"/>
                  </a:lnTo>
                  <a:lnTo>
                    <a:pt x="248" y="1"/>
                  </a:lnTo>
                  <a:lnTo>
                    <a:pt x="224" y="5"/>
                  </a:lnTo>
                  <a:lnTo>
                    <a:pt x="200" y="12"/>
                  </a:lnTo>
                  <a:lnTo>
                    <a:pt x="177" y="19"/>
                  </a:lnTo>
                  <a:lnTo>
                    <a:pt x="156" y="31"/>
                  </a:lnTo>
                  <a:lnTo>
                    <a:pt x="135" y="43"/>
                  </a:lnTo>
                  <a:lnTo>
                    <a:pt x="116" y="57"/>
                  </a:lnTo>
                  <a:lnTo>
                    <a:pt x="99" y="73"/>
                  </a:lnTo>
                  <a:lnTo>
                    <a:pt x="82" y="91"/>
                  </a:lnTo>
                  <a:lnTo>
                    <a:pt x="67" y="110"/>
                  </a:lnTo>
                  <a:lnTo>
                    <a:pt x="56" y="130"/>
                  </a:lnTo>
                  <a:lnTo>
                    <a:pt x="45" y="152"/>
                  </a:lnTo>
                  <a:lnTo>
                    <a:pt x="36" y="175"/>
                  </a:lnTo>
                  <a:lnTo>
                    <a:pt x="31" y="199"/>
                  </a:lnTo>
                  <a:lnTo>
                    <a:pt x="27" y="224"/>
                  </a:lnTo>
                  <a:lnTo>
                    <a:pt x="26" y="248"/>
                  </a:lnTo>
                  <a:lnTo>
                    <a:pt x="26" y="352"/>
                  </a:lnTo>
                  <a:lnTo>
                    <a:pt x="54" y="352"/>
                  </a:lnTo>
                  <a:lnTo>
                    <a:pt x="54" y="248"/>
                  </a:lnTo>
                  <a:lnTo>
                    <a:pt x="54" y="248"/>
                  </a:lnTo>
                  <a:lnTo>
                    <a:pt x="56" y="227"/>
                  </a:lnTo>
                  <a:lnTo>
                    <a:pt x="60" y="207"/>
                  </a:lnTo>
                  <a:lnTo>
                    <a:pt x="65" y="187"/>
                  </a:lnTo>
                  <a:lnTo>
                    <a:pt x="73" y="169"/>
                  </a:lnTo>
                  <a:lnTo>
                    <a:pt x="82" y="152"/>
                  </a:lnTo>
                  <a:lnTo>
                    <a:pt x="92" y="136"/>
                  </a:lnTo>
                  <a:lnTo>
                    <a:pt x="105" y="122"/>
                  </a:lnTo>
                  <a:lnTo>
                    <a:pt x="119" y="110"/>
                  </a:lnTo>
                  <a:lnTo>
                    <a:pt x="135" y="99"/>
                  </a:lnTo>
                  <a:lnTo>
                    <a:pt x="152" y="90"/>
                  </a:lnTo>
                  <a:lnTo>
                    <a:pt x="169" y="81"/>
                  </a:lnTo>
                  <a:lnTo>
                    <a:pt x="188" y="74"/>
                  </a:lnTo>
                  <a:lnTo>
                    <a:pt x="209" y="69"/>
                  </a:lnTo>
                  <a:lnTo>
                    <a:pt x="230" y="65"/>
                  </a:lnTo>
                  <a:lnTo>
                    <a:pt x="252" y="62"/>
                  </a:lnTo>
                  <a:lnTo>
                    <a:pt x="274" y="62"/>
                  </a:lnTo>
                  <a:lnTo>
                    <a:pt x="290" y="62"/>
                  </a:lnTo>
                  <a:lnTo>
                    <a:pt x="290" y="62"/>
                  </a:lnTo>
                  <a:lnTo>
                    <a:pt x="312" y="62"/>
                  </a:lnTo>
                  <a:lnTo>
                    <a:pt x="334" y="65"/>
                  </a:lnTo>
                  <a:lnTo>
                    <a:pt x="355" y="69"/>
                  </a:lnTo>
                  <a:lnTo>
                    <a:pt x="376" y="74"/>
                  </a:lnTo>
                  <a:lnTo>
                    <a:pt x="395" y="81"/>
                  </a:lnTo>
                  <a:lnTo>
                    <a:pt x="412" y="90"/>
                  </a:lnTo>
                  <a:lnTo>
                    <a:pt x="429" y="99"/>
                  </a:lnTo>
                  <a:lnTo>
                    <a:pt x="445" y="110"/>
                  </a:lnTo>
                  <a:lnTo>
                    <a:pt x="459" y="122"/>
                  </a:lnTo>
                  <a:lnTo>
                    <a:pt x="472" y="136"/>
                  </a:lnTo>
                  <a:lnTo>
                    <a:pt x="482" y="152"/>
                  </a:lnTo>
                  <a:lnTo>
                    <a:pt x="491" y="169"/>
                  </a:lnTo>
                  <a:lnTo>
                    <a:pt x="499" y="187"/>
                  </a:lnTo>
                  <a:lnTo>
                    <a:pt x="504" y="207"/>
                  </a:lnTo>
                  <a:lnTo>
                    <a:pt x="508" y="227"/>
                  </a:lnTo>
                  <a:lnTo>
                    <a:pt x="510" y="248"/>
                  </a:lnTo>
                  <a:lnTo>
                    <a:pt x="510" y="248"/>
                  </a:lnTo>
                  <a:close/>
                  <a:moveTo>
                    <a:pt x="538" y="368"/>
                  </a:moveTo>
                  <a:lnTo>
                    <a:pt x="506" y="368"/>
                  </a:lnTo>
                  <a:lnTo>
                    <a:pt x="506" y="368"/>
                  </a:lnTo>
                  <a:lnTo>
                    <a:pt x="501" y="359"/>
                  </a:lnTo>
                  <a:lnTo>
                    <a:pt x="493" y="351"/>
                  </a:lnTo>
                  <a:lnTo>
                    <a:pt x="486" y="343"/>
                  </a:lnTo>
                  <a:lnTo>
                    <a:pt x="477" y="338"/>
                  </a:lnTo>
                  <a:lnTo>
                    <a:pt x="469" y="333"/>
                  </a:lnTo>
                  <a:lnTo>
                    <a:pt x="459" y="329"/>
                  </a:lnTo>
                  <a:lnTo>
                    <a:pt x="448" y="326"/>
                  </a:lnTo>
                  <a:lnTo>
                    <a:pt x="438" y="324"/>
                  </a:lnTo>
                  <a:lnTo>
                    <a:pt x="438" y="495"/>
                  </a:lnTo>
                  <a:lnTo>
                    <a:pt x="438" y="495"/>
                  </a:lnTo>
                  <a:lnTo>
                    <a:pt x="448" y="493"/>
                  </a:lnTo>
                  <a:lnTo>
                    <a:pt x="459" y="490"/>
                  </a:lnTo>
                  <a:lnTo>
                    <a:pt x="469" y="486"/>
                  </a:lnTo>
                  <a:lnTo>
                    <a:pt x="477" y="481"/>
                  </a:lnTo>
                  <a:lnTo>
                    <a:pt x="486" y="474"/>
                  </a:lnTo>
                  <a:lnTo>
                    <a:pt x="493" y="468"/>
                  </a:lnTo>
                  <a:lnTo>
                    <a:pt x="501" y="460"/>
                  </a:lnTo>
                  <a:lnTo>
                    <a:pt x="506" y="451"/>
                  </a:lnTo>
                  <a:lnTo>
                    <a:pt x="516" y="451"/>
                  </a:lnTo>
                  <a:lnTo>
                    <a:pt x="516" y="452"/>
                  </a:lnTo>
                  <a:lnTo>
                    <a:pt x="516" y="452"/>
                  </a:lnTo>
                  <a:lnTo>
                    <a:pt x="516" y="469"/>
                  </a:lnTo>
                  <a:lnTo>
                    <a:pt x="514" y="486"/>
                  </a:lnTo>
                  <a:lnTo>
                    <a:pt x="510" y="502"/>
                  </a:lnTo>
                  <a:lnTo>
                    <a:pt x="504" y="516"/>
                  </a:lnTo>
                  <a:lnTo>
                    <a:pt x="498" y="532"/>
                  </a:lnTo>
                  <a:lnTo>
                    <a:pt x="490" y="545"/>
                  </a:lnTo>
                  <a:lnTo>
                    <a:pt x="481" y="558"/>
                  </a:lnTo>
                  <a:lnTo>
                    <a:pt x="471" y="569"/>
                  </a:lnTo>
                  <a:lnTo>
                    <a:pt x="459" y="581"/>
                  </a:lnTo>
                  <a:lnTo>
                    <a:pt x="447" y="590"/>
                  </a:lnTo>
                  <a:lnTo>
                    <a:pt x="434" y="599"/>
                  </a:lnTo>
                  <a:lnTo>
                    <a:pt x="420" y="607"/>
                  </a:lnTo>
                  <a:lnTo>
                    <a:pt x="406" y="614"/>
                  </a:lnTo>
                  <a:lnTo>
                    <a:pt x="391" y="619"/>
                  </a:lnTo>
                  <a:lnTo>
                    <a:pt x="374" y="623"/>
                  </a:lnTo>
                  <a:lnTo>
                    <a:pt x="359" y="625"/>
                  </a:lnTo>
                  <a:lnTo>
                    <a:pt x="359" y="625"/>
                  </a:lnTo>
                  <a:lnTo>
                    <a:pt x="356" y="620"/>
                  </a:lnTo>
                  <a:lnTo>
                    <a:pt x="354" y="615"/>
                  </a:lnTo>
                  <a:lnTo>
                    <a:pt x="350" y="611"/>
                  </a:lnTo>
                  <a:lnTo>
                    <a:pt x="346" y="607"/>
                  </a:lnTo>
                  <a:lnTo>
                    <a:pt x="341" y="603"/>
                  </a:lnTo>
                  <a:lnTo>
                    <a:pt x="335" y="602"/>
                  </a:lnTo>
                  <a:lnTo>
                    <a:pt x="330" y="599"/>
                  </a:lnTo>
                  <a:lnTo>
                    <a:pt x="324" y="599"/>
                  </a:lnTo>
                  <a:lnTo>
                    <a:pt x="324" y="599"/>
                  </a:lnTo>
                  <a:lnTo>
                    <a:pt x="317" y="601"/>
                  </a:lnTo>
                  <a:lnTo>
                    <a:pt x="311" y="602"/>
                  </a:lnTo>
                  <a:lnTo>
                    <a:pt x="304" y="606"/>
                  </a:lnTo>
                  <a:lnTo>
                    <a:pt x="299" y="610"/>
                  </a:lnTo>
                  <a:lnTo>
                    <a:pt x="294" y="615"/>
                  </a:lnTo>
                  <a:lnTo>
                    <a:pt x="291" y="621"/>
                  </a:lnTo>
                  <a:lnTo>
                    <a:pt x="289" y="628"/>
                  </a:lnTo>
                  <a:lnTo>
                    <a:pt x="289" y="636"/>
                  </a:lnTo>
                  <a:lnTo>
                    <a:pt x="289" y="636"/>
                  </a:lnTo>
                  <a:lnTo>
                    <a:pt x="289" y="642"/>
                  </a:lnTo>
                  <a:lnTo>
                    <a:pt x="291" y="650"/>
                  </a:lnTo>
                  <a:lnTo>
                    <a:pt x="294" y="655"/>
                  </a:lnTo>
                  <a:lnTo>
                    <a:pt x="299" y="660"/>
                  </a:lnTo>
                  <a:lnTo>
                    <a:pt x="304" y="666"/>
                  </a:lnTo>
                  <a:lnTo>
                    <a:pt x="311" y="668"/>
                  </a:lnTo>
                  <a:lnTo>
                    <a:pt x="317" y="671"/>
                  </a:lnTo>
                  <a:lnTo>
                    <a:pt x="324" y="672"/>
                  </a:lnTo>
                  <a:lnTo>
                    <a:pt x="324" y="672"/>
                  </a:lnTo>
                  <a:lnTo>
                    <a:pt x="330" y="671"/>
                  </a:lnTo>
                  <a:lnTo>
                    <a:pt x="337" y="669"/>
                  </a:lnTo>
                  <a:lnTo>
                    <a:pt x="342" y="667"/>
                  </a:lnTo>
                  <a:lnTo>
                    <a:pt x="347" y="664"/>
                  </a:lnTo>
                  <a:lnTo>
                    <a:pt x="351" y="659"/>
                  </a:lnTo>
                  <a:lnTo>
                    <a:pt x="355" y="655"/>
                  </a:lnTo>
                  <a:lnTo>
                    <a:pt x="357" y="650"/>
                  </a:lnTo>
                  <a:lnTo>
                    <a:pt x="359" y="645"/>
                  </a:lnTo>
                  <a:lnTo>
                    <a:pt x="359" y="645"/>
                  </a:lnTo>
                  <a:lnTo>
                    <a:pt x="377" y="642"/>
                  </a:lnTo>
                  <a:lnTo>
                    <a:pt x="395" y="638"/>
                  </a:lnTo>
                  <a:lnTo>
                    <a:pt x="412" y="632"/>
                  </a:lnTo>
                  <a:lnTo>
                    <a:pt x="428" y="625"/>
                  </a:lnTo>
                  <a:lnTo>
                    <a:pt x="443" y="616"/>
                  </a:lnTo>
                  <a:lnTo>
                    <a:pt x="459" y="607"/>
                  </a:lnTo>
                  <a:lnTo>
                    <a:pt x="472" y="595"/>
                  </a:lnTo>
                  <a:lnTo>
                    <a:pt x="485" y="584"/>
                  </a:lnTo>
                  <a:lnTo>
                    <a:pt x="495" y="569"/>
                  </a:lnTo>
                  <a:lnTo>
                    <a:pt x="506" y="555"/>
                  </a:lnTo>
                  <a:lnTo>
                    <a:pt x="515" y="539"/>
                  </a:lnTo>
                  <a:lnTo>
                    <a:pt x="521" y="524"/>
                  </a:lnTo>
                  <a:lnTo>
                    <a:pt x="528" y="507"/>
                  </a:lnTo>
                  <a:lnTo>
                    <a:pt x="532" y="490"/>
                  </a:lnTo>
                  <a:lnTo>
                    <a:pt x="534" y="472"/>
                  </a:lnTo>
                  <a:lnTo>
                    <a:pt x="536" y="452"/>
                  </a:lnTo>
                  <a:lnTo>
                    <a:pt x="536" y="451"/>
                  </a:lnTo>
                  <a:lnTo>
                    <a:pt x="538" y="451"/>
                  </a:lnTo>
                  <a:lnTo>
                    <a:pt x="538" y="451"/>
                  </a:lnTo>
                  <a:lnTo>
                    <a:pt x="543" y="451"/>
                  </a:lnTo>
                  <a:lnTo>
                    <a:pt x="549" y="450"/>
                  </a:lnTo>
                  <a:lnTo>
                    <a:pt x="553" y="447"/>
                  </a:lnTo>
                  <a:lnTo>
                    <a:pt x="556" y="443"/>
                  </a:lnTo>
                  <a:lnTo>
                    <a:pt x="559" y="439"/>
                  </a:lnTo>
                  <a:lnTo>
                    <a:pt x="562" y="435"/>
                  </a:lnTo>
                  <a:lnTo>
                    <a:pt x="563" y="430"/>
                  </a:lnTo>
                  <a:lnTo>
                    <a:pt x="563" y="425"/>
                  </a:lnTo>
                  <a:lnTo>
                    <a:pt x="563" y="394"/>
                  </a:lnTo>
                  <a:lnTo>
                    <a:pt x="563" y="394"/>
                  </a:lnTo>
                  <a:lnTo>
                    <a:pt x="563" y="389"/>
                  </a:lnTo>
                  <a:lnTo>
                    <a:pt x="562" y="383"/>
                  </a:lnTo>
                  <a:lnTo>
                    <a:pt x="559" y="378"/>
                  </a:lnTo>
                  <a:lnTo>
                    <a:pt x="556" y="374"/>
                  </a:lnTo>
                  <a:lnTo>
                    <a:pt x="553" y="372"/>
                  </a:lnTo>
                  <a:lnTo>
                    <a:pt x="549" y="369"/>
                  </a:lnTo>
                  <a:lnTo>
                    <a:pt x="543" y="368"/>
                  </a:lnTo>
                  <a:lnTo>
                    <a:pt x="538" y="368"/>
                  </a:lnTo>
                  <a:lnTo>
                    <a:pt x="538" y="3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9" name="Group 8">
            <a:extLst>
              <a:ext uri="{FF2B5EF4-FFF2-40B4-BE49-F238E27FC236}">
                <a16:creationId xmlns:a16="http://schemas.microsoft.com/office/drawing/2014/main" id="{78E78826-9FA9-447B-AB01-4E54110599DB}"/>
              </a:ext>
              <a:ext uri="{C183D7F6-B498-43B3-948B-1728B52AA6E4}">
                <adec:decorative xmlns:adec="http://schemas.microsoft.com/office/drawing/2017/decorative" val="1"/>
              </a:ext>
            </a:extLst>
          </p:cNvPr>
          <p:cNvGrpSpPr/>
          <p:nvPr/>
        </p:nvGrpSpPr>
        <p:grpSpPr>
          <a:xfrm>
            <a:off x="2462121" y="1001633"/>
            <a:ext cx="676275" cy="633413"/>
            <a:chOff x="2390945" y="1153567"/>
            <a:chExt cx="676275" cy="633413"/>
          </a:xfrm>
        </p:grpSpPr>
        <p:sp>
          <p:nvSpPr>
            <p:cNvPr id="659" name="Freeform 390">
              <a:extLst>
                <a:ext uri="{FF2B5EF4-FFF2-40B4-BE49-F238E27FC236}">
                  <a16:creationId xmlns:a16="http://schemas.microsoft.com/office/drawing/2014/main" id="{266E2DC3-B310-43E3-91C0-A2C2B565DF08}"/>
                </a:ext>
              </a:extLst>
            </p:cNvPr>
            <p:cNvSpPr>
              <a:spLocks/>
            </p:cNvSpPr>
            <p:nvPr/>
          </p:nvSpPr>
          <p:spPr bwMode="auto">
            <a:xfrm>
              <a:off x="2390945" y="1153567"/>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466" name="Graphic 384">
              <a:extLst>
                <a:ext uri="{FF2B5EF4-FFF2-40B4-BE49-F238E27FC236}">
                  <a16:creationId xmlns:a16="http://schemas.microsoft.com/office/drawing/2014/main" id="{88AB4BBB-9AA8-45FE-BEE4-D048DD5ABAFF}"/>
                </a:ext>
              </a:extLst>
            </p:cNvPr>
            <p:cNvGrpSpPr>
              <a:grpSpLocks noChangeAspect="1"/>
            </p:cNvGrpSpPr>
            <p:nvPr/>
          </p:nvGrpSpPr>
          <p:grpSpPr>
            <a:xfrm>
              <a:off x="2575446" y="1310875"/>
              <a:ext cx="270073" cy="334480"/>
              <a:chOff x="3632068" y="1414045"/>
              <a:chExt cx="299035" cy="370349"/>
            </a:xfrm>
          </p:grpSpPr>
          <p:sp>
            <p:nvSpPr>
              <p:cNvPr id="491" name="Graphic 384">
                <a:extLst>
                  <a:ext uri="{FF2B5EF4-FFF2-40B4-BE49-F238E27FC236}">
                    <a16:creationId xmlns:a16="http://schemas.microsoft.com/office/drawing/2014/main" id="{B1346D45-F524-4F8A-9FBD-192590446BD7}"/>
                  </a:ext>
                </a:extLst>
              </p:cNvPr>
              <p:cNvSpPr/>
              <p:nvPr/>
            </p:nvSpPr>
            <p:spPr>
              <a:xfrm>
                <a:off x="3704735" y="1414045"/>
                <a:ext cx="162280" cy="171313"/>
              </a:xfrm>
              <a:custGeom>
                <a:avLst/>
                <a:gdLst>
                  <a:gd name="connsiteX0" fmla="*/ 86624 w 162280"/>
                  <a:gd name="connsiteY0" fmla="*/ 171195 h 171313"/>
                  <a:gd name="connsiteX1" fmla="*/ 162252 w 162280"/>
                  <a:gd name="connsiteY1" fmla="*/ 80221 h 171313"/>
                  <a:gd name="connsiteX2" fmla="*/ 82239 w 162280"/>
                  <a:gd name="connsiteY2" fmla="*/ 208 h 171313"/>
                  <a:gd name="connsiteX3" fmla="*/ 34 w 162280"/>
                  <a:gd name="connsiteY3" fmla="*/ 91182 h 171313"/>
                  <a:gd name="connsiteX4" fmla="*/ 84287 w 162280"/>
                  <a:gd name="connsiteY4" fmla="*/ 171287 h 171313"/>
                  <a:gd name="connsiteX5" fmla="*/ 86624 w 162280"/>
                  <a:gd name="connsiteY5" fmla="*/ 171195 h 171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280" h="171313">
                    <a:moveTo>
                      <a:pt x="86624" y="171195"/>
                    </a:moveTo>
                    <a:cubicBezTo>
                      <a:pt x="132658" y="167907"/>
                      <a:pt x="163348" y="127352"/>
                      <a:pt x="162252" y="80221"/>
                    </a:cubicBezTo>
                    <a:cubicBezTo>
                      <a:pt x="161156" y="33090"/>
                      <a:pt x="128274" y="-3081"/>
                      <a:pt x="82239" y="208"/>
                    </a:cubicBezTo>
                    <a:cubicBezTo>
                      <a:pt x="34935" y="3703"/>
                      <a:pt x="-1266" y="43766"/>
                      <a:pt x="34" y="91182"/>
                    </a:cubicBezTo>
                    <a:cubicBezTo>
                      <a:pt x="1179" y="136568"/>
                      <a:pt x="38901" y="172432"/>
                      <a:pt x="84287" y="171287"/>
                    </a:cubicBezTo>
                    <a:cubicBezTo>
                      <a:pt x="85066" y="171267"/>
                      <a:pt x="85845" y="171237"/>
                      <a:pt x="86624" y="171195"/>
                    </a:cubicBezTo>
                  </a:path>
                </a:pathLst>
              </a:custGeom>
              <a:solidFill>
                <a:srgbClr val="FFFFFF"/>
              </a:solidFill>
              <a:ln w="10926" cap="flat">
                <a:noFill/>
                <a:prstDash val="solid"/>
                <a:miter/>
              </a:ln>
            </p:spPr>
            <p:txBody>
              <a:bodyPr rtlCol="0" anchor="ctr"/>
              <a:lstStyle/>
              <a:p>
                <a:endParaRPr lang="en-US"/>
              </a:p>
            </p:txBody>
          </p:sp>
          <p:sp>
            <p:nvSpPr>
              <p:cNvPr id="492" name="Graphic 384">
                <a:extLst>
                  <a:ext uri="{FF2B5EF4-FFF2-40B4-BE49-F238E27FC236}">
                    <a16:creationId xmlns:a16="http://schemas.microsoft.com/office/drawing/2014/main" id="{21EB3B23-FBC4-405E-B812-8C5ABEE39E52}"/>
                  </a:ext>
                </a:extLst>
              </p:cNvPr>
              <p:cNvSpPr/>
              <p:nvPr/>
            </p:nvSpPr>
            <p:spPr>
              <a:xfrm>
                <a:off x="3632068" y="1612491"/>
                <a:ext cx="299035" cy="171903"/>
              </a:xfrm>
              <a:custGeom>
                <a:avLst/>
                <a:gdLst>
                  <a:gd name="connsiteX0" fmla="*/ 360 w 299035"/>
                  <a:gd name="connsiteY0" fmla="*/ 155694 h 171903"/>
                  <a:gd name="connsiteX1" fmla="*/ 2553 w 299035"/>
                  <a:gd name="connsiteY1" fmla="*/ 118427 h 171903"/>
                  <a:gd name="connsiteX2" fmla="*/ 113256 w 299035"/>
                  <a:gd name="connsiteY2" fmla="*/ 5532 h 171903"/>
                  <a:gd name="connsiteX3" fmla="*/ 296299 w 299035"/>
                  <a:gd name="connsiteY3" fmla="*/ 93218 h 171903"/>
                  <a:gd name="connsiteX4" fmla="*/ 260346 w 299035"/>
                  <a:gd name="connsiteY4" fmla="*/ 163623 h 171903"/>
                  <a:gd name="connsiteX5" fmla="*/ 252457 w 299035"/>
                  <a:gd name="connsiteY5" fmla="*/ 165558 h 171903"/>
                  <a:gd name="connsiteX6" fmla="*/ 360 w 299035"/>
                  <a:gd name="connsiteY6" fmla="*/ 155694 h 17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35" h="171903">
                    <a:moveTo>
                      <a:pt x="360" y="155694"/>
                    </a:moveTo>
                    <a:cubicBezTo>
                      <a:pt x="-521" y="143229"/>
                      <a:pt x="216" y="130702"/>
                      <a:pt x="2553" y="118427"/>
                    </a:cubicBezTo>
                    <a:cubicBezTo>
                      <a:pt x="15509" y="63094"/>
                      <a:pt x="58187" y="19571"/>
                      <a:pt x="113256" y="5532"/>
                    </a:cubicBezTo>
                    <a:cubicBezTo>
                      <a:pt x="216286" y="-17486"/>
                      <a:pt x="277666" y="35126"/>
                      <a:pt x="296299" y="93218"/>
                    </a:cubicBezTo>
                    <a:cubicBezTo>
                      <a:pt x="305813" y="122588"/>
                      <a:pt x="289716" y="154109"/>
                      <a:pt x="260346" y="163623"/>
                    </a:cubicBezTo>
                    <a:cubicBezTo>
                      <a:pt x="257767" y="164459"/>
                      <a:pt x="255130" y="165106"/>
                      <a:pt x="252457" y="165558"/>
                    </a:cubicBezTo>
                    <a:cubicBezTo>
                      <a:pt x="136273" y="185288"/>
                      <a:pt x="69413" y="152405"/>
                      <a:pt x="360" y="155694"/>
                    </a:cubicBezTo>
                  </a:path>
                </a:pathLst>
              </a:custGeom>
              <a:solidFill>
                <a:srgbClr val="FFFFFF"/>
              </a:solidFill>
              <a:ln w="10926" cap="flat">
                <a:noFill/>
                <a:prstDash val="solid"/>
                <a:miter/>
              </a:ln>
            </p:spPr>
            <p:txBody>
              <a:bodyPr rtlCol="0" anchor="ctr"/>
              <a:lstStyle/>
              <a:p>
                <a:endParaRPr lang="en-US"/>
              </a:p>
            </p:txBody>
          </p:sp>
        </p:grpSp>
      </p:grpSp>
      <p:grpSp>
        <p:nvGrpSpPr>
          <p:cNvPr id="16" name="Group 15">
            <a:extLst>
              <a:ext uri="{FF2B5EF4-FFF2-40B4-BE49-F238E27FC236}">
                <a16:creationId xmlns:a16="http://schemas.microsoft.com/office/drawing/2014/main" id="{707BE147-9FF3-49D4-8734-A3A12B50E1C9}"/>
              </a:ext>
              <a:ext uri="{C183D7F6-B498-43B3-948B-1728B52AA6E4}">
                <adec:decorative xmlns:adec="http://schemas.microsoft.com/office/drawing/2017/decorative" val="1"/>
              </a:ext>
            </a:extLst>
          </p:cNvPr>
          <p:cNvGrpSpPr/>
          <p:nvPr/>
        </p:nvGrpSpPr>
        <p:grpSpPr>
          <a:xfrm>
            <a:off x="5384967" y="1001633"/>
            <a:ext cx="676275" cy="633413"/>
            <a:chOff x="5271551" y="1162045"/>
            <a:chExt cx="676275" cy="633413"/>
          </a:xfrm>
        </p:grpSpPr>
        <p:sp>
          <p:nvSpPr>
            <p:cNvPr id="669" name="Freeform 390">
              <a:extLst>
                <a:ext uri="{FF2B5EF4-FFF2-40B4-BE49-F238E27FC236}">
                  <a16:creationId xmlns:a16="http://schemas.microsoft.com/office/drawing/2014/main" id="{CC09F706-1F7A-406B-8E16-0DD94E7370CD}"/>
                </a:ext>
              </a:extLst>
            </p:cNvPr>
            <p:cNvSpPr>
              <a:spLocks/>
            </p:cNvSpPr>
            <p:nvPr/>
          </p:nvSpPr>
          <p:spPr bwMode="auto">
            <a:xfrm>
              <a:off x="5271551" y="1162045"/>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493" name="Graphic 383">
              <a:extLst>
                <a:ext uri="{FF2B5EF4-FFF2-40B4-BE49-F238E27FC236}">
                  <a16:creationId xmlns:a16="http://schemas.microsoft.com/office/drawing/2014/main" id="{D728BBE5-CE09-40B1-8CE2-08ACC1EB2F80}"/>
                </a:ext>
              </a:extLst>
            </p:cNvPr>
            <p:cNvGrpSpPr>
              <a:grpSpLocks noChangeAspect="1"/>
            </p:cNvGrpSpPr>
            <p:nvPr/>
          </p:nvGrpSpPr>
          <p:grpSpPr>
            <a:xfrm>
              <a:off x="5379441" y="1339239"/>
              <a:ext cx="468001" cy="304945"/>
              <a:chOff x="733205" y="5943208"/>
              <a:chExt cx="546064" cy="355814"/>
            </a:xfrm>
          </p:grpSpPr>
          <p:sp>
            <p:nvSpPr>
              <p:cNvPr id="495" name="Graphic 383">
                <a:extLst>
                  <a:ext uri="{FF2B5EF4-FFF2-40B4-BE49-F238E27FC236}">
                    <a16:creationId xmlns:a16="http://schemas.microsoft.com/office/drawing/2014/main" id="{76E44DE0-F793-4AC5-975B-5BB2CE9C63BE}"/>
                  </a:ext>
                </a:extLst>
              </p:cNvPr>
              <p:cNvSpPr/>
              <p:nvPr/>
            </p:nvSpPr>
            <p:spPr>
              <a:xfrm>
                <a:off x="1101046" y="5966459"/>
                <a:ext cx="123123" cy="130649"/>
              </a:xfrm>
              <a:custGeom>
                <a:avLst/>
                <a:gdLst>
                  <a:gd name="connsiteX0" fmla="*/ 48887 w 123123"/>
                  <a:gd name="connsiteY0" fmla="*/ 129323 h 130649"/>
                  <a:gd name="connsiteX1" fmla="*/ 1512 w 123123"/>
                  <a:gd name="connsiteY1" fmla="*/ 54743 h 130649"/>
                  <a:gd name="connsiteX2" fmla="*/ 1756 w 123123"/>
                  <a:gd name="connsiteY2" fmla="*/ 53694 h 130649"/>
                  <a:gd name="connsiteX3" fmla="*/ 69712 w 123123"/>
                  <a:gd name="connsiteY3" fmla="*/ 1083 h 130649"/>
                  <a:gd name="connsiteX4" fmla="*/ 122323 w 123123"/>
                  <a:gd name="connsiteY4" fmla="*/ 77808 h 130649"/>
                  <a:gd name="connsiteX5" fmla="*/ 52996 w 123123"/>
                  <a:gd name="connsiteY5" fmla="*/ 130044 h 130649"/>
                  <a:gd name="connsiteX6" fmla="*/ 48887 w 123123"/>
                  <a:gd name="connsiteY6" fmla="*/ 129323 h 13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123" h="130649">
                    <a:moveTo>
                      <a:pt x="48887" y="129323"/>
                    </a:moveTo>
                    <a:cubicBezTo>
                      <a:pt x="15210" y="121810"/>
                      <a:pt x="-6000" y="88420"/>
                      <a:pt x="1512" y="54743"/>
                    </a:cubicBezTo>
                    <a:cubicBezTo>
                      <a:pt x="1590" y="54392"/>
                      <a:pt x="1671" y="54043"/>
                      <a:pt x="1756" y="53694"/>
                    </a:cubicBezTo>
                    <a:cubicBezTo>
                      <a:pt x="7236" y="18620"/>
                      <a:pt x="35734" y="-5494"/>
                      <a:pt x="69712" y="1083"/>
                    </a:cubicBezTo>
                    <a:cubicBezTo>
                      <a:pt x="104750" y="8764"/>
                      <a:pt x="127784" y="42355"/>
                      <a:pt x="122323" y="77808"/>
                    </a:cubicBezTo>
                    <a:cubicBezTo>
                      <a:pt x="117604" y="111377"/>
                      <a:pt x="86564" y="134764"/>
                      <a:pt x="52996" y="130044"/>
                    </a:cubicBezTo>
                    <a:cubicBezTo>
                      <a:pt x="51618" y="129850"/>
                      <a:pt x="50248" y="129610"/>
                      <a:pt x="48887" y="129323"/>
                    </a:cubicBezTo>
                  </a:path>
                </a:pathLst>
              </a:custGeom>
              <a:solidFill>
                <a:schemeClr val="bg1"/>
              </a:solidFill>
              <a:ln w="10926" cap="flat">
                <a:noFill/>
                <a:prstDash val="solid"/>
                <a:miter/>
              </a:ln>
            </p:spPr>
            <p:txBody>
              <a:bodyPr rtlCol="0" anchor="ctr"/>
              <a:lstStyle/>
              <a:p>
                <a:endParaRPr lang="en-US"/>
              </a:p>
            </p:txBody>
          </p:sp>
          <p:sp>
            <p:nvSpPr>
              <p:cNvPr id="496" name="Graphic 383">
                <a:extLst>
                  <a:ext uri="{FF2B5EF4-FFF2-40B4-BE49-F238E27FC236}">
                    <a16:creationId xmlns:a16="http://schemas.microsoft.com/office/drawing/2014/main" id="{9F095658-0A18-4927-9714-B774045FC536}"/>
                  </a:ext>
                </a:extLst>
              </p:cNvPr>
              <p:cNvSpPr/>
              <p:nvPr/>
            </p:nvSpPr>
            <p:spPr>
              <a:xfrm>
                <a:off x="775433" y="5954586"/>
                <a:ext cx="101395" cy="108236"/>
              </a:xfrm>
              <a:custGeom>
                <a:avLst/>
                <a:gdLst>
                  <a:gd name="connsiteX0" fmla="*/ 40199 w 101395"/>
                  <a:gd name="connsiteY0" fmla="*/ 107168 h 108236"/>
                  <a:gd name="connsiteX1" fmla="*/ 740 w 101395"/>
                  <a:gd name="connsiteY1" fmla="*/ 43596 h 108236"/>
                  <a:gd name="connsiteX2" fmla="*/ 53379 w 101395"/>
                  <a:gd name="connsiteY2" fmla="*/ 227 h 108236"/>
                  <a:gd name="connsiteX3" fmla="*/ 57736 w 101395"/>
                  <a:gd name="connsiteY3" fmla="*/ 849 h 108236"/>
                  <a:gd name="connsiteX4" fmla="*/ 100482 w 101395"/>
                  <a:gd name="connsiteY4" fmla="*/ 64421 h 108236"/>
                  <a:gd name="connsiteX5" fmla="*/ 43889 w 101395"/>
                  <a:gd name="connsiteY5" fmla="*/ 107796 h 108236"/>
                  <a:gd name="connsiteX6" fmla="*/ 40199 w 101395"/>
                  <a:gd name="connsiteY6" fmla="*/ 107168 h 10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395" h="108236">
                    <a:moveTo>
                      <a:pt x="40199" y="107168"/>
                    </a:moveTo>
                    <a:cubicBezTo>
                      <a:pt x="11701" y="101688"/>
                      <a:pt x="-3644" y="73190"/>
                      <a:pt x="740" y="43596"/>
                    </a:cubicBezTo>
                    <a:cubicBezTo>
                      <a:pt x="3299" y="17084"/>
                      <a:pt x="26867" y="-2333"/>
                      <a:pt x="53379" y="227"/>
                    </a:cubicBezTo>
                    <a:cubicBezTo>
                      <a:pt x="54840" y="368"/>
                      <a:pt x="56293" y="575"/>
                      <a:pt x="57736" y="849"/>
                    </a:cubicBezTo>
                    <a:cubicBezTo>
                      <a:pt x="86889" y="6908"/>
                      <a:pt x="105870" y="35136"/>
                      <a:pt x="100482" y="64421"/>
                    </a:cubicBezTo>
                    <a:cubicBezTo>
                      <a:pt x="96833" y="92027"/>
                      <a:pt x="71495" y="111446"/>
                      <a:pt x="43889" y="107796"/>
                    </a:cubicBezTo>
                    <a:cubicBezTo>
                      <a:pt x="42652" y="107633"/>
                      <a:pt x="41421" y="107423"/>
                      <a:pt x="40199" y="107168"/>
                    </a:cubicBezTo>
                  </a:path>
                </a:pathLst>
              </a:custGeom>
              <a:solidFill>
                <a:schemeClr val="bg1"/>
              </a:solidFill>
              <a:ln w="10926" cap="flat">
                <a:noFill/>
                <a:prstDash val="solid"/>
                <a:miter/>
              </a:ln>
            </p:spPr>
            <p:txBody>
              <a:bodyPr rtlCol="0" anchor="ctr"/>
              <a:lstStyle/>
              <a:p>
                <a:endParaRPr lang="en-US"/>
              </a:p>
            </p:txBody>
          </p:sp>
          <p:sp>
            <p:nvSpPr>
              <p:cNvPr id="497" name="Graphic 383">
                <a:extLst>
                  <a:ext uri="{FF2B5EF4-FFF2-40B4-BE49-F238E27FC236}">
                    <a16:creationId xmlns:a16="http://schemas.microsoft.com/office/drawing/2014/main" id="{FED508D0-EBD6-4EBF-A5D1-1446C3041803}"/>
                  </a:ext>
                </a:extLst>
              </p:cNvPr>
              <p:cNvSpPr/>
              <p:nvPr/>
            </p:nvSpPr>
            <p:spPr>
              <a:xfrm>
                <a:off x="733205" y="6081186"/>
                <a:ext cx="189905" cy="108156"/>
              </a:xfrm>
              <a:custGeom>
                <a:avLst/>
                <a:gdLst>
                  <a:gd name="connsiteX0" fmla="*/ 27623 w 189905"/>
                  <a:gd name="connsiteY0" fmla="*/ 104375 h 108156"/>
                  <a:gd name="connsiteX1" fmla="*/ 278 w 189905"/>
                  <a:gd name="connsiteY1" fmla="*/ 68697 h 108156"/>
                  <a:gd name="connsiteX2" fmla="*/ 1317 w 189905"/>
                  <a:gd name="connsiteY2" fmla="*/ 63821 h 108156"/>
                  <a:gd name="connsiteX3" fmla="*/ 117501 w 189905"/>
                  <a:gd name="connsiteY3" fmla="*/ 3537 h 108156"/>
                  <a:gd name="connsiteX4" fmla="*/ 189841 w 189905"/>
                  <a:gd name="connsiteY4" fmla="*/ 97799 h 108156"/>
                  <a:gd name="connsiteX5" fmla="*/ 27623 w 189905"/>
                  <a:gd name="connsiteY5" fmla="*/ 104375 h 10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05" h="108156">
                    <a:moveTo>
                      <a:pt x="27623" y="104375"/>
                    </a:moveTo>
                    <a:cubicBezTo>
                      <a:pt x="10219" y="102073"/>
                      <a:pt x="-2023" y="86100"/>
                      <a:pt x="278" y="68697"/>
                    </a:cubicBezTo>
                    <a:cubicBezTo>
                      <a:pt x="496" y="67046"/>
                      <a:pt x="844" y="65416"/>
                      <a:pt x="1317" y="63821"/>
                    </a:cubicBezTo>
                    <a:cubicBezTo>
                      <a:pt x="11182" y="25458"/>
                      <a:pt x="49544" y="-11808"/>
                      <a:pt x="117501" y="3537"/>
                    </a:cubicBezTo>
                    <a:cubicBezTo>
                      <a:pt x="161122" y="13509"/>
                      <a:pt x="191493" y="53083"/>
                      <a:pt x="189841" y="97799"/>
                    </a:cubicBezTo>
                    <a:cubicBezTo>
                      <a:pt x="144902" y="95607"/>
                      <a:pt x="102156" y="116432"/>
                      <a:pt x="27623" y="104375"/>
                    </a:cubicBezTo>
                  </a:path>
                </a:pathLst>
              </a:custGeom>
              <a:solidFill>
                <a:schemeClr val="bg1"/>
              </a:solidFill>
              <a:ln w="10926" cap="flat">
                <a:noFill/>
                <a:prstDash val="solid"/>
                <a:miter/>
              </a:ln>
            </p:spPr>
            <p:txBody>
              <a:bodyPr rtlCol="0" anchor="ctr"/>
              <a:lstStyle/>
              <a:p>
                <a:endParaRPr lang="en-US"/>
              </a:p>
            </p:txBody>
          </p:sp>
          <p:sp>
            <p:nvSpPr>
              <p:cNvPr id="498" name="Graphic 383">
                <a:extLst>
                  <a:ext uri="{FF2B5EF4-FFF2-40B4-BE49-F238E27FC236}">
                    <a16:creationId xmlns:a16="http://schemas.microsoft.com/office/drawing/2014/main" id="{AA8C326E-2976-4AC1-BF10-73980F9FFD6B}"/>
                  </a:ext>
                </a:extLst>
              </p:cNvPr>
              <p:cNvSpPr/>
              <p:nvPr/>
            </p:nvSpPr>
            <p:spPr>
              <a:xfrm>
                <a:off x="1050993" y="6114749"/>
                <a:ext cx="228276" cy="129500"/>
              </a:xfrm>
              <a:custGeom>
                <a:avLst/>
                <a:gdLst>
                  <a:gd name="connsiteX0" fmla="*/ 33176 w 228276"/>
                  <a:gd name="connsiteY0" fmla="*/ 124519 h 129500"/>
                  <a:gd name="connsiteX1" fmla="*/ 357 w 228276"/>
                  <a:gd name="connsiteY1" fmla="*/ 81319 h 129500"/>
                  <a:gd name="connsiteX2" fmla="*/ 1390 w 228276"/>
                  <a:gd name="connsiteY2" fmla="*/ 76292 h 129500"/>
                  <a:gd name="connsiteX3" fmla="*/ 141687 w 228276"/>
                  <a:gd name="connsiteY3" fmla="*/ 3951 h 129500"/>
                  <a:gd name="connsiteX4" fmla="*/ 224988 w 228276"/>
                  <a:gd name="connsiteY4" fmla="*/ 88349 h 129500"/>
                  <a:gd name="connsiteX5" fmla="*/ 228277 w 228276"/>
                  <a:gd name="connsiteY5" fmla="*/ 116847 h 129500"/>
                  <a:gd name="connsiteX6" fmla="*/ 33176 w 228276"/>
                  <a:gd name="connsiteY6" fmla="*/ 124519 h 12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276" h="129500">
                    <a:moveTo>
                      <a:pt x="33176" y="124519"/>
                    </a:moveTo>
                    <a:cubicBezTo>
                      <a:pt x="12184" y="121652"/>
                      <a:pt x="-2510" y="102311"/>
                      <a:pt x="357" y="81319"/>
                    </a:cubicBezTo>
                    <a:cubicBezTo>
                      <a:pt x="589" y="79622"/>
                      <a:pt x="934" y="77943"/>
                      <a:pt x="1390" y="76292"/>
                    </a:cubicBezTo>
                    <a:cubicBezTo>
                      <a:pt x="13447" y="30257"/>
                      <a:pt x="59482" y="-13586"/>
                      <a:pt x="141687" y="3951"/>
                    </a:cubicBezTo>
                    <a:cubicBezTo>
                      <a:pt x="183589" y="13338"/>
                      <a:pt x="216151" y="46328"/>
                      <a:pt x="224988" y="88349"/>
                    </a:cubicBezTo>
                    <a:cubicBezTo>
                      <a:pt x="227103" y="97703"/>
                      <a:pt x="228205" y="107257"/>
                      <a:pt x="228277" y="116847"/>
                    </a:cubicBezTo>
                    <a:cubicBezTo>
                      <a:pt x="174569" y="114655"/>
                      <a:pt x="123054" y="139864"/>
                      <a:pt x="33176" y="124519"/>
                    </a:cubicBezTo>
                  </a:path>
                </a:pathLst>
              </a:custGeom>
              <a:solidFill>
                <a:schemeClr val="bg1"/>
              </a:solidFill>
              <a:ln w="10926" cap="flat">
                <a:noFill/>
                <a:prstDash val="solid"/>
                <a:miter/>
              </a:ln>
            </p:spPr>
            <p:txBody>
              <a:bodyPr rtlCol="0" anchor="ctr"/>
              <a:lstStyle/>
              <a:p>
                <a:endParaRPr lang="en-US"/>
              </a:p>
            </p:txBody>
          </p:sp>
          <p:sp>
            <p:nvSpPr>
              <p:cNvPr id="521" name="Graphic 383">
                <a:extLst>
                  <a:ext uri="{FF2B5EF4-FFF2-40B4-BE49-F238E27FC236}">
                    <a16:creationId xmlns:a16="http://schemas.microsoft.com/office/drawing/2014/main" id="{400B7E20-E440-4DA9-A015-B08CED9204F7}"/>
                  </a:ext>
                </a:extLst>
              </p:cNvPr>
              <p:cNvSpPr/>
              <p:nvPr/>
            </p:nvSpPr>
            <p:spPr>
              <a:xfrm>
                <a:off x="910917" y="5943208"/>
                <a:ext cx="156839" cy="164754"/>
              </a:xfrm>
              <a:custGeom>
                <a:avLst/>
                <a:gdLst>
                  <a:gd name="connsiteX0" fmla="*/ 83374 w 156839"/>
                  <a:gd name="connsiteY0" fmla="*/ 164631 h 164754"/>
                  <a:gd name="connsiteX1" fmla="*/ 156810 w 156839"/>
                  <a:gd name="connsiteY1" fmla="*/ 76945 h 164754"/>
                  <a:gd name="connsiteX2" fmla="*/ 78989 w 156839"/>
                  <a:gd name="connsiteY2" fmla="*/ 220 h 164754"/>
                  <a:gd name="connsiteX3" fmla="*/ 72 w 156839"/>
                  <a:gd name="connsiteY3" fmla="*/ 87906 h 164754"/>
                  <a:gd name="connsiteX4" fmla="*/ 81031 w 156839"/>
                  <a:gd name="connsiteY4" fmla="*/ 164727 h 164754"/>
                  <a:gd name="connsiteX5" fmla="*/ 83374 w 156839"/>
                  <a:gd name="connsiteY5" fmla="*/ 164631 h 16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839" h="164754">
                    <a:moveTo>
                      <a:pt x="83374" y="164631"/>
                    </a:moveTo>
                    <a:cubicBezTo>
                      <a:pt x="128313" y="161342"/>
                      <a:pt x="157906" y="122980"/>
                      <a:pt x="156810" y="76945"/>
                    </a:cubicBezTo>
                    <a:cubicBezTo>
                      <a:pt x="155714" y="30910"/>
                      <a:pt x="122832" y="-3068"/>
                      <a:pt x="78989" y="220"/>
                    </a:cubicBezTo>
                    <a:cubicBezTo>
                      <a:pt x="33232" y="3158"/>
                      <a:pt x="-1809" y="42093"/>
                      <a:pt x="72" y="87906"/>
                    </a:cubicBezTo>
                    <a:cubicBezTo>
                      <a:pt x="1214" y="131476"/>
                      <a:pt x="37461" y="165869"/>
                      <a:pt x="81031" y="164727"/>
                    </a:cubicBezTo>
                    <a:cubicBezTo>
                      <a:pt x="81813" y="164706"/>
                      <a:pt x="82593" y="164674"/>
                      <a:pt x="83374" y="164631"/>
                    </a:cubicBezTo>
                  </a:path>
                </a:pathLst>
              </a:custGeom>
              <a:solidFill>
                <a:srgbClr val="FFFFFF"/>
              </a:solidFill>
              <a:ln w="10926" cap="flat">
                <a:noFill/>
                <a:prstDash val="solid"/>
                <a:miter/>
              </a:ln>
            </p:spPr>
            <p:txBody>
              <a:bodyPr rtlCol="0" anchor="ctr"/>
              <a:lstStyle/>
              <a:p>
                <a:endParaRPr lang="en-US"/>
              </a:p>
            </p:txBody>
          </p:sp>
          <p:sp>
            <p:nvSpPr>
              <p:cNvPr id="527" name="Graphic 383">
                <a:extLst>
                  <a:ext uri="{FF2B5EF4-FFF2-40B4-BE49-F238E27FC236}">
                    <a16:creationId xmlns:a16="http://schemas.microsoft.com/office/drawing/2014/main" id="{F969EFDF-07C9-4F52-9BC7-93A3D6686117}"/>
                  </a:ext>
                </a:extLst>
              </p:cNvPr>
              <p:cNvSpPr/>
              <p:nvPr/>
            </p:nvSpPr>
            <p:spPr>
              <a:xfrm>
                <a:off x="840443" y="6134203"/>
                <a:ext cx="289271" cy="164819"/>
              </a:xfrm>
              <a:custGeom>
                <a:avLst/>
                <a:gdLst>
                  <a:gd name="connsiteX0" fmla="*/ 399 w 289271"/>
                  <a:gd name="connsiteY0" fmla="*/ 150005 h 164819"/>
                  <a:gd name="connsiteX1" fmla="*/ 3687 w 289271"/>
                  <a:gd name="connsiteY1" fmla="*/ 113834 h 164819"/>
                  <a:gd name="connsiteX2" fmla="*/ 110006 w 289271"/>
                  <a:gd name="connsiteY2" fmla="*/ 5323 h 164819"/>
                  <a:gd name="connsiteX3" fmla="*/ 286473 w 289271"/>
                  <a:gd name="connsiteY3" fmla="*/ 88625 h 164819"/>
                  <a:gd name="connsiteX4" fmla="*/ 252617 w 289271"/>
                  <a:gd name="connsiteY4" fmla="*/ 156615 h 164819"/>
                  <a:gd name="connsiteX5" fmla="*/ 243726 w 289271"/>
                  <a:gd name="connsiteY5" fmla="*/ 158773 h 164819"/>
                  <a:gd name="connsiteX6" fmla="*/ 399 w 289271"/>
                  <a:gd name="connsiteY6" fmla="*/ 150005 h 16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271" h="164819">
                    <a:moveTo>
                      <a:pt x="399" y="150005"/>
                    </a:moveTo>
                    <a:cubicBezTo>
                      <a:pt x="-680" y="137848"/>
                      <a:pt x="435" y="125597"/>
                      <a:pt x="3687" y="113834"/>
                    </a:cubicBezTo>
                    <a:cubicBezTo>
                      <a:pt x="15523" y="60343"/>
                      <a:pt x="56767" y="18248"/>
                      <a:pt x="110006" y="5323"/>
                    </a:cubicBezTo>
                    <a:cubicBezTo>
                      <a:pt x="208652" y="-16598"/>
                      <a:pt x="267840" y="32725"/>
                      <a:pt x="286473" y="88625"/>
                    </a:cubicBezTo>
                    <a:cubicBezTo>
                      <a:pt x="295899" y="116749"/>
                      <a:pt x="280741" y="147190"/>
                      <a:pt x="252617" y="156615"/>
                    </a:cubicBezTo>
                    <a:cubicBezTo>
                      <a:pt x="249720" y="157586"/>
                      <a:pt x="246746" y="158308"/>
                      <a:pt x="243726" y="158773"/>
                    </a:cubicBezTo>
                    <a:cubicBezTo>
                      <a:pt x="131927" y="177406"/>
                      <a:pt x="67259" y="146716"/>
                      <a:pt x="399" y="150005"/>
                    </a:cubicBezTo>
                  </a:path>
                </a:pathLst>
              </a:custGeom>
              <a:solidFill>
                <a:srgbClr val="FFFFFF"/>
              </a:solidFill>
              <a:ln w="10926" cap="flat">
                <a:solidFill>
                  <a:srgbClr val="0070AD"/>
                </a:solidFill>
                <a:prstDash val="solid"/>
                <a:miter/>
              </a:ln>
            </p:spPr>
            <p:txBody>
              <a:bodyPr rtlCol="0" anchor="ctr"/>
              <a:lstStyle/>
              <a:p>
                <a:endParaRPr lang="en-US"/>
              </a:p>
            </p:txBody>
          </p:sp>
        </p:grpSp>
      </p:grpSp>
      <p:grpSp>
        <p:nvGrpSpPr>
          <p:cNvPr id="17" name="Group 16">
            <a:extLst>
              <a:ext uri="{FF2B5EF4-FFF2-40B4-BE49-F238E27FC236}">
                <a16:creationId xmlns:a16="http://schemas.microsoft.com/office/drawing/2014/main" id="{FE5A8B43-4F58-4AEA-9081-0080A67D2C82}"/>
              </a:ext>
              <a:ext uri="{C183D7F6-B498-43B3-948B-1728B52AA6E4}">
                <adec:decorative xmlns:adec="http://schemas.microsoft.com/office/drawing/2017/decorative" val="1"/>
              </a:ext>
            </a:extLst>
          </p:cNvPr>
          <p:cNvGrpSpPr/>
          <p:nvPr/>
        </p:nvGrpSpPr>
        <p:grpSpPr>
          <a:xfrm>
            <a:off x="6359249" y="1001633"/>
            <a:ext cx="676275" cy="633413"/>
            <a:chOff x="6254860" y="1178307"/>
            <a:chExt cx="676275" cy="633413"/>
          </a:xfrm>
        </p:grpSpPr>
        <p:sp>
          <p:nvSpPr>
            <p:cNvPr id="670" name="Freeform 390">
              <a:extLst>
                <a:ext uri="{FF2B5EF4-FFF2-40B4-BE49-F238E27FC236}">
                  <a16:creationId xmlns:a16="http://schemas.microsoft.com/office/drawing/2014/main" id="{DCCACD66-775B-4F34-A833-3DB042EDC039}"/>
                </a:ext>
              </a:extLst>
            </p:cNvPr>
            <p:cNvSpPr>
              <a:spLocks/>
            </p:cNvSpPr>
            <p:nvPr/>
          </p:nvSpPr>
          <p:spPr bwMode="auto">
            <a:xfrm>
              <a:off x="6254860" y="1178307"/>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528" name="Graphic 387">
              <a:extLst>
                <a:ext uri="{FF2B5EF4-FFF2-40B4-BE49-F238E27FC236}">
                  <a16:creationId xmlns:a16="http://schemas.microsoft.com/office/drawing/2014/main" id="{8454CDC4-84D2-41C6-BCEE-E9249530053D}"/>
                </a:ext>
              </a:extLst>
            </p:cNvPr>
            <p:cNvGrpSpPr>
              <a:grpSpLocks noChangeAspect="1"/>
            </p:cNvGrpSpPr>
            <p:nvPr/>
          </p:nvGrpSpPr>
          <p:grpSpPr>
            <a:xfrm>
              <a:off x="6380919" y="1281740"/>
              <a:ext cx="395999" cy="421801"/>
              <a:chOff x="1648003" y="5812794"/>
              <a:chExt cx="524460" cy="558628"/>
            </a:xfrm>
          </p:grpSpPr>
          <p:sp>
            <p:nvSpPr>
              <p:cNvPr id="562" name="Graphic 387">
                <a:extLst>
                  <a:ext uri="{FF2B5EF4-FFF2-40B4-BE49-F238E27FC236}">
                    <a16:creationId xmlns:a16="http://schemas.microsoft.com/office/drawing/2014/main" id="{A2DC56D4-5C25-4A4C-9A85-0438B59229B5}"/>
                  </a:ext>
                </a:extLst>
              </p:cNvPr>
              <p:cNvSpPr/>
              <p:nvPr/>
            </p:nvSpPr>
            <p:spPr>
              <a:xfrm>
                <a:off x="1876108" y="5812794"/>
                <a:ext cx="102743" cy="108103"/>
              </a:xfrm>
              <a:custGeom>
                <a:avLst/>
                <a:gdLst>
                  <a:gd name="connsiteX0" fmla="*/ 41749 w 102743"/>
                  <a:gd name="connsiteY0" fmla="*/ 107235 h 108103"/>
                  <a:gd name="connsiteX1" fmla="*/ 1195 w 102743"/>
                  <a:gd name="connsiteY1" fmla="*/ 43663 h 108103"/>
                  <a:gd name="connsiteX2" fmla="*/ 58190 w 102743"/>
                  <a:gd name="connsiteY2" fmla="*/ 916 h 108103"/>
                  <a:gd name="connsiteX3" fmla="*/ 102033 w 102743"/>
                  <a:gd name="connsiteY3" fmla="*/ 64488 h 108103"/>
                  <a:gd name="connsiteX4" fmla="*/ 43221 w 102743"/>
                  <a:gd name="connsiteY4" fmla="*/ 107486 h 108103"/>
                  <a:gd name="connsiteX5" fmla="*/ 41749 w 102743"/>
                  <a:gd name="connsiteY5" fmla="*/ 107235 h 10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743" h="108103">
                    <a:moveTo>
                      <a:pt x="41749" y="107235"/>
                    </a:moveTo>
                    <a:cubicBezTo>
                      <a:pt x="13127" y="100691"/>
                      <a:pt x="-4937" y="72376"/>
                      <a:pt x="1195" y="43663"/>
                    </a:cubicBezTo>
                    <a:cubicBezTo>
                      <a:pt x="6675" y="15165"/>
                      <a:pt x="29693" y="-4564"/>
                      <a:pt x="58190" y="916"/>
                    </a:cubicBezTo>
                    <a:cubicBezTo>
                      <a:pt x="87446" y="6984"/>
                      <a:pt x="106757" y="34986"/>
                      <a:pt x="102033" y="64488"/>
                    </a:cubicBezTo>
                    <a:cubicBezTo>
                      <a:pt x="97666" y="92602"/>
                      <a:pt x="71334" y="111853"/>
                      <a:pt x="43221" y="107486"/>
                    </a:cubicBezTo>
                    <a:cubicBezTo>
                      <a:pt x="42729" y="107409"/>
                      <a:pt x="42238" y="107326"/>
                      <a:pt x="41749" y="107235"/>
                    </a:cubicBezTo>
                  </a:path>
                </a:pathLst>
              </a:custGeom>
              <a:solidFill>
                <a:srgbClr val="FFFFFF"/>
              </a:solidFill>
              <a:ln w="10926" cap="flat">
                <a:noFill/>
                <a:prstDash val="solid"/>
                <a:miter/>
              </a:ln>
            </p:spPr>
            <p:txBody>
              <a:bodyPr rtlCol="0" anchor="ctr"/>
              <a:lstStyle/>
              <a:p>
                <a:endParaRPr lang="en-US"/>
              </a:p>
            </p:txBody>
          </p:sp>
          <p:sp>
            <p:nvSpPr>
              <p:cNvPr id="563" name="Graphic 387">
                <a:extLst>
                  <a:ext uri="{FF2B5EF4-FFF2-40B4-BE49-F238E27FC236}">
                    <a16:creationId xmlns:a16="http://schemas.microsoft.com/office/drawing/2014/main" id="{C8738477-472F-4826-8DB0-34137908973C}"/>
                  </a:ext>
                </a:extLst>
              </p:cNvPr>
              <p:cNvSpPr/>
              <p:nvPr/>
            </p:nvSpPr>
            <p:spPr>
              <a:xfrm>
                <a:off x="1834622" y="5939460"/>
                <a:ext cx="189618" cy="108156"/>
              </a:xfrm>
              <a:custGeom>
                <a:avLst/>
                <a:gdLst>
                  <a:gd name="connsiteX0" fmla="*/ 27336 w 189618"/>
                  <a:gd name="connsiteY0" fmla="*/ 104375 h 108156"/>
                  <a:gd name="connsiteX1" fmla="*/ 478 w 189618"/>
                  <a:gd name="connsiteY1" fmla="*/ 66414 h 108156"/>
                  <a:gd name="connsiteX2" fmla="*/ 1030 w 189618"/>
                  <a:gd name="connsiteY2" fmla="*/ 63821 h 108156"/>
                  <a:gd name="connsiteX3" fmla="*/ 117213 w 189618"/>
                  <a:gd name="connsiteY3" fmla="*/ 3537 h 108156"/>
                  <a:gd name="connsiteX4" fmla="*/ 189554 w 189618"/>
                  <a:gd name="connsiteY4" fmla="*/ 97799 h 108156"/>
                  <a:gd name="connsiteX5" fmla="*/ 27336 w 189618"/>
                  <a:gd name="connsiteY5" fmla="*/ 104375 h 10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618" h="108156">
                    <a:moveTo>
                      <a:pt x="27336" y="104375"/>
                    </a:moveTo>
                    <a:cubicBezTo>
                      <a:pt x="9436" y="101309"/>
                      <a:pt x="-2589" y="84313"/>
                      <a:pt x="478" y="66414"/>
                    </a:cubicBezTo>
                    <a:cubicBezTo>
                      <a:pt x="627" y="65542"/>
                      <a:pt x="811" y="64677"/>
                      <a:pt x="1030" y="63821"/>
                    </a:cubicBezTo>
                    <a:cubicBezTo>
                      <a:pt x="10895" y="25458"/>
                      <a:pt x="49257" y="-11808"/>
                      <a:pt x="117213" y="3537"/>
                    </a:cubicBezTo>
                    <a:cubicBezTo>
                      <a:pt x="160835" y="13509"/>
                      <a:pt x="191206" y="53083"/>
                      <a:pt x="189554" y="97799"/>
                    </a:cubicBezTo>
                    <a:cubicBezTo>
                      <a:pt x="144615" y="95607"/>
                      <a:pt x="102965" y="116432"/>
                      <a:pt x="27336" y="104375"/>
                    </a:cubicBezTo>
                  </a:path>
                </a:pathLst>
              </a:custGeom>
              <a:solidFill>
                <a:srgbClr val="FFFFFF"/>
              </a:solidFill>
              <a:ln w="10926" cap="flat">
                <a:noFill/>
                <a:prstDash val="solid"/>
                <a:miter/>
              </a:ln>
            </p:spPr>
            <p:txBody>
              <a:bodyPr rtlCol="0" anchor="ctr"/>
              <a:lstStyle/>
              <a:p>
                <a:endParaRPr lang="en-US"/>
              </a:p>
            </p:txBody>
          </p:sp>
          <p:sp>
            <p:nvSpPr>
              <p:cNvPr id="564" name="Graphic 387">
                <a:extLst>
                  <a:ext uri="{FF2B5EF4-FFF2-40B4-BE49-F238E27FC236}">
                    <a16:creationId xmlns:a16="http://schemas.microsoft.com/office/drawing/2014/main" id="{34530A9E-4461-4FD8-AA58-E5B46D7AC95C}"/>
                  </a:ext>
                </a:extLst>
              </p:cNvPr>
              <p:cNvSpPr/>
              <p:nvPr/>
            </p:nvSpPr>
            <p:spPr>
              <a:xfrm>
                <a:off x="1689723" y="6022888"/>
                <a:ext cx="101737" cy="108454"/>
              </a:xfrm>
              <a:custGeom>
                <a:avLst/>
                <a:gdLst>
                  <a:gd name="connsiteX0" fmla="*/ 40707 w 101737"/>
                  <a:gd name="connsiteY0" fmla="*/ 107586 h 108454"/>
                  <a:gd name="connsiteX1" fmla="*/ 1248 w 101737"/>
                  <a:gd name="connsiteY1" fmla="*/ 44014 h 108454"/>
                  <a:gd name="connsiteX2" fmla="*/ 58244 w 101737"/>
                  <a:gd name="connsiteY2" fmla="*/ 1267 h 108454"/>
                  <a:gd name="connsiteX3" fmla="*/ 100991 w 101737"/>
                  <a:gd name="connsiteY3" fmla="*/ 64839 h 108454"/>
                  <a:gd name="connsiteX4" fmla="*/ 42179 w 101737"/>
                  <a:gd name="connsiteY4" fmla="*/ 107837 h 108454"/>
                  <a:gd name="connsiteX5" fmla="*/ 40707 w 101737"/>
                  <a:gd name="connsiteY5" fmla="*/ 107586 h 108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37" h="108454">
                    <a:moveTo>
                      <a:pt x="40707" y="107586"/>
                    </a:moveTo>
                    <a:cubicBezTo>
                      <a:pt x="12529" y="100551"/>
                      <a:pt x="-4951" y="72388"/>
                      <a:pt x="1248" y="44014"/>
                    </a:cubicBezTo>
                    <a:cubicBezTo>
                      <a:pt x="5632" y="14420"/>
                      <a:pt x="29746" y="-5309"/>
                      <a:pt x="58244" y="1267"/>
                    </a:cubicBezTo>
                    <a:cubicBezTo>
                      <a:pt x="87056" y="7828"/>
                      <a:pt x="105784" y="35681"/>
                      <a:pt x="100991" y="64839"/>
                    </a:cubicBezTo>
                    <a:cubicBezTo>
                      <a:pt x="96624" y="92954"/>
                      <a:pt x="70292" y="112204"/>
                      <a:pt x="42179" y="107837"/>
                    </a:cubicBezTo>
                    <a:cubicBezTo>
                      <a:pt x="41687" y="107760"/>
                      <a:pt x="41195" y="107677"/>
                      <a:pt x="40707" y="107586"/>
                    </a:cubicBezTo>
                  </a:path>
                </a:pathLst>
              </a:custGeom>
              <a:solidFill>
                <a:srgbClr val="FFFFFF"/>
              </a:solidFill>
              <a:ln w="10926" cap="flat">
                <a:noFill/>
                <a:prstDash val="solid"/>
                <a:miter/>
              </a:ln>
            </p:spPr>
            <p:txBody>
              <a:bodyPr rtlCol="0" anchor="ctr"/>
              <a:lstStyle/>
              <a:p>
                <a:endParaRPr lang="en-US"/>
              </a:p>
            </p:txBody>
          </p:sp>
          <p:sp>
            <p:nvSpPr>
              <p:cNvPr id="565" name="Graphic 387">
                <a:extLst>
                  <a:ext uri="{FF2B5EF4-FFF2-40B4-BE49-F238E27FC236}">
                    <a16:creationId xmlns:a16="http://schemas.microsoft.com/office/drawing/2014/main" id="{1248BF19-DBBC-4792-BDB9-B6CC507BE0E7}"/>
                  </a:ext>
                </a:extLst>
              </p:cNvPr>
              <p:cNvSpPr/>
              <p:nvPr/>
            </p:nvSpPr>
            <p:spPr>
              <a:xfrm>
                <a:off x="1648003" y="6149901"/>
                <a:ext cx="189841" cy="107654"/>
              </a:xfrm>
              <a:custGeom>
                <a:avLst/>
                <a:gdLst>
                  <a:gd name="connsiteX0" fmla="*/ 27623 w 189841"/>
                  <a:gd name="connsiteY0" fmla="*/ 103283 h 107654"/>
                  <a:gd name="connsiteX1" fmla="*/ 278 w 189841"/>
                  <a:gd name="connsiteY1" fmla="*/ 67605 h 107654"/>
                  <a:gd name="connsiteX2" fmla="*/ 1317 w 189841"/>
                  <a:gd name="connsiteY2" fmla="*/ 62729 h 107654"/>
                  <a:gd name="connsiteX3" fmla="*/ 117501 w 189841"/>
                  <a:gd name="connsiteY3" fmla="*/ 3541 h 107654"/>
                  <a:gd name="connsiteX4" fmla="*/ 187649 w 189841"/>
                  <a:gd name="connsiteY4" fmla="*/ 73690 h 107654"/>
                  <a:gd name="connsiteX5" fmla="*/ 189841 w 189841"/>
                  <a:gd name="connsiteY5" fmla="*/ 96707 h 107654"/>
                  <a:gd name="connsiteX6" fmla="*/ 27623 w 189841"/>
                  <a:gd name="connsiteY6" fmla="*/ 103283 h 10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841" h="107654">
                    <a:moveTo>
                      <a:pt x="27623" y="103283"/>
                    </a:moveTo>
                    <a:cubicBezTo>
                      <a:pt x="10219" y="100982"/>
                      <a:pt x="-2023" y="85009"/>
                      <a:pt x="278" y="67605"/>
                    </a:cubicBezTo>
                    <a:cubicBezTo>
                      <a:pt x="496" y="65955"/>
                      <a:pt x="844" y="64325"/>
                      <a:pt x="1317" y="62729"/>
                    </a:cubicBezTo>
                    <a:cubicBezTo>
                      <a:pt x="11182" y="25462"/>
                      <a:pt x="49544" y="-11804"/>
                      <a:pt x="117501" y="3541"/>
                    </a:cubicBezTo>
                    <a:cubicBezTo>
                      <a:pt x="152424" y="11495"/>
                      <a:pt x="179695" y="38766"/>
                      <a:pt x="187649" y="73690"/>
                    </a:cubicBezTo>
                    <a:cubicBezTo>
                      <a:pt x="188923" y="81301"/>
                      <a:pt x="189655" y="88993"/>
                      <a:pt x="189841" y="96707"/>
                    </a:cubicBezTo>
                    <a:cubicBezTo>
                      <a:pt x="144902" y="95611"/>
                      <a:pt x="102156" y="116436"/>
                      <a:pt x="27623" y="103283"/>
                    </a:cubicBezTo>
                  </a:path>
                </a:pathLst>
              </a:custGeom>
              <a:solidFill>
                <a:srgbClr val="FFFFFF"/>
              </a:solidFill>
              <a:ln w="10926" cap="flat">
                <a:noFill/>
                <a:prstDash val="solid"/>
                <a:miter/>
              </a:ln>
            </p:spPr>
            <p:txBody>
              <a:bodyPr rtlCol="0" anchor="ctr"/>
              <a:lstStyle/>
              <a:p>
                <a:endParaRPr lang="en-US"/>
              </a:p>
            </p:txBody>
          </p:sp>
          <p:sp>
            <p:nvSpPr>
              <p:cNvPr id="566" name="Graphic 387">
                <a:extLst>
                  <a:ext uri="{FF2B5EF4-FFF2-40B4-BE49-F238E27FC236}">
                    <a16:creationId xmlns:a16="http://schemas.microsoft.com/office/drawing/2014/main" id="{170DF7B2-7091-4025-A409-1D53FCCBA8B7}"/>
                  </a:ext>
                </a:extLst>
              </p:cNvPr>
              <p:cNvSpPr/>
              <p:nvPr/>
            </p:nvSpPr>
            <p:spPr>
              <a:xfrm>
                <a:off x="2019693" y="6072563"/>
                <a:ext cx="102743" cy="108103"/>
              </a:xfrm>
              <a:custGeom>
                <a:avLst/>
                <a:gdLst>
                  <a:gd name="connsiteX0" fmla="*/ 41749 w 102743"/>
                  <a:gd name="connsiteY0" fmla="*/ 107235 h 108103"/>
                  <a:gd name="connsiteX1" fmla="*/ 1195 w 102743"/>
                  <a:gd name="connsiteY1" fmla="*/ 43663 h 108103"/>
                  <a:gd name="connsiteX2" fmla="*/ 58190 w 102743"/>
                  <a:gd name="connsiteY2" fmla="*/ 916 h 108103"/>
                  <a:gd name="connsiteX3" fmla="*/ 102033 w 102743"/>
                  <a:gd name="connsiteY3" fmla="*/ 64488 h 108103"/>
                  <a:gd name="connsiteX4" fmla="*/ 43221 w 102743"/>
                  <a:gd name="connsiteY4" fmla="*/ 107486 h 108103"/>
                  <a:gd name="connsiteX5" fmla="*/ 41749 w 102743"/>
                  <a:gd name="connsiteY5" fmla="*/ 107235 h 10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743" h="108103">
                    <a:moveTo>
                      <a:pt x="41749" y="107235"/>
                    </a:moveTo>
                    <a:cubicBezTo>
                      <a:pt x="13127" y="100691"/>
                      <a:pt x="-4937" y="72376"/>
                      <a:pt x="1195" y="43663"/>
                    </a:cubicBezTo>
                    <a:cubicBezTo>
                      <a:pt x="6675" y="15165"/>
                      <a:pt x="29693" y="-4564"/>
                      <a:pt x="58190" y="916"/>
                    </a:cubicBezTo>
                    <a:cubicBezTo>
                      <a:pt x="87446" y="6985"/>
                      <a:pt x="106757" y="34986"/>
                      <a:pt x="102033" y="64488"/>
                    </a:cubicBezTo>
                    <a:cubicBezTo>
                      <a:pt x="97666" y="92602"/>
                      <a:pt x="71334" y="111853"/>
                      <a:pt x="43221" y="107486"/>
                    </a:cubicBezTo>
                    <a:cubicBezTo>
                      <a:pt x="42729" y="107409"/>
                      <a:pt x="42238" y="107326"/>
                      <a:pt x="41749" y="107235"/>
                    </a:cubicBezTo>
                  </a:path>
                </a:pathLst>
              </a:custGeom>
              <a:solidFill>
                <a:srgbClr val="FFFFFF"/>
              </a:solidFill>
              <a:ln w="10926" cap="flat">
                <a:noFill/>
                <a:prstDash val="solid"/>
                <a:miter/>
              </a:ln>
            </p:spPr>
            <p:txBody>
              <a:bodyPr rtlCol="0" anchor="ctr"/>
              <a:lstStyle/>
              <a:p>
                <a:endParaRPr lang="en-US"/>
              </a:p>
            </p:txBody>
          </p:sp>
          <p:sp>
            <p:nvSpPr>
              <p:cNvPr id="567" name="Graphic 387">
                <a:extLst>
                  <a:ext uri="{FF2B5EF4-FFF2-40B4-BE49-F238E27FC236}">
                    <a16:creationId xmlns:a16="http://schemas.microsoft.com/office/drawing/2014/main" id="{3313EAE2-B893-4A6B-B24D-8EF827DF1C19}"/>
                  </a:ext>
                </a:extLst>
              </p:cNvPr>
              <p:cNvSpPr/>
              <p:nvPr/>
            </p:nvSpPr>
            <p:spPr>
              <a:xfrm>
                <a:off x="1978208" y="6199229"/>
                <a:ext cx="189893" cy="108156"/>
              </a:xfrm>
              <a:custGeom>
                <a:avLst/>
                <a:gdLst>
                  <a:gd name="connsiteX0" fmla="*/ 27336 w 189893"/>
                  <a:gd name="connsiteY0" fmla="*/ 104375 h 108156"/>
                  <a:gd name="connsiteX1" fmla="*/ 478 w 189893"/>
                  <a:gd name="connsiteY1" fmla="*/ 66414 h 108156"/>
                  <a:gd name="connsiteX2" fmla="*/ 1030 w 189893"/>
                  <a:gd name="connsiteY2" fmla="*/ 63821 h 108156"/>
                  <a:gd name="connsiteX3" fmla="*/ 117213 w 189893"/>
                  <a:gd name="connsiteY3" fmla="*/ 3537 h 108156"/>
                  <a:gd name="connsiteX4" fmla="*/ 187362 w 189893"/>
                  <a:gd name="connsiteY4" fmla="*/ 73685 h 108156"/>
                  <a:gd name="connsiteX5" fmla="*/ 189554 w 189893"/>
                  <a:gd name="connsiteY5" fmla="*/ 97799 h 108156"/>
                  <a:gd name="connsiteX6" fmla="*/ 27336 w 189893"/>
                  <a:gd name="connsiteY6" fmla="*/ 104375 h 10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893" h="108156">
                    <a:moveTo>
                      <a:pt x="27336" y="104375"/>
                    </a:moveTo>
                    <a:cubicBezTo>
                      <a:pt x="9436" y="101309"/>
                      <a:pt x="-2589" y="84313"/>
                      <a:pt x="478" y="66414"/>
                    </a:cubicBezTo>
                    <a:cubicBezTo>
                      <a:pt x="627" y="65542"/>
                      <a:pt x="811" y="64677"/>
                      <a:pt x="1030" y="63821"/>
                    </a:cubicBezTo>
                    <a:cubicBezTo>
                      <a:pt x="11991" y="25458"/>
                      <a:pt x="50353" y="-11808"/>
                      <a:pt x="117213" y="3537"/>
                    </a:cubicBezTo>
                    <a:cubicBezTo>
                      <a:pt x="152271" y="11245"/>
                      <a:pt x="179653" y="38627"/>
                      <a:pt x="187362" y="73685"/>
                    </a:cubicBezTo>
                    <a:cubicBezTo>
                      <a:pt x="189658" y="81503"/>
                      <a:pt x="190402" y="89694"/>
                      <a:pt x="189554" y="97799"/>
                    </a:cubicBezTo>
                    <a:cubicBezTo>
                      <a:pt x="144615" y="95607"/>
                      <a:pt x="102965" y="116432"/>
                      <a:pt x="27336" y="104375"/>
                    </a:cubicBezTo>
                  </a:path>
                </a:pathLst>
              </a:custGeom>
              <a:solidFill>
                <a:srgbClr val="FFFFFF"/>
              </a:solidFill>
              <a:ln w="10926" cap="flat">
                <a:noFill/>
                <a:prstDash val="solid"/>
                <a:miter/>
              </a:ln>
            </p:spPr>
            <p:txBody>
              <a:bodyPr rtlCol="0" anchor="ctr"/>
              <a:lstStyle/>
              <a:p>
                <a:endParaRPr lang="en-US"/>
              </a:p>
            </p:txBody>
          </p:sp>
          <p:sp>
            <p:nvSpPr>
              <p:cNvPr id="568" name="Graphic 387">
                <a:extLst>
                  <a:ext uri="{FF2B5EF4-FFF2-40B4-BE49-F238E27FC236}">
                    <a16:creationId xmlns:a16="http://schemas.microsoft.com/office/drawing/2014/main" id="{02FA0403-2712-4E24-BCF8-21CF2CCCE8C0}"/>
                  </a:ext>
                </a:extLst>
              </p:cNvPr>
              <p:cNvSpPr/>
              <p:nvPr/>
            </p:nvSpPr>
            <p:spPr>
              <a:xfrm>
                <a:off x="1701932" y="5859530"/>
                <a:ext cx="135943" cy="129099"/>
              </a:xfrm>
              <a:custGeom>
                <a:avLst/>
                <a:gdLst>
                  <a:gd name="connsiteX0" fmla="*/ 21921 w 135943"/>
                  <a:gd name="connsiteY0" fmla="*/ 128406 h 129099"/>
                  <a:gd name="connsiteX1" fmla="*/ 0 w 135943"/>
                  <a:gd name="connsiteY1" fmla="*/ 119637 h 129099"/>
                  <a:gd name="connsiteX2" fmla="*/ 93166 w 135943"/>
                  <a:gd name="connsiteY2" fmla="*/ 20991 h 129099"/>
                  <a:gd name="connsiteX3" fmla="*/ 85494 w 135943"/>
                  <a:gd name="connsiteY3" fmla="*/ 3454 h 129099"/>
                  <a:gd name="connsiteX4" fmla="*/ 135913 w 135943"/>
                  <a:gd name="connsiteY4" fmla="*/ 11126 h 129099"/>
                  <a:gd name="connsiteX5" fmla="*/ 126048 w 135943"/>
                  <a:gd name="connsiteY5" fmla="*/ 61545 h 129099"/>
                  <a:gd name="connsiteX6" fmla="*/ 108511 w 135943"/>
                  <a:gd name="connsiteY6" fmla="*/ 45104 h 129099"/>
                  <a:gd name="connsiteX7" fmla="*/ 48227 w 135943"/>
                  <a:gd name="connsiteY7" fmla="*/ 107580 h 129099"/>
                  <a:gd name="connsiteX8" fmla="*/ 21921 w 135943"/>
                  <a:gd name="connsiteY8" fmla="*/ 128406 h 129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943" h="129099">
                    <a:moveTo>
                      <a:pt x="21921" y="128406"/>
                    </a:moveTo>
                    <a:cubicBezTo>
                      <a:pt x="14303" y="126333"/>
                      <a:pt x="6947" y="123390"/>
                      <a:pt x="0" y="119637"/>
                    </a:cubicBezTo>
                    <a:cubicBezTo>
                      <a:pt x="18633" y="70314"/>
                      <a:pt x="60284" y="33047"/>
                      <a:pt x="93166" y="20991"/>
                    </a:cubicBezTo>
                    <a:cubicBezTo>
                      <a:pt x="98646" y="18799"/>
                      <a:pt x="89878" y="14414"/>
                      <a:pt x="85494" y="3454"/>
                    </a:cubicBezTo>
                    <a:cubicBezTo>
                      <a:pt x="81109" y="-7507"/>
                      <a:pt x="135913" y="11126"/>
                      <a:pt x="135913" y="11126"/>
                    </a:cubicBezTo>
                    <a:cubicBezTo>
                      <a:pt x="135913" y="11126"/>
                      <a:pt x="137009" y="50585"/>
                      <a:pt x="126048" y="61545"/>
                    </a:cubicBezTo>
                    <a:cubicBezTo>
                      <a:pt x="119472" y="53873"/>
                      <a:pt x="112895" y="42912"/>
                      <a:pt x="108511" y="45104"/>
                    </a:cubicBezTo>
                    <a:cubicBezTo>
                      <a:pt x="81293" y="57633"/>
                      <a:pt x="59776" y="79932"/>
                      <a:pt x="48227" y="107580"/>
                    </a:cubicBezTo>
                    <a:cubicBezTo>
                      <a:pt x="43843" y="115253"/>
                      <a:pt x="39459" y="132790"/>
                      <a:pt x="21921" y="128406"/>
                    </a:cubicBezTo>
                    <a:close/>
                  </a:path>
                </a:pathLst>
              </a:custGeom>
              <a:solidFill>
                <a:schemeClr val="bg1"/>
              </a:solidFill>
              <a:ln w="10926" cap="flat">
                <a:noFill/>
                <a:prstDash val="solid"/>
                <a:miter/>
              </a:ln>
            </p:spPr>
            <p:txBody>
              <a:bodyPr rtlCol="0" anchor="ctr"/>
              <a:lstStyle/>
              <a:p>
                <a:endParaRPr lang="en-US" dirty="0"/>
              </a:p>
            </p:txBody>
          </p:sp>
          <p:sp>
            <p:nvSpPr>
              <p:cNvPr id="569" name="Graphic 387">
                <a:extLst>
                  <a:ext uri="{FF2B5EF4-FFF2-40B4-BE49-F238E27FC236}">
                    <a16:creationId xmlns:a16="http://schemas.microsoft.com/office/drawing/2014/main" id="{4374CE85-BC6C-4E0C-B8F2-1A0D6983AA20}"/>
                  </a:ext>
                </a:extLst>
              </p:cNvPr>
              <p:cNvSpPr/>
              <p:nvPr/>
            </p:nvSpPr>
            <p:spPr>
              <a:xfrm>
                <a:off x="2060448" y="5891481"/>
                <a:ext cx="112015" cy="155642"/>
              </a:xfrm>
              <a:custGeom>
                <a:avLst/>
                <a:gdLst>
                  <a:gd name="connsiteX0" fmla="*/ 2091 w 112015"/>
                  <a:gd name="connsiteY0" fmla="*/ 18633 h 155642"/>
                  <a:gd name="connsiteX1" fmla="*/ 16340 w 112015"/>
                  <a:gd name="connsiteY1" fmla="*/ 0 h 155642"/>
                  <a:gd name="connsiteX2" fmla="*/ 91969 w 112015"/>
                  <a:gd name="connsiteY2" fmla="*/ 111799 h 155642"/>
                  <a:gd name="connsiteX3" fmla="*/ 109506 w 112015"/>
                  <a:gd name="connsiteY3" fmla="*/ 108511 h 155642"/>
                  <a:gd name="connsiteX4" fmla="*/ 91969 w 112015"/>
                  <a:gd name="connsiteY4" fmla="*/ 155642 h 155642"/>
                  <a:gd name="connsiteX5" fmla="*/ 44838 w 112015"/>
                  <a:gd name="connsiteY5" fmla="*/ 134817 h 155642"/>
                  <a:gd name="connsiteX6" fmla="*/ 64567 w 112015"/>
                  <a:gd name="connsiteY6" fmla="*/ 121664 h 155642"/>
                  <a:gd name="connsiteX7" fmla="*/ 17436 w 112015"/>
                  <a:gd name="connsiteY7" fmla="*/ 49323 h 155642"/>
                  <a:gd name="connsiteX8" fmla="*/ 2091 w 112015"/>
                  <a:gd name="connsiteY8" fmla="*/ 18633 h 15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015" h="155642">
                    <a:moveTo>
                      <a:pt x="2091" y="18633"/>
                    </a:moveTo>
                    <a:cubicBezTo>
                      <a:pt x="6403" y="12100"/>
                      <a:pt x="11164" y="5873"/>
                      <a:pt x="16340" y="0"/>
                    </a:cubicBezTo>
                    <a:cubicBezTo>
                      <a:pt x="55369" y="25772"/>
                      <a:pt x="82571" y="65984"/>
                      <a:pt x="91969" y="111799"/>
                    </a:cubicBezTo>
                    <a:cubicBezTo>
                      <a:pt x="93065" y="118376"/>
                      <a:pt x="98545" y="110703"/>
                      <a:pt x="109506" y="108511"/>
                    </a:cubicBezTo>
                    <a:cubicBezTo>
                      <a:pt x="120467" y="106319"/>
                      <a:pt x="91969" y="155642"/>
                      <a:pt x="91969" y="155642"/>
                    </a:cubicBezTo>
                    <a:cubicBezTo>
                      <a:pt x="91969" y="155642"/>
                      <a:pt x="52510" y="147970"/>
                      <a:pt x="44838" y="134817"/>
                    </a:cubicBezTo>
                    <a:cubicBezTo>
                      <a:pt x="53606" y="130433"/>
                      <a:pt x="65663" y="126048"/>
                      <a:pt x="64567" y="121664"/>
                    </a:cubicBezTo>
                    <a:cubicBezTo>
                      <a:pt x="58524" y="92477"/>
                      <a:pt x="41693" y="66643"/>
                      <a:pt x="17436" y="49323"/>
                    </a:cubicBezTo>
                    <a:cubicBezTo>
                      <a:pt x="9764" y="42747"/>
                      <a:pt x="-5581" y="35074"/>
                      <a:pt x="2091" y="18633"/>
                    </a:cubicBezTo>
                    <a:close/>
                  </a:path>
                </a:pathLst>
              </a:custGeom>
              <a:solidFill>
                <a:schemeClr val="bg1"/>
              </a:solidFill>
              <a:ln w="10926" cap="flat">
                <a:noFill/>
                <a:prstDash val="solid"/>
                <a:miter/>
              </a:ln>
            </p:spPr>
            <p:txBody>
              <a:bodyPr rtlCol="0" anchor="ctr"/>
              <a:lstStyle/>
              <a:p>
                <a:endParaRPr lang="en-US"/>
              </a:p>
            </p:txBody>
          </p:sp>
          <p:sp>
            <p:nvSpPr>
              <p:cNvPr id="570" name="Graphic 387">
                <a:extLst>
                  <a:ext uri="{FF2B5EF4-FFF2-40B4-BE49-F238E27FC236}">
                    <a16:creationId xmlns:a16="http://schemas.microsoft.com/office/drawing/2014/main" id="{AD6408FB-BE38-4B3D-86FC-EB0DFB2BEDEB}"/>
                  </a:ext>
                </a:extLst>
              </p:cNvPr>
              <p:cNvSpPr/>
              <p:nvPr/>
            </p:nvSpPr>
            <p:spPr>
              <a:xfrm>
                <a:off x="1814827" y="6292307"/>
                <a:ext cx="163314" cy="79115"/>
              </a:xfrm>
              <a:custGeom>
                <a:avLst/>
                <a:gdLst>
                  <a:gd name="connsiteX0" fmla="*/ 160026 w 163314"/>
                  <a:gd name="connsiteY0" fmla="*/ 52948 h 79115"/>
                  <a:gd name="connsiteX1" fmla="*/ 163315 w 163314"/>
                  <a:gd name="connsiteY1" fmla="*/ 74869 h 79115"/>
                  <a:gd name="connsiteX2" fmla="*/ 30690 w 163314"/>
                  <a:gd name="connsiteY2" fmla="*/ 50755 h 79115"/>
                  <a:gd name="connsiteX3" fmla="*/ 20825 w 163314"/>
                  <a:gd name="connsiteY3" fmla="*/ 65004 h 79115"/>
                  <a:gd name="connsiteX4" fmla="*/ 0 w 163314"/>
                  <a:gd name="connsiteY4" fmla="*/ 18969 h 79115"/>
                  <a:gd name="connsiteX5" fmla="*/ 47131 w 163314"/>
                  <a:gd name="connsiteY5" fmla="*/ 336 h 79115"/>
                  <a:gd name="connsiteX6" fmla="*/ 42747 w 163314"/>
                  <a:gd name="connsiteY6" fmla="*/ 24450 h 79115"/>
                  <a:gd name="connsiteX7" fmla="*/ 128240 w 163314"/>
                  <a:gd name="connsiteY7" fmla="*/ 41987 h 79115"/>
                  <a:gd name="connsiteX8" fmla="*/ 160026 w 163314"/>
                  <a:gd name="connsiteY8" fmla="*/ 52948 h 7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314" h="79115">
                    <a:moveTo>
                      <a:pt x="160026" y="52948"/>
                    </a:moveTo>
                    <a:cubicBezTo>
                      <a:pt x="162121" y="60070"/>
                      <a:pt x="163227" y="67445"/>
                      <a:pt x="163315" y="74869"/>
                    </a:cubicBezTo>
                    <a:cubicBezTo>
                      <a:pt x="117666" y="85201"/>
                      <a:pt x="69779" y="76494"/>
                      <a:pt x="30690" y="50755"/>
                    </a:cubicBezTo>
                    <a:cubicBezTo>
                      <a:pt x="25210" y="46371"/>
                      <a:pt x="26306" y="56236"/>
                      <a:pt x="20825" y="65004"/>
                    </a:cubicBezTo>
                    <a:cubicBezTo>
                      <a:pt x="15345" y="73773"/>
                      <a:pt x="0" y="18969"/>
                      <a:pt x="0" y="18969"/>
                    </a:cubicBezTo>
                    <a:cubicBezTo>
                      <a:pt x="0" y="18969"/>
                      <a:pt x="32882" y="-2952"/>
                      <a:pt x="47131" y="336"/>
                    </a:cubicBezTo>
                    <a:cubicBezTo>
                      <a:pt x="44939" y="9105"/>
                      <a:pt x="39459" y="21161"/>
                      <a:pt x="42747" y="24450"/>
                    </a:cubicBezTo>
                    <a:cubicBezTo>
                      <a:pt x="64668" y="39795"/>
                      <a:pt x="93166" y="45275"/>
                      <a:pt x="128240" y="41987"/>
                    </a:cubicBezTo>
                    <a:cubicBezTo>
                      <a:pt x="137009" y="40891"/>
                      <a:pt x="154546" y="35410"/>
                      <a:pt x="160026" y="52948"/>
                    </a:cubicBezTo>
                    <a:close/>
                  </a:path>
                </a:pathLst>
              </a:custGeom>
              <a:solidFill>
                <a:schemeClr val="bg1"/>
              </a:solidFill>
              <a:ln w="10926" cap="flat">
                <a:noFill/>
                <a:prstDash val="solid"/>
                <a:miter/>
              </a:ln>
            </p:spPr>
            <p:txBody>
              <a:bodyPr rtlCol="0" anchor="ctr"/>
              <a:lstStyle/>
              <a:p>
                <a:endParaRPr lang="en-US"/>
              </a:p>
            </p:txBody>
          </p:sp>
        </p:grpSp>
      </p:grpSp>
      <p:grpSp>
        <p:nvGrpSpPr>
          <p:cNvPr id="14" name="Group 13">
            <a:extLst>
              <a:ext uri="{FF2B5EF4-FFF2-40B4-BE49-F238E27FC236}">
                <a16:creationId xmlns:a16="http://schemas.microsoft.com/office/drawing/2014/main" id="{86511E8B-3796-4A06-9CC5-DBC92691D50E}"/>
              </a:ext>
              <a:ext uri="{C183D7F6-B498-43B3-948B-1728B52AA6E4}">
                <adec:decorative xmlns:adec="http://schemas.microsoft.com/office/drawing/2017/decorative" val="1"/>
              </a:ext>
            </a:extLst>
          </p:cNvPr>
          <p:cNvGrpSpPr/>
          <p:nvPr/>
        </p:nvGrpSpPr>
        <p:grpSpPr>
          <a:xfrm>
            <a:off x="4410685" y="1001633"/>
            <a:ext cx="676275" cy="633413"/>
            <a:chOff x="4315616" y="1185452"/>
            <a:chExt cx="676275" cy="633413"/>
          </a:xfrm>
        </p:grpSpPr>
        <p:sp>
          <p:nvSpPr>
            <p:cNvPr id="668" name="Freeform 390">
              <a:extLst>
                <a:ext uri="{FF2B5EF4-FFF2-40B4-BE49-F238E27FC236}">
                  <a16:creationId xmlns:a16="http://schemas.microsoft.com/office/drawing/2014/main" id="{B14C6583-5638-4D32-8359-954EBDA46E8E}"/>
                </a:ext>
              </a:extLst>
            </p:cNvPr>
            <p:cNvSpPr>
              <a:spLocks/>
            </p:cNvSpPr>
            <p:nvPr/>
          </p:nvSpPr>
          <p:spPr bwMode="auto">
            <a:xfrm>
              <a:off x="4315616" y="1185452"/>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571" name="Graphic 385">
              <a:extLst>
                <a:ext uri="{FF2B5EF4-FFF2-40B4-BE49-F238E27FC236}">
                  <a16:creationId xmlns:a16="http://schemas.microsoft.com/office/drawing/2014/main" id="{60C926C7-2C8F-4183-98E3-EC86AF4B5ECF}"/>
                </a:ext>
              </a:extLst>
            </p:cNvPr>
            <p:cNvGrpSpPr>
              <a:grpSpLocks noChangeAspect="1"/>
            </p:cNvGrpSpPr>
            <p:nvPr/>
          </p:nvGrpSpPr>
          <p:grpSpPr>
            <a:xfrm>
              <a:off x="4405185" y="1364190"/>
              <a:ext cx="468001" cy="296760"/>
              <a:chOff x="2582740" y="5925441"/>
              <a:chExt cx="552794" cy="350528"/>
            </a:xfrm>
          </p:grpSpPr>
          <p:sp>
            <p:nvSpPr>
              <p:cNvPr id="573" name="Graphic 385">
                <a:extLst>
                  <a:ext uri="{FF2B5EF4-FFF2-40B4-BE49-F238E27FC236}">
                    <a16:creationId xmlns:a16="http://schemas.microsoft.com/office/drawing/2014/main" id="{D71BCA53-F87F-4EEC-A32D-43B198CA7598}"/>
                  </a:ext>
                </a:extLst>
              </p:cNvPr>
              <p:cNvSpPr/>
              <p:nvPr/>
            </p:nvSpPr>
            <p:spPr>
              <a:xfrm>
                <a:off x="2771011" y="5931815"/>
                <a:ext cx="122688" cy="130434"/>
              </a:xfrm>
              <a:custGeom>
                <a:avLst/>
                <a:gdLst>
                  <a:gd name="connsiteX0" fmla="*/ 49510 w 122688"/>
                  <a:gd name="connsiteY0" fmla="*/ 129323 h 130434"/>
                  <a:gd name="connsiteX1" fmla="*/ 1283 w 122688"/>
                  <a:gd name="connsiteY1" fmla="*/ 53694 h 130434"/>
                  <a:gd name="connsiteX2" fmla="*/ 70336 w 122688"/>
                  <a:gd name="connsiteY2" fmla="*/ 1083 h 130434"/>
                  <a:gd name="connsiteX3" fmla="*/ 121851 w 122688"/>
                  <a:gd name="connsiteY3" fmla="*/ 77808 h 130434"/>
                  <a:gd name="connsiteX4" fmla="*/ 52339 w 122688"/>
                  <a:gd name="connsiteY4" fmla="*/ 129799 h 130434"/>
                  <a:gd name="connsiteX5" fmla="*/ 49510 w 122688"/>
                  <a:gd name="connsiteY5" fmla="*/ 129323 h 13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688" h="130434">
                    <a:moveTo>
                      <a:pt x="49510" y="129323"/>
                    </a:moveTo>
                    <a:cubicBezTo>
                      <a:pt x="15723" y="121170"/>
                      <a:pt x="-5577" y="87768"/>
                      <a:pt x="1283" y="53694"/>
                    </a:cubicBezTo>
                    <a:cubicBezTo>
                      <a:pt x="6764" y="18620"/>
                      <a:pt x="35262" y="-5494"/>
                      <a:pt x="70336" y="1083"/>
                    </a:cubicBezTo>
                    <a:cubicBezTo>
                      <a:pt x="104931" y="9248"/>
                      <a:pt x="127388" y="42696"/>
                      <a:pt x="121851" y="77808"/>
                    </a:cubicBezTo>
                    <a:cubicBezTo>
                      <a:pt x="117013" y="111359"/>
                      <a:pt x="85891" y="134637"/>
                      <a:pt x="52339" y="129799"/>
                    </a:cubicBezTo>
                    <a:cubicBezTo>
                      <a:pt x="51392" y="129662"/>
                      <a:pt x="50450" y="129504"/>
                      <a:pt x="49510" y="129323"/>
                    </a:cubicBezTo>
                  </a:path>
                </a:pathLst>
              </a:custGeom>
              <a:solidFill>
                <a:schemeClr val="bg1"/>
              </a:solidFill>
              <a:ln w="10926" cap="flat">
                <a:noFill/>
                <a:prstDash val="solid"/>
                <a:miter/>
              </a:ln>
            </p:spPr>
            <p:txBody>
              <a:bodyPr rtlCol="0" anchor="ctr"/>
              <a:lstStyle/>
              <a:p>
                <a:endParaRPr lang="en-US"/>
              </a:p>
            </p:txBody>
          </p:sp>
          <p:sp>
            <p:nvSpPr>
              <p:cNvPr id="574" name="Graphic 385">
                <a:extLst>
                  <a:ext uri="{FF2B5EF4-FFF2-40B4-BE49-F238E27FC236}">
                    <a16:creationId xmlns:a16="http://schemas.microsoft.com/office/drawing/2014/main" id="{04D604D8-8F07-4791-ABA3-8B1376A529C6}"/>
                  </a:ext>
                </a:extLst>
              </p:cNvPr>
              <p:cNvSpPr/>
              <p:nvPr/>
            </p:nvSpPr>
            <p:spPr>
              <a:xfrm>
                <a:off x="2624196" y="5925441"/>
                <a:ext cx="101880" cy="108218"/>
              </a:xfrm>
              <a:custGeom>
                <a:avLst/>
                <a:gdLst>
                  <a:gd name="connsiteX0" fmla="*/ 40683 w 101880"/>
                  <a:gd name="connsiteY0" fmla="*/ 107150 h 108218"/>
                  <a:gd name="connsiteX1" fmla="*/ 1225 w 101880"/>
                  <a:gd name="connsiteY1" fmla="*/ 44673 h 108218"/>
                  <a:gd name="connsiteX2" fmla="*/ 52877 w 101880"/>
                  <a:gd name="connsiteY2" fmla="*/ 133 h 108218"/>
                  <a:gd name="connsiteX3" fmla="*/ 58220 w 101880"/>
                  <a:gd name="connsiteY3" fmla="*/ 831 h 108218"/>
                  <a:gd name="connsiteX4" fmla="*/ 100967 w 101880"/>
                  <a:gd name="connsiteY4" fmla="*/ 64403 h 108218"/>
                  <a:gd name="connsiteX5" fmla="*/ 44374 w 101880"/>
                  <a:gd name="connsiteY5" fmla="*/ 107778 h 108218"/>
                  <a:gd name="connsiteX6" fmla="*/ 40683 w 101880"/>
                  <a:gd name="connsiteY6" fmla="*/ 107150 h 108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80" h="108218">
                    <a:moveTo>
                      <a:pt x="40683" y="107150"/>
                    </a:moveTo>
                    <a:cubicBezTo>
                      <a:pt x="12658" y="100619"/>
                      <a:pt x="-4921" y="72786"/>
                      <a:pt x="1225" y="44673"/>
                    </a:cubicBezTo>
                    <a:cubicBezTo>
                      <a:pt x="3189" y="18111"/>
                      <a:pt x="26314" y="-1831"/>
                      <a:pt x="52877" y="133"/>
                    </a:cubicBezTo>
                    <a:cubicBezTo>
                      <a:pt x="54669" y="266"/>
                      <a:pt x="56453" y="498"/>
                      <a:pt x="58220" y="831"/>
                    </a:cubicBezTo>
                    <a:cubicBezTo>
                      <a:pt x="87374" y="6890"/>
                      <a:pt x="106354" y="35118"/>
                      <a:pt x="100967" y="64403"/>
                    </a:cubicBezTo>
                    <a:cubicBezTo>
                      <a:pt x="97317" y="92008"/>
                      <a:pt x="71979" y="111428"/>
                      <a:pt x="44374" y="107778"/>
                    </a:cubicBezTo>
                    <a:cubicBezTo>
                      <a:pt x="43136" y="107614"/>
                      <a:pt x="41905" y="107405"/>
                      <a:pt x="40683" y="107150"/>
                    </a:cubicBezTo>
                  </a:path>
                </a:pathLst>
              </a:custGeom>
              <a:solidFill>
                <a:schemeClr val="bg1"/>
              </a:solidFill>
              <a:ln w="10926" cap="flat">
                <a:noFill/>
                <a:prstDash val="solid"/>
                <a:miter/>
              </a:ln>
            </p:spPr>
            <p:txBody>
              <a:bodyPr rtlCol="0" anchor="ctr"/>
              <a:lstStyle/>
              <a:p>
                <a:endParaRPr lang="en-US" dirty="0"/>
              </a:p>
            </p:txBody>
          </p:sp>
          <p:sp>
            <p:nvSpPr>
              <p:cNvPr id="575" name="Graphic 385">
                <a:extLst>
                  <a:ext uri="{FF2B5EF4-FFF2-40B4-BE49-F238E27FC236}">
                    <a16:creationId xmlns:a16="http://schemas.microsoft.com/office/drawing/2014/main" id="{248CD34C-5D45-4606-8B0D-83BFB9931AFC}"/>
                  </a:ext>
                </a:extLst>
              </p:cNvPr>
              <p:cNvSpPr/>
              <p:nvPr/>
            </p:nvSpPr>
            <p:spPr>
              <a:xfrm>
                <a:off x="2582740" y="6052386"/>
                <a:ext cx="189641" cy="108240"/>
              </a:xfrm>
              <a:custGeom>
                <a:avLst/>
                <a:gdLst>
                  <a:gd name="connsiteX0" fmla="*/ 27336 w 189641"/>
                  <a:gd name="connsiteY0" fmla="*/ 104011 h 108240"/>
                  <a:gd name="connsiteX1" fmla="*/ 477 w 189641"/>
                  <a:gd name="connsiteY1" fmla="*/ 66049 h 108240"/>
                  <a:gd name="connsiteX2" fmla="*/ 1030 w 189641"/>
                  <a:gd name="connsiteY2" fmla="*/ 63456 h 108240"/>
                  <a:gd name="connsiteX3" fmla="*/ 117213 w 189641"/>
                  <a:gd name="connsiteY3" fmla="*/ 3172 h 108240"/>
                  <a:gd name="connsiteX4" fmla="*/ 187362 w 189641"/>
                  <a:gd name="connsiteY4" fmla="*/ 74417 h 108240"/>
                  <a:gd name="connsiteX5" fmla="*/ 189554 w 189641"/>
                  <a:gd name="connsiteY5" fmla="*/ 97434 h 108240"/>
                  <a:gd name="connsiteX6" fmla="*/ 27336 w 189641"/>
                  <a:gd name="connsiteY6" fmla="*/ 104011 h 10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641" h="108240">
                    <a:moveTo>
                      <a:pt x="27336" y="104011"/>
                    </a:moveTo>
                    <a:cubicBezTo>
                      <a:pt x="9436" y="100945"/>
                      <a:pt x="-2589" y="83948"/>
                      <a:pt x="477" y="66049"/>
                    </a:cubicBezTo>
                    <a:cubicBezTo>
                      <a:pt x="627" y="65178"/>
                      <a:pt x="811" y="64312"/>
                      <a:pt x="1030" y="63456"/>
                    </a:cubicBezTo>
                    <a:cubicBezTo>
                      <a:pt x="10895" y="25094"/>
                      <a:pt x="49257" y="-11077"/>
                      <a:pt x="117213" y="3172"/>
                    </a:cubicBezTo>
                    <a:cubicBezTo>
                      <a:pt x="152438" y="11300"/>
                      <a:pt x="179781" y="39071"/>
                      <a:pt x="187362" y="74417"/>
                    </a:cubicBezTo>
                    <a:cubicBezTo>
                      <a:pt x="189174" y="81948"/>
                      <a:pt x="189911" y="89697"/>
                      <a:pt x="189554" y="97434"/>
                    </a:cubicBezTo>
                    <a:cubicBezTo>
                      <a:pt x="144615" y="95242"/>
                      <a:pt x="101868" y="117164"/>
                      <a:pt x="27336" y="104011"/>
                    </a:cubicBezTo>
                  </a:path>
                </a:pathLst>
              </a:custGeom>
              <a:solidFill>
                <a:schemeClr val="bg1"/>
              </a:solidFill>
              <a:ln w="10926" cap="flat">
                <a:noFill/>
                <a:prstDash val="solid"/>
                <a:miter/>
              </a:ln>
            </p:spPr>
            <p:txBody>
              <a:bodyPr rtlCol="0" anchor="ctr"/>
              <a:lstStyle/>
              <a:p>
                <a:endParaRPr lang="en-US"/>
              </a:p>
            </p:txBody>
          </p:sp>
          <p:sp>
            <p:nvSpPr>
              <p:cNvPr id="576" name="Graphic 385">
                <a:extLst>
                  <a:ext uri="{FF2B5EF4-FFF2-40B4-BE49-F238E27FC236}">
                    <a16:creationId xmlns:a16="http://schemas.microsoft.com/office/drawing/2014/main" id="{4BDC9B6D-FD44-41B8-B37C-FB81D994BA93}"/>
                  </a:ext>
                </a:extLst>
              </p:cNvPr>
              <p:cNvSpPr/>
              <p:nvPr/>
            </p:nvSpPr>
            <p:spPr>
              <a:xfrm>
                <a:off x="2720753" y="6079738"/>
                <a:ext cx="228388" cy="129866"/>
              </a:xfrm>
              <a:custGeom>
                <a:avLst/>
                <a:gdLst>
                  <a:gd name="connsiteX0" fmla="*/ 32908 w 228388"/>
                  <a:gd name="connsiteY0" fmla="*/ 124886 h 129866"/>
                  <a:gd name="connsiteX1" fmla="*/ 555 w 228388"/>
                  <a:gd name="connsiteY1" fmla="*/ 79418 h 129866"/>
                  <a:gd name="connsiteX2" fmla="*/ 1122 w 228388"/>
                  <a:gd name="connsiteY2" fmla="*/ 76658 h 129866"/>
                  <a:gd name="connsiteX3" fmla="*/ 141419 w 228388"/>
                  <a:gd name="connsiteY3" fmla="*/ 4318 h 129866"/>
                  <a:gd name="connsiteX4" fmla="*/ 225816 w 228388"/>
                  <a:gd name="connsiteY4" fmla="*/ 88715 h 129866"/>
                  <a:gd name="connsiteX5" fmla="*/ 228008 w 228388"/>
                  <a:gd name="connsiteY5" fmla="*/ 117213 h 129866"/>
                  <a:gd name="connsiteX6" fmla="*/ 32908 w 228388"/>
                  <a:gd name="connsiteY6" fmla="*/ 124886 h 12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388" h="129866">
                    <a:moveTo>
                      <a:pt x="32908" y="124886"/>
                    </a:moveTo>
                    <a:cubicBezTo>
                      <a:pt x="11418" y="121264"/>
                      <a:pt x="-3067" y="100908"/>
                      <a:pt x="555" y="79418"/>
                    </a:cubicBezTo>
                    <a:cubicBezTo>
                      <a:pt x="711" y="78492"/>
                      <a:pt x="900" y="77571"/>
                      <a:pt x="1122" y="76658"/>
                    </a:cubicBezTo>
                    <a:cubicBezTo>
                      <a:pt x="13178" y="30623"/>
                      <a:pt x="60309" y="-14316"/>
                      <a:pt x="141419" y="4318"/>
                    </a:cubicBezTo>
                    <a:cubicBezTo>
                      <a:pt x="183606" y="13577"/>
                      <a:pt x="216556" y="46527"/>
                      <a:pt x="225816" y="88715"/>
                    </a:cubicBezTo>
                    <a:cubicBezTo>
                      <a:pt x="228184" y="98018"/>
                      <a:pt x="228924" y="107659"/>
                      <a:pt x="228008" y="117213"/>
                    </a:cubicBezTo>
                    <a:cubicBezTo>
                      <a:pt x="174301" y="115021"/>
                      <a:pt x="122785" y="140231"/>
                      <a:pt x="32908" y="124886"/>
                    </a:cubicBezTo>
                  </a:path>
                </a:pathLst>
              </a:custGeom>
              <a:solidFill>
                <a:schemeClr val="bg1"/>
              </a:solidFill>
              <a:ln w="10926" cap="flat">
                <a:solidFill>
                  <a:srgbClr val="0070AD"/>
                </a:solidFill>
                <a:prstDash val="solid"/>
                <a:miter/>
              </a:ln>
            </p:spPr>
            <p:txBody>
              <a:bodyPr rtlCol="0" anchor="ctr"/>
              <a:lstStyle/>
              <a:p>
                <a:endParaRPr lang="en-US"/>
              </a:p>
            </p:txBody>
          </p:sp>
          <p:sp>
            <p:nvSpPr>
              <p:cNvPr id="577" name="Graphic 385">
                <a:extLst>
                  <a:ext uri="{FF2B5EF4-FFF2-40B4-BE49-F238E27FC236}">
                    <a16:creationId xmlns:a16="http://schemas.microsoft.com/office/drawing/2014/main" id="{A698C8D7-D961-4FAD-BE22-F36A7EC90D17}"/>
                  </a:ext>
                </a:extLst>
              </p:cNvPr>
              <p:cNvSpPr/>
              <p:nvPr/>
            </p:nvSpPr>
            <p:spPr>
              <a:xfrm>
                <a:off x="2930087" y="5940466"/>
                <a:ext cx="146945" cy="155877"/>
              </a:xfrm>
              <a:custGeom>
                <a:avLst/>
                <a:gdLst>
                  <a:gd name="connsiteX0" fmla="*/ 77862 w 146945"/>
                  <a:gd name="connsiteY0" fmla="*/ 155746 h 155877"/>
                  <a:gd name="connsiteX1" fmla="*/ 146914 w 146945"/>
                  <a:gd name="connsiteY1" fmla="*/ 73540 h 155877"/>
                  <a:gd name="connsiteX2" fmla="*/ 73478 w 146945"/>
                  <a:gd name="connsiteY2" fmla="*/ 104 h 155877"/>
                  <a:gd name="connsiteX3" fmla="*/ 41 w 146945"/>
                  <a:gd name="connsiteY3" fmla="*/ 83405 h 155877"/>
                  <a:gd name="connsiteX4" fmla="*/ 74436 w 146945"/>
                  <a:gd name="connsiteY4" fmla="*/ 155871 h 155877"/>
                  <a:gd name="connsiteX5" fmla="*/ 77862 w 146945"/>
                  <a:gd name="connsiteY5" fmla="*/ 155746 h 155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945" h="155877">
                    <a:moveTo>
                      <a:pt x="77862" y="155746"/>
                    </a:moveTo>
                    <a:cubicBezTo>
                      <a:pt x="120609" y="152458"/>
                      <a:pt x="148010" y="116287"/>
                      <a:pt x="146914" y="73540"/>
                    </a:cubicBezTo>
                    <a:cubicBezTo>
                      <a:pt x="145818" y="30794"/>
                      <a:pt x="116224" y="-2089"/>
                      <a:pt x="73478" y="104"/>
                    </a:cubicBezTo>
                    <a:cubicBezTo>
                      <a:pt x="30848" y="4133"/>
                      <a:pt x="-1306" y="40607"/>
                      <a:pt x="41" y="83405"/>
                    </a:cubicBezTo>
                    <a:cubicBezTo>
                      <a:pt x="573" y="123960"/>
                      <a:pt x="33881" y="156403"/>
                      <a:pt x="74436" y="155871"/>
                    </a:cubicBezTo>
                    <a:cubicBezTo>
                      <a:pt x="75579" y="155855"/>
                      <a:pt x="76721" y="155814"/>
                      <a:pt x="77862" y="155746"/>
                    </a:cubicBezTo>
                  </a:path>
                </a:pathLst>
              </a:custGeom>
              <a:solidFill>
                <a:srgbClr val="FFFFFF"/>
              </a:solidFill>
              <a:ln w="10926" cap="flat">
                <a:noFill/>
                <a:prstDash val="solid"/>
                <a:miter/>
              </a:ln>
            </p:spPr>
            <p:txBody>
              <a:bodyPr rtlCol="0" anchor="ctr"/>
              <a:lstStyle/>
              <a:p>
                <a:endParaRPr lang="en-US"/>
              </a:p>
            </p:txBody>
          </p:sp>
          <p:sp>
            <p:nvSpPr>
              <p:cNvPr id="578" name="Graphic 385">
                <a:extLst>
                  <a:ext uri="{FF2B5EF4-FFF2-40B4-BE49-F238E27FC236}">
                    <a16:creationId xmlns:a16="http://schemas.microsoft.com/office/drawing/2014/main" id="{763EE0D3-B216-4994-B0F5-0C77F8F96FD8}"/>
                  </a:ext>
                </a:extLst>
              </p:cNvPr>
              <p:cNvSpPr/>
              <p:nvPr/>
            </p:nvSpPr>
            <p:spPr>
              <a:xfrm>
                <a:off x="2864004" y="6119572"/>
                <a:ext cx="271530" cy="156397"/>
              </a:xfrm>
              <a:custGeom>
                <a:avLst/>
                <a:gdLst>
                  <a:gd name="connsiteX0" fmla="*/ 360 w 271530"/>
                  <a:gd name="connsiteY0" fmla="*/ 140952 h 156397"/>
                  <a:gd name="connsiteX1" fmla="*/ 2552 w 271530"/>
                  <a:gd name="connsiteY1" fmla="*/ 108070 h 156397"/>
                  <a:gd name="connsiteX2" fmla="*/ 103391 w 271530"/>
                  <a:gd name="connsiteY2" fmla="*/ 5039 h 156397"/>
                  <a:gd name="connsiteX3" fmla="*/ 268897 w 271530"/>
                  <a:gd name="connsiteY3" fmla="*/ 83956 h 156397"/>
                  <a:gd name="connsiteX4" fmla="*/ 236218 w 271530"/>
                  <a:gd name="connsiteY4" fmla="*/ 149069 h 156397"/>
                  <a:gd name="connsiteX5" fmla="*/ 229439 w 271530"/>
                  <a:gd name="connsiteY5" fmla="*/ 150817 h 156397"/>
                  <a:gd name="connsiteX6" fmla="*/ 360 w 271530"/>
                  <a:gd name="connsiteY6" fmla="*/ 140952 h 15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30" h="156397">
                    <a:moveTo>
                      <a:pt x="360" y="140952"/>
                    </a:moveTo>
                    <a:cubicBezTo>
                      <a:pt x="-521" y="129943"/>
                      <a:pt x="218" y="118864"/>
                      <a:pt x="2552" y="108070"/>
                    </a:cubicBezTo>
                    <a:cubicBezTo>
                      <a:pt x="13681" y="57260"/>
                      <a:pt x="52832" y="17258"/>
                      <a:pt x="103391" y="5039"/>
                    </a:cubicBezTo>
                    <a:cubicBezTo>
                      <a:pt x="196557" y="-15786"/>
                      <a:pt x="251360" y="31345"/>
                      <a:pt x="268897" y="83956"/>
                    </a:cubicBezTo>
                    <a:cubicBezTo>
                      <a:pt x="277853" y="110961"/>
                      <a:pt x="263223" y="140113"/>
                      <a:pt x="236218" y="149069"/>
                    </a:cubicBezTo>
                    <a:cubicBezTo>
                      <a:pt x="234001" y="149805"/>
                      <a:pt x="231735" y="150389"/>
                      <a:pt x="229439" y="150817"/>
                    </a:cubicBezTo>
                    <a:cubicBezTo>
                      <a:pt x="124216" y="168354"/>
                      <a:pt x="62836" y="138760"/>
                      <a:pt x="360" y="140952"/>
                    </a:cubicBezTo>
                  </a:path>
                </a:pathLst>
              </a:custGeom>
              <a:solidFill>
                <a:srgbClr val="FFFFFF"/>
              </a:solidFill>
              <a:ln w="10926" cap="flat">
                <a:solidFill>
                  <a:srgbClr val="0070AD"/>
                </a:solidFill>
                <a:prstDash val="solid"/>
                <a:miter/>
              </a:ln>
            </p:spPr>
            <p:txBody>
              <a:bodyPr rtlCol="0" anchor="ctr"/>
              <a:lstStyle/>
              <a:p>
                <a:endParaRPr lang="en-US" dirty="0"/>
              </a:p>
            </p:txBody>
          </p:sp>
        </p:grpSp>
      </p:grpSp>
      <p:grpSp>
        <p:nvGrpSpPr>
          <p:cNvPr id="12" name="Group 11">
            <a:extLst>
              <a:ext uri="{FF2B5EF4-FFF2-40B4-BE49-F238E27FC236}">
                <a16:creationId xmlns:a16="http://schemas.microsoft.com/office/drawing/2014/main" id="{045C5B2E-6228-458C-8AA1-402FEC36CB3A}"/>
              </a:ext>
              <a:ext uri="{C183D7F6-B498-43B3-948B-1728B52AA6E4}">
                <adec:decorative xmlns:adec="http://schemas.microsoft.com/office/drawing/2017/decorative" val="1"/>
              </a:ext>
            </a:extLst>
          </p:cNvPr>
          <p:cNvGrpSpPr/>
          <p:nvPr/>
        </p:nvGrpSpPr>
        <p:grpSpPr>
          <a:xfrm>
            <a:off x="3436403" y="1001633"/>
            <a:ext cx="676275" cy="633413"/>
            <a:chOff x="3354215" y="1156987"/>
            <a:chExt cx="676275" cy="633413"/>
          </a:xfrm>
        </p:grpSpPr>
        <p:grpSp>
          <p:nvGrpSpPr>
            <p:cNvPr id="652" name="Group 651">
              <a:extLst>
                <a:ext uri="{FF2B5EF4-FFF2-40B4-BE49-F238E27FC236}">
                  <a16:creationId xmlns:a16="http://schemas.microsoft.com/office/drawing/2014/main" id="{1F350656-44AB-483F-936E-88068409C374}"/>
                </a:ext>
              </a:extLst>
            </p:cNvPr>
            <p:cNvGrpSpPr/>
            <p:nvPr/>
          </p:nvGrpSpPr>
          <p:grpSpPr>
            <a:xfrm>
              <a:off x="3354215" y="1156987"/>
              <a:ext cx="676275" cy="633413"/>
              <a:chOff x="6462713" y="942975"/>
              <a:chExt cx="676275" cy="633413"/>
            </a:xfrm>
            <a:solidFill>
              <a:schemeClr val="accent1"/>
            </a:solidFill>
          </p:grpSpPr>
          <p:sp>
            <p:nvSpPr>
              <p:cNvPr id="653" name="Freeform 390">
                <a:extLst>
                  <a:ext uri="{FF2B5EF4-FFF2-40B4-BE49-F238E27FC236}">
                    <a16:creationId xmlns:a16="http://schemas.microsoft.com/office/drawing/2014/main" id="{C85E7195-D378-4360-B89C-552FAFC4419A}"/>
                  </a:ext>
                </a:extLst>
              </p:cNvPr>
              <p:cNvSpPr>
                <a:spLocks/>
              </p:cNvSpPr>
              <p:nvPr/>
            </p:nvSpPr>
            <p:spPr bwMode="auto">
              <a:xfrm>
                <a:off x="6462713" y="942975"/>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56" name="Freeform 393">
                <a:extLst>
                  <a:ext uri="{FF2B5EF4-FFF2-40B4-BE49-F238E27FC236}">
                    <a16:creationId xmlns:a16="http://schemas.microsoft.com/office/drawing/2014/main" id="{F8C1468D-FA08-4A99-9A44-159E0C865769}"/>
                  </a:ext>
                </a:extLst>
              </p:cNvPr>
              <p:cNvSpPr>
                <a:spLocks/>
              </p:cNvSpPr>
              <p:nvPr/>
            </p:nvSpPr>
            <p:spPr bwMode="auto">
              <a:xfrm>
                <a:off x="6610351" y="1225550"/>
                <a:ext cx="149225" cy="136525"/>
              </a:xfrm>
              <a:custGeom>
                <a:avLst/>
                <a:gdLst>
                  <a:gd name="T0" fmla="*/ 8 w 51"/>
                  <a:gd name="T1" fmla="*/ 37 h 47"/>
                  <a:gd name="T2" fmla="*/ 12 w 51"/>
                  <a:gd name="T3" fmla="*/ 7 h 47"/>
                  <a:gd name="T4" fmla="*/ 43 w 51"/>
                  <a:gd name="T5" fmla="*/ 11 h 47"/>
                  <a:gd name="T6" fmla="*/ 38 w 51"/>
                  <a:gd name="T7" fmla="*/ 40 h 47"/>
                  <a:gd name="T8" fmla="*/ 8 w 51"/>
                  <a:gd name="T9" fmla="*/ 37 h 47"/>
                </a:gdLst>
                <a:ahLst/>
                <a:cxnLst>
                  <a:cxn ang="0">
                    <a:pos x="T0" y="T1"/>
                  </a:cxn>
                  <a:cxn ang="0">
                    <a:pos x="T2" y="T3"/>
                  </a:cxn>
                  <a:cxn ang="0">
                    <a:pos x="T4" y="T5"/>
                  </a:cxn>
                  <a:cxn ang="0">
                    <a:pos x="T6" y="T7"/>
                  </a:cxn>
                  <a:cxn ang="0">
                    <a:pos x="T8" y="T9"/>
                  </a:cxn>
                </a:cxnLst>
                <a:rect l="0" t="0" r="r" b="b"/>
                <a:pathLst>
                  <a:path w="51" h="47">
                    <a:moveTo>
                      <a:pt x="8" y="37"/>
                    </a:moveTo>
                    <a:cubicBezTo>
                      <a:pt x="0" y="27"/>
                      <a:pt x="3" y="14"/>
                      <a:pt x="12" y="7"/>
                    </a:cubicBezTo>
                    <a:cubicBezTo>
                      <a:pt x="22" y="0"/>
                      <a:pt x="36" y="2"/>
                      <a:pt x="43" y="11"/>
                    </a:cubicBezTo>
                    <a:cubicBezTo>
                      <a:pt x="51" y="21"/>
                      <a:pt x="48" y="33"/>
                      <a:pt x="38" y="40"/>
                    </a:cubicBezTo>
                    <a:cubicBezTo>
                      <a:pt x="28" y="47"/>
                      <a:pt x="15" y="46"/>
                      <a:pt x="8" y="37"/>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57" name="Freeform 394">
                <a:extLst>
                  <a:ext uri="{FF2B5EF4-FFF2-40B4-BE49-F238E27FC236}">
                    <a16:creationId xmlns:a16="http://schemas.microsoft.com/office/drawing/2014/main" id="{007B405F-F81E-4717-A0D2-221CE5A2A893}"/>
                  </a:ext>
                </a:extLst>
              </p:cNvPr>
              <p:cNvSpPr>
                <a:spLocks/>
              </p:cNvSpPr>
              <p:nvPr/>
            </p:nvSpPr>
            <p:spPr bwMode="auto">
              <a:xfrm>
                <a:off x="6851651" y="1225550"/>
                <a:ext cx="146050" cy="136525"/>
              </a:xfrm>
              <a:custGeom>
                <a:avLst/>
                <a:gdLst>
                  <a:gd name="T0" fmla="*/ 7 w 50"/>
                  <a:gd name="T1" fmla="*/ 37 h 47"/>
                  <a:gd name="T2" fmla="*/ 12 w 50"/>
                  <a:gd name="T3" fmla="*/ 7 h 47"/>
                  <a:gd name="T4" fmla="*/ 43 w 50"/>
                  <a:gd name="T5" fmla="*/ 11 h 47"/>
                  <a:gd name="T6" fmla="*/ 37 w 50"/>
                  <a:gd name="T7" fmla="*/ 40 h 47"/>
                  <a:gd name="T8" fmla="*/ 7 w 50"/>
                  <a:gd name="T9" fmla="*/ 37 h 47"/>
                </a:gdLst>
                <a:ahLst/>
                <a:cxnLst>
                  <a:cxn ang="0">
                    <a:pos x="T0" y="T1"/>
                  </a:cxn>
                  <a:cxn ang="0">
                    <a:pos x="T2" y="T3"/>
                  </a:cxn>
                  <a:cxn ang="0">
                    <a:pos x="T4" y="T5"/>
                  </a:cxn>
                  <a:cxn ang="0">
                    <a:pos x="T6" y="T7"/>
                  </a:cxn>
                  <a:cxn ang="0">
                    <a:pos x="T8" y="T9"/>
                  </a:cxn>
                </a:cxnLst>
                <a:rect l="0" t="0" r="r" b="b"/>
                <a:pathLst>
                  <a:path w="50" h="47">
                    <a:moveTo>
                      <a:pt x="7" y="37"/>
                    </a:moveTo>
                    <a:cubicBezTo>
                      <a:pt x="0" y="27"/>
                      <a:pt x="2" y="14"/>
                      <a:pt x="12" y="7"/>
                    </a:cubicBezTo>
                    <a:cubicBezTo>
                      <a:pt x="22" y="0"/>
                      <a:pt x="35" y="2"/>
                      <a:pt x="43" y="11"/>
                    </a:cubicBezTo>
                    <a:cubicBezTo>
                      <a:pt x="50" y="21"/>
                      <a:pt x="47" y="33"/>
                      <a:pt x="37" y="40"/>
                    </a:cubicBezTo>
                    <a:cubicBezTo>
                      <a:pt x="27" y="47"/>
                      <a:pt x="14" y="46"/>
                      <a:pt x="7" y="37"/>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85" name="Graphic 386">
              <a:extLst>
                <a:ext uri="{FF2B5EF4-FFF2-40B4-BE49-F238E27FC236}">
                  <a16:creationId xmlns:a16="http://schemas.microsoft.com/office/drawing/2014/main" id="{3B0B4C7F-C617-4FF6-B477-BA313E7E2B71}"/>
                </a:ext>
              </a:extLst>
            </p:cNvPr>
            <p:cNvGrpSpPr>
              <a:grpSpLocks noChangeAspect="1"/>
            </p:cNvGrpSpPr>
            <p:nvPr/>
          </p:nvGrpSpPr>
          <p:grpSpPr>
            <a:xfrm>
              <a:off x="3478739" y="1320937"/>
              <a:ext cx="390638" cy="330093"/>
              <a:chOff x="3560834" y="5906226"/>
              <a:chExt cx="432525" cy="365490"/>
            </a:xfrm>
          </p:grpSpPr>
          <p:sp>
            <p:nvSpPr>
              <p:cNvPr id="587" name="Graphic 386">
                <a:extLst>
                  <a:ext uri="{FF2B5EF4-FFF2-40B4-BE49-F238E27FC236}">
                    <a16:creationId xmlns:a16="http://schemas.microsoft.com/office/drawing/2014/main" id="{EED6EA5F-C666-42CC-A504-71A28464560E}"/>
                  </a:ext>
                </a:extLst>
              </p:cNvPr>
              <p:cNvSpPr/>
              <p:nvPr/>
            </p:nvSpPr>
            <p:spPr>
              <a:xfrm>
                <a:off x="3613641" y="5906226"/>
                <a:ext cx="127740" cy="136077"/>
              </a:xfrm>
              <a:custGeom>
                <a:avLst/>
                <a:gdLst>
                  <a:gd name="connsiteX0" fmla="*/ 51324 w 127740"/>
                  <a:gd name="connsiteY0" fmla="*/ 134800 h 136077"/>
                  <a:gd name="connsiteX1" fmla="*/ 905 w 127740"/>
                  <a:gd name="connsiteY1" fmla="*/ 55883 h 136077"/>
                  <a:gd name="connsiteX2" fmla="*/ 72150 w 127740"/>
                  <a:gd name="connsiteY2" fmla="*/ 1080 h 136077"/>
                  <a:gd name="connsiteX3" fmla="*/ 126953 w 127740"/>
                  <a:gd name="connsiteY3" fmla="*/ 81093 h 136077"/>
                  <a:gd name="connsiteX4" fmla="*/ 55370 w 127740"/>
                  <a:gd name="connsiteY4" fmla="*/ 135486 h 136077"/>
                  <a:gd name="connsiteX5" fmla="*/ 51324 w 127740"/>
                  <a:gd name="connsiteY5" fmla="*/ 134800 h 136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740" h="136077">
                    <a:moveTo>
                      <a:pt x="51324" y="134800"/>
                    </a:moveTo>
                    <a:cubicBezTo>
                      <a:pt x="15154" y="128224"/>
                      <a:pt x="-4575" y="93150"/>
                      <a:pt x="905" y="55883"/>
                    </a:cubicBezTo>
                    <a:cubicBezTo>
                      <a:pt x="6385" y="18617"/>
                      <a:pt x="37075" y="-5497"/>
                      <a:pt x="72150" y="1080"/>
                    </a:cubicBezTo>
                    <a:cubicBezTo>
                      <a:pt x="108552" y="9283"/>
                      <a:pt x="132459" y="44185"/>
                      <a:pt x="126953" y="81093"/>
                    </a:cubicBezTo>
                    <a:cubicBezTo>
                      <a:pt x="122206" y="115880"/>
                      <a:pt x="90157" y="140232"/>
                      <a:pt x="55370" y="135486"/>
                    </a:cubicBezTo>
                    <a:cubicBezTo>
                      <a:pt x="54014" y="135301"/>
                      <a:pt x="52665" y="135072"/>
                      <a:pt x="51324" y="134800"/>
                    </a:cubicBezTo>
                  </a:path>
                </a:pathLst>
              </a:custGeom>
              <a:solidFill>
                <a:schemeClr val="bg1"/>
              </a:solidFill>
              <a:ln w="10926" cap="flat">
                <a:noFill/>
                <a:prstDash val="solid"/>
                <a:miter/>
              </a:ln>
            </p:spPr>
            <p:txBody>
              <a:bodyPr rtlCol="0" anchor="ctr"/>
              <a:lstStyle/>
              <a:p>
                <a:endParaRPr lang="en-US" dirty="0"/>
              </a:p>
            </p:txBody>
          </p:sp>
          <p:sp>
            <p:nvSpPr>
              <p:cNvPr id="588" name="Graphic 386">
                <a:extLst>
                  <a:ext uri="{FF2B5EF4-FFF2-40B4-BE49-F238E27FC236}">
                    <a16:creationId xmlns:a16="http://schemas.microsoft.com/office/drawing/2014/main" id="{767DBF31-2918-4335-A94A-019C614E8581}"/>
                  </a:ext>
                </a:extLst>
              </p:cNvPr>
              <p:cNvSpPr/>
              <p:nvPr/>
            </p:nvSpPr>
            <p:spPr>
              <a:xfrm>
                <a:off x="3560834" y="6067431"/>
                <a:ext cx="238207" cy="135565"/>
              </a:xfrm>
              <a:custGeom>
                <a:avLst/>
                <a:gdLst>
                  <a:gd name="connsiteX0" fmla="*/ 33983 w 238207"/>
                  <a:gd name="connsiteY0" fmla="*/ 130285 h 135565"/>
                  <a:gd name="connsiteX1" fmla="*/ 721 w 238207"/>
                  <a:gd name="connsiteY1" fmla="*/ 81672 h 135565"/>
                  <a:gd name="connsiteX2" fmla="*/ 1101 w 238207"/>
                  <a:gd name="connsiteY2" fmla="*/ 79865 h 135565"/>
                  <a:gd name="connsiteX3" fmla="*/ 147974 w 238207"/>
                  <a:gd name="connsiteY3" fmla="*/ 4236 h 135565"/>
                  <a:gd name="connsiteX4" fmla="*/ 235660 w 238207"/>
                  <a:gd name="connsiteY4" fmla="*/ 93018 h 135565"/>
                  <a:gd name="connsiteX5" fmla="*/ 237852 w 238207"/>
                  <a:gd name="connsiteY5" fmla="*/ 121516 h 135565"/>
                  <a:gd name="connsiteX6" fmla="*/ 33983 w 238207"/>
                  <a:gd name="connsiteY6" fmla="*/ 130285 h 13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207" h="135565">
                    <a:moveTo>
                      <a:pt x="33983" y="130285"/>
                    </a:moveTo>
                    <a:cubicBezTo>
                      <a:pt x="11374" y="126046"/>
                      <a:pt x="-3518" y="104281"/>
                      <a:pt x="721" y="81672"/>
                    </a:cubicBezTo>
                    <a:cubicBezTo>
                      <a:pt x="834" y="81068"/>
                      <a:pt x="961" y="80465"/>
                      <a:pt x="1101" y="79865"/>
                    </a:cubicBezTo>
                    <a:cubicBezTo>
                      <a:pt x="14254" y="31638"/>
                      <a:pt x="62481" y="-14397"/>
                      <a:pt x="147974" y="4236"/>
                    </a:cubicBezTo>
                    <a:cubicBezTo>
                      <a:pt x="191828" y="14535"/>
                      <a:pt x="225907" y="49040"/>
                      <a:pt x="235660" y="93018"/>
                    </a:cubicBezTo>
                    <a:cubicBezTo>
                      <a:pt x="237985" y="102327"/>
                      <a:pt x="238726" y="111961"/>
                      <a:pt x="237852" y="121516"/>
                    </a:cubicBezTo>
                    <a:cubicBezTo>
                      <a:pt x="181953" y="119324"/>
                      <a:pt x="128245" y="146726"/>
                      <a:pt x="33983" y="130285"/>
                    </a:cubicBezTo>
                  </a:path>
                </a:pathLst>
              </a:custGeom>
              <a:solidFill>
                <a:schemeClr val="bg1"/>
              </a:solidFill>
              <a:ln w="10926" cap="flat">
                <a:noFill/>
                <a:prstDash val="solid"/>
                <a:miter/>
              </a:ln>
            </p:spPr>
            <p:txBody>
              <a:bodyPr rtlCol="0" anchor="ctr"/>
              <a:lstStyle/>
              <a:p>
                <a:endParaRPr lang="en-US"/>
              </a:p>
            </p:txBody>
          </p:sp>
          <p:sp>
            <p:nvSpPr>
              <p:cNvPr id="589" name="Graphic 386">
                <a:extLst>
                  <a:ext uri="{FF2B5EF4-FFF2-40B4-BE49-F238E27FC236}">
                    <a16:creationId xmlns:a16="http://schemas.microsoft.com/office/drawing/2014/main" id="{387C6397-CADE-495C-B1FD-1BBDC3FBCAD9}"/>
                  </a:ext>
                </a:extLst>
              </p:cNvPr>
              <p:cNvSpPr/>
              <p:nvPr/>
            </p:nvSpPr>
            <p:spPr>
              <a:xfrm>
                <a:off x="3778920" y="5922486"/>
                <a:ext cx="153515" cy="161532"/>
              </a:xfrm>
              <a:custGeom>
                <a:avLst/>
                <a:gdLst>
                  <a:gd name="connsiteX0" fmla="*/ 82242 w 153515"/>
                  <a:gd name="connsiteY0" fmla="*/ 161336 h 161532"/>
                  <a:gd name="connsiteX1" fmla="*/ 153487 w 153515"/>
                  <a:gd name="connsiteY1" fmla="*/ 75843 h 161532"/>
                  <a:gd name="connsiteX2" fmla="*/ 76762 w 153515"/>
                  <a:gd name="connsiteY2" fmla="*/ 214 h 161532"/>
                  <a:gd name="connsiteX3" fmla="*/ 37 w 153515"/>
                  <a:gd name="connsiteY3" fmla="*/ 85707 h 161532"/>
                  <a:gd name="connsiteX4" fmla="*/ 77656 w 153515"/>
                  <a:gd name="connsiteY4" fmla="*/ 161527 h 161532"/>
                  <a:gd name="connsiteX5" fmla="*/ 82242 w 153515"/>
                  <a:gd name="connsiteY5" fmla="*/ 161336 h 16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515" h="161532">
                    <a:moveTo>
                      <a:pt x="82242" y="161336"/>
                    </a:moveTo>
                    <a:cubicBezTo>
                      <a:pt x="124989" y="158048"/>
                      <a:pt x="154583" y="119686"/>
                      <a:pt x="153487" y="75843"/>
                    </a:cubicBezTo>
                    <a:cubicBezTo>
                      <a:pt x="152390" y="32000"/>
                      <a:pt x="120604" y="-3074"/>
                      <a:pt x="76762" y="214"/>
                    </a:cubicBezTo>
                    <a:cubicBezTo>
                      <a:pt x="32485" y="3701"/>
                      <a:pt x="-1269" y="41312"/>
                      <a:pt x="37" y="85707"/>
                    </a:cubicBezTo>
                    <a:cubicBezTo>
                      <a:pt x="533" y="128078"/>
                      <a:pt x="35285" y="162025"/>
                      <a:pt x="77656" y="161527"/>
                    </a:cubicBezTo>
                    <a:cubicBezTo>
                      <a:pt x="79186" y="161510"/>
                      <a:pt x="80715" y="161446"/>
                      <a:pt x="82242" y="161336"/>
                    </a:cubicBezTo>
                  </a:path>
                </a:pathLst>
              </a:custGeom>
              <a:solidFill>
                <a:srgbClr val="FFFFFF"/>
              </a:solidFill>
              <a:ln w="10926" cap="flat">
                <a:noFill/>
                <a:prstDash val="solid"/>
                <a:miter/>
              </a:ln>
            </p:spPr>
            <p:txBody>
              <a:bodyPr rtlCol="0" anchor="ctr"/>
              <a:lstStyle/>
              <a:p>
                <a:endParaRPr lang="en-US"/>
              </a:p>
            </p:txBody>
          </p:sp>
          <p:sp>
            <p:nvSpPr>
              <p:cNvPr id="590" name="Graphic 386">
                <a:extLst>
                  <a:ext uri="{FF2B5EF4-FFF2-40B4-BE49-F238E27FC236}">
                    <a16:creationId xmlns:a16="http://schemas.microsoft.com/office/drawing/2014/main" id="{D15F2A95-9D39-4BA2-B344-51F90CAA975A}"/>
                  </a:ext>
                </a:extLst>
              </p:cNvPr>
              <p:cNvSpPr/>
              <p:nvPr/>
            </p:nvSpPr>
            <p:spPr>
              <a:xfrm>
                <a:off x="3709773" y="6109085"/>
                <a:ext cx="283586" cy="162631"/>
              </a:xfrm>
              <a:custGeom>
                <a:avLst/>
                <a:gdLst>
                  <a:gd name="connsiteX0" fmla="*/ 132 w 283586"/>
                  <a:gd name="connsiteY0" fmla="*/ 147817 h 162631"/>
                  <a:gd name="connsiteX1" fmla="*/ 3420 w 283586"/>
                  <a:gd name="connsiteY1" fmla="*/ 112743 h 162631"/>
                  <a:gd name="connsiteX2" fmla="*/ 107547 w 283586"/>
                  <a:gd name="connsiteY2" fmla="*/ 5328 h 162631"/>
                  <a:gd name="connsiteX3" fmla="*/ 280726 w 283586"/>
                  <a:gd name="connsiteY3" fmla="*/ 87534 h 162631"/>
                  <a:gd name="connsiteX4" fmla="*/ 248031 w 283586"/>
                  <a:gd name="connsiteY4" fmla="*/ 154369 h 162631"/>
                  <a:gd name="connsiteX5" fmla="*/ 239075 w 283586"/>
                  <a:gd name="connsiteY5" fmla="*/ 156586 h 162631"/>
                  <a:gd name="connsiteX6" fmla="*/ 132 w 283586"/>
                  <a:gd name="connsiteY6" fmla="*/ 147817 h 16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586" h="162631">
                    <a:moveTo>
                      <a:pt x="132" y="147817"/>
                    </a:moveTo>
                    <a:cubicBezTo>
                      <a:pt x="-405" y="136030"/>
                      <a:pt x="702" y="124226"/>
                      <a:pt x="3420" y="112743"/>
                    </a:cubicBezTo>
                    <a:cubicBezTo>
                      <a:pt x="14304" y="59745"/>
                      <a:pt x="54912" y="17855"/>
                      <a:pt x="107547" y="5328"/>
                    </a:cubicBezTo>
                    <a:cubicBezTo>
                      <a:pt x="205097" y="-16593"/>
                      <a:pt x="262093" y="32730"/>
                      <a:pt x="280726" y="87534"/>
                    </a:cubicBezTo>
                    <a:cubicBezTo>
                      <a:pt x="290153" y="115018"/>
                      <a:pt x="275516" y="144941"/>
                      <a:pt x="248031" y="154369"/>
                    </a:cubicBezTo>
                    <a:cubicBezTo>
                      <a:pt x="245117" y="155369"/>
                      <a:pt x="242120" y="156110"/>
                      <a:pt x="239075" y="156586"/>
                    </a:cubicBezTo>
                    <a:cubicBezTo>
                      <a:pt x="129468" y="175219"/>
                      <a:pt x="65896" y="144529"/>
                      <a:pt x="132" y="147817"/>
                    </a:cubicBezTo>
                  </a:path>
                </a:pathLst>
              </a:custGeom>
              <a:solidFill>
                <a:srgbClr val="FFFFFF"/>
              </a:solidFill>
              <a:ln w="10926" cap="flat">
                <a:solidFill>
                  <a:srgbClr val="0070AD"/>
                </a:solidFill>
                <a:prstDash val="solid"/>
                <a:miter/>
              </a:ln>
            </p:spPr>
            <p:txBody>
              <a:bodyPr rtlCol="0" anchor="ctr"/>
              <a:lstStyle/>
              <a:p>
                <a:endParaRPr lang="en-US"/>
              </a:p>
            </p:txBody>
          </p:sp>
        </p:grpSp>
      </p:grpSp>
      <p:grpSp>
        <p:nvGrpSpPr>
          <p:cNvPr id="179" name="Group 178">
            <a:extLst>
              <a:ext uri="{FF2B5EF4-FFF2-40B4-BE49-F238E27FC236}">
                <a16:creationId xmlns:a16="http://schemas.microsoft.com/office/drawing/2014/main" id="{AD42CAB8-871C-404C-87E4-3EC915C3EC1C}"/>
              </a:ext>
              <a:ext uri="{C183D7F6-B498-43B3-948B-1728B52AA6E4}">
                <adec:decorative xmlns:adec="http://schemas.microsoft.com/office/drawing/2017/decorative" val="1"/>
              </a:ext>
            </a:extLst>
          </p:cNvPr>
          <p:cNvGrpSpPr/>
          <p:nvPr/>
        </p:nvGrpSpPr>
        <p:grpSpPr>
          <a:xfrm>
            <a:off x="520398" y="3888243"/>
            <a:ext cx="676275" cy="633413"/>
            <a:chOff x="1507366" y="4349235"/>
            <a:chExt cx="676275" cy="633413"/>
          </a:xfrm>
        </p:grpSpPr>
        <p:sp>
          <p:nvSpPr>
            <p:cNvPr id="671" name="Freeform 390">
              <a:extLst>
                <a:ext uri="{FF2B5EF4-FFF2-40B4-BE49-F238E27FC236}">
                  <a16:creationId xmlns:a16="http://schemas.microsoft.com/office/drawing/2014/main" id="{A35AF195-3A5E-44DD-B8C3-5D125C8BDCB6}"/>
                </a:ext>
              </a:extLst>
            </p:cNvPr>
            <p:cNvSpPr>
              <a:spLocks noChangeAspect="1"/>
            </p:cNvSpPr>
            <p:nvPr/>
          </p:nvSpPr>
          <p:spPr bwMode="auto">
            <a:xfrm>
              <a:off x="1507366" y="4349235"/>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nvGrpSpPr>
            <p:cNvPr id="591" name="Group 590">
              <a:extLst>
                <a:ext uri="{FF2B5EF4-FFF2-40B4-BE49-F238E27FC236}">
                  <a16:creationId xmlns:a16="http://schemas.microsoft.com/office/drawing/2014/main" id="{7BEA33D1-B5AB-4510-B637-DD19EAD70012}"/>
                </a:ext>
              </a:extLst>
            </p:cNvPr>
            <p:cNvGrpSpPr>
              <a:grpSpLocks noChangeAspect="1"/>
            </p:cNvGrpSpPr>
            <p:nvPr/>
          </p:nvGrpSpPr>
          <p:grpSpPr>
            <a:xfrm>
              <a:off x="1602340" y="4540445"/>
              <a:ext cx="446836" cy="291491"/>
              <a:chOff x="1965326" y="5762625"/>
              <a:chExt cx="406400" cy="265113"/>
            </a:xfrm>
          </p:grpSpPr>
          <p:sp>
            <p:nvSpPr>
              <p:cNvPr id="594" name="Freeform 500">
                <a:extLst>
                  <a:ext uri="{FF2B5EF4-FFF2-40B4-BE49-F238E27FC236}">
                    <a16:creationId xmlns:a16="http://schemas.microsoft.com/office/drawing/2014/main" id="{D9B50E0D-8CD2-49D1-A796-9B9645832EFA}"/>
                  </a:ext>
                </a:extLst>
              </p:cNvPr>
              <p:cNvSpPr>
                <a:spLocks/>
              </p:cNvSpPr>
              <p:nvPr/>
            </p:nvSpPr>
            <p:spPr bwMode="auto">
              <a:xfrm>
                <a:off x="1965326" y="5762625"/>
                <a:ext cx="406400" cy="265113"/>
              </a:xfrm>
              <a:custGeom>
                <a:avLst/>
                <a:gdLst>
                  <a:gd name="T0" fmla="*/ 2 w 140"/>
                  <a:gd name="T1" fmla="*/ 25 h 91"/>
                  <a:gd name="T2" fmla="*/ 1 w 140"/>
                  <a:gd name="T3" fmla="*/ 26 h 91"/>
                  <a:gd name="T4" fmla="*/ 4 w 140"/>
                  <a:gd name="T5" fmla="*/ 31 h 91"/>
                  <a:gd name="T6" fmla="*/ 64 w 140"/>
                  <a:gd name="T7" fmla="*/ 54 h 91"/>
                  <a:gd name="T8" fmla="*/ 67 w 140"/>
                  <a:gd name="T9" fmla="*/ 55 h 91"/>
                  <a:gd name="T10" fmla="*/ 73 w 140"/>
                  <a:gd name="T11" fmla="*/ 54 h 91"/>
                  <a:gd name="T12" fmla="*/ 119 w 140"/>
                  <a:gd name="T13" fmla="*/ 36 h 91"/>
                  <a:gd name="T14" fmla="*/ 119 w 140"/>
                  <a:gd name="T15" fmla="*/ 57 h 91"/>
                  <a:gd name="T16" fmla="*/ 117 w 140"/>
                  <a:gd name="T17" fmla="*/ 58 h 91"/>
                  <a:gd name="T18" fmla="*/ 115 w 140"/>
                  <a:gd name="T19" fmla="*/ 63 h 91"/>
                  <a:gd name="T20" fmla="*/ 117 w 140"/>
                  <a:gd name="T21" fmla="*/ 67 h 91"/>
                  <a:gd name="T22" fmla="*/ 119 w 140"/>
                  <a:gd name="T23" fmla="*/ 69 h 91"/>
                  <a:gd name="T24" fmla="*/ 122 w 140"/>
                  <a:gd name="T25" fmla="*/ 86 h 91"/>
                  <a:gd name="T26" fmla="*/ 130 w 140"/>
                  <a:gd name="T27" fmla="*/ 90 h 91"/>
                  <a:gd name="T28" fmla="*/ 138 w 140"/>
                  <a:gd name="T29" fmla="*/ 84 h 91"/>
                  <a:gd name="T30" fmla="*/ 137 w 140"/>
                  <a:gd name="T31" fmla="*/ 80 h 91"/>
                  <a:gd name="T32" fmla="*/ 126 w 140"/>
                  <a:gd name="T33" fmla="*/ 68 h 91"/>
                  <a:gd name="T34" fmla="*/ 126 w 140"/>
                  <a:gd name="T35" fmla="*/ 67 h 91"/>
                  <a:gd name="T36" fmla="*/ 128 w 140"/>
                  <a:gd name="T37" fmla="*/ 63 h 91"/>
                  <a:gd name="T38" fmla="*/ 126 w 140"/>
                  <a:gd name="T39" fmla="*/ 58 h 91"/>
                  <a:gd name="T40" fmla="*/ 125 w 140"/>
                  <a:gd name="T41" fmla="*/ 57 h 91"/>
                  <a:gd name="T42" fmla="*/ 125 w 140"/>
                  <a:gd name="T43" fmla="*/ 33 h 91"/>
                  <a:gd name="T44" fmla="*/ 134 w 140"/>
                  <a:gd name="T45" fmla="*/ 30 h 91"/>
                  <a:gd name="T46" fmla="*/ 134 w 140"/>
                  <a:gd name="T47" fmla="*/ 24 h 91"/>
                  <a:gd name="T48" fmla="*/ 73 w 140"/>
                  <a:gd name="T49" fmla="*/ 1 h 91"/>
                  <a:gd name="T50" fmla="*/ 70 w 140"/>
                  <a:gd name="T51" fmla="*/ 0 h 91"/>
                  <a:gd name="T52" fmla="*/ 64 w 140"/>
                  <a:gd name="T53" fmla="*/ 1 h 91"/>
                  <a:gd name="T54" fmla="*/ 32 w 140"/>
                  <a:gd name="T55" fmla="*/ 13 h 91"/>
                  <a:gd name="T56" fmla="*/ 3 w 140"/>
                  <a:gd name="T57" fmla="*/ 24 h 91"/>
                  <a:gd name="T58" fmla="*/ 2 w 140"/>
                  <a:gd name="T59" fmla="*/ 2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 h="91">
                    <a:moveTo>
                      <a:pt x="2" y="25"/>
                    </a:moveTo>
                    <a:cubicBezTo>
                      <a:pt x="1" y="26"/>
                      <a:pt x="1" y="26"/>
                      <a:pt x="1" y="26"/>
                    </a:cubicBezTo>
                    <a:cubicBezTo>
                      <a:pt x="0" y="28"/>
                      <a:pt x="1" y="29"/>
                      <a:pt x="4" y="31"/>
                    </a:cubicBezTo>
                    <a:cubicBezTo>
                      <a:pt x="64" y="54"/>
                      <a:pt x="64" y="54"/>
                      <a:pt x="64" y="54"/>
                    </a:cubicBezTo>
                    <a:cubicBezTo>
                      <a:pt x="67" y="55"/>
                      <a:pt x="67" y="55"/>
                      <a:pt x="67" y="55"/>
                    </a:cubicBezTo>
                    <a:cubicBezTo>
                      <a:pt x="73" y="54"/>
                      <a:pt x="73" y="54"/>
                      <a:pt x="73" y="54"/>
                    </a:cubicBezTo>
                    <a:cubicBezTo>
                      <a:pt x="119" y="36"/>
                      <a:pt x="119" y="36"/>
                      <a:pt x="119" y="36"/>
                    </a:cubicBezTo>
                    <a:cubicBezTo>
                      <a:pt x="119" y="57"/>
                      <a:pt x="119" y="57"/>
                      <a:pt x="119" y="57"/>
                    </a:cubicBezTo>
                    <a:cubicBezTo>
                      <a:pt x="117" y="58"/>
                      <a:pt x="117" y="58"/>
                      <a:pt x="117" y="58"/>
                    </a:cubicBezTo>
                    <a:cubicBezTo>
                      <a:pt x="116" y="60"/>
                      <a:pt x="115" y="61"/>
                      <a:pt x="115" y="63"/>
                    </a:cubicBezTo>
                    <a:cubicBezTo>
                      <a:pt x="115" y="65"/>
                      <a:pt x="116" y="66"/>
                      <a:pt x="117" y="67"/>
                    </a:cubicBezTo>
                    <a:cubicBezTo>
                      <a:pt x="119" y="69"/>
                      <a:pt x="119" y="69"/>
                      <a:pt x="119" y="69"/>
                    </a:cubicBezTo>
                    <a:cubicBezTo>
                      <a:pt x="119" y="75"/>
                      <a:pt x="120" y="81"/>
                      <a:pt x="122" y="86"/>
                    </a:cubicBezTo>
                    <a:cubicBezTo>
                      <a:pt x="124" y="90"/>
                      <a:pt x="127" y="91"/>
                      <a:pt x="130" y="90"/>
                    </a:cubicBezTo>
                    <a:cubicBezTo>
                      <a:pt x="134" y="88"/>
                      <a:pt x="136" y="86"/>
                      <a:pt x="138" y="84"/>
                    </a:cubicBezTo>
                    <a:cubicBezTo>
                      <a:pt x="140" y="82"/>
                      <a:pt x="139" y="81"/>
                      <a:pt x="137" y="80"/>
                    </a:cubicBezTo>
                    <a:cubicBezTo>
                      <a:pt x="131" y="78"/>
                      <a:pt x="127" y="74"/>
                      <a:pt x="126" y="68"/>
                    </a:cubicBezTo>
                    <a:cubicBezTo>
                      <a:pt x="126" y="67"/>
                      <a:pt x="126" y="67"/>
                      <a:pt x="126" y="67"/>
                    </a:cubicBezTo>
                    <a:cubicBezTo>
                      <a:pt x="128" y="66"/>
                      <a:pt x="128" y="65"/>
                      <a:pt x="128" y="63"/>
                    </a:cubicBezTo>
                    <a:cubicBezTo>
                      <a:pt x="128" y="61"/>
                      <a:pt x="128" y="60"/>
                      <a:pt x="126" y="58"/>
                    </a:cubicBezTo>
                    <a:cubicBezTo>
                      <a:pt x="125" y="57"/>
                      <a:pt x="125" y="57"/>
                      <a:pt x="125" y="57"/>
                    </a:cubicBezTo>
                    <a:cubicBezTo>
                      <a:pt x="125" y="33"/>
                      <a:pt x="125" y="33"/>
                      <a:pt x="125" y="33"/>
                    </a:cubicBezTo>
                    <a:cubicBezTo>
                      <a:pt x="134" y="30"/>
                      <a:pt x="134" y="30"/>
                      <a:pt x="134" y="30"/>
                    </a:cubicBezTo>
                    <a:cubicBezTo>
                      <a:pt x="136" y="28"/>
                      <a:pt x="136" y="26"/>
                      <a:pt x="134" y="24"/>
                    </a:cubicBezTo>
                    <a:cubicBezTo>
                      <a:pt x="73" y="1"/>
                      <a:pt x="73" y="1"/>
                      <a:pt x="73" y="1"/>
                    </a:cubicBezTo>
                    <a:cubicBezTo>
                      <a:pt x="72" y="1"/>
                      <a:pt x="71" y="0"/>
                      <a:pt x="70" y="0"/>
                    </a:cubicBezTo>
                    <a:cubicBezTo>
                      <a:pt x="64" y="1"/>
                      <a:pt x="64" y="1"/>
                      <a:pt x="64" y="1"/>
                    </a:cubicBezTo>
                    <a:cubicBezTo>
                      <a:pt x="32" y="13"/>
                      <a:pt x="32" y="13"/>
                      <a:pt x="32" y="13"/>
                    </a:cubicBezTo>
                    <a:cubicBezTo>
                      <a:pt x="3" y="24"/>
                      <a:pt x="3" y="24"/>
                      <a:pt x="3" y="24"/>
                    </a:cubicBezTo>
                    <a:cubicBezTo>
                      <a:pt x="2" y="25"/>
                      <a:pt x="2" y="25"/>
                      <a:pt x="2" y="25"/>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04" name="Freeform 501">
                <a:extLst>
                  <a:ext uri="{FF2B5EF4-FFF2-40B4-BE49-F238E27FC236}">
                    <a16:creationId xmlns:a16="http://schemas.microsoft.com/office/drawing/2014/main" id="{C31174AC-90F3-47D1-9E81-D820529491E6}"/>
                  </a:ext>
                </a:extLst>
              </p:cNvPr>
              <p:cNvSpPr>
                <a:spLocks/>
              </p:cNvSpPr>
              <p:nvPr/>
            </p:nvSpPr>
            <p:spPr bwMode="auto">
              <a:xfrm>
                <a:off x="2052638" y="5908675"/>
                <a:ext cx="220663" cy="98425"/>
              </a:xfrm>
              <a:custGeom>
                <a:avLst/>
                <a:gdLst>
                  <a:gd name="T0" fmla="*/ 76 w 76"/>
                  <a:gd name="T1" fmla="*/ 14 h 34"/>
                  <a:gd name="T2" fmla="*/ 55 w 76"/>
                  <a:gd name="T3" fmla="*/ 29 h 34"/>
                  <a:gd name="T4" fmla="*/ 20 w 76"/>
                  <a:gd name="T5" fmla="*/ 29 h 34"/>
                  <a:gd name="T6" fmla="*/ 0 w 76"/>
                  <a:gd name="T7" fmla="*/ 16 h 34"/>
                  <a:gd name="T8" fmla="*/ 0 w 76"/>
                  <a:gd name="T9" fmla="*/ 3 h 34"/>
                  <a:gd name="T10" fmla="*/ 2 w 76"/>
                  <a:gd name="T11" fmla="*/ 0 h 34"/>
                  <a:gd name="T12" fmla="*/ 34 w 76"/>
                  <a:gd name="T13" fmla="*/ 13 h 34"/>
                  <a:gd name="T14" fmla="*/ 37 w 76"/>
                  <a:gd name="T15" fmla="*/ 13 h 34"/>
                  <a:gd name="T16" fmla="*/ 43 w 76"/>
                  <a:gd name="T17" fmla="*/ 13 h 34"/>
                  <a:gd name="T18" fmla="*/ 74 w 76"/>
                  <a:gd name="T19" fmla="*/ 0 h 34"/>
                  <a:gd name="T20" fmla="*/ 76 w 76"/>
                  <a:gd name="T21" fmla="*/ 2 h 34"/>
                  <a:gd name="T22" fmla="*/ 76 w 76"/>
                  <a:gd name="T23" fmla="*/ 1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34">
                    <a:moveTo>
                      <a:pt x="76" y="14"/>
                    </a:moveTo>
                    <a:cubicBezTo>
                      <a:pt x="75" y="20"/>
                      <a:pt x="68" y="25"/>
                      <a:pt x="55" y="29"/>
                    </a:cubicBezTo>
                    <a:cubicBezTo>
                      <a:pt x="44" y="34"/>
                      <a:pt x="32" y="34"/>
                      <a:pt x="20" y="29"/>
                    </a:cubicBezTo>
                    <a:cubicBezTo>
                      <a:pt x="8" y="25"/>
                      <a:pt x="1" y="20"/>
                      <a:pt x="0" y="16"/>
                    </a:cubicBezTo>
                    <a:cubicBezTo>
                      <a:pt x="0" y="3"/>
                      <a:pt x="0" y="3"/>
                      <a:pt x="0" y="3"/>
                    </a:cubicBezTo>
                    <a:cubicBezTo>
                      <a:pt x="0" y="1"/>
                      <a:pt x="1" y="1"/>
                      <a:pt x="2" y="0"/>
                    </a:cubicBezTo>
                    <a:cubicBezTo>
                      <a:pt x="34" y="13"/>
                      <a:pt x="34" y="13"/>
                      <a:pt x="34" y="13"/>
                    </a:cubicBezTo>
                    <a:cubicBezTo>
                      <a:pt x="37" y="13"/>
                      <a:pt x="37" y="13"/>
                      <a:pt x="37" y="13"/>
                    </a:cubicBezTo>
                    <a:cubicBezTo>
                      <a:pt x="43" y="13"/>
                      <a:pt x="43" y="13"/>
                      <a:pt x="43" y="13"/>
                    </a:cubicBezTo>
                    <a:cubicBezTo>
                      <a:pt x="74" y="0"/>
                      <a:pt x="74" y="0"/>
                      <a:pt x="74" y="0"/>
                    </a:cubicBezTo>
                    <a:cubicBezTo>
                      <a:pt x="75" y="0"/>
                      <a:pt x="76" y="1"/>
                      <a:pt x="76" y="2"/>
                    </a:cubicBezTo>
                    <a:cubicBezTo>
                      <a:pt x="76" y="14"/>
                      <a:pt x="76" y="14"/>
                      <a:pt x="76" y="1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grpSp>
        <p:nvGrpSpPr>
          <p:cNvPr id="605" name="Group 604">
            <a:extLst>
              <a:ext uri="{FF2B5EF4-FFF2-40B4-BE49-F238E27FC236}">
                <a16:creationId xmlns:a16="http://schemas.microsoft.com/office/drawing/2014/main" id="{59919455-839B-4228-BF57-A3D6236B585E}"/>
              </a:ext>
              <a:ext uri="{C183D7F6-B498-43B3-948B-1728B52AA6E4}">
                <adec:decorative xmlns:adec="http://schemas.microsoft.com/office/drawing/2017/decorative" val="1"/>
              </a:ext>
            </a:extLst>
          </p:cNvPr>
          <p:cNvGrpSpPr>
            <a:grpSpLocks noChangeAspect="1"/>
          </p:cNvGrpSpPr>
          <p:nvPr/>
        </p:nvGrpSpPr>
        <p:grpSpPr>
          <a:xfrm>
            <a:off x="2471017" y="3888243"/>
            <a:ext cx="671155" cy="633600"/>
            <a:chOff x="9310688" y="5678488"/>
            <a:chExt cx="879475" cy="830263"/>
          </a:xfrm>
        </p:grpSpPr>
        <p:sp>
          <p:nvSpPr>
            <p:cNvPr id="606" name="Freeform 522">
              <a:extLst>
                <a:ext uri="{FF2B5EF4-FFF2-40B4-BE49-F238E27FC236}">
                  <a16:creationId xmlns:a16="http://schemas.microsoft.com/office/drawing/2014/main" id="{47812E10-D8DD-4C9E-92E0-AAA51142081F}"/>
                </a:ext>
              </a:extLst>
            </p:cNvPr>
            <p:cNvSpPr>
              <a:spLocks/>
            </p:cNvSpPr>
            <p:nvPr/>
          </p:nvSpPr>
          <p:spPr bwMode="auto">
            <a:xfrm>
              <a:off x="9310688" y="5678488"/>
              <a:ext cx="879475" cy="830263"/>
            </a:xfrm>
            <a:custGeom>
              <a:avLst/>
              <a:gdLst>
                <a:gd name="T0" fmla="*/ 33 w 233"/>
                <a:gd name="T1" fmla="*/ 170 h 218"/>
                <a:gd name="T2" fmla="*/ 56 w 233"/>
                <a:gd name="T3" fmla="*/ 32 h 218"/>
                <a:gd name="T4" fmla="*/ 200 w 233"/>
                <a:gd name="T5" fmla="*/ 53 h 218"/>
                <a:gd name="T6" fmla="*/ 173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3" y="185"/>
                  </a:cubicBezTo>
                  <a:cubicBezTo>
                    <a:pt x="128" y="218"/>
                    <a:pt x="67" y="214"/>
                    <a:pt x="33"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607" name="Freeform 523">
              <a:extLst>
                <a:ext uri="{FF2B5EF4-FFF2-40B4-BE49-F238E27FC236}">
                  <a16:creationId xmlns:a16="http://schemas.microsoft.com/office/drawing/2014/main" id="{D7BAFAB2-963A-4E30-90C8-A87BCB141DA5}"/>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08" name="Freeform 524">
              <a:extLst>
                <a:ext uri="{FF2B5EF4-FFF2-40B4-BE49-F238E27FC236}">
                  <a16:creationId xmlns:a16="http://schemas.microsoft.com/office/drawing/2014/main" id="{3131860E-E0BA-4942-9388-5A119426C432}"/>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09" name="Freeform 525">
              <a:extLst>
                <a:ext uri="{FF2B5EF4-FFF2-40B4-BE49-F238E27FC236}">
                  <a16:creationId xmlns:a16="http://schemas.microsoft.com/office/drawing/2014/main" id="{F7102692-692B-4D79-9EB5-F7210CD8AB3B}"/>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11"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76" name="Group 175">
            <a:extLst>
              <a:ext uri="{FF2B5EF4-FFF2-40B4-BE49-F238E27FC236}">
                <a16:creationId xmlns:a16="http://schemas.microsoft.com/office/drawing/2014/main" id="{89FC3324-2630-407A-B5ED-1EFDA3BDC175}"/>
              </a:ext>
              <a:ext uri="{C183D7F6-B498-43B3-948B-1728B52AA6E4}">
                <adec:decorative xmlns:adec="http://schemas.microsoft.com/office/drawing/2017/decorative" val="1"/>
              </a:ext>
            </a:extLst>
          </p:cNvPr>
          <p:cNvGrpSpPr>
            <a:grpSpLocks noChangeAspect="1"/>
          </p:cNvGrpSpPr>
          <p:nvPr/>
        </p:nvGrpSpPr>
        <p:grpSpPr>
          <a:xfrm>
            <a:off x="7074444" y="3888243"/>
            <a:ext cx="677749" cy="633600"/>
            <a:chOff x="6519928" y="4205098"/>
            <a:chExt cx="770169" cy="720000"/>
          </a:xfrm>
        </p:grpSpPr>
        <p:sp>
          <p:nvSpPr>
            <p:cNvPr id="313" name="Freeform 132">
              <a:extLst>
                <a:ext uri="{FF2B5EF4-FFF2-40B4-BE49-F238E27FC236}">
                  <a16:creationId xmlns:a16="http://schemas.microsoft.com/office/drawing/2014/main" id="{4FF515D9-0CD3-4779-8AFC-A1222E7E02A7}"/>
                </a:ext>
              </a:extLst>
            </p:cNvPr>
            <p:cNvSpPr>
              <a:spLocks noChangeAspect="1"/>
            </p:cNvSpPr>
            <p:nvPr/>
          </p:nvSpPr>
          <p:spPr bwMode="auto">
            <a:xfrm>
              <a:off x="6519928" y="4205098"/>
              <a:ext cx="770169" cy="720000"/>
            </a:xfrm>
            <a:custGeom>
              <a:avLst/>
              <a:gdLst>
                <a:gd name="T0" fmla="*/ 34 w 240"/>
                <a:gd name="T1" fmla="*/ 175 h 224"/>
                <a:gd name="T2" fmla="*/ 57 w 240"/>
                <a:gd name="T3" fmla="*/ 33 h 224"/>
                <a:gd name="T4" fmla="*/ 205 w 240"/>
                <a:gd name="T5" fmla="*/ 54 h 224"/>
                <a:gd name="T6" fmla="*/ 178 w 240"/>
                <a:gd name="T7" fmla="*/ 190 h 224"/>
                <a:gd name="T8" fmla="*/ 34 w 240"/>
                <a:gd name="T9" fmla="*/ 175 h 224"/>
              </a:gdLst>
              <a:ahLst/>
              <a:cxnLst>
                <a:cxn ang="0">
                  <a:pos x="T0" y="T1"/>
                </a:cxn>
                <a:cxn ang="0">
                  <a:pos x="T2" y="T3"/>
                </a:cxn>
                <a:cxn ang="0">
                  <a:pos x="T4" y="T5"/>
                </a:cxn>
                <a:cxn ang="0">
                  <a:pos x="T6" y="T7"/>
                </a:cxn>
                <a:cxn ang="0">
                  <a:pos x="T8" y="T9"/>
                </a:cxn>
              </a:cxnLst>
              <a:rect l="0" t="0" r="r" b="b"/>
              <a:pathLst>
                <a:path w="240" h="224">
                  <a:moveTo>
                    <a:pt x="34" y="175"/>
                  </a:moveTo>
                  <a:cubicBezTo>
                    <a:pt x="0" y="130"/>
                    <a:pt x="10" y="67"/>
                    <a:pt x="57" y="33"/>
                  </a:cubicBezTo>
                  <a:cubicBezTo>
                    <a:pt x="104" y="0"/>
                    <a:pt x="171" y="9"/>
                    <a:pt x="205" y="54"/>
                  </a:cubicBezTo>
                  <a:cubicBezTo>
                    <a:pt x="240" y="99"/>
                    <a:pt x="225" y="157"/>
                    <a:pt x="178" y="190"/>
                  </a:cubicBezTo>
                  <a:cubicBezTo>
                    <a:pt x="131" y="224"/>
                    <a:pt x="69" y="220"/>
                    <a:pt x="34" y="17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14" name="Group 313">
              <a:extLst>
                <a:ext uri="{FF2B5EF4-FFF2-40B4-BE49-F238E27FC236}">
                  <a16:creationId xmlns:a16="http://schemas.microsoft.com/office/drawing/2014/main" id="{CFE33F0F-D598-4B71-89B7-65B8F0DC1595}"/>
                </a:ext>
              </a:extLst>
            </p:cNvPr>
            <p:cNvGrpSpPr>
              <a:grpSpLocks noChangeAspect="1"/>
            </p:cNvGrpSpPr>
            <p:nvPr/>
          </p:nvGrpSpPr>
          <p:grpSpPr>
            <a:xfrm>
              <a:off x="6719249" y="4397640"/>
              <a:ext cx="366101" cy="357146"/>
              <a:chOff x="604516" y="5853542"/>
              <a:chExt cx="366101" cy="357146"/>
            </a:xfrm>
          </p:grpSpPr>
          <p:sp>
            <p:nvSpPr>
              <p:cNvPr id="315" name="Freeform 133">
                <a:extLst>
                  <a:ext uri="{FF2B5EF4-FFF2-40B4-BE49-F238E27FC236}">
                    <a16:creationId xmlns:a16="http://schemas.microsoft.com/office/drawing/2014/main" id="{DB1FBA74-A787-474F-B13D-6976B2167D93}"/>
                  </a:ext>
                </a:extLst>
              </p:cNvPr>
              <p:cNvSpPr>
                <a:spLocks noEditPoints="1"/>
              </p:cNvSpPr>
              <p:nvPr/>
            </p:nvSpPr>
            <p:spPr bwMode="auto">
              <a:xfrm>
                <a:off x="604516" y="5853542"/>
                <a:ext cx="366101" cy="218305"/>
              </a:xfrm>
              <a:custGeom>
                <a:avLst/>
                <a:gdLst>
                  <a:gd name="T0" fmla="*/ 114 w 114"/>
                  <a:gd name="T1" fmla="*/ 15 h 68"/>
                  <a:gd name="T2" fmla="*/ 111 w 114"/>
                  <a:gd name="T3" fmla="*/ 8 h 68"/>
                  <a:gd name="T4" fmla="*/ 107 w 114"/>
                  <a:gd name="T5" fmla="*/ 7 h 68"/>
                  <a:gd name="T6" fmla="*/ 92 w 114"/>
                  <a:gd name="T7" fmla="*/ 7 h 68"/>
                  <a:gd name="T8" fmla="*/ 90 w 114"/>
                  <a:gd name="T9" fmla="*/ 7 h 68"/>
                  <a:gd name="T10" fmla="*/ 90 w 114"/>
                  <a:gd name="T11" fmla="*/ 0 h 68"/>
                  <a:gd name="T12" fmla="*/ 24 w 114"/>
                  <a:gd name="T13" fmla="*/ 0 h 68"/>
                  <a:gd name="T14" fmla="*/ 24 w 114"/>
                  <a:gd name="T15" fmla="*/ 7 h 68"/>
                  <a:gd name="T16" fmla="*/ 22 w 114"/>
                  <a:gd name="T17" fmla="*/ 7 h 68"/>
                  <a:gd name="T18" fmla="*/ 8 w 114"/>
                  <a:gd name="T19" fmla="*/ 7 h 68"/>
                  <a:gd name="T20" fmla="*/ 2 w 114"/>
                  <a:gd name="T21" fmla="*/ 10 h 68"/>
                  <a:gd name="T22" fmla="*/ 0 w 114"/>
                  <a:gd name="T23" fmla="*/ 14 h 68"/>
                  <a:gd name="T24" fmla="*/ 4 w 114"/>
                  <a:gd name="T25" fmla="*/ 35 h 68"/>
                  <a:gd name="T26" fmla="*/ 30 w 114"/>
                  <a:gd name="T27" fmla="*/ 48 h 68"/>
                  <a:gd name="T28" fmla="*/ 33 w 114"/>
                  <a:gd name="T29" fmla="*/ 50 h 68"/>
                  <a:gd name="T30" fmla="*/ 45 w 114"/>
                  <a:gd name="T31" fmla="*/ 60 h 68"/>
                  <a:gd name="T32" fmla="*/ 46 w 114"/>
                  <a:gd name="T33" fmla="*/ 62 h 68"/>
                  <a:gd name="T34" fmla="*/ 46 w 114"/>
                  <a:gd name="T35" fmla="*/ 68 h 68"/>
                  <a:gd name="T36" fmla="*/ 68 w 114"/>
                  <a:gd name="T37" fmla="*/ 68 h 68"/>
                  <a:gd name="T38" fmla="*/ 68 w 114"/>
                  <a:gd name="T39" fmla="*/ 62 h 68"/>
                  <a:gd name="T40" fmla="*/ 69 w 114"/>
                  <a:gd name="T41" fmla="*/ 60 h 68"/>
                  <a:gd name="T42" fmla="*/ 81 w 114"/>
                  <a:gd name="T43" fmla="*/ 49 h 68"/>
                  <a:gd name="T44" fmla="*/ 83 w 114"/>
                  <a:gd name="T45" fmla="*/ 48 h 68"/>
                  <a:gd name="T46" fmla="*/ 107 w 114"/>
                  <a:gd name="T47" fmla="*/ 40 h 68"/>
                  <a:gd name="T48" fmla="*/ 114 w 114"/>
                  <a:gd name="T49" fmla="*/ 15 h 68"/>
                  <a:gd name="T50" fmla="*/ 16 w 114"/>
                  <a:gd name="T51" fmla="*/ 40 h 68"/>
                  <a:gd name="T52" fmla="*/ 10 w 114"/>
                  <a:gd name="T53" fmla="*/ 33 h 68"/>
                  <a:gd name="T54" fmla="*/ 8 w 114"/>
                  <a:gd name="T55" fmla="*/ 13 h 68"/>
                  <a:gd name="T56" fmla="*/ 24 w 114"/>
                  <a:gd name="T57" fmla="*/ 13 h 68"/>
                  <a:gd name="T58" fmla="*/ 29 w 114"/>
                  <a:gd name="T59" fmla="*/ 41 h 68"/>
                  <a:gd name="T60" fmla="*/ 16 w 114"/>
                  <a:gd name="T61" fmla="*/ 40 h 68"/>
                  <a:gd name="T62" fmla="*/ 103 w 114"/>
                  <a:gd name="T63" fmla="*/ 34 h 68"/>
                  <a:gd name="T64" fmla="*/ 86 w 114"/>
                  <a:gd name="T65" fmla="*/ 42 h 68"/>
                  <a:gd name="T66" fmla="*/ 85 w 114"/>
                  <a:gd name="T67" fmla="*/ 41 h 68"/>
                  <a:gd name="T68" fmla="*/ 90 w 114"/>
                  <a:gd name="T69" fmla="*/ 13 h 68"/>
                  <a:gd name="T70" fmla="*/ 106 w 114"/>
                  <a:gd name="T71" fmla="*/ 13 h 68"/>
                  <a:gd name="T72" fmla="*/ 106 w 114"/>
                  <a:gd name="T73" fmla="*/ 13 h 68"/>
                  <a:gd name="T74" fmla="*/ 103 w 114"/>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68">
                    <a:moveTo>
                      <a:pt x="114" y="15"/>
                    </a:moveTo>
                    <a:cubicBezTo>
                      <a:pt x="114" y="13"/>
                      <a:pt x="113" y="10"/>
                      <a:pt x="111" y="8"/>
                    </a:cubicBezTo>
                    <a:cubicBezTo>
                      <a:pt x="110" y="7"/>
                      <a:pt x="109" y="7"/>
                      <a:pt x="107" y="7"/>
                    </a:cubicBezTo>
                    <a:cubicBezTo>
                      <a:pt x="102" y="7"/>
                      <a:pt x="97" y="7"/>
                      <a:pt x="92" y="7"/>
                    </a:cubicBezTo>
                    <a:cubicBezTo>
                      <a:pt x="91" y="7"/>
                      <a:pt x="91" y="7"/>
                      <a:pt x="90" y="7"/>
                    </a:cubicBezTo>
                    <a:cubicBezTo>
                      <a:pt x="90" y="0"/>
                      <a:pt x="90" y="0"/>
                      <a:pt x="90" y="0"/>
                    </a:cubicBezTo>
                    <a:cubicBezTo>
                      <a:pt x="24" y="0"/>
                      <a:pt x="24" y="0"/>
                      <a:pt x="24" y="0"/>
                    </a:cubicBezTo>
                    <a:cubicBezTo>
                      <a:pt x="24" y="7"/>
                      <a:pt x="24" y="7"/>
                      <a:pt x="24" y="7"/>
                    </a:cubicBezTo>
                    <a:cubicBezTo>
                      <a:pt x="22" y="7"/>
                      <a:pt x="22" y="7"/>
                      <a:pt x="22" y="7"/>
                    </a:cubicBezTo>
                    <a:cubicBezTo>
                      <a:pt x="17" y="7"/>
                      <a:pt x="12" y="7"/>
                      <a:pt x="8" y="7"/>
                    </a:cubicBezTo>
                    <a:cubicBezTo>
                      <a:pt x="5" y="6"/>
                      <a:pt x="3" y="8"/>
                      <a:pt x="2" y="10"/>
                    </a:cubicBezTo>
                    <a:cubicBezTo>
                      <a:pt x="1" y="11"/>
                      <a:pt x="1" y="13"/>
                      <a:pt x="0" y="14"/>
                    </a:cubicBezTo>
                    <a:cubicBezTo>
                      <a:pt x="0" y="21"/>
                      <a:pt x="1" y="29"/>
                      <a:pt x="4" y="35"/>
                    </a:cubicBezTo>
                    <a:cubicBezTo>
                      <a:pt x="9" y="46"/>
                      <a:pt x="19" y="51"/>
                      <a:pt x="30" y="48"/>
                    </a:cubicBezTo>
                    <a:cubicBezTo>
                      <a:pt x="32" y="48"/>
                      <a:pt x="33" y="48"/>
                      <a:pt x="33" y="50"/>
                    </a:cubicBezTo>
                    <a:cubicBezTo>
                      <a:pt x="36" y="54"/>
                      <a:pt x="40" y="58"/>
                      <a:pt x="45" y="60"/>
                    </a:cubicBezTo>
                    <a:cubicBezTo>
                      <a:pt x="45" y="60"/>
                      <a:pt x="46" y="61"/>
                      <a:pt x="46" y="62"/>
                    </a:cubicBezTo>
                    <a:cubicBezTo>
                      <a:pt x="46" y="64"/>
                      <a:pt x="46" y="66"/>
                      <a:pt x="46" y="68"/>
                    </a:cubicBezTo>
                    <a:cubicBezTo>
                      <a:pt x="68" y="68"/>
                      <a:pt x="68" y="68"/>
                      <a:pt x="68" y="68"/>
                    </a:cubicBezTo>
                    <a:cubicBezTo>
                      <a:pt x="68" y="65"/>
                      <a:pt x="68" y="64"/>
                      <a:pt x="68" y="62"/>
                    </a:cubicBezTo>
                    <a:cubicBezTo>
                      <a:pt x="68" y="61"/>
                      <a:pt x="69" y="60"/>
                      <a:pt x="69" y="60"/>
                    </a:cubicBezTo>
                    <a:cubicBezTo>
                      <a:pt x="74" y="58"/>
                      <a:pt x="78" y="54"/>
                      <a:pt x="81" y="49"/>
                    </a:cubicBezTo>
                    <a:cubicBezTo>
                      <a:pt x="81" y="48"/>
                      <a:pt x="82" y="48"/>
                      <a:pt x="83" y="48"/>
                    </a:cubicBezTo>
                    <a:cubicBezTo>
                      <a:pt x="94" y="51"/>
                      <a:pt x="102" y="48"/>
                      <a:pt x="107" y="40"/>
                    </a:cubicBezTo>
                    <a:cubicBezTo>
                      <a:pt x="112" y="32"/>
                      <a:pt x="114" y="24"/>
                      <a:pt x="114" y="15"/>
                    </a:cubicBezTo>
                    <a:moveTo>
                      <a:pt x="16" y="40"/>
                    </a:moveTo>
                    <a:cubicBezTo>
                      <a:pt x="13" y="38"/>
                      <a:pt x="12" y="36"/>
                      <a:pt x="10" y="33"/>
                    </a:cubicBezTo>
                    <a:cubicBezTo>
                      <a:pt x="8" y="26"/>
                      <a:pt x="8" y="20"/>
                      <a:pt x="8" y="13"/>
                    </a:cubicBezTo>
                    <a:cubicBezTo>
                      <a:pt x="24" y="13"/>
                      <a:pt x="24" y="13"/>
                      <a:pt x="24" y="13"/>
                    </a:cubicBezTo>
                    <a:cubicBezTo>
                      <a:pt x="25" y="22"/>
                      <a:pt x="25" y="32"/>
                      <a:pt x="29" y="41"/>
                    </a:cubicBezTo>
                    <a:cubicBezTo>
                      <a:pt x="26" y="43"/>
                      <a:pt x="19" y="43"/>
                      <a:pt x="16" y="40"/>
                    </a:cubicBezTo>
                    <a:moveTo>
                      <a:pt x="103" y="34"/>
                    </a:moveTo>
                    <a:cubicBezTo>
                      <a:pt x="100" y="41"/>
                      <a:pt x="93" y="44"/>
                      <a:pt x="86" y="42"/>
                    </a:cubicBezTo>
                    <a:cubicBezTo>
                      <a:pt x="86" y="41"/>
                      <a:pt x="86" y="41"/>
                      <a:pt x="85" y="41"/>
                    </a:cubicBezTo>
                    <a:cubicBezTo>
                      <a:pt x="89" y="32"/>
                      <a:pt x="89" y="22"/>
                      <a:pt x="90" y="13"/>
                    </a:cubicBezTo>
                    <a:cubicBezTo>
                      <a:pt x="106" y="13"/>
                      <a:pt x="106" y="13"/>
                      <a:pt x="106" y="13"/>
                    </a:cubicBezTo>
                    <a:cubicBezTo>
                      <a:pt x="106" y="13"/>
                      <a:pt x="106" y="13"/>
                      <a:pt x="106" y="13"/>
                    </a:cubicBezTo>
                    <a:cubicBezTo>
                      <a:pt x="106" y="20"/>
                      <a:pt x="106" y="27"/>
                      <a:pt x="103" y="3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134">
                <a:extLst>
                  <a:ext uri="{FF2B5EF4-FFF2-40B4-BE49-F238E27FC236}">
                    <a16:creationId xmlns:a16="http://schemas.microsoft.com/office/drawing/2014/main" id="{1DF150B1-F02D-45D6-A9BE-39060EBE478D}"/>
                  </a:ext>
                </a:extLst>
              </p:cNvPr>
              <p:cNvSpPr>
                <a:spLocks/>
              </p:cNvSpPr>
              <p:nvPr/>
            </p:nvSpPr>
            <p:spPr bwMode="auto">
              <a:xfrm>
                <a:off x="691296" y="6085942"/>
                <a:ext cx="192542" cy="124746"/>
              </a:xfrm>
              <a:custGeom>
                <a:avLst/>
                <a:gdLst>
                  <a:gd name="T0" fmla="*/ 60 w 60"/>
                  <a:gd name="T1" fmla="*/ 29 h 39"/>
                  <a:gd name="T2" fmla="*/ 50 w 60"/>
                  <a:gd name="T3" fmla="*/ 38 h 39"/>
                  <a:gd name="T4" fmla="*/ 43 w 60"/>
                  <a:gd name="T5" fmla="*/ 39 h 39"/>
                  <a:gd name="T6" fmla="*/ 36 w 60"/>
                  <a:gd name="T7" fmla="*/ 39 h 39"/>
                  <a:gd name="T8" fmla="*/ 32 w 60"/>
                  <a:gd name="T9" fmla="*/ 39 h 39"/>
                  <a:gd name="T10" fmla="*/ 30 w 60"/>
                  <a:gd name="T11" fmla="*/ 39 h 39"/>
                  <a:gd name="T12" fmla="*/ 27 w 60"/>
                  <a:gd name="T13" fmla="*/ 39 h 39"/>
                  <a:gd name="T14" fmla="*/ 17 w 60"/>
                  <a:gd name="T15" fmla="*/ 38 h 39"/>
                  <a:gd name="T16" fmla="*/ 0 w 60"/>
                  <a:gd name="T17" fmla="*/ 36 h 39"/>
                  <a:gd name="T18" fmla="*/ 1 w 60"/>
                  <a:gd name="T19" fmla="*/ 29 h 39"/>
                  <a:gd name="T20" fmla="*/ 1 w 60"/>
                  <a:gd name="T21" fmla="*/ 29 h 39"/>
                  <a:gd name="T22" fmla="*/ 18 w 60"/>
                  <a:gd name="T23" fmla="*/ 8 h 39"/>
                  <a:gd name="T24" fmla="*/ 20 w 60"/>
                  <a:gd name="T25" fmla="*/ 0 h 39"/>
                  <a:gd name="T26" fmla="*/ 21 w 60"/>
                  <a:gd name="T27" fmla="*/ 0 h 39"/>
                  <a:gd name="T28" fmla="*/ 39 w 60"/>
                  <a:gd name="T29" fmla="*/ 0 h 39"/>
                  <a:gd name="T30" fmla="*/ 40 w 60"/>
                  <a:gd name="T31" fmla="*/ 1 h 39"/>
                  <a:gd name="T32" fmla="*/ 41 w 60"/>
                  <a:gd name="T33" fmla="*/ 7 h 39"/>
                  <a:gd name="T34" fmla="*/ 43 w 60"/>
                  <a:gd name="T35" fmla="*/ 11 h 39"/>
                  <a:gd name="T36" fmla="*/ 56 w 60"/>
                  <a:gd name="T37" fmla="*/ 27 h 39"/>
                  <a:gd name="T38" fmla="*/ 60 w 60"/>
                  <a:gd name="T3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39">
                    <a:moveTo>
                      <a:pt x="60" y="29"/>
                    </a:moveTo>
                    <a:cubicBezTo>
                      <a:pt x="59" y="33"/>
                      <a:pt x="56" y="37"/>
                      <a:pt x="50" y="38"/>
                    </a:cubicBezTo>
                    <a:cubicBezTo>
                      <a:pt x="48" y="39"/>
                      <a:pt x="45" y="39"/>
                      <a:pt x="43" y="39"/>
                    </a:cubicBezTo>
                    <a:cubicBezTo>
                      <a:pt x="40" y="39"/>
                      <a:pt x="38" y="39"/>
                      <a:pt x="36" y="39"/>
                    </a:cubicBezTo>
                    <a:cubicBezTo>
                      <a:pt x="35" y="39"/>
                      <a:pt x="34" y="39"/>
                      <a:pt x="32" y="39"/>
                    </a:cubicBezTo>
                    <a:cubicBezTo>
                      <a:pt x="31" y="39"/>
                      <a:pt x="31" y="39"/>
                      <a:pt x="30" y="39"/>
                    </a:cubicBezTo>
                    <a:cubicBezTo>
                      <a:pt x="29" y="39"/>
                      <a:pt x="28" y="39"/>
                      <a:pt x="27" y="39"/>
                    </a:cubicBezTo>
                    <a:cubicBezTo>
                      <a:pt x="24" y="39"/>
                      <a:pt x="21" y="38"/>
                      <a:pt x="17" y="38"/>
                    </a:cubicBezTo>
                    <a:cubicBezTo>
                      <a:pt x="11" y="37"/>
                      <a:pt x="6" y="36"/>
                      <a:pt x="0" y="36"/>
                    </a:cubicBezTo>
                    <a:cubicBezTo>
                      <a:pt x="0" y="34"/>
                      <a:pt x="0" y="31"/>
                      <a:pt x="1" y="29"/>
                    </a:cubicBezTo>
                    <a:cubicBezTo>
                      <a:pt x="1" y="29"/>
                      <a:pt x="1" y="29"/>
                      <a:pt x="1" y="29"/>
                    </a:cubicBezTo>
                    <a:cubicBezTo>
                      <a:pt x="10" y="24"/>
                      <a:pt x="16" y="17"/>
                      <a:pt x="18" y="8"/>
                    </a:cubicBezTo>
                    <a:cubicBezTo>
                      <a:pt x="19" y="5"/>
                      <a:pt x="19" y="3"/>
                      <a:pt x="20" y="0"/>
                    </a:cubicBezTo>
                    <a:cubicBezTo>
                      <a:pt x="20" y="0"/>
                      <a:pt x="20" y="0"/>
                      <a:pt x="21" y="0"/>
                    </a:cubicBezTo>
                    <a:cubicBezTo>
                      <a:pt x="27" y="0"/>
                      <a:pt x="33" y="0"/>
                      <a:pt x="39" y="0"/>
                    </a:cubicBezTo>
                    <a:cubicBezTo>
                      <a:pt x="40" y="0"/>
                      <a:pt x="40" y="0"/>
                      <a:pt x="40" y="1"/>
                    </a:cubicBezTo>
                    <a:cubicBezTo>
                      <a:pt x="41" y="3"/>
                      <a:pt x="41" y="5"/>
                      <a:pt x="41" y="7"/>
                    </a:cubicBezTo>
                    <a:cubicBezTo>
                      <a:pt x="42" y="8"/>
                      <a:pt x="42" y="10"/>
                      <a:pt x="43" y="11"/>
                    </a:cubicBezTo>
                    <a:cubicBezTo>
                      <a:pt x="45" y="18"/>
                      <a:pt x="50" y="23"/>
                      <a:pt x="56" y="27"/>
                    </a:cubicBezTo>
                    <a:cubicBezTo>
                      <a:pt x="57" y="28"/>
                      <a:pt x="58" y="28"/>
                      <a:pt x="60" y="2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317" name="Rectangle 486">
            <a:extLst>
              <a:ext uri="{FF2B5EF4-FFF2-40B4-BE49-F238E27FC236}">
                <a16:creationId xmlns:a16="http://schemas.microsoft.com/office/drawing/2014/main" id="{A6573210-4031-4A88-A62F-E0A902C273A6}"/>
              </a:ext>
              <a:ext uri="{C183D7F6-B498-43B3-948B-1728B52AA6E4}">
                <adec:decorative xmlns:adec="http://schemas.microsoft.com/office/drawing/2017/decorative" val="1"/>
              </a:ext>
            </a:extLst>
          </p:cNvPr>
          <p:cNvSpPr>
            <a:spLocks noChangeArrowheads="1"/>
          </p:cNvSpPr>
          <p:nvPr/>
        </p:nvSpPr>
        <p:spPr bwMode="auto">
          <a:xfrm>
            <a:off x="7032104" y="3410536"/>
            <a:ext cx="2077492"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fr-FR" sz="2400">
                <a:latin typeface="+mj-lt"/>
                <a:cs typeface="Arial" pitchFamily="34" charset="0"/>
              </a:rPr>
              <a:t>RECOGNITION</a:t>
            </a:r>
          </a:p>
        </p:txBody>
      </p:sp>
      <p:grpSp>
        <p:nvGrpSpPr>
          <p:cNvPr id="178" name="Group 177">
            <a:extLst>
              <a:ext uri="{FF2B5EF4-FFF2-40B4-BE49-F238E27FC236}">
                <a16:creationId xmlns:a16="http://schemas.microsoft.com/office/drawing/2014/main" id="{825220B0-0CE8-446B-9111-4980CB32BBAD}"/>
              </a:ext>
              <a:ext uri="{C183D7F6-B498-43B3-948B-1728B52AA6E4}">
                <adec:decorative xmlns:adec="http://schemas.microsoft.com/office/drawing/2017/decorative" val="1"/>
              </a:ext>
            </a:extLst>
          </p:cNvPr>
          <p:cNvGrpSpPr>
            <a:grpSpLocks noChangeAspect="1"/>
          </p:cNvGrpSpPr>
          <p:nvPr/>
        </p:nvGrpSpPr>
        <p:grpSpPr>
          <a:xfrm>
            <a:off x="9205843" y="3888243"/>
            <a:ext cx="677376" cy="633600"/>
            <a:chOff x="9565616" y="4205098"/>
            <a:chExt cx="769745" cy="720000"/>
          </a:xfrm>
        </p:grpSpPr>
        <p:sp>
          <p:nvSpPr>
            <p:cNvPr id="318" name="Freeform 289">
              <a:extLst>
                <a:ext uri="{FF2B5EF4-FFF2-40B4-BE49-F238E27FC236}">
                  <a16:creationId xmlns:a16="http://schemas.microsoft.com/office/drawing/2014/main" id="{0EDC855B-12F1-48D0-B20A-C25C65A0BED3}"/>
                </a:ext>
              </a:extLst>
            </p:cNvPr>
            <p:cNvSpPr>
              <a:spLocks noChangeAspect="1"/>
            </p:cNvSpPr>
            <p:nvPr/>
          </p:nvSpPr>
          <p:spPr bwMode="auto">
            <a:xfrm>
              <a:off x="9565616" y="4205098"/>
              <a:ext cx="769745" cy="720000"/>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19" name="Groupe 310">
              <a:extLst>
                <a:ext uri="{FF2B5EF4-FFF2-40B4-BE49-F238E27FC236}">
                  <a16:creationId xmlns:a16="http://schemas.microsoft.com/office/drawing/2014/main" id="{48D8AFDE-03A0-448B-B81F-1585EA11EE6F}"/>
                </a:ext>
              </a:extLst>
            </p:cNvPr>
            <p:cNvGrpSpPr>
              <a:grpSpLocks noChangeAspect="1"/>
            </p:cNvGrpSpPr>
            <p:nvPr/>
          </p:nvGrpSpPr>
          <p:grpSpPr>
            <a:xfrm>
              <a:off x="9802562" y="4393607"/>
              <a:ext cx="293236" cy="397964"/>
              <a:chOff x="7900988" y="4246563"/>
              <a:chExt cx="355600" cy="482600"/>
            </a:xfrm>
            <a:solidFill>
              <a:schemeClr val="bg1"/>
            </a:solidFill>
          </p:grpSpPr>
          <p:sp>
            <p:nvSpPr>
              <p:cNvPr id="320"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7" name="Group 176">
            <a:extLst>
              <a:ext uri="{FF2B5EF4-FFF2-40B4-BE49-F238E27FC236}">
                <a16:creationId xmlns:a16="http://schemas.microsoft.com/office/drawing/2014/main" id="{612FC796-D05A-4D14-B8E8-7F494534354D}"/>
              </a:ext>
              <a:ext uri="{C183D7F6-B498-43B3-948B-1728B52AA6E4}">
                <adec:decorative xmlns:adec="http://schemas.microsoft.com/office/drawing/2017/decorative" val="1"/>
              </a:ext>
            </a:extLst>
          </p:cNvPr>
          <p:cNvGrpSpPr>
            <a:grpSpLocks noChangeAspect="1"/>
          </p:cNvGrpSpPr>
          <p:nvPr/>
        </p:nvGrpSpPr>
        <p:grpSpPr>
          <a:xfrm>
            <a:off x="8139986" y="3888243"/>
            <a:ext cx="678063" cy="633600"/>
            <a:chOff x="7535419" y="4205098"/>
            <a:chExt cx="770526" cy="720000"/>
          </a:xfrm>
        </p:grpSpPr>
        <p:sp>
          <p:nvSpPr>
            <p:cNvPr id="324" name="Freeform 42">
              <a:extLst>
                <a:ext uri="{FF2B5EF4-FFF2-40B4-BE49-F238E27FC236}">
                  <a16:creationId xmlns:a16="http://schemas.microsoft.com/office/drawing/2014/main" id="{885D213F-5AB6-4749-9F9A-82A327D6082C}"/>
                </a:ext>
              </a:extLst>
            </p:cNvPr>
            <p:cNvSpPr>
              <a:spLocks noChangeAspect="1"/>
            </p:cNvSpPr>
            <p:nvPr/>
          </p:nvSpPr>
          <p:spPr bwMode="auto">
            <a:xfrm>
              <a:off x="7535419" y="4205098"/>
              <a:ext cx="770526" cy="720000"/>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3"/>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6">
              <a:extLst>
                <a:ext uri="{FF2B5EF4-FFF2-40B4-BE49-F238E27FC236}">
                  <a16:creationId xmlns:a16="http://schemas.microsoft.com/office/drawing/2014/main" id="{3F6BDBC5-8F33-495F-BF90-D9CB6227CCCF}"/>
                </a:ext>
              </a:extLst>
            </p:cNvPr>
            <p:cNvSpPr>
              <a:spLocks noChangeAspect="1" noEditPoints="1"/>
            </p:cNvSpPr>
            <p:nvPr/>
          </p:nvSpPr>
          <p:spPr bwMode="auto">
            <a:xfrm>
              <a:off x="7689817" y="4398198"/>
              <a:ext cx="438118" cy="394932"/>
            </a:xfrm>
            <a:custGeom>
              <a:avLst/>
              <a:gdLst>
                <a:gd name="T0" fmla="*/ 1 w 89"/>
                <a:gd name="T1" fmla="*/ 4 h 89"/>
                <a:gd name="T2" fmla="*/ 1 w 89"/>
                <a:gd name="T3" fmla="*/ 6 h 89"/>
                <a:gd name="T4" fmla="*/ 4 w 89"/>
                <a:gd name="T5" fmla="*/ 25 h 89"/>
                <a:gd name="T6" fmla="*/ 30 w 89"/>
                <a:gd name="T7" fmla="*/ 48 h 89"/>
                <a:gd name="T8" fmla="*/ 32 w 89"/>
                <a:gd name="T9" fmla="*/ 49 h 89"/>
                <a:gd name="T10" fmla="*/ 42 w 89"/>
                <a:gd name="T11" fmla="*/ 56 h 89"/>
                <a:gd name="T12" fmla="*/ 41 w 89"/>
                <a:gd name="T13" fmla="*/ 67 h 89"/>
                <a:gd name="T14" fmla="*/ 37 w 89"/>
                <a:gd name="T15" fmla="*/ 69 h 89"/>
                <a:gd name="T16" fmla="*/ 36 w 89"/>
                <a:gd name="T17" fmla="*/ 71 h 89"/>
                <a:gd name="T18" fmla="*/ 35 w 89"/>
                <a:gd name="T19" fmla="*/ 71 h 89"/>
                <a:gd name="T20" fmla="*/ 33 w 89"/>
                <a:gd name="T21" fmla="*/ 89 h 89"/>
                <a:gd name="T22" fmla="*/ 46 w 89"/>
                <a:gd name="T23" fmla="*/ 88 h 89"/>
                <a:gd name="T24" fmla="*/ 59 w 89"/>
                <a:gd name="T25" fmla="*/ 88 h 89"/>
                <a:gd name="T26" fmla="*/ 57 w 89"/>
                <a:gd name="T27" fmla="*/ 70 h 89"/>
                <a:gd name="T28" fmla="*/ 56 w 89"/>
                <a:gd name="T29" fmla="*/ 70 h 89"/>
                <a:gd name="T30" fmla="*/ 55 w 89"/>
                <a:gd name="T31" fmla="*/ 68 h 89"/>
                <a:gd name="T32" fmla="*/ 52 w 89"/>
                <a:gd name="T33" fmla="*/ 67 h 89"/>
                <a:gd name="T34" fmla="*/ 49 w 89"/>
                <a:gd name="T35" fmla="*/ 56 h 89"/>
                <a:gd name="T36" fmla="*/ 59 w 89"/>
                <a:gd name="T37" fmla="*/ 48 h 89"/>
                <a:gd name="T38" fmla="*/ 61 w 89"/>
                <a:gd name="T39" fmla="*/ 47 h 89"/>
                <a:gd name="T40" fmla="*/ 86 w 89"/>
                <a:gd name="T41" fmla="*/ 23 h 89"/>
                <a:gd name="T42" fmla="*/ 89 w 89"/>
                <a:gd name="T43" fmla="*/ 4 h 89"/>
                <a:gd name="T44" fmla="*/ 89 w 89"/>
                <a:gd name="T45" fmla="*/ 2 h 89"/>
                <a:gd name="T46" fmla="*/ 74 w 89"/>
                <a:gd name="T47" fmla="*/ 3 h 89"/>
                <a:gd name="T48" fmla="*/ 68 w 89"/>
                <a:gd name="T49" fmla="*/ 9 h 89"/>
                <a:gd name="T50" fmla="*/ 68 w 89"/>
                <a:gd name="T51" fmla="*/ 3 h 89"/>
                <a:gd name="T52" fmla="*/ 45 w 89"/>
                <a:gd name="T53" fmla="*/ 0 h 89"/>
                <a:gd name="T54" fmla="*/ 21 w 89"/>
                <a:gd name="T55" fmla="*/ 4 h 89"/>
                <a:gd name="T56" fmla="*/ 22 w 89"/>
                <a:gd name="T57" fmla="*/ 10 h 89"/>
                <a:gd name="T58" fmla="*/ 15 w 89"/>
                <a:gd name="T59" fmla="*/ 4 h 89"/>
                <a:gd name="T60" fmla="*/ 1 w 89"/>
                <a:gd name="T61" fmla="*/ 4 h 89"/>
                <a:gd name="T62" fmla="*/ 62 w 89"/>
                <a:gd name="T63" fmla="*/ 43 h 89"/>
                <a:gd name="T64" fmla="*/ 68 w 89"/>
                <a:gd name="T65" fmla="*/ 16 h 89"/>
                <a:gd name="T66" fmla="*/ 68 w 89"/>
                <a:gd name="T67" fmla="*/ 16 h 89"/>
                <a:gd name="T68" fmla="*/ 76 w 89"/>
                <a:gd name="T69" fmla="*/ 6 h 89"/>
                <a:gd name="T70" fmla="*/ 85 w 89"/>
                <a:gd name="T71" fmla="*/ 6 h 89"/>
                <a:gd name="T72" fmla="*/ 85 w 89"/>
                <a:gd name="T73" fmla="*/ 8 h 89"/>
                <a:gd name="T74" fmla="*/ 62 w 89"/>
                <a:gd name="T75" fmla="*/ 43 h 89"/>
                <a:gd name="T76" fmla="*/ 62 w 89"/>
                <a:gd name="T77" fmla="*/ 43 h 89"/>
                <a:gd name="T78" fmla="*/ 62 w 89"/>
                <a:gd name="T79" fmla="*/ 43 h 89"/>
                <a:gd name="T80" fmla="*/ 28 w 89"/>
                <a:gd name="T81" fmla="*/ 6 h 89"/>
                <a:gd name="T82" fmla="*/ 38 w 89"/>
                <a:gd name="T83" fmla="*/ 49 h 89"/>
                <a:gd name="T84" fmla="*/ 23 w 89"/>
                <a:gd name="T85" fmla="*/ 7 h 89"/>
                <a:gd name="T86" fmla="*/ 28 w 89"/>
                <a:gd name="T87" fmla="*/ 6 h 89"/>
                <a:gd name="T88" fmla="*/ 22 w 89"/>
                <a:gd name="T89" fmla="*/ 17 h 89"/>
                <a:gd name="T90" fmla="*/ 22 w 89"/>
                <a:gd name="T91" fmla="*/ 17 h 89"/>
                <a:gd name="T92" fmla="*/ 29 w 89"/>
                <a:gd name="T93" fmla="*/ 44 h 89"/>
                <a:gd name="T94" fmla="*/ 29 w 89"/>
                <a:gd name="T95" fmla="*/ 44 h 89"/>
                <a:gd name="T96" fmla="*/ 8 w 89"/>
                <a:gd name="T97" fmla="*/ 23 h 89"/>
                <a:gd name="T98" fmla="*/ 5 w 89"/>
                <a:gd name="T99" fmla="*/ 8 h 89"/>
                <a:gd name="T100" fmla="*/ 14 w 89"/>
                <a:gd name="T101" fmla="*/ 8 h 89"/>
                <a:gd name="T102" fmla="*/ 22 w 89"/>
                <a:gd name="T103" fmla="*/ 1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9" h="89">
                  <a:moveTo>
                    <a:pt x="1" y="4"/>
                  </a:moveTo>
                  <a:cubicBezTo>
                    <a:pt x="1" y="6"/>
                    <a:pt x="1" y="6"/>
                    <a:pt x="1" y="6"/>
                  </a:cubicBezTo>
                  <a:cubicBezTo>
                    <a:pt x="1" y="6"/>
                    <a:pt x="0" y="15"/>
                    <a:pt x="4" y="25"/>
                  </a:cubicBezTo>
                  <a:cubicBezTo>
                    <a:pt x="8" y="38"/>
                    <a:pt x="17" y="46"/>
                    <a:pt x="30" y="48"/>
                  </a:cubicBezTo>
                  <a:cubicBezTo>
                    <a:pt x="32" y="49"/>
                    <a:pt x="32" y="49"/>
                    <a:pt x="32" y="49"/>
                  </a:cubicBezTo>
                  <a:cubicBezTo>
                    <a:pt x="35" y="53"/>
                    <a:pt x="39" y="55"/>
                    <a:pt x="42" y="56"/>
                  </a:cubicBezTo>
                  <a:cubicBezTo>
                    <a:pt x="43" y="60"/>
                    <a:pt x="42" y="64"/>
                    <a:pt x="41" y="67"/>
                  </a:cubicBezTo>
                  <a:cubicBezTo>
                    <a:pt x="38" y="68"/>
                    <a:pt x="37" y="68"/>
                    <a:pt x="37" y="69"/>
                  </a:cubicBezTo>
                  <a:cubicBezTo>
                    <a:pt x="36" y="71"/>
                    <a:pt x="36" y="71"/>
                    <a:pt x="36" y="71"/>
                  </a:cubicBezTo>
                  <a:cubicBezTo>
                    <a:pt x="35" y="71"/>
                    <a:pt x="35" y="71"/>
                    <a:pt x="35" y="71"/>
                  </a:cubicBezTo>
                  <a:cubicBezTo>
                    <a:pt x="33" y="89"/>
                    <a:pt x="33" y="89"/>
                    <a:pt x="33" y="89"/>
                  </a:cubicBezTo>
                  <a:cubicBezTo>
                    <a:pt x="46" y="88"/>
                    <a:pt x="46" y="88"/>
                    <a:pt x="46" y="88"/>
                  </a:cubicBezTo>
                  <a:cubicBezTo>
                    <a:pt x="59" y="88"/>
                    <a:pt x="59" y="88"/>
                    <a:pt x="59" y="88"/>
                  </a:cubicBezTo>
                  <a:cubicBezTo>
                    <a:pt x="57" y="70"/>
                    <a:pt x="57" y="70"/>
                    <a:pt x="57" y="70"/>
                  </a:cubicBezTo>
                  <a:cubicBezTo>
                    <a:pt x="56" y="70"/>
                    <a:pt x="56" y="70"/>
                    <a:pt x="56" y="70"/>
                  </a:cubicBezTo>
                  <a:cubicBezTo>
                    <a:pt x="55" y="68"/>
                    <a:pt x="55" y="68"/>
                    <a:pt x="55" y="68"/>
                  </a:cubicBezTo>
                  <a:cubicBezTo>
                    <a:pt x="55" y="68"/>
                    <a:pt x="54" y="67"/>
                    <a:pt x="52" y="67"/>
                  </a:cubicBezTo>
                  <a:cubicBezTo>
                    <a:pt x="50" y="64"/>
                    <a:pt x="49" y="60"/>
                    <a:pt x="49" y="56"/>
                  </a:cubicBezTo>
                  <a:cubicBezTo>
                    <a:pt x="53" y="55"/>
                    <a:pt x="56" y="52"/>
                    <a:pt x="59" y="48"/>
                  </a:cubicBezTo>
                  <a:cubicBezTo>
                    <a:pt x="61" y="47"/>
                    <a:pt x="61" y="47"/>
                    <a:pt x="61" y="47"/>
                  </a:cubicBezTo>
                  <a:cubicBezTo>
                    <a:pt x="73" y="45"/>
                    <a:pt x="82" y="36"/>
                    <a:pt x="86" y="23"/>
                  </a:cubicBezTo>
                  <a:cubicBezTo>
                    <a:pt x="89" y="13"/>
                    <a:pt x="89" y="4"/>
                    <a:pt x="89" y="4"/>
                  </a:cubicBezTo>
                  <a:cubicBezTo>
                    <a:pt x="89" y="2"/>
                    <a:pt x="89" y="2"/>
                    <a:pt x="89" y="2"/>
                  </a:cubicBezTo>
                  <a:cubicBezTo>
                    <a:pt x="74" y="3"/>
                    <a:pt x="74" y="3"/>
                    <a:pt x="74" y="3"/>
                  </a:cubicBezTo>
                  <a:cubicBezTo>
                    <a:pt x="68" y="9"/>
                    <a:pt x="68" y="9"/>
                    <a:pt x="68" y="9"/>
                  </a:cubicBezTo>
                  <a:cubicBezTo>
                    <a:pt x="68" y="7"/>
                    <a:pt x="68" y="5"/>
                    <a:pt x="68" y="3"/>
                  </a:cubicBezTo>
                  <a:cubicBezTo>
                    <a:pt x="68" y="3"/>
                    <a:pt x="58" y="0"/>
                    <a:pt x="45" y="0"/>
                  </a:cubicBezTo>
                  <a:cubicBezTo>
                    <a:pt x="31" y="0"/>
                    <a:pt x="21" y="4"/>
                    <a:pt x="21" y="4"/>
                  </a:cubicBezTo>
                  <a:cubicBezTo>
                    <a:pt x="21" y="6"/>
                    <a:pt x="21" y="8"/>
                    <a:pt x="22" y="10"/>
                  </a:cubicBezTo>
                  <a:cubicBezTo>
                    <a:pt x="15" y="4"/>
                    <a:pt x="15" y="4"/>
                    <a:pt x="15" y="4"/>
                  </a:cubicBezTo>
                  <a:lnTo>
                    <a:pt x="1" y="4"/>
                  </a:lnTo>
                  <a:close/>
                  <a:moveTo>
                    <a:pt x="62" y="43"/>
                  </a:moveTo>
                  <a:cubicBezTo>
                    <a:pt x="65" y="36"/>
                    <a:pt x="67" y="27"/>
                    <a:pt x="68" y="16"/>
                  </a:cubicBezTo>
                  <a:cubicBezTo>
                    <a:pt x="68" y="16"/>
                    <a:pt x="68" y="16"/>
                    <a:pt x="68" y="16"/>
                  </a:cubicBezTo>
                  <a:cubicBezTo>
                    <a:pt x="76" y="6"/>
                    <a:pt x="76" y="6"/>
                    <a:pt x="76" y="6"/>
                  </a:cubicBezTo>
                  <a:cubicBezTo>
                    <a:pt x="85" y="6"/>
                    <a:pt x="85" y="6"/>
                    <a:pt x="85" y="6"/>
                  </a:cubicBezTo>
                  <a:cubicBezTo>
                    <a:pt x="85" y="7"/>
                    <a:pt x="85" y="7"/>
                    <a:pt x="85" y="8"/>
                  </a:cubicBezTo>
                  <a:cubicBezTo>
                    <a:pt x="84" y="16"/>
                    <a:pt x="81" y="37"/>
                    <a:pt x="62" y="43"/>
                  </a:cubicBezTo>
                  <a:cubicBezTo>
                    <a:pt x="62" y="43"/>
                    <a:pt x="62" y="43"/>
                    <a:pt x="62" y="43"/>
                  </a:cubicBezTo>
                  <a:cubicBezTo>
                    <a:pt x="62" y="43"/>
                    <a:pt x="62" y="43"/>
                    <a:pt x="62" y="43"/>
                  </a:cubicBezTo>
                  <a:close/>
                  <a:moveTo>
                    <a:pt x="28" y="6"/>
                  </a:moveTo>
                  <a:cubicBezTo>
                    <a:pt x="29" y="38"/>
                    <a:pt x="38" y="49"/>
                    <a:pt x="38" y="49"/>
                  </a:cubicBezTo>
                  <a:cubicBezTo>
                    <a:pt x="24" y="42"/>
                    <a:pt x="23" y="7"/>
                    <a:pt x="23" y="7"/>
                  </a:cubicBezTo>
                  <a:lnTo>
                    <a:pt x="28" y="6"/>
                  </a:lnTo>
                  <a:close/>
                  <a:moveTo>
                    <a:pt x="22" y="17"/>
                  </a:moveTo>
                  <a:cubicBezTo>
                    <a:pt x="22" y="17"/>
                    <a:pt x="22" y="17"/>
                    <a:pt x="22" y="17"/>
                  </a:cubicBezTo>
                  <a:cubicBezTo>
                    <a:pt x="23" y="28"/>
                    <a:pt x="25" y="37"/>
                    <a:pt x="29" y="44"/>
                  </a:cubicBezTo>
                  <a:cubicBezTo>
                    <a:pt x="29" y="44"/>
                    <a:pt x="29" y="44"/>
                    <a:pt x="29" y="44"/>
                  </a:cubicBezTo>
                  <a:cubicBezTo>
                    <a:pt x="19" y="41"/>
                    <a:pt x="11" y="34"/>
                    <a:pt x="8" y="23"/>
                  </a:cubicBezTo>
                  <a:cubicBezTo>
                    <a:pt x="5" y="17"/>
                    <a:pt x="5" y="11"/>
                    <a:pt x="5" y="8"/>
                  </a:cubicBezTo>
                  <a:cubicBezTo>
                    <a:pt x="14" y="8"/>
                    <a:pt x="14" y="8"/>
                    <a:pt x="14" y="8"/>
                  </a:cubicBezTo>
                  <a:lnTo>
                    <a:pt x="22"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1" name="Group 20">
            <a:extLst>
              <a:ext uri="{FF2B5EF4-FFF2-40B4-BE49-F238E27FC236}">
                <a16:creationId xmlns:a16="http://schemas.microsoft.com/office/drawing/2014/main" id="{0738FCDB-CB0B-4269-8E54-1AFB5D1B5D62}"/>
              </a:ext>
              <a:ext uri="{C183D7F6-B498-43B3-948B-1728B52AA6E4}">
                <adec:decorative xmlns:adec="http://schemas.microsoft.com/office/drawing/2017/decorative" val="1"/>
              </a:ext>
            </a:extLst>
          </p:cNvPr>
          <p:cNvGrpSpPr>
            <a:grpSpLocks noChangeAspect="1"/>
          </p:cNvGrpSpPr>
          <p:nvPr/>
        </p:nvGrpSpPr>
        <p:grpSpPr>
          <a:xfrm>
            <a:off x="2462023" y="1992045"/>
            <a:ext cx="678948" cy="633600"/>
            <a:chOff x="2252933" y="2414382"/>
            <a:chExt cx="771532" cy="720000"/>
          </a:xfrm>
        </p:grpSpPr>
        <p:sp>
          <p:nvSpPr>
            <p:cNvPr id="326" name="Freeform 308">
              <a:extLst>
                <a:ext uri="{FF2B5EF4-FFF2-40B4-BE49-F238E27FC236}">
                  <a16:creationId xmlns:a16="http://schemas.microsoft.com/office/drawing/2014/main" id="{96AFDABC-851B-4B6C-A905-EE8241E78098}"/>
                </a:ext>
              </a:extLst>
            </p:cNvPr>
            <p:cNvSpPr>
              <a:spLocks/>
            </p:cNvSpPr>
            <p:nvPr/>
          </p:nvSpPr>
          <p:spPr bwMode="auto">
            <a:xfrm>
              <a:off x="2252933" y="2414382"/>
              <a:ext cx="771532" cy="720000"/>
            </a:xfrm>
            <a:custGeom>
              <a:avLst/>
              <a:gdLst>
                <a:gd name="T0" fmla="*/ 29 w 253"/>
                <a:gd name="T1" fmla="*/ 171 h 235"/>
                <a:gd name="T2" fmla="*/ 74 w 253"/>
                <a:gd name="T3" fmla="*/ 28 h 235"/>
                <a:gd name="T4" fmla="*/ 224 w 253"/>
                <a:gd name="T5" fmla="*/ 70 h 235"/>
                <a:gd name="T6" fmla="*/ 176 w 253"/>
                <a:gd name="T7" fmla="*/ 208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20"/>
                    <a:pt x="20" y="55"/>
                    <a:pt x="74" y="28"/>
                  </a:cubicBezTo>
                  <a:cubicBezTo>
                    <a:pt x="127" y="0"/>
                    <a:pt x="194" y="19"/>
                    <a:pt x="224" y="70"/>
                  </a:cubicBezTo>
                  <a:cubicBezTo>
                    <a:pt x="253" y="122"/>
                    <a:pt x="230" y="180"/>
                    <a:pt x="176" y="208"/>
                  </a:cubicBezTo>
                  <a:cubicBezTo>
                    <a:pt x="123" y="235"/>
                    <a:pt x="59" y="222"/>
                    <a:pt x="29" y="171"/>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27" name="Groupe 544">
              <a:extLst>
                <a:ext uri="{FF2B5EF4-FFF2-40B4-BE49-F238E27FC236}">
                  <a16:creationId xmlns:a16="http://schemas.microsoft.com/office/drawing/2014/main" id="{6609570A-3FD0-4B89-8B22-CADEF3CA6C30}"/>
                </a:ext>
              </a:extLst>
            </p:cNvPr>
            <p:cNvGrpSpPr/>
            <p:nvPr/>
          </p:nvGrpSpPr>
          <p:grpSpPr>
            <a:xfrm>
              <a:off x="2430428" y="2596171"/>
              <a:ext cx="409384" cy="352127"/>
              <a:chOff x="10255250" y="4219575"/>
              <a:chExt cx="454025" cy="390525"/>
            </a:xfrm>
            <a:solidFill>
              <a:schemeClr val="bg1"/>
            </a:solidFill>
          </p:grpSpPr>
          <p:sp>
            <p:nvSpPr>
              <p:cNvPr id="328" name="Freeform 309">
                <a:extLst>
                  <a:ext uri="{FF2B5EF4-FFF2-40B4-BE49-F238E27FC236}">
                    <a16:creationId xmlns:a16="http://schemas.microsoft.com/office/drawing/2014/main" id="{51A3613E-7389-4263-873A-6F28E1693E06}"/>
                  </a:ext>
                </a:extLst>
              </p:cNvPr>
              <p:cNvSpPr>
                <a:spLocks/>
              </p:cNvSpPr>
              <p:nvPr/>
            </p:nvSpPr>
            <p:spPr bwMode="auto">
              <a:xfrm>
                <a:off x="10255250" y="4273550"/>
                <a:ext cx="298450" cy="336550"/>
              </a:xfrm>
              <a:custGeom>
                <a:avLst/>
                <a:gdLst>
                  <a:gd name="T0" fmla="*/ 0 w 88"/>
                  <a:gd name="T1" fmla="*/ 44 h 99"/>
                  <a:gd name="T2" fmla="*/ 0 w 88"/>
                  <a:gd name="T3" fmla="*/ 44 h 99"/>
                  <a:gd name="T4" fmla="*/ 48 w 88"/>
                  <a:gd name="T5" fmla="*/ 3 h 99"/>
                  <a:gd name="T6" fmla="*/ 85 w 88"/>
                  <a:gd name="T7" fmla="*/ 40 h 99"/>
                  <a:gd name="T8" fmla="*/ 43 w 88"/>
                  <a:gd name="T9" fmla="*/ 88 h 99"/>
                  <a:gd name="T10" fmla="*/ 43 w 88"/>
                  <a:gd name="T11" fmla="*/ 88 h 99"/>
                  <a:gd name="T12" fmla="*/ 43 w 88"/>
                  <a:gd name="T13" fmla="*/ 97 h 99"/>
                  <a:gd name="T14" fmla="*/ 41 w 88"/>
                  <a:gd name="T15" fmla="*/ 99 h 99"/>
                  <a:gd name="T16" fmla="*/ 3 w 88"/>
                  <a:gd name="T17" fmla="*/ 61 h 99"/>
                  <a:gd name="T18" fmla="*/ 0 w 88"/>
                  <a:gd name="T19" fmla="*/ 45 h 99"/>
                  <a:gd name="T20" fmla="*/ 0 w 88"/>
                  <a:gd name="T21" fmla="*/ 45 h 99"/>
                  <a:gd name="T22" fmla="*/ 0 w 88"/>
                  <a:gd name="T23"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99">
                    <a:moveTo>
                      <a:pt x="0" y="44"/>
                    </a:moveTo>
                    <a:cubicBezTo>
                      <a:pt x="0" y="44"/>
                      <a:pt x="0" y="44"/>
                      <a:pt x="0" y="44"/>
                    </a:cubicBezTo>
                    <a:cubicBezTo>
                      <a:pt x="0" y="19"/>
                      <a:pt x="22" y="0"/>
                      <a:pt x="48" y="3"/>
                    </a:cubicBezTo>
                    <a:cubicBezTo>
                      <a:pt x="67" y="5"/>
                      <a:pt x="83" y="21"/>
                      <a:pt x="85" y="40"/>
                    </a:cubicBezTo>
                    <a:cubicBezTo>
                      <a:pt x="88" y="66"/>
                      <a:pt x="68" y="88"/>
                      <a:pt x="43" y="88"/>
                    </a:cubicBezTo>
                    <a:cubicBezTo>
                      <a:pt x="43" y="88"/>
                      <a:pt x="43" y="88"/>
                      <a:pt x="43" y="88"/>
                    </a:cubicBezTo>
                    <a:cubicBezTo>
                      <a:pt x="43" y="97"/>
                      <a:pt x="43" y="97"/>
                      <a:pt x="43" y="97"/>
                    </a:cubicBezTo>
                    <a:cubicBezTo>
                      <a:pt x="43" y="98"/>
                      <a:pt x="42" y="99"/>
                      <a:pt x="41" y="99"/>
                    </a:cubicBezTo>
                    <a:cubicBezTo>
                      <a:pt x="34" y="95"/>
                      <a:pt x="11" y="84"/>
                      <a:pt x="3" y="61"/>
                    </a:cubicBezTo>
                    <a:cubicBezTo>
                      <a:pt x="1" y="56"/>
                      <a:pt x="0" y="51"/>
                      <a:pt x="0" y="45"/>
                    </a:cubicBezTo>
                    <a:cubicBezTo>
                      <a:pt x="0" y="45"/>
                      <a:pt x="0" y="45"/>
                      <a:pt x="0" y="45"/>
                    </a:cubicBezTo>
                    <a:cubicBezTo>
                      <a:pt x="0" y="45"/>
                      <a:pt x="0" y="44"/>
                      <a:pt x="0" y="4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310">
                <a:extLst>
                  <a:ext uri="{FF2B5EF4-FFF2-40B4-BE49-F238E27FC236}">
                    <a16:creationId xmlns:a16="http://schemas.microsoft.com/office/drawing/2014/main" id="{33851669-BB28-411F-A22A-D1E409E9BD10}"/>
                  </a:ext>
                </a:extLst>
              </p:cNvPr>
              <p:cNvSpPr>
                <a:spLocks/>
              </p:cNvSpPr>
              <p:nvPr/>
            </p:nvSpPr>
            <p:spPr bwMode="auto">
              <a:xfrm>
                <a:off x="10407650" y="4219575"/>
                <a:ext cx="301625" cy="336550"/>
              </a:xfrm>
              <a:custGeom>
                <a:avLst/>
                <a:gdLst>
                  <a:gd name="T0" fmla="*/ 89 w 89"/>
                  <a:gd name="T1" fmla="*/ 44 h 99"/>
                  <a:gd name="T2" fmla="*/ 89 w 89"/>
                  <a:gd name="T3" fmla="*/ 44 h 99"/>
                  <a:gd name="T4" fmla="*/ 41 w 89"/>
                  <a:gd name="T5" fmla="*/ 3 h 99"/>
                  <a:gd name="T6" fmla="*/ 3 w 89"/>
                  <a:gd name="T7" fmla="*/ 40 h 99"/>
                  <a:gd name="T8" fmla="*/ 46 w 89"/>
                  <a:gd name="T9" fmla="*/ 88 h 99"/>
                  <a:gd name="T10" fmla="*/ 46 w 89"/>
                  <a:gd name="T11" fmla="*/ 88 h 99"/>
                  <a:gd name="T12" fmla="*/ 46 w 89"/>
                  <a:gd name="T13" fmla="*/ 97 h 99"/>
                  <a:gd name="T14" fmla="*/ 48 w 89"/>
                  <a:gd name="T15" fmla="*/ 99 h 99"/>
                  <a:gd name="T16" fmla="*/ 86 w 89"/>
                  <a:gd name="T17" fmla="*/ 61 h 99"/>
                  <a:gd name="T18" fmla="*/ 89 w 89"/>
                  <a:gd name="T19" fmla="*/ 45 h 99"/>
                  <a:gd name="T20" fmla="*/ 89 w 89"/>
                  <a:gd name="T21" fmla="*/ 45 h 99"/>
                  <a:gd name="T22" fmla="*/ 89 w 89"/>
                  <a:gd name="T23"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99">
                    <a:moveTo>
                      <a:pt x="89" y="44"/>
                    </a:moveTo>
                    <a:cubicBezTo>
                      <a:pt x="89" y="44"/>
                      <a:pt x="89" y="44"/>
                      <a:pt x="89" y="44"/>
                    </a:cubicBezTo>
                    <a:cubicBezTo>
                      <a:pt x="88" y="19"/>
                      <a:pt x="67" y="0"/>
                      <a:pt x="41" y="3"/>
                    </a:cubicBezTo>
                    <a:cubicBezTo>
                      <a:pt x="21" y="5"/>
                      <a:pt x="5" y="21"/>
                      <a:pt x="3" y="40"/>
                    </a:cubicBezTo>
                    <a:cubicBezTo>
                      <a:pt x="0" y="66"/>
                      <a:pt x="21" y="88"/>
                      <a:pt x="46" y="88"/>
                    </a:cubicBezTo>
                    <a:cubicBezTo>
                      <a:pt x="46" y="88"/>
                      <a:pt x="46" y="88"/>
                      <a:pt x="46" y="88"/>
                    </a:cubicBezTo>
                    <a:cubicBezTo>
                      <a:pt x="46" y="97"/>
                      <a:pt x="46" y="97"/>
                      <a:pt x="46" y="97"/>
                    </a:cubicBezTo>
                    <a:cubicBezTo>
                      <a:pt x="46" y="98"/>
                      <a:pt x="47" y="99"/>
                      <a:pt x="48" y="99"/>
                    </a:cubicBezTo>
                    <a:cubicBezTo>
                      <a:pt x="55" y="95"/>
                      <a:pt x="78" y="84"/>
                      <a:pt x="86" y="61"/>
                    </a:cubicBezTo>
                    <a:cubicBezTo>
                      <a:pt x="88" y="56"/>
                      <a:pt x="89" y="51"/>
                      <a:pt x="89" y="45"/>
                    </a:cubicBezTo>
                    <a:cubicBezTo>
                      <a:pt x="89" y="45"/>
                      <a:pt x="89" y="45"/>
                      <a:pt x="89" y="45"/>
                    </a:cubicBezTo>
                    <a:cubicBezTo>
                      <a:pt x="89" y="45"/>
                      <a:pt x="89" y="44"/>
                      <a:pt x="89" y="44"/>
                    </a:cubicBez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330" name="Groupe 926">
            <a:extLst>
              <a:ext uri="{FF2B5EF4-FFF2-40B4-BE49-F238E27FC236}">
                <a16:creationId xmlns:a16="http://schemas.microsoft.com/office/drawing/2014/main" id="{12C3B26A-42F9-404C-B9DD-89A40C89E71B}"/>
              </a:ext>
              <a:ext uri="{C183D7F6-B498-43B3-948B-1728B52AA6E4}">
                <adec:decorative xmlns:adec="http://schemas.microsoft.com/office/drawing/2017/decorative" val="1"/>
              </a:ext>
            </a:extLst>
          </p:cNvPr>
          <p:cNvGrpSpPr>
            <a:grpSpLocks noChangeAspect="1"/>
          </p:cNvGrpSpPr>
          <p:nvPr/>
        </p:nvGrpSpPr>
        <p:grpSpPr>
          <a:xfrm>
            <a:off x="3439797" y="1992045"/>
            <a:ext cx="677349" cy="633600"/>
            <a:chOff x="1563688" y="2587899"/>
            <a:chExt cx="712788" cy="666750"/>
          </a:xfrm>
        </p:grpSpPr>
        <p:sp>
          <p:nvSpPr>
            <p:cNvPr id="331"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2" name="Groupe 397">
            <a:extLst>
              <a:ext uri="{FF2B5EF4-FFF2-40B4-BE49-F238E27FC236}">
                <a16:creationId xmlns:a16="http://schemas.microsoft.com/office/drawing/2014/main" id="{F821AFEE-B4D7-46AA-B197-5A66AD44049E}"/>
              </a:ext>
              <a:ext uri="{C183D7F6-B498-43B3-948B-1728B52AA6E4}">
                <adec:decorative xmlns:adec="http://schemas.microsoft.com/office/drawing/2017/decorative" val="1"/>
              </a:ext>
            </a:extLst>
          </p:cNvPr>
          <p:cNvGrpSpPr>
            <a:grpSpLocks noChangeAspect="1"/>
          </p:cNvGrpSpPr>
          <p:nvPr/>
        </p:nvGrpSpPr>
        <p:grpSpPr>
          <a:xfrm>
            <a:off x="4413310" y="1992045"/>
            <a:ext cx="678776" cy="633600"/>
            <a:chOff x="7421563" y="227012"/>
            <a:chExt cx="954087" cy="890588"/>
          </a:xfrm>
        </p:grpSpPr>
        <p:sp>
          <p:nvSpPr>
            <p:cNvPr id="399" name="Freeform 8">
              <a:extLst>
                <a:ext uri="{FF2B5EF4-FFF2-40B4-BE49-F238E27FC236}">
                  <a16:creationId xmlns:a16="http://schemas.microsoft.com/office/drawing/2014/main" id="{0ECA22D3-1BEE-408D-B746-4508F2DD7CAE}"/>
                </a:ext>
              </a:extLst>
            </p:cNvPr>
            <p:cNvSpPr>
              <a:spLocks/>
            </p:cNvSpPr>
            <p:nvPr/>
          </p:nvSpPr>
          <p:spPr bwMode="auto">
            <a:xfrm>
              <a:off x="7421563" y="227012"/>
              <a:ext cx="954087" cy="890588"/>
            </a:xfrm>
            <a:custGeom>
              <a:avLst/>
              <a:gdLst>
                <a:gd name="T0" fmla="*/ 36 w 254"/>
                <a:gd name="T1" fmla="*/ 185 h 237"/>
                <a:gd name="T2" fmla="*/ 61 w 254"/>
                <a:gd name="T3" fmla="*/ 35 h 237"/>
                <a:gd name="T4" fmla="*/ 218 w 254"/>
                <a:gd name="T5" fmla="*/ 56 h 237"/>
                <a:gd name="T6" fmla="*/ 189 w 254"/>
                <a:gd name="T7" fmla="*/ 201 h 237"/>
                <a:gd name="T8" fmla="*/ 36 w 254"/>
                <a:gd name="T9" fmla="*/ 185 h 237"/>
              </a:gdLst>
              <a:ahLst/>
              <a:cxnLst>
                <a:cxn ang="0">
                  <a:pos x="T0" y="T1"/>
                </a:cxn>
                <a:cxn ang="0">
                  <a:pos x="T2" y="T3"/>
                </a:cxn>
                <a:cxn ang="0">
                  <a:pos x="T4" y="T5"/>
                </a:cxn>
                <a:cxn ang="0">
                  <a:pos x="T6" y="T7"/>
                </a:cxn>
                <a:cxn ang="0">
                  <a:pos x="T8" y="T9"/>
                </a:cxn>
              </a:cxnLst>
              <a:rect l="0" t="0" r="r" b="b"/>
              <a:pathLst>
                <a:path w="254" h="237">
                  <a:moveTo>
                    <a:pt x="36" y="185"/>
                  </a:moveTo>
                  <a:cubicBezTo>
                    <a:pt x="0" y="137"/>
                    <a:pt x="11" y="71"/>
                    <a:pt x="61" y="35"/>
                  </a:cubicBezTo>
                  <a:cubicBezTo>
                    <a:pt x="110" y="0"/>
                    <a:pt x="180" y="9"/>
                    <a:pt x="218" y="56"/>
                  </a:cubicBezTo>
                  <a:cubicBezTo>
                    <a:pt x="254" y="105"/>
                    <a:pt x="238" y="166"/>
                    <a:pt x="189" y="201"/>
                  </a:cubicBezTo>
                  <a:cubicBezTo>
                    <a:pt x="139" y="237"/>
                    <a:pt x="73" y="232"/>
                    <a:pt x="36" y="185"/>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0" name="Groupe 399">
              <a:extLst>
                <a:ext uri="{FF2B5EF4-FFF2-40B4-BE49-F238E27FC236}">
                  <a16:creationId xmlns:a16="http://schemas.microsoft.com/office/drawing/2014/main" id="{6CF923B1-B52F-4A28-A7B3-020E579D4F99}"/>
                </a:ext>
              </a:extLst>
            </p:cNvPr>
            <p:cNvGrpSpPr/>
            <p:nvPr/>
          </p:nvGrpSpPr>
          <p:grpSpPr>
            <a:xfrm>
              <a:off x="7632701" y="433387"/>
              <a:ext cx="525462" cy="439738"/>
              <a:chOff x="7632701" y="433387"/>
              <a:chExt cx="525462" cy="439738"/>
            </a:xfrm>
          </p:grpSpPr>
          <p:sp>
            <p:nvSpPr>
              <p:cNvPr id="401" name="Freeform 149">
                <a:extLst>
                  <a:ext uri="{FF2B5EF4-FFF2-40B4-BE49-F238E27FC236}">
                    <a16:creationId xmlns:a16="http://schemas.microsoft.com/office/drawing/2014/main" id="{C7662FEA-D631-45C1-886B-E53715962A6D}"/>
                  </a:ext>
                </a:extLst>
              </p:cNvPr>
              <p:cNvSpPr>
                <a:spLocks/>
              </p:cNvSpPr>
              <p:nvPr/>
            </p:nvSpPr>
            <p:spPr bwMode="auto">
              <a:xfrm>
                <a:off x="7831138" y="606425"/>
                <a:ext cx="327025" cy="266700"/>
              </a:xfrm>
              <a:custGeom>
                <a:avLst/>
                <a:gdLst>
                  <a:gd name="T0" fmla="*/ 71 w 87"/>
                  <a:gd name="T1" fmla="*/ 52 h 71"/>
                  <a:gd name="T2" fmla="*/ 72 w 87"/>
                  <a:gd name="T3" fmla="*/ 50 h 71"/>
                  <a:gd name="T4" fmla="*/ 87 w 87"/>
                  <a:gd name="T5" fmla="*/ 26 h 71"/>
                  <a:gd name="T6" fmla="*/ 74 w 87"/>
                  <a:gd name="T7" fmla="*/ 3 h 71"/>
                  <a:gd name="T8" fmla="*/ 64 w 87"/>
                  <a:gd name="T9" fmla="*/ 6 h 71"/>
                  <a:gd name="T10" fmla="*/ 46 w 87"/>
                  <a:gd name="T11" fmla="*/ 28 h 71"/>
                  <a:gd name="T12" fmla="*/ 2 w 87"/>
                  <a:gd name="T13" fmla="*/ 41 h 71"/>
                  <a:gd name="T14" fmla="*/ 0 w 87"/>
                  <a:gd name="T15" fmla="*/ 41 h 71"/>
                  <a:gd name="T16" fmla="*/ 41 w 87"/>
                  <a:gd name="T17" fmla="*/ 59 h 71"/>
                  <a:gd name="T18" fmla="*/ 52 w 87"/>
                  <a:gd name="T19" fmla="*/ 58 h 71"/>
                  <a:gd name="T20" fmla="*/ 53 w 87"/>
                  <a:gd name="T21" fmla="*/ 59 h 71"/>
                  <a:gd name="T22" fmla="*/ 80 w 87"/>
                  <a:gd name="T23" fmla="*/ 70 h 71"/>
                  <a:gd name="T24" fmla="*/ 81 w 87"/>
                  <a:gd name="T25" fmla="*/ 69 h 71"/>
                  <a:gd name="T26" fmla="*/ 71 w 87"/>
                  <a:gd name="T27" fmla="*/ 5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71">
                    <a:moveTo>
                      <a:pt x="71" y="52"/>
                    </a:moveTo>
                    <a:cubicBezTo>
                      <a:pt x="71" y="51"/>
                      <a:pt x="72" y="51"/>
                      <a:pt x="72" y="50"/>
                    </a:cubicBezTo>
                    <a:cubicBezTo>
                      <a:pt x="81" y="44"/>
                      <a:pt x="87" y="35"/>
                      <a:pt x="87" y="26"/>
                    </a:cubicBezTo>
                    <a:cubicBezTo>
                      <a:pt x="87" y="17"/>
                      <a:pt x="82" y="9"/>
                      <a:pt x="74" y="3"/>
                    </a:cubicBezTo>
                    <a:cubicBezTo>
                      <a:pt x="70" y="0"/>
                      <a:pt x="65" y="1"/>
                      <a:pt x="64" y="6"/>
                    </a:cubicBezTo>
                    <a:cubicBezTo>
                      <a:pt x="61" y="14"/>
                      <a:pt x="55" y="22"/>
                      <a:pt x="46" y="28"/>
                    </a:cubicBezTo>
                    <a:cubicBezTo>
                      <a:pt x="34" y="36"/>
                      <a:pt x="19" y="41"/>
                      <a:pt x="2" y="41"/>
                    </a:cubicBezTo>
                    <a:cubicBezTo>
                      <a:pt x="2" y="41"/>
                      <a:pt x="1" y="41"/>
                      <a:pt x="0" y="41"/>
                    </a:cubicBezTo>
                    <a:cubicBezTo>
                      <a:pt x="8" y="52"/>
                      <a:pt x="23" y="59"/>
                      <a:pt x="41" y="59"/>
                    </a:cubicBezTo>
                    <a:cubicBezTo>
                      <a:pt x="45" y="59"/>
                      <a:pt x="48" y="59"/>
                      <a:pt x="52" y="58"/>
                    </a:cubicBezTo>
                    <a:cubicBezTo>
                      <a:pt x="52" y="58"/>
                      <a:pt x="53" y="58"/>
                      <a:pt x="53" y="59"/>
                    </a:cubicBezTo>
                    <a:cubicBezTo>
                      <a:pt x="59" y="64"/>
                      <a:pt x="69" y="68"/>
                      <a:pt x="80" y="70"/>
                    </a:cubicBezTo>
                    <a:cubicBezTo>
                      <a:pt x="81" y="71"/>
                      <a:pt x="82" y="69"/>
                      <a:pt x="81" y="69"/>
                    </a:cubicBezTo>
                    <a:cubicBezTo>
                      <a:pt x="75" y="64"/>
                      <a:pt x="72" y="58"/>
                      <a:pt x="71" y="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150">
                <a:extLst>
                  <a:ext uri="{FF2B5EF4-FFF2-40B4-BE49-F238E27FC236}">
                    <a16:creationId xmlns:a16="http://schemas.microsoft.com/office/drawing/2014/main" id="{8006F3A6-D904-42CD-9B04-AF8C5F2916EE}"/>
                  </a:ext>
                </a:extLst>
              </p:cNvPr>
              <p:cNvSpPr>
                <a:spLocks/>
              </p:cNvSpPr>
              <p:nvPr/>
            </p:nvSpPr>
            <p:spPr bwMode="auto">
              <a:xfrm>
                <a:off x="7632701" y="433387"/>
                <a:ext cx="415925" cy="376238"/>
              </a:xfrm>
              <a:custGeom>
                <a:avLst/>
                <a:gdLst>
                  <a:gd name="T0" fmla="*/ 56 w 111"/>
                  <a:gd name="T1" fmla="*/ 0 h 100"/>
                  <a:gd name="T2" fmla="*/ 0 w 111"/>
                  <a:gd name="T3" fmla="*/ 41 h 100"/>
                  <a:gd name="T4" fmla="*/ 23 w 111"/>
                  <a:gd name="T5" fmla="*/ 73 h 100"/>
                  <a:gd name="T6" fmla="*/ 24 w 111"/>
                  <a:gd name="T7" fmla="*/ 75 h 100"/>
                  <a:gd name="T8" fmla="*/ 25 w 111"/>
                  <a:gd name="T9" fmla="*/ 77 h 100"/>
                  <a:gd name="T10" fmla="*/ 16 w 111"/>
                  <a:gd name="T11" fmla="*/ 98 h 100"/>
                  <a:gd name="T12" fmla="*/ 17 w 111"/>
                  <a:gd name="T13" fmla="*/ 99 h 100"/>
                  <a:gd name="T14" fmla="*/ 47 w 111"/>
                  <a:gd name="T15" fmla="*/ 82 h 100"/>
                  <a:gd name="T16" fmla="*/ 49 w 111"/>
                  <a:gd name="T17" fmla="*/ 81 h 100"/>
                  <a:gd name="T18" fmla="*/ 56 w 111"/>
                  <a:gd name="T19" fmla="*/ 81 h 100"/>
                  <a:gd name="T20" fmla="*/ 111 w 111"/>
                  <a:gd name="T21" fmla="*/ 41 h 100"/>
                  <a:gd name="T22" fmla="*/ 56 w 111"/>
                  <a:gd name="T2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1" h="100">
                    <a:moveTo>
                      <a:pt x="56" y="0"/>
                    </a:moveTo>
                    <a:cubicBezTo>
                      <a:pt x="25" y="0"/>
                      <a:pt x="0" y="18"/>
                      <a:pt x="0" y="41"/>
                    </a:cubicBezTo>
                    <a:cubicBezTo>
                      <a:pt x="0" y="54"/>
                      <a:pt x="9" y="66"/>
                      <a:pt x="23" y="73"/>
                    </a:cubicBezTo>
                    <a:cubicBezTo>
                      <a:pt x="24" y="74"/>
                      <a:pt x="24" y="74"/>
                      <a:pt x="24" y="75"/>
                    </a:cubicBezTo>
                    <a:cubicBezTo>
                      <a:pt x="24" y="76"/>
                      <a:pt x="25" y="76"/>
                      <a:pt x="25" y="77"/>
                    </a:cubicBezTo>
                    <a:cubicBezTo>
                      <a:pt x="25" y="85"/>
                      <a:pt x="22" y="92"/>
                      <a:pt x="16" y="98"/>
                    </a:cubicBezTo>
                    <a:cubicBezTo>
                      <a:pt x="16" y="98"/>
                      <a:pt x="16" y="100"/>
                      <a:pt x="17" y="99"/>
                    </a:cubicBezTo>
                    <a:cubicBezTo>
                      <a:pt x="31" y="96"/>
                      <a:pt x="42" y="89"/>
                      <a:pt x="47" y="82"/>
                    </a:cubicBezTo>
                    <a:cubicBezTo>
                      <a:pt x="47" y="81"/>
                      <a:pt x="48" y="81"/>
                      <a:pt x="49" y="81"/>
                    </a:cubicBezTo>
                    <a:cubicBezTo>
                      <a:pt x="51" y="81"/>
                      <a:pt x="53" y="81"/>
                      <a:pt x="56" y="81"/>
                    </a:cubicBezTo>
                    <a:cubicBezTo>
                      <a:pt x="86" y="81"/>
                      <a:pt x="111" y="63"/>
                      <a:pt x="111" y="41"/>
                    </a:cubicBezTo>
                    <a:cubicBezTo>
                      <a:pt x="111" y="18"/>
                      <a:pt x="86" y="0"/>
                      <a:pt x="5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1" name="Group 180">
            <a:extLst>
              <a:ext uri="{FF2B5EF4-FFF2-40B4-BE49-F238E27FC236}">
                <a16:creationId xmlns:a16="http://schemas.microsoft.com/office/drawing/2014/main" id="{B06EF4F7-03FE-4339-9D59-F10A9770D4A4}"/>
              </a:ext>
              <a:ext uri="{C183D7F6-B498-43B3-948B-1728B52AA6E4}">
                <adec:decorative xmlns:adec="http://schemas.microsoft.com/office/drawing/2017/decorative" val="1"/>
              </a:ext>
            </a:extLst>
          </p:cNvPr>
          <p:cNvGrpSpPr/>
          <p:nvPr/>
        </p:nvGrpSpPr>
        <p:grpSpPr>
          <a:xfrm>
            <a:off x="515095" y="5448851"/>
            <a:ext cx="678063" cy="633600"/>
            <a:chOff x="383453" y="5765706"/>
            <a:chExt cx="678063" cy="633600"/>
          </a:xfrm>
        </p:grpSpPr>
        <p:sp>
          <p:nvSpPr>
            <p:cNvPr id="404" name="Freeform 41">
              <a:extLst>
                <a:ext uri="{FF2B5EF4-FFF2-40B4-BE49-F238E27FC236}">
                  <a16:creationId xmlns:a16="http://schemas.microsoft.com/office/drawing/2014/main" id="{CE3AFAA5-7D14-4196-97DA-747FAEE57E38}"/>
                </a:ext>
              </a:extLst>
            </p:cNvPr>
            <p:cNvSpPr>
              <a:spLocks/>
            </p:cNvSpPr>
            <p:nvPr/>
          </p:nvSpPr>
          <p:spPr bwMode="auto">
            <a:xfrm>
              <a:off x="383453" y="5765706"/>
              <a:ext cx="678063" cy="633600"/>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3"/>
                    <a:pt x="172" y="185"/>
                  </a:cubicBezTo>
                  <a:cubicBezTo>
                    <a:pt x="127" y="217"/>
                    <a:pt x="66" y="213"/>
                    <a:pt x="33" y="1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16" name="Groupe 981">
              <a:extLst>
                <a:ext uri="{FF2B5EF4-FFF2-40B4-BE49-F238E27FC236}">
                  <a16:creationId xmlns:a16="http://schemas.microsoft.com/office/drawing/2014/main" id="{DFC43A17-0410-488E-8A5D-C8CEDA662D1E}"/>
                </a:ext>
              </a:extLst>
            </p:cNvPr>
            <p:cNvGrpSpPr/>
            <p:nvPr/>
          </p:nvGrpSpPr>
          <p:grpSpPr>
            <a:xfrm>
              <a:off x="533450" y="5898706"/>
              <a:ext cx="371894" cy="370070"/>
              <a:chOff x="5989638" y="5359400"/>
              <a:chExt cx="323851" cy="322263"/>
            </a:xfrm>
            <a:solidFill>
              <a:schemeClr val="bg1"/>
            </a:solidFill>
          </p:grpSpPr>
          <p:sp>
            <p:nvSpPr>
              <p:cNvPr id="417" name="Freeform 181">
                <a:extLst>
                  <a:ext uri="{FF2B5EF4-FFF2-40B4-BE49-F238E27FC236}">
                    <a16:creationId xmlns:a16="http://schemas.microsoft.com/office/drawing/2014/main" id="{DF704D68-88B3-4084-B199-3F30C75BE4FF}"/>
                  </a:ext>
                </a:extLst>
              </p:cNvPr>
              <p:cNvSpPr>
                <a:spLocks noEditPoints="1"/>
              </p:cNvSpPr>
              <p:nvPr/>
            </p:nvSpPr>
            <p:spPr bwMode="auto">
              <a:xfrm>
                <a:off x="6154738" y="5445125"/>
                <a:ext cx="68263" cy="71438"/>
              </a:xfrm>
              <a:custGeom>
                <a:avLst/>
                <a:gdLst>
                  <a:gd name="T0" fmla="*/ 0 w 18"/>
                  <a:gd name="T1" fmla="*/ 19 h 19"/>
                  <a:gd name="T2" fmla="*/ 18 w 18"/>
                  <a:gd name="T3" fmla="*/ 19 h 19"/>
                  <a:gd name="T4" fmla="*/ 14 w 18"/>
                  <a:gd name="T5" fmla="*/ 0 h 19"/>
                  <a:gd name="T6" fmla="*/ 0 w 18"/>
                  <a:gd name="T7" fmla="*/ 2 h 19"/>
                  <a:gd name="T8" fmla="*/ 0 w 18"/>
                  <a:gd name="T9" fmla="*/ 19 h 19"/>
                  <a:gd name="T10" fmla="*/ 0 w 18"/>
                  <a:gd name="T11" fmla="*/ 19 h 19"/>
                  <a:gd name="T12" fmla="*/ 0 w 18"/>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 h="19">
                    <a:moveTo>
                      <a:pt x="0" y="19"/>
                    </a:moveTo>
                    <a:cubicBezTo>
                      <a:pt x="18" y="19"/>
                      <a:pt x="18" y="19"/>
                      <a:pt x="18" y="19"/>
                    </a:cubicBezTo>
                    <a:cubicBezTo>
                      <a:pt x="18" y="12"/>
                      <a:pt x="16" y="6"/>
                      <a:pt x="14" y="0"/>
                    </a:cubicBezTo>
                    <a:cubicBezTo>
                      <a:pt x="10" y="2"/>
                      <a:pt x="5" y="2"/>
                      <a:pt x="0" y="2"/>
                    </a:cubicBezTo>
                    <a:lnTo>
                      <a:pt x="0" y="19"/>
                    </a:lnTo>
                    <a:close/>
                    <a:moveTo>
                      <a:pt x="0" y="19"/>
                    </a:moveTo>
                    <a:cubicBezTo>
                      <a:pt x="0" y="19"/>
                      <a:pt x="0" y="19"/>
                      <a:pt x="0"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182">
                <a:extLst>
                  <a:ext uri="{FF2B5EF4-FFF2-40B4-BE49-F238E27FC236}">
                    <a16:creationId xmlns:a16="http://schemas.microsoft.com/office/drawing/2014/main" id="{08EFB5B5-24E3-4280-BA43-AA11AE60B308}"/>
                  </a:ext>
                </a:extLst>
              </p:cNvPr>
              <p:cNvSpPr>
                <a:spLocks noEditPoints="1"/>
              </p:cNvSpPr>
              <p:nvPr/>
            </p:nvSpPr>
            <p:spPr bwMode="auto">
              <a:xfrm>
                <a:off x="6159501" y="5359400"/>
                <a:ext cx="104775" cy="74613"/>
              </a:xfrm>
              <a:custGeom>
                <a:avLst/>
                <a:gdLst>
                  <a:gd name="T0" fmla="*/ 15 w 28"/>
                  <a:gd name="T1" fmla="*/ 20 h 20"/>
                  <a:gd name="T2" fmla="*/ 27 w 28"/>
                  <a:gd name="T3" fmla="*/ 13 h 20"/>
                  <a:gd name="T4" fmla="*/ 28 w 28"/>
                  <a:gd name="T5" fmla="*/ 13 h 20"/>
                  <a:gd name="T6" fmla="*/ 1 w 28"/>
                  <a:gd name="T7" fmla="*/ 0 h 20"/>
                  <a:gd name="T8" fmla="*/ 0 w 28"/>
                  <a:gd name="T9" fmla="*/ 1 h 20"/>
                  <a:gd name="T10" fmla="*/ 15 w 28"/>
                  <a:gd name="T11" fmla="*/ 20 h 20"/>
                  <a:gd name="T12" fmla="*/ 15 w 28"/>
                  <a:gd name="T13" fmla="*/ 20 h 20"/>
                  <a:gd name="T14" fmla="*/ 15 w 28"/>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0">
                    <a:moveTo>
                      <a:pt x="15" y="20"/>
                    </a:moveTo>
                    <a:cubicBezTo>
                      <a:pt x="19" y="18"/>
                      <a:pt x="23" y="16"/>
                      <a:pt x="27" y="13"/>
                    </a:cubicBezTo>
                    <a:cubicBezTo>
                      <a:pt x="28" y="13"/>
                      <a:pt x="28" y="13"/>
                      <a:pt x="28" y="13"/>
                    </a:cubicBezTo>
                    <a:cubicBezTo>
                      <a:pt x="21" y="6"/>
                      <a:pt x="11" y="1"/>
                      <a:pt x="1" y="0"/>
                    </a:cubicBezTo>
                    <a:cubicBezTo>
                      <a:pt x="0" y="1"/>
                      <a:pt x="0" y="1"/>
                      <a:pt x="0" y="1"/>
                    </a:cubicBezTo>
                    <a:cubicBezTo>
                      <a:pt x="6" y="6"/>
                      <a:pt x="11" y="13"/>
                      <a:pt x="15" y="20"/>
                    </a:cubicBezTo>
                    <a:close/>
                    <a:moveTo>
                      <a:pt x="15" y="20"/>
                    </a:moveTo>
                    <a:cubicBezTo>
                      <a:pt x="15" y="20"/>
                      <a:pt x="15" y="20"/>
                      <a:pt x="15"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183">
                <a:extLst>
                  <a:ext uri="{FF2B5EF4-FFF2-40B4-BE49-F238E27FC236}">
                    <a16:creationId xmlns:a16="http://schemas.microsoft.com/office/drawing/2014/main" id="{AD05F471-FE6C-472C-B629-0ACE6A5062B9}"/>
                  </a:ext>
                </a:extLst>
              </p:cNvPr>
              <p:cNvSpPr>
                <a:spLocks noEditPoints="1"/>
              </p:cNvSpPr>
              <p:nvPr/>
            </p:nvSpPr>
            <p:spPr bwMode="auto">
              <a:xfrm>
                <a:off x="6154738" y="5373687"/>
                <a:ext cx="49213" cy="68263"/>
              </a:xfrm>
              <a:custGeom>
                <a:avLst/>
                <a:gdLst>
                  <a:gd name="T0" fmla="*/ 0 w 13"/>
                  <a:gd name="T1" fmla="*/ 0 h 18"/>
                  <a:gd name="T2" fmla="*/ 0 w 13"/>
                  <a:gd name="T3" fmla="*/ 18 h 18"/>
                  <a:gd name="T4" fmla="*/ 13 w 13"/>
                  <a:gd name="T5" fmla="*/ 16 h 18"/>
                  <a:gd name="T6" fmla="*/ 0 w 13"/>
                  <a:gd name="T7" fmla="*/ 0 h 18"/>
                  <a:gd name="T8" fmla="*/ 0 w 13"/>
                  <a:gd name="T9" fmla="*/ 0 h 18"/>
                  <a:gd name="T10" fmla="*/ 0 w 13"/>
                  <a:gd name="T11" fmla="*/ 0 h 18"/>
                </a:gdLst>
                <a:ahLst/>
                <a:cxnLst>
                  <a:cxn ang="0">
                    <a:pos x="T0" y="T1"/>
                  </a:cxn>
                  <a:cxn ang="0">
                    <a:pos x="T2" y="T3"/>
                  </a:cxn>
                  <a:cxn ang="0">
                    <a:pos x="T4" y="T5"/>
                  </a:cxn>
                  <a:cxn ang="0">
                    <a:pos x="T6" y="T7"/>
                  </a:cxn>
                  <a:cxn ang="0">
                    <a:pos x="T8" y="T9"/>
                  </a:cxn>
                  <a:cxn ang="0">
                    <a:pos x="T10" y="T11"/>
                  </a:cxn>
                </a:cxnLst>
                <a:rect l="0" t="0" r="r" b="b"/>
                <a:pathLst>
                  <a:path w="13" h="18">
                    <a:moveTo>
                      <a:pt x="0" y="0"/>
                    </a:moveTo>
                    <a:cubicBezTo>
                      <a:pt x="0" y="18"/>
                      <a:pt x="0" y="18"/>
                      <a:pt x="0" y="18"/>
                    </a:cubicBezTo>
                    <a:cubicBezTo>
                      <a:pt x="5" y="18"/>
                      <a:pt x="9" y="18"/>
                      <a:pt x="13" y="16"/>
                    </a:cubicBezTo>
                    <a:cubicBezTo>
                      <a:pt x="10" y="10"/>
                      <a:pt x="6" y="5"/>
                      <a:pt x="0" y="0"/>
                    </a:cubicBez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184">
                <a:extLst>
                  <a:ext uri="{FF2B5EF4-FFF2-40B4-BE49-F238E27FC236}">
                    <a16:creationId xmlns:a16="http://schemas.microsoft.com/office/drawing/2014/main" id="{56D52E0F-FE16-4E97-8A3A-0743C432EBDC}"/>
                  </a:ext>
                </a:extLst>
              </p:cNvPr>
              <p:cNvSpPr>
                <a:spLocks noEditPoints="1"/>
              </p:cNvSpPr>
              <p:nvPr/>
            </p:nvSpPr>
            <p:spPr bwMode="auto">
              <a:xfrm>
                <a:off x="6219826" y="5527675"/>
                <a:ext cx="93663" cy="95250"/>
              </a:xfrm>
              <a:custGeom>
                <a:avLst/>
                <a:gdLst>
                  <a:gd name="T0" fmla="*/ 0 w 25"/>
                  <a:gd name="T1" fmla="*/ 18 h 25"/>
                  <a:gd name="T2" fmla="*/ 13 w 25"/>
                  <a:gd name="T3" fmla="*/ 24 h 25"/>
                  <a:gd name="T4" fmla="*/ 15 w 25"/>
                  <a:gd name="T5" fmla="*/ 25 h 25"/>
                  <a:gd name="T6" fmla="*/ 25 w 25"/>
                  <a:gd name="T7" fmla="*/ 0 h 25"/>
                  <a:gd name="T8" fmla="*/ 4 w 25"/>
                  <a:gd name="T9" fmla="*/ 0 h 25"/>
                  <a:gd name="T10" fmla="*/ 0 w 25"/>
                  <a:gd name="T11" fmla="*/ 18 h 25"/>
                  <a:gd name="T12" fmla="*/ 0 w 25"/>
                  <a:gd name="T13" fmla="*/ 18 h 25"/>
                  <a:gd name="T14" fmla="*/ 0 w 25"/>
                  <a:gd name="T15" fmla="*/ 18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5">
                    <a:moveTo>
                      <a:pt x="0" y="18"/>
                    </a:moveTo>
                    <a:cubicBezTo>
                      <a:pt x="5" y="19"/>
                      <a:pt x="9" y="22"/>
                      <a:pt x="13" y="24"/>
                    </a:cubicBezTo>
                    <a:cubicBezTo>
                      <a:pt x="15" y="25"/>
                      <a:pt x="15" y="25"/>
                      <a:pt x="15" y="25"/>
                    </a:cubicBezTo>
                    <a:cubicBezTo>
                      <a:pt x="21" y="18"/>
                      <a:pt x="24" y="9"/>
                      <a:pt x="25" y="0"/>
                    </a:cubicBezTo>
                    <a:cubicBezTo>
                      <a:pt x="4" y="0"/>
                      <a:pt x="4" y="0"/>
                      <a:pt x="4" y="0"/>
                    </a:cubicBezTo>
                    <a:cubicBezTo>
                      <a:pt x="4" y="6"/>
                      <a:pt x="3" y="12"/>
                      <a:pt x="0" y="18"/>
                    </a:cubicBezTo>
                    <a:close/>
                    <a:moveTo>
                      <a:pt x="0" y="18"/>
                    </a:moveTo>
                    <a:cubicBezTo>
                      <a:pt x="0" y="18"/>
                      <a:pt x="0" y="18"/>
                      <a:pt x="0"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185">
                <a:extLst>
                  <a:ext uri="{FF2B5EF4-FFF2-40B4-BE49-F238E27FC236}">
                    <a16:creationId xmlns:a16="http://schemas.microsoft.com/office/drawing/2014/main" id="{1D8A8CAE-7B4E-4C31-9910-0AF0D6BAAE5B}"/>
                  </a:ext>
                </a:extLst>
              </p:cNvPr>
              <p:cNvSpPr>
                <a:spLocks noEditPoints="1"/>
              </p:cNvSpPr>
              <p:nvPr/>
            </p:nvSpPr>
            <p:spPr bwMode="auto">
              <a:xfrm>
                <a:off x="6038851" y="5359400"/>
                <a:ext cx="104775" cy="74613"/>
              </a:xfrm>
              <a:custGeom>
                <a:avLst/>
                <a:gdLst>
                  <a:gd name="T0" fmla="*/ 1 w 28"/>
                  <a:gd name="T1" fmla="*/ 13 h 20"/>
                  <a:gd name="T2" fmla="*/ 13 w 28"/>
                  <a:gd name="T3" fmla="*/ 20 h 20"/>
                  <a:gd name="T4" fmla="*/ 28 w 28"/>
                  <a:gd name="T5" fmla="*/ 1 h 20"/>
                  <a:gd name="T6" fmla="*/ 27 w 28"/>
                  <a:gd name="T7" fmla="*/ 0 h 20"/>
                  <a:gd name="T8" fmla="*/ 0 w 28"/>
                  <a:gd name="T9" fmla="*/ 13 h 20"/>
                  <a:gd name="T10" fmla="*/ 1 w 28"/>
                  <a:gd name="T11" fmla="*/ 13 h 20"/>
                  <a:gd name="T12" fmla="*/ 1 w 28"/>
                  <a:gd name="T13" fmla="*/ 13 h 20"/>
                  <a:gd name="T14" fmla="*/ 1 w 28"/>
                  <a:gd name="T15" fmla="*/ 13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0">
                    <a:moveTo>
                      <a:pt x="1" y="13"/>
                    </a:moveTo>
                    <a:cubicBezTo>
                      <a:pt x="5" y="16"/>
                      <a:pt x="9" y="18"/>
                      <a:pt x="13" y="20"/>
                    </a:cubicBezTo>
                    <a:cubicBezTo>
                      <a:pt x="16" y="13"/>
                      <a:pt x="21" y="6"/>
                      <a:pt x="28" y="1"/>
                    </a:cubicBezTo>
                    <a:cubicBezTo>
                      <a:pt x="27" y="0"/>
                      <a:pt x="27" y="0"/>
                      <a:pt x="27" y="0"/>
                    </a:cubicBezTo>
                    <a:cubicBezTo>
                      <a:pt x="16" y="1"/>
                      <a:pt x="7" y="6"/>
                      <a:pt x="0" y="13"/>
                    </a:cubicBezTo>
                    <a:lnTo>
                      <a:pt x="1" y="13"/>
                    </a:lnTo>
                    <a:close/>
                    <a:moveTo>
                      <a:pt x="1" y="13"/>
                    </a:moveTo>
                    <a:cubicBezTo>
                      <a:pt x="1" y="13"/>
                      <a:pt x="1" y="13"/>
                      <a:pt x="1"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186">
                <a:extLst>
                  <a:ext uri="{FF2B5EF4-FFF2-40B4-BE49-F238E27FC236}">
                    <a16:creationId xmlns:a16="http://schemas.microsoft.com/office/drawing/2014/main" id="{38D65C0A-16D1-4848-A116-DD49C7E7C5D5}"/>
                  </a:ext>
                </a:extLst>
              </p:cNvPr>
              <p:cNvSpPr>
                <a:spLocks noEditPoints="1"/>
              </p:cNvSpPr>
              <p:nvPr/>
            </p:nvSpPr>
            <p:spPr bwMode="auto">
              <a:xfrm>
                <a:off x="6099176" y="5373687"/>
                <a:ext cx="44450" cy="68263"/>
              </a:xfrm>
              <a:custGeom>
                <a:avLst/>
                <a:gdLst>
                  <a:gd name="T0" fmla="*/ 12 w 12"/>
                  <a:gd name="T1" fmla="*/ 0 h 18"/>
                  <a:gd name="T2" fmla="*/ 0 w 12"/>
                  <a:gd name="T3" fmla="*/ 16 h 18"/>
                  <a:gd name="T4" fmla="*/ 12 w 12"/>
                  <a:gd name="T5" fmla="*/ 18 h 18"/>
                  <a:gd name="T6" fmla="*/ 12 w 12"/>
                  <a:gd name="T7" fmla="*/ 0 h 18"/>
                  <a:gd name="T8" fmla="*/ 12 w 12"/>
                  <a:gd name="T9" fmla="*/ 0 h 18"/>
                  <a:gd name="T10" fmla="*/ 12 w 12"/>
                  <a:gd name="T11" fmla="*/ 0 h 18"/>
                </a:gdLst>
                <a:ahLst/>
                <a:cxnLst>
                  <a:cxn ang="0">
                    <a:pos x="T0" y="T1"/>
                  </a:cxn>
                  <a:cxn ang="0">
                    <a:pos x="T2" y="T3"/>
                  </a:cxn>
                  <a:cxn ang="0">
                    <a:pos x="T4" y="T5"/>
                  </a:cxn>
                  <a:cxn ang="0">
                    <a:pos x="T6" y="T7"/>
                  </a:cxn>
                  <a:cxn ang="0">
                    <a:pos x="T8" y="T9"/>
                  </a:cxn>
                  <a:cxn ang="0">
                    <a:pos x="T10" y="T11"/>
                  </a:cxn>
                </a:cxnLst>
                <a:rect l="0" t="0" r="r" b="b"/>
                <a:pathLst>
                  <a:path w="12" h="18">
                    <a:moveTo>
                      <a:pt x="12" y="0"/>
                    </a:moveTo>
                    <a:cubicBezTo>
                      <a:pt x="7" y="5"/>
                      <a:pt x="3" y="10"/>
                      <a:pt x="0" y="16"/>
                    </a:cubicBezTo>
                    <a:cubicBezTo>
                      <a:pt x="4" y="18"/>
                      <a:pt x="8" y="18"/>
                      <a:pt x="12" y="18"/>
                    </a:cubicBezTo>
                    <a:lnTo>
                      <a:pt x="12" y="0"/>
                    </a:lnTo>
                    <a:close/>
                    <a:moveTo>
                      <a:pt x="12" y="0"/>
                    </a:move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87">
                <a:extLst>
                  <a:ext uri="{FF2B5EF4-FFF2-40B4-BE49-F238E27FC236}">
                    <a16:creationId xmlns:a16="http://schemas.microsoft.com/office/drawing/2014/main" id="{B4FB1BDA-EEC6-447C-9580-AAF0720D72CB}"/>
                  </a:ext>
                </a:extLst>
              </p:cNvPr>
              <p:cNvSpPr>
                <a:spLocks noEditPoints="1"/>
              </p:cNvSpPr>
              <p:nvPr/>
            </p:nvSpPr>
            <p:spPr bwMode="auto">
              <a:xfrm>
                <a:off x="5989638" y="5527675"/>
                <a:ext cx="90488" cy="95250"/>
              </a:xfrm>
              <a:custGeom>
                <a:avLst/>
                <a:gdLst>
                  <a:gd name="T0" fmla="*/ 21 w 24"/>
                  <a:gd name="T1" fmla="*/ 0 h 25"/>
                  <a:gd name="T2" fmla="*/ 0 w 24"/>
                  <a:gd name="T3" fmla="*/ 0 h 25"/>
                  <a:gd name="T4" fmla="*/ 10 w 24"/>
                  <a:gd name="T5" fmla="*/ 25 h 25"/>
                  <a:gd name="T6" fmla="*/ 11 w 24"/>
                  <a:gd name="T7" fmla="*/ 24 h 25"/>
                  <a:gd name="T8" fmla="*/ 24 w 24"/>
                  <a:gd name="T9" fmla="*/ 18 h 25"/>
                  <a:gd name="T10" fmla="*/ 21 w 24"/>
                  <a:gd name="T11" fmla="*/ 0 h 25"/>
                  <a:gd name="T12" fmla="*/ 21 w 24"/>
                  <a:gd name="T13" fmla="*/ 0 h 25"/>
                  <a:gd name="T14" fmla="*/ 21 w 24"/>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5">
                    <a:moveTo>
                      <a:pt x="21" y="0"/>
                    </a:moveTo>
                    <a:cubicBezTo>
                      <a:pt x="0" y="0"/>
                      <a:pt x="0" y="0"/>
                      <a:pt x="0" y="0"/>
                    </a:cubicBezTo>
                    <a:cubicBezTo>
                      <a:pt x="0" y="9"/>
                      <a:pt x="4" y="18"/>
                      <a:pt x="10" y="25"/>
                    </a:cubicBezTo>
                    <a:cubicBezTo>
                      <a:pt x="11" y="24"/>
                      <a:pt x="11" y="24"/>
                      <a:pt x="11" y="24"/>
                    </a:cubicBezTo>
                    <a:cubicBezTo>
                      <a:pt x="15" y="22"/>
                      <a:pt x="20" y="19"/>
                      <a:pt x="24" y="18"/>
                    </a:cubicBezTo>
                    <a:cubicBezTo>
                      <a:pt x="22" y="12"/>
                      <a:pt x="21" y="6"/>
                      <a:pt x="21" y="0"/>
                    </a:cubicBezTo>
                    <a:close/>
                    <a:moveTo>
                      <a:pt x="21" y="0"/>
                    </a:moveTo>
                    <a:cubicBezTo>
                      <a:pt x="21" y="0"/>
                      <a:pt x="21"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88">
                <a:extLst>
                  <a:ext uri="{FF2B5EF4-FFF2-40B4-BE49-F238E27FC236}">
                    <a16:creationId xmlns:a16="http://schemas.microsoft.com/office/drawing/2014/main" id="{C0C41C58-5ADD-4BE2-91EB-A1A7E4E5F33E}"/>
                  </a:ext>
                </a:extLst>
              </p:cNvPr>
              <p:cNvSpPr>
                <a:spLocks noEditPoints="1"/>
              </p:cNvSpPr>
              <p:nvPr/>
            </p:nvSpPr>
            <p:spPr bwMode="auto">
              <a:xfrm>
                <a:off x="5989638" y="5414962"/>
                <a:ext cx="95250" cy="101600"/>
              </a:xfrm>
              <a:custGeom>
                <a:avLst/>
                <a:gdLst>
                  <a:gd name="T0" fmla="*/ 25 w 25"/>
                  <a:gd name="T1" fmla="*/ 7 h 27"/>
                  <a:gd name="T2" fmla="*/ 12 w 25"/>
                  <a:gd name="T3" fmla="*/ 1 h 27"/>
                  <a:gd name="T4" fmla="*/ 11 w 25"/>
                  <a:gd name="T5" fmla="*/ 0 h 27"/>
                  <a:gd name="T6" fmla="*/ 0 w 25"/>
                  <a:gd name="T7" fmla="*/ 27 h 27"/>
                  <a:gd name="T8" fmla="*/ 21 w 25"/>
                  <a:gd name="T9" fmla="*/ 27 h 27"/>
                  <a:gd name="T10" fmla="*/ 25 w 25"/>
                  <a:gd name="T11" fmla="*/ 7 h 27"/>
                  <a:gd name="T12" fmla="*/ 25 w 25"/>
                  <a:gd name="T13" fmla="*/ 7 h 27"/>
                  <a:gd name="T14" fmla="*/ 25 w 25"/>
                  <a:gd name="T15" fmla="*/ 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7">
                    <a:moveTo>
                      <a:pt x="25" y="7"/>
                    </a:moveTo>
                    <a:cubicBezTo>
                      <a:pt x="20" y="6"/>
                      <a:pt x="16" y="4"/>
                      <a:pt x="12" y="1"/>
                    </a:cubicBezTo>
                    <a:cubicBezTo>
                      <a:pt x="11" y="0"/>
                      <a:pt x="11" y="0"/>
                      <a:pt x="11" y="0"/>
                    </a:cubicBezTo>
                    <a:cubicBezTo>
                      <a:pt x="4" y="7"/>
                      <a:pt x="0" y="16"/>
                      <a:pt x="0" y="27"/>
                    </a:cubicBezTo>
                    <a:cubicBezTo>
                      <a:pt x="21" y="27"/>
                      <a:pt x="21" y="27"/>
                      <a:pt x="21" y="27"/>
                    </a:cubicBezTo>
                    <a:cubicBezTo>
                      <a:pt x="21" y="20"/>
                      <a:pt x="22" y="13"/>
                      <a:pt x="25" y="7"/>
                    </a:cubicBezTo>
                    <a:close/>
                    <a:moveTo>
                      <a:pt x="25" y="7"/>
                    </a:moveTo>
                    <a:cubicBezTo>
                      <a:pt x="25" y="7"/>
                      <a:pt x="25" y="7"/>
                      <a:pt x="25"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89">
                <a:extLst>
                  <a:ext uri="{FF2B5EF4-FFF2-40B4-BE49-F238E27FC236}">
                    <a16:creationId xmlns:a16="http://schemas.microsoft.com/office/drawing/2014/main" id="{64621AA2-2C65-4D0F-A515-01BB2DEF3D7C}"/>
                  </a:ext>
                </a:extLst>
              </p:cNvPr>
              <p:cNvSpPr>
                <a:spLocks noEditPoints="1"/>
              </p:cNvSpPr>
              <p:nvPr/>
            </p:nvSpPr>
            <p:spPr bwMode="auto">
              <a:xfrm>
                <a:off x="6080126" y="5445125"/>
                <a:ext cx="63500" cy="71438"/>
              </a:xfrm>
              <a:custGeom>
                <a:avLst/>
                <a:gdLst>
                  <a:gd name="T0" fmla="*/ 0 w 17"/>
                  <a:gd name="T1" fmla="*/ 19 h 19"/>
                  <a:gd name="T2" fmla="*/ 17 w 17"/>
                  <a:gd name="T3" fmla="*/ 19 h 19"/>
                  <a:gd name="T4" fmla="*/ 17 w 17"/>
                  <a:gd name="T5" fmla="*/ 2 h 19"/>
                  <a:gd name="T6" fmla="*/ 4 w 17"/>
                  <a:gd name="T7" fmla="*/ 0 h 19"/>
                  <a:gd name="T8" fmla="*/ 0 w 17"/>
                  <a:gd name="T9" fmla="*/ 19 h 19"/>
                  <a:gd name="T10" fmla="*/ 0 w 17"/>
                  <a:gd name="T11" fmla="*/ 19 h 19"/>
                  <a:gd name="T12" fmla="*/ 0 w 17"/>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7" h="19">
                    <a:moveTo>
                      <a:pt x="0" y="19"/>
                    </a:moveTo>
                    <a:cubicBezTo>
                      <a:pt x="17" y="19"/>
                      <a:pt x="17" y="19"/>
                      <a:pt x="17" y="19"/>
                    </a:cubicBezTo>
                    <a:cubicBezTo>
                      <a:pt x="17" y="2"/>
                      <a:pt x="17" y="2"/>
                      <a:pt x="17" y="2"/>
                    </a:cubicBezTo>
                    <a:cubicBezTo>
                      <a:pt x="13" y="2"/>
                      <a:pt x="8" y="2"/>
                      <a:pt x="4" y="0"/>
                    </a:cubicBezTo>
                    <a:cubicBezTo>
                      <a:pt x="1" y="6"/>
                      <a:pt x="0" y="12"/>
                      <a:pt x="0" y="19"/>
                    </a:cubicBezTo>
                    <a:close/>
                    <a:moveTo>
                      <a:pt x="0" y="19"/>
                    </a:moveTo>
                    <a:cubicBezTo>
                      <a:pt x="0" y="19"/>
                      <a:pt x="0" y="19"/>
                      <a:pt x="0"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190">
                <a:extLst>
                  <a:ext uri="{FF2B5EF4-FFF2-40B4-BE49-F238E27FC236}">
                    <a16:creationId xmlns:a16="http://schemas.microsoft.com/office/drawing/2014/main" id="{D3E95109-EA90-4833-9382-5BCC96ECBA01}"/>
                  </a:ext>
                </a:extLst>
              </p:cNvPr>
              <p:cNvSpPr>
                <a:spLocks noEditPoints="1"/>
              </p:cNvSpPr>
              <p:nvPr/>
            </p:nvSpPr>
            <p:spPr bwMode="auto">
              <a:xfrm>
                <a:off x="6035676" y="5603875"/>
                <a:ext cx="104775" cy="77788"/>
              </a:xfrm>
              <a:custGeom>
                <a:avLst/>
                <a:gdLst>
                  <a:gd name="T0" fmla="*/ 28 w 28"/>
                  <a:gd name="T1" fmla="*/ 20 h 21"/>
                  <a:gd name="T2" fmla="*/ 13 w 28"/>
                  <a:gd name="T3" fmla="*/ 0 h 21"/>
                  <a:gd name="T4" fmla="*/ 1 w 28"/>
                  <a:gd name="T5" fmla="*/ 7 h 21"/>
                  <a:gd name="T6" fmla="*/ 0 w 28"/>
                  <a:gd name="T7" fmla="*/ 8 h 21"/>
                  <a:gd name="T8" fmla="*/ 27 w 28"/>
                  <a:gd name="T9" fmla="*/ 21 h 21"/>
                  <a:gd name="T10" fmla="*/ 28 w 28"/>
                  <a:gd name="T11" fmla="*/ 20 h 21"/>
                  <a:gd name="T12" fmla="*/ 28 w 28"/>
                  <a:gd name="T13" fmla="*/ 20 h 21"/>
                  <a:gd name="T14" fmla="*/ 28 w 28"/>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1">
                    <a:moveTo>
                      <a:pt x="28" y="20"/>
                    </a:moveTo>
                    <a:cubicBezTo>
                      <a:pt x="22" y="15"/>
                      <a:pt x="17" y="8"/>
                      <a:pt x="13" y="0"/>
                    </a:cubicBezTo>
                    <a:cubicBezTo>
                      <a:pt x="9" y="2"/>
                      <a:pt x="5" y="4"/>
                      <a:pt x="1" y="7"/>
                    </a:cubicBezTo>
                    <a:cubicBezTo>
                      <a:pt x="0" y="8"/>
                      <a:pt x="0" y="8"/>
                      <a:pt x="0" y="8"/>
                    </a:cubicBezTo>
                    <a:cubicBezTo>
                      <a:pt x="7" y="15"/>
                      <a:pt x="17" y="20"/>
                      <a:pt x="27" y="21"/>
                    </a:cubicBezTo>
                    <a:lnTo>
                      <a:pt x="28" y="20"/>
                    </a:lnTo>
                    <a:close/>
                    <a:moveTo>
                      <a:pt x="28" y="20"/>
                    </a:moveTo>
                    <a:cubicBezTo>
                      <a:pt x="28" y="20"/>
                      <a:pt x="28" y="20"/>
                      <a:pt x="28"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91">
                <a:extLst>
                  <a:ext uri="{FF2B5EF4-FFF2-40B4-BE49-F238E27FC236}">
                    <a16:creationId xmlns:a16="http://schemas.microsoft.com/office/drawing/2014/main" id="{36E47B1F-13EB-454E-850D-6D035840AB34}"/>
                  </a:ext>
                </a:extLst>
              </p:cNvPr>
              <p:cNvSpPr>
                <a:spLocks noEditPoints="1"/>
              </p:cNvSpPr>
              <p:nvPr/>
            </p:nvSpPr>
            <p:spPr bwMode="auto">
              <a:xfrm>
                <a:off x="6080126" y="5527675"/>
                <a:ext cx="63500" cy="65088"/>
              </a:xfrm>
              <a:custGeom>
                <a:avLst/>
                <a:gdLst>
                  <a:gd name="T0" fmla="*/ 17 w 17"/>
                  <a:gd name="T1" fmla="*/ 14 h 17"/>
                  <a:gd name="T2" fmla="*/ 17 w 17"/>
                  <a:gd name="T3" fmla="*/ 0 h 17"/>
                  <a:gd name="T4" fmla="*/ 0 w 17"/>
                  <a:gd name="T5" fmla="*/ 0 h 17"/>
                  <a:gd name="T6" fmla="*/ 3 w 17"/>
                  <a:gd name="T7" fmla="*/ 17 h 17"/>
                  <a:gd name="T8" fmla="*/ 17 w 17"/>
                  <a:gd name="T9" fmla="*/ 14 h 17"/>
                  <a:gd name="T10" fmla="*/ 17 w 17"/>
                  <a:gd name="T11" fmla="*/ 14 h 17"/>
                  <a:gd name="T12" fmla="*/ 17 w 17"/>
                  <a:gd name="T13" fmla="*/ 14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17" y="14"/>
                    </a:moveTo>
                    <a:cubicBezTo>
                      <a:pt x="17" y="0"/>
                      <a:pt x="17" y="0"/>
                      <a:pt x="17" y="0"/>
                    </a:cubicBezTo>
                    <a:cubicBezTo>
                      <a:pt x="0" y="0"/>
                      <a:pt x="0" y="0"/>
                      <a:pt x="0" y="0"/>
                    </a:cubicBezTo>
                    <a:cubicBezTo>
                      <a:pt x="0" y="6"/>
                      <a:pt x="1" y="11"/>
                      <a:pt x="3" y="17"/>
                    </a:cubicBezTo>
                    <a:cubicBezTo>
                      <a:pt x="8" y="15"/>
                      <a:pt x="12" y="15"/>
                      <a:pt x="17" y="14"/>
                    </a:cubicBezTo>
                    <a:close/>
                    <a:moveTo>
                      <a:pt x="17" y="14"/>
                    </a:moveTo>
                    <a:cubicBezTo>
                      <a:pt x="17" y="14"/>
                      <a:pt x="17" y="14"/>
                      <a:pt x="1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92">
                <a:extLst>
                  <a:ext uri="{FF2B5EF4-FFF2-40B4-BE49-F238E27FC236}">
                    <a16:creationId xmlns:a16="http://schemas.microsoft.com/office/drawing/2014/main" id="{CBB1D4BA-45A9-439C-8009-C20F179C3C16}"/>
                  </a:ext>
                </a:extLst>
              </p:cNvPr>
              <p:cNvSpPr>
                <a:spLocks noEditPoints="1"/>
              </p:cNvSpPr>
              <p:nvPr/>
            </p:nvSpPr>
            <p:spPr bwMode="auto">
              <a:xfrm>
                <a:off x="6159501" y="5603875"/>
                <a:ext cx="107950" cy="77788"/>
              </a:xfrm>
              <a:custGeom>
                <a:avLst/>
                <a:gdLst>
                  <a:gd name="T0" fmla="*/ 28 w 29"/>
                  <a:gd name="T1" fmla="*/ 7 h 21"/>
                  <a:gd name="T2" fmla="*/ 15 w 29"/>
                  <a:gd name="T3" fmla="*/ 0 h 21"/>
                  <a:gd name="T4" fmla="*/ 0 w 29"/>
                  <a:gd name="T5" fmla="*/ 20 h 21"/>
                  <a:gd name="T6" fmla="*/ 1 w 29"/>
                  <a:gd name="T7" fmla="*/ 21 h 21"/>
                  <a:gd name="T8" fmla="*/ 29 w 29"/>
                  <a:gd name="T9" fmla="*/ 8 h 21"/>
                  <a:gd name="T10" fmla="*/ 28 w 29"/>
                  <a:gd name="T11" fmla="*/ 7 h 21"/>
                  <a:gd name="T12" fmla="*/ 28 w 29"/>
                  <a:gd name="T13" fmla="*/ 7 h 21"/>
                  <a:gd name="T14" fmla="*/ 28 w 29"/>
                  <a:gd name="T15" fmla="*/ 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8" y="7"/>
                    </a:moveTo>
                    <a:cubicBezTo>
                      <a:pt x="24" y="4"/>
                      <a:pt x="20" y="2"/>
                      <a:pt x="15" y="0"/>
                    </a:cubicBezTo>
                    <a:cubicBezTo>
                      <a:pt x="12" y="8"/>
                      <a:pt x="7" y="15"/>
                      <a:pt x="0" y="20"/>
                    </a:cubicBezTo>
                    <a:cubicBezTo>
                      <a:pt x="1" y="21"/>
                      <a:pt x="1" y="21"/>
                      <a:pt x="1" y="21"/>
                    </a:cubicBezTo>
                    <a:cubicBezTo>
                      <a:pt x="12" y="20"/>
                      <a:pt x="22" y="15"/>
                      <a:pt x="29" y="8"/>
                    </a:cubicBezTo>
                    <a:lnTo>
                      <a:pt x="28" y="7"/>
                    </a:lnTo>
                    <a:close/>
                    <a:moveTo>
                      <a:pt x="28" y="7"/>
                    </a:moveTo>
                    <a:cubicBezTo>
                      <a:pt x="28" y="7"/>
                      <a:pt x="28" y="7"/>
                      <a:pt x="28"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93">
                <a:extLst>
                  <a:ext uri="{FF2B5EF4-FFF2-40B4-BE49-F238E27FC236}">
                    <a16:creationId xmlns:a16="http://schemas.microsoft.com/office/drawing/2014/main" id="{7CA1292C-FDC1-4360-92F2-917F41904E1B}"/>
                  </a:ext>
                </a:extLst>
              </p:cNvPr>
              <p:cNvSpPr>
                <a:spLocks noEditPoints="1"/>
              </p:cNvSpPr>
              <p:nvPr/>
            </p:nvSpPr>
            <p:spPr bwMode="auto">
              <a:xfrm>
                <a:off x="6219826" y="5414962"/>
                <a:ext cx="93663" cy="101600"/>
              </a:xfrm>
              <a:custGeom>
                <a:avLst/>
                <a:gdLst>
                  <a:gd name="T0" fmla="*/ 13 w 25"/>
                  <a:gd name="T1" fmla="*/ 1 h 27"/>
                  <a:gd name="T2" fmla="*/ 0 w 25"/>
                  <a:gd name="T3" fmla="*/ 7 h 27"/>
                  <a:gd name="T4" fmla="*/ 4 w 25"/>
                  <a:gd name="T5" fmla="*/ 27 h 27"/>
                  <a:gd name="T6" fmla="*/ 25 w 25"/>
                  <a:gd name="T7" fmla="*/ 27 h 27"/>
                  <a:gd name="T8" fmla="*/ 14 w 25"/>
                  <a:gd name="T9" fmla="*/ 0 h 27"/>
                  <a:gd name="T10" fmla="*/ 13 w 25"/>
                  <a:gd name="T11" fmla="*/ 1 h 27"/>
                  <a:gd name="T12" fmla="*/ 13 w 25"/>
                  <a:gd name="T13" fmla="*/ 1 h 27"/>
                  <a:gd name="T14" fmla="*/ 13 w 25"/>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7">
                    <a:moveTo>
                      <a:pt x="13" y="1"/>
                    </a:moveTo>
                    <a:cubicBezTo>
                      <a:pt x="9" y="4"/>
                      <a:pt x="4" y="6"/>
                      <a:pt x="0" y="7"/>
                    </a:cubicBezTo>
                    <a:cubicBezTo>
                      <a:pt x="2" y="13"/>
                      <a:pt x="4" y="20"/>
                      <a:pt x="4" y="27"/>
                    </a:cubicBezTo>
                    <a:cubicBezTo>
                      <a:pt x="25" y="27"/>
                      <a:pt x="25" y="27"/>
                      <a:pt x="25" y="27"/>
                    </a:cubicBezTo>
                    <a:cubicBezTo>
                      <a:pt x="24" y="16"/>
                      <a:pt x="20" y="7"/>
                      <a:pt x="14" y="0"/>
                    </a:cubicBezTo>
                    <a:lnTo>
                      <a:pt x="13" y="1"/>
                    </a:lnTo>
                    <a:close/>
                    <a:moveTo>
                      <a:pt x="13" y="1"/>
                    </a:moveTo>
                    <a:cubicBezTo>
                      <a:pt x="13" y="1"/>
                      <a:pt x="13" y="1"/>
                      <a:pt x="1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94">
                <a:extLst>
                  <a:ext uri="{FF2B5EF4-FFF2-40B4-BE49-F238E27FC236}">
                    <a16:creationId xmlns:a16="http://schemas.microsoft.com/office/drawing/2014/main" id="{60446938-D605-4263-BC39-58B5C826003C}"/>
                  </a:ext>
                </a:extLst>
              </p:cNvPr>
              <p:cNvSpPr>
                <a:spLocks noEditPoints="1"/>
              </p:cNvSpPr>
              <p:nvPr/>
            </p:nvSpPr>
            <p:spPr bwMode="auto">
              <a:xfrm>
                <a:off x="6096001" y="5592762"/>
                <a:ext cx="47625" cy="74613"/>
              </a:xfrm>
              <a:custGeom>
                <a:avLst/>
                <a:gdLst>
                  <a:gd name="T0" fmla="*/ 13 w 13"/>
                  <a:gd name="T1" fmla="*/ 20 h 20"/>
                  <a:gd name="T2" fmla="*/ 13 w 13"/>
                  <a:gd name="T3" fmla="*/ 0 h 20"/>
                  <a:gd name="T4" fmla="*/ 0 w 13"/>
                  <a:gd name="T5" fmla="*/ 2 h 20"/>
                  <a:gd name="T6" fmla="*/ 13 w 13"/>
                  <a:gd name="T7" fmla="*/ 20 h 20"/>
                  <a:gd name="T8" fmla="*/ 13 w 13"/>
                  <a:gd name="T9" fmla="*/ 20 h 20"/>
                  <a:gd name="T10" fmla="*/ 13 w 13"/>
                  <a:gd name="T11" fmla="*/ 20 h 20"/>
                </a:gdLst>
                <a:ahLst/>
                <a:cxnLst>
                  <a:cxn ang="0">
                    <a:pos x="T0" y="T1"/>
                  </a:cxn>
                  <a:cxn ang="0">
                    <a:pos x="T2" y="T3"/>
                  </a:cxn>
                  <a:cxn ang="0">
                    <a:pos x="T4" y="T5"/>
                  </a:cxn>
                  <a:cxn ang="0">
                    <a:pos x="T6" y="T7"/>
                  </a:cxn>
                  <a:cxn ang="0">
                    <a:pos x="T8" y="T9"/>
                  </a:cxn>
                  <a:cxn ang="0">
                    <a:pos x="T10" y="T11"/>
                  </a:cxn>
                </a:cxnLst>
                <a:rect l="0" t="0" r="r" b="b"/>
                <a:pathLst>
                  <a:path w="13" h="20">
                    <a:moveTo>
                      <a:pt x="13" y="20"/>
                    </a:moveTo>
                    <a:cubicBezTo>
                      <a:pt x="13" y="0"/>
                      <a:pt x="13" y="0"/>
                      <a:pt x="13" y="0"/>
                    </a:cubicBezTo>
                    <a:cubicBezTo>
                      <a:pt x="9" y="0"/>
                      <a:pt x="4" y="1"/>
                      <a:pt x="0" y="2"/>
                    </a:cubicBezTo>
                    <a:cubicBezTo>
                      <a:pt x="3" y="9"/>
                      <a:pt x="8" y="15"/>
                      <a:pt x="13" y="20"/>
                    </a:cubicBezTo>
                    <a:close/>
                    <a:moveTo>
                      <a:pt x="13" y="20"/>
                    </a:moveTo>
                    <a:cubicBezTo>
                      <a:pt x="13" y="20"/>
                      <a:pt x="13" y="20"/>
                      <a:pt x="13"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95">
                <a:extLst>
                  <a:ext uri="{FF2B5EF4-FFF2-40B4-BE49-F238E27FC236}">
                    <a16:creationId xmlns:a16="http://schemas.microsoft.com/office/drawing/2014/main" id="{EB10EADB-CDF9-47FF-A880-EC92102CB28C}"/>
                  </a:ext>
                </a:extLst>
              </p:cNvPr>
              <p:cNvSpPr>
                <a:spLocks noEditPoints="1"/>
              </p:cNvSpPr>
              <p:nvPr/>
            </p:nvSpPr>
            <p:spPr bwMode="auto">
              <a:xfrm>
                <a:off x="6154738" y="5527675"/>
                <a:ext cx="68263" cy="65088"/>
              </a:xfrm>
              <a:custGeom>
                <a:avLst/>
                <a:gdLst>
                  <a:gd name="T0" fmla="*/ 18 w 18"/>
                  <a:gd name="T1" fmla="*/ 0 h 17"/>
                  <a:gd name="T2" fmla="*/ 0 w 18"/>
                  <a:gd name="T3" fmla="*/ 0 h 17"/>
                  <a:gd name="T4" fmla="*/ 0 w 18"/>
                  <a:gd name="T5" fmla="*/ 14 h 17"/>
                  <a:gd name="T6" fmla="*/ 15 w 18"/>
                  <a:gd name="T7" fmla="*/ 17 h 17"/>
                  <a:gd name="T8" fmla="*/ 18 w 18"/>
                  <a:gd name="T9" fmla="*/ 0 h 17"/>
                  <a:gd name="T10" fmla="*/ 18 w 18"/>
                  <a:gd name="T11" fmla="*/ 0 h 17"/>
                  <a:gd name="T12" fmla="*/ 18 w 18"/>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8" y="0"/>
                    </a:moveTo>
                    <a:cubicBezTo>
                      <a:pt x="0" y="0"/>
                      <a:pt x="0" y="0"/>
                      <a:pt x="0" y="0"/>
                    </a:cubicBezTo>
                    <a:cubicBezTo>
                      <a:pt x="0" y="14"/>
                      <a:pt x="0" y="14"/>
                      <a:pt x="0" y="14"/>
                    </a:cubicBezTo>
                    <a:cubicBezTo>
                      <a:pt x="5" y="15"/>
                      <a:pt x="10" y="15"/>
                      <a:pt x="15" y="17"/>
                    </a:cubicBezTo>
                    <a:cubicBezTo>
                      <a:pt x="17" y="11"/>
                      <a:pt x="18" y="6"/>
                      <a:pt x="18" y="0"/>
                    </a:cubicBezTo>
                    <a:close/>
                    <a:moveTo>
                      <a:pt x="18" y="0"/>
                    </a:move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96">
                <a:extLst>
                  <a:ext uri="{FF2B5EF4-FFF2-40B4-BE49-F238E27FC236}">
                    <a16:creationId xmlns:a16="http://schemas.microsoft.com/office/drawing/2014/main" id="{4D7F1505-E31D-4653-AE76-D40848D11D10}"/>
                  </a:ext>
                </a:extLst>
              </p:cNvPr>
              <p:cNvSpPr>
                <a:spLocks noEditPoints="1"/>
              </p:cNvSpPr>
              <p:nvPr/>
            </p:nvSpPr>
            <p:spPr bwMode="auto">
              <a:xfrm>
                <a:off x="6154738" y="5592762"/>
                <a:ext cx="49213" cy="74613"/>
              </a:xfrm>
              <a:custGeom>
                <a:avLst/>
                <a:gdLst>
                  <a:gd name="T0" fmla="*/ 13 w 13"/>
                  <a:gd name="T1" fmla="*/ 2 h 20"/>
                  <a:gd name="T2" fmla="*/ 0 w 13"/>
                  <a:gd name="T3" fmla="*/ 0 h 20"/>
                  <a:gd name="T4" fmla="*/ 0 w 13"/>
                  <a:gd name="T5" fmla="*/ 20 h 20"/>
                  <a:gd name="T6" fmla="*/ 13 w 13"/>
                  <a:gd name="T7" fmla="*/ 2 h 20"/>
                  <a:gd name="T8" fmla="*/ 13 w 13"/>
                  <a:gd name="T9" fmla="*/ 2 h 20"/>
                  <a:gd name="T10" fmla="*/ 13 w 13"/>
                  <a:gd name="T11" fmla="*/ 2 h 20"/>
                </a:gdLst>
                <a:ahLst/>
                <a:cxnLst>
                  <a:cxn ang="0">
                    <a:pos x="T0" y="T1"/>
                  </a:cxn>
                  <a:cxn ang="0">
                    <a:pos x="T2" y="T3"/>
                  </a:cxn>
                  <a:cxn ang="0">
                    <a:pos x="T4" y="T5"/>
                  </a:cxn>
                  <a:cxn ang="0">
                    <a:pos x="T6" y="T7"/>
                  </a:cxn>
                  <a:cxn ang="0">
                    <a:pos x="T8" y="T9"/>
                  </a:cxn>
                  <a:cxn ang="0">
                    <a:pos x="T10" y="T11"/>
                  </a:cxn>
                </a:cxnLst>
                <a:rect l="0" t="0" r="r" b="b"/>
                <a:pathLst>
                  <a:path w="13" h="20">
                    <a:moveTo>
                      <a:pt x="13" y="2"/>
                    </a:moveTo>
                    <a:cubicBezTo>
                      <a:pt x="9" y="1"/>
                      <a:pt x="5" y="0"/>
                      <a:pt x="0" y="0"/>
                    </a:cubicBezTo>
                    <a:cubicBezTo>
                      <a:pt x="0" y="20"/>
                      <a:pt x="0" y="20"/>
                      <a:pt x="0" y="20"/>
                    </a:cubicBezTo>
                    <a:cubicBezTo>
                      <a:pt x="6" y="15"/>
                      <a:pt x="10" y="9"/>
                      <a:pt x="13" y="2"/>
                    </a:cubicBezTo>
                    <a:close/>
                    <a:moveTo>
                      <a:pt x="13" y="2"/>
                    </a:moveTo>
                    <a:cubicBezTo>
                      <a:pt x="13" y="2"/>
                      <a:pt x="13" y="2"/>
                      <a:pt x="1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18" name="Groupe 999">
            <a:extLst>
              <a:ext uri="{FF2B5EF4-FFF2-40B4-BE49-F238E27FC236}">
                <a16:creationId xmlns:a16="http://schemas.microsoft.com/office/drawing/2014/main" id="{06245526-7D34-4070-AEEE-C9ACF2D7349A}"/>
              </a:ext>
              <a:ext uri="{C183D7F6-B498-43B3-948B-1728B52AA6E4}">
                <adec:decorative xmlns:adec="http://schemas.microsoft.com/office/drawing/2017/decorative" val="1"/>
              </a:ext>
            </a:extLst>
          </p:cNvPr>
          <p:cNvGrpSpPr>
            <a:grpSpLocks noChangeAspect="1"/>
          </p:cNvGrpSpPr>
          <p:nvPr/>
        </p:nvGrpSpPr>
        <p:grpSpPr>
          <a:xfrm>
            <a:off x="3094646" y="5448851"/>
            <a:ext cx="675511" cy="633600"/>
            <a:chOff x="8896351" y="3540125"/>
            <a:chExt cx="869950" cy="815975"/>
          </a:xfrm>
        </p:grpSpPr>
        <p:sp>
          <p:nvSpPr>
            <p:cNvPr id="519" name="Freeform 31">
              <a:extLst>
                <a:ext uri="{FF2B5EF4-FFF2-40B4-BE49-F238E27FC236}">
                  <a16:creationId xmlns:a16="http://schemas.microsoft.com/office/drawing/2014/main" id="{48388C94-A6EB-404E-A076-6EC440F6F9C2}"/>
                </a:ext>
              </a:extLst>
            </p:cNvPr>
            <p:cNvSpPr>
              <a:spLocks/>
            </p:cNvSpPr>
            <p:nvPr/>
          </p:nvSpPr>
          <p:spPr bwMode="auto">
            <a:xfrm>
              <a:off x="8896351" y="3540125"/>
              <a:ext cx="869950"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0" name="Groupe 1001">
              <a:extLst>
                <a:ext uri="{FF2B5EF4-FFF2-40B4-BE49-F238E27FC236}">
                  <a16:creationId xmlns:a16="http://schemas.microsoft.com/office/drawing/2014/main" id="{5B6AD930-8EA7-452B-8F27-812A19F89CA5}"/>
                </a:ext>
              </a:extLst>
            </p:cNvPr>
            <p:cNvGrpSpPr/>
            <p:nvPr/>
          </p:nvGrpSpPr>
          <p:grpSpPr>
            <a:xfrm>
              <a:off x="9121776" y="3781425"/>
              <a:ext cx="412750" cy="330200"/>
              <a:chOff x="9121776" y="3781425"/>
              <a:chExt cx="412750" cy="330200"/>
            </a:xfrm>
          </p:grpSpPr>
          <p:sp>
            <p:nvSpPr>
              <p:cNvPr id="530" name="Freeform 169">
                <a:extLst>
                  <a:ext uri="{FF2B5EF4-FFF2-40B4-BE49-F238E27FC236}">
                    <a16:creationId xmlns:a16="http://schemas.microsoft.com/office/drawing/2014/main" id="{57729507-5E47-4642-9DC5-F45BE0BA5467}"/>
                  </a:ext>
                </a:extLst>
              </p:cNvPr>
              <p:cNvSpPr>
                <a:spLocks/>
              </p:cNvSpPr>
              <p:nvPr/>
            </p:nvSpPr>
            <p:spPr bwMode="auto">
              <a:xfrm>
                <a:off x="9221788" y="3781425"/>
                <a:ext cx="312738" cy="327025"/>
              </a:xfrm>
              <a:custGeom>
                <a:avLst/>
                <a:gdLst>
                  <a:gd name="T0" fmla="*/ 66 w 83"/>
                  <a:gd name="T1" fmla="*/ 16 h 87"/>
                  <a:gd name="T2" fmla="*/ 34 w 83"/>
                  <a:gd name="T3" fmla="*/ 42 h 87"/>
                  <a:gd name="T4" fmla="*/ 19 w 83"/>
                  <a:gd name="T5" fmla="*/ 87 h 87"/>
                  <a:gd name="T6" fmla="*/ 64 w 83"/>
                  <a:gd name="T7" fmla="*/ 54 h 87"/>
                  <a:gd name="T8" fmla="*/ 83 w 83"/>
                  <a:gd name="T9" fmla="*/ 1 h 87"/>
                  <a:gd name="T10" fmla="*/ 22 w 83"/>
                  <a:gd name="T11" fmla="*/ 25 h 87"/>
                  <a:gd name="T12" fmla="*/ 13 w 83"/>
                  <a:gd name="T13" fmla="*/ 87 h 87"/>
                  <a:gd name="T14" fmla="*/ 66 w 83"/>
                  <a:gd name="T15" fmla="*/ 16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87">
                    <a:moveTo>
                      <a:pt x="66" y="16"/>
                    </a:moveTo>
                    <a:cubicBezTo>
                      <a:pt x="66" y="16"/>
                      <a:pt x="50" y="21"/>
                      <a:pt x="34" y="42"/>
                    </a:cubicBezTo>
                    <a:cubicBezTo>
                      <a:pt x="19" y="63"/>
                      <a:pt x="19" y="87"/>
                      <a:pt x="19" y="87"/>
                    </a:cubicBezTo>
                    <a:cubicBezTo>
                      <a:pt x="19" y="87"/>
                      <a:pt x="43" y="81"/>
                      <a:pt x="64" y="54"/>
                    </a:cubicBezTo>
                    <a:cubicBezTo>
                      <a:pt x="80" y="36"/>
                      <a:pt x="83" y="6"/>
                      <a:pt x="83" y="1"/>
                    </a:cubicBezTo>
                    <a:cubicBezTo>
                      <a:pt x="82" y="4"/>
                      <a:pt x="43" y="0"/>
                      <a:pt x="22" y="25"/>
                    </a:cubicBezTo>
                    <a:cubicBezTo>
                      <a:pt x="0" y="52"/>
                      <a:pt x="13" y="87"/>
                      <a:pt x="13" y="87"/>
                    </a:cubicBezTo>
                    <a:cubicBezTo>
                      <a:pt x="13" y="87"/>
                      <a:pt x="18" y="34"/>
                      <a:pt x="66"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70">
                <a:extLst>
                  <a:ext uri="{FF2B5EF4-FFF2-40B4-BE49-F238E27FC236}">
                    <a16:creationId xmlns:a16="http://schemas.microsoft.com/office/drawing/2014/main" id="{56AABF6F-E5E9-444B-AC74-BD142293BA7D}"/>
                  </a:ext>
                </a:extLst>
              </p:cNvPr>
              <p:cNvSpPr>
                <a:spLocks/>
              </p:cNvSpPr>
              <p:nvPr/>
            </p:nvSpPr>
            <p:spPr bwMode="auto">
              <a:xfrm>
                <a:off x="9121776" y="3930650"/>
                <a:ext cx="171450" cy="180975"/>
              </a:xfrm>
              <a:custGeom>
                <a:avLst/>
                <a:gdLst>
                  <a:gd name="T0" fmla="*/ 9 w 46"/>
                  <a:gd name="T1" fmla="*/ 9 h 48"/>
                  <a:gd name="T2" fmla="*/ 27 w 46"/>
                  <a:gd name="T3" fmla="*/ 24 h 48"/>
                  <a:gd name="T4" fmla="*/ 36 w 46"/>
                  <a:gd name="T5" fmla="*/ 48 h 48"/>
                  <a:gd name="T6" fmla="*/ 11 w 46"/>
                  <a:gd name="T7" fmla="*/ 30 h 48"/>
                  <a:gd name="T8" fmla="*/ 0 w 46"/>
                  <a:gd name="T9" fmla="*/ 1 h 48"/>
                  <a:gd name="T10" fmla="*/ 34 w 46"/>
                  <a:gd name="T11" fmla="*/ 14 h 48"/>
                  <a:gd name="T12" fmla="*/ 39 w 46"/>
                  <a:gd name="T13" fmla="*/ 48 h 48"/>
                  <a:gd name="T14" fmla="*/ 9 w 46"/>
                  <a:gd name="T15" fmla="*/ 9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8">
                    <a:moveTo>
                      <a:pt x="9" y="9"/>
                    </a:moveTo>
                    <a:cubicBezTo>
                      <a:pt x="9" y="9"/>
                      <a:pt x="18" y="12"/>
                      <a:pt x="27" y="24"/>
                    </a:cubicBezTo>
                    <a:cubicBezTo>
                      <a:pt x="36" y="35"/>
                      <a:pt x="36" y="48"/>
                      <a:pt x="36" y="48"/>
                    </a:cubicBezTo>
                    <a:cubicBezTo>
                      <a:pt x="36" y="48"/>
                      <a:pt x="23" y="45"/>
                      <a:pt x="11" y="30"/>
                    </a:cubicBezTo>
                    <a:cubicBezTo>
                      <a:pt x="2" y="20"/>
                      <a:pt x="0" y="4"/>
                      <a:pt x="0" y="1"/>
                    </a:cubicBezTo>
                    <a:cubicBezTo>
                      <a:pt x="1" y="2"/>
                      <a:pt x="22" y="0"/>
                      <a:pt x="34" y="14"/>
                    </a:cubicBezTo>
                    <a:cubicBezTo>
                      <a:pt x="46" y="29"/>
                      <a:pt x="39" y="48"/>
                      <a:pt x="39" y="48"/>
                    </a:cubicBezTo>
                    <a:cubicBezTo>
                      <a:pt x="39" y="48"/>
                      <a:pt x="36" y="19"/>
                      <a:pt x="9"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43" name="Groupe 1011">
            <a:extLst>
              <a:ext uri="{FF2B5EF4-FFF2-40B4-BE49-F238E27FC236}">
                <a16:creationId xmlns:a16="http://schemas.microsoft.com/office/drawing/2014/main" id="{0F8B4C06-F305-46A0-B933-81A68B9BB371}"/>
              </a:ext>
              <a:ext uri="{C183D7F6-B498-43B3-948B-1728B52AA6E4}">
                <adec:decorative xmlns:adec="http://schemas.microsoft.com/office/drawing/2017/decorative" val="1"/>
              </a:ext>
            </a:extLst>
          </p:cNvPr>
          <p:cNvGrpSpPr>
            <a:grpSpLocks noChangeAspect="1"/>
          </p:cNvGrpSpPr>
          <p:nvPr/>
        </p:nvGrpSpPr>
        <p:grpSpPr>
          <a:xfrm>
            <a:off x="2232384" y="5448851"/>
            <a:ext cx="680533" cy="633600"/>
            <a:chOff x="2613026" y="504826"/>
            <a:chExt cx="874713" cy="814388"/>
          </a:xfrm>
        </p:grpSpPr>
        <p:sp>
          <p:nvSpPr>
            <p:cNvPr id="544" name="Freeform 15">
              <a:extLst>
                <a:ext uri="{FF2B5EF4-FFF2-40B4-BE49-F238E27FC236}">
                  <a16:creationId xmlns:a16="http://schemas.microsoft.com/office/drawing/2014/main" id="{59131A36-346A-4467-A1BE-89045E9B1DB9}"/>
                </a:ext>
              </a:extLst>
            </p:cNvPr>
            <p:cNvSpPr>
              <a:spLocks/>
            </p:cNvSpPr>
            <p:nvPr/>
          </p:nvSpPr>
          <p:spPr bwMode="auto">
            <a:xfrm>
              <a:off x="2613026" y="504826"/>
              <a:ext cx="874713" cy="814388"/>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7" y="217"/>
                    <a:pt x="67" y="213"/>
                    <a:pt x="34" y="16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6">
              <a:extLst>
                <a:ext uri="{FF2B5EF4-FFF2-40B4-BE49-F238E27FC236}">
                  <a16:creationId xmlns:a16="http://schemas.microsoft.com/office/drawing/2014/main" id="{5B0C7CD8-0390-4527-ACE3-480120CB8CEE}"/>
                </a:ext>
              </a:extLst>
            </p:cNvPr>
            <p:cNvSpPr>
              <a:spLocks/>
            </p:cNvSpPr>
            <p:nvPr/>
          </p:nvSpPr>
          <p:spPr bwMode="auto">
            <a:xfrm>
              <a:off x="2830513" y="706438"/>
              <a:ext cx="398463" cy="392113"/>
            </a:xfrm>
            <a:custGeom>
              <a:avLst/>
              <a:gdLst>
                <a:gd name="T0" fmla="*/ 84 w 106"/>
                <a:gd name="T1" fmla="*/ 22 h 104"/>
                <a:gd name="T2" fmla="*/ 43 w 106"/>
                <a:gd name="T3" fmla="*/ 51 h 104"/>
                <a:gd name="T4" fmla="*/ 20 w 106"/>
                <a:gd name="T5" fmla="*/ 104 h 104"/>
                <a:gd name="T6" fmla="*/ 78 w 106"/>
                <a:gd name="T7" fmla="*/ 69 h 104"/>
                <a:gd name="T8" fmla="*/ 106 w 106"/>
                <a:gd name="T9" fmla="*/ 5 h 104"/>
                <a:gd name="T10" fmla="*/ 29 w 106"/>
                <a:gd name="T11" fmla="*/ 30 h 104"/>
                <a:gd name="T12" fmla="*/ 12 w 106"/>
                <a:gd name="T13" fmla="*/ 104 h 104"/>
                <a:gd name="T14" fmla="*/ 84 w 106"/>
                <a:gd name="T15" fmla="*/ 22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4">
                  <a:moveTo>
                    <a:pt x="84" y="22"/>
                  </a:moveTo>
                  <a:cubicBezTo>
                    <a:pt x="84" y="22"/>
                    <a:pt x="64" y="27"/>
                    <a:pt x="43" y="51"/>
                  </a:cubicBezTo>
                  <a:cubicBezTo>
                    <a:pt x="22" y="75"/>
                    <a:pt x="20" y="104"/>
                    <a:pt x="20" y="104"/>
                  </a:cubicBezTo>
                  <a:cubicBezTo>
                    <a:pt x="20" y="104"/>
                    <a:pt x="49" y="99"/>
                    <a:pt x="78" y="69"/>
                  </a:cubicBezTo>
                  <a:cubicBezTo>
                    <a:pt x="98" y="47"/>
                    <a:pt x="105" y="12"/>
                    <a:pt x="106" y="5"/>
                  </a:cubicBezTo>
                  <a:cubicBezTo>
                    <a:pt x="104" y="9"/>
                    <a:pt x="57" y="0"/>
                    <a:pt x="29" y="30"/>
                  </a:cubicBezTo>
                  <a:cubicBezTo>
                    <a:pt x="0" y="60"/>
                    <a:pt x="12" y="104"/>
                    <a:pt x="12" y="104"/>
                  </a:cubicBezTo>
                  <a:cubicBezTo>
                    <a:pt x="12" y="104"/>
                    <a:pt x="23" y="40"/>
                    <a:pt x="84" y="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5" name="Groupe 1022">
            <a:extLst>
              <a:ext uri="{FF2B5EF4-FFF2-40B4-BE49-F238E27FC236}">
                <a16:creationId xmlns:a16="http://schemas.microsoft.com/office/drawing/2014/main" id="{E6EA56B2-6E82-4FD3-A34B-610486880929}"/>
              </a:ext>
              <a:ext uri="{C183D7F6-B498-43B3-948B-1728B52AA6E4}">
                <adec:decorative xmlns:adec="http://schemas.microsoft.com/office/drawing/2017/decorative" val="1"/>
              </a:ext>
            </a:extLst>
          </p:cNvPr>
          <p:cNvGrpSpPr>
            <a:grpSpLocks noChangeAspect="1"/>
          </p:cNvGrpSpPr>
          <p:nvPr/>
        </p:nvGrpSpPr>
        <p:grpSpPr>
          <a:xfrm>
            <a:off x="4733416" y="5448851"/>
            <a:ext cx="676800" cy="633600"/>
            <a:chOff x="4014953" y="3629025"/>
            <a:chExt cx="819042" cy="766763"/>
          </a:xfrm>
        </p:grpSpPr>
        <p:sp>
          <p:nvSpPr>
            <p:cNvPr id="556" name="Freeform 181">
              <a:extLst>
                <a:ext uri="{FF2B5EF4-FFF2-40B4-BE49-F238E27FC236}">
                  <a16:creationId xmlns:a16="http://schemas.microsoft.com/office/drawing/2014/main" id="{4900F3DC-6FB3-403E-A5EE-077CCD0095CE}"/>
                </a:ext>
              </a:extLst>
            </p:cNvPr>
            <p:cNvSpPr>
              <a:spLocks noChangeAspect="1"/>
            </p:cNvSpPr>
            <p:nvPr/>
          </p:nvSpPr>
          <p:spPr bwMode="auto">
            <a:xfrm>
              <a:off x="4014953" y="3629025"/>
              <a:ext cx="819042" cy="766763"/>
            </a:xfrm>
            <a:custGeom>
              <a:avLst/>
              <a:gdLst>
                <a:gd name="T0" fmla="*/ 173 w 232"/>
                <a:gd name="T1" fmla="*/ 172 h 204"/>
                <a:gd name="T2" fmla="*/ 33 w 232"/>
                <a:gd name="T3" fmla="*/ 157 h 204"/>
                <a:gd name="T4" fmla="*/ 56 w 232"/>
                <a:gd name="T5" fmla="*/ 20 h 204"/>
                <a:gd name="T6" fmla="*/ 92 w 232"/>
                <a:gd name="T7" fmla="*/ 3 h 204"/>
                <a:gd name="T8" fmla="*/ 102 w 232"/>
                <a:gd name="T9" fmla="*/ 1 h 204"/>
                <a:gd name="T10" fmla="*/ 113 w 232"/>
                <a:gd name="T11" fmla="*/ 0 h 204"/>
                <a:gd name="T12" fmla="*/ 123 w 232"/>
                <a:gd name="T13" fmla="*/ 0 h 204"/>
                <a:gd name="T14" fmla="*/ 199 w 232"/>
                <a:gd name="T15" fmla="*/ 40 h 204"/>
                <a:gd name="T16" fmla="*/ 173 w 232"/>
                <a:gd name="T17" fmla="*/ 17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04">
                  <a:moveTo>
                    <a:pt x="173" y="172"/>
                  </a:moveTo>
                  <a:cubicBezTo>
                    <a:pt x="127" y="204"/>
                    <a:pt x="67" y="200"/>
                    <a:pt x="33" y="157"/>
                  </a:cubicBezTo>
                  <a:cubicBezTo>
                    <a:pt x="0" y="113"/>
                    <a:pt x="10" y="52"/>
                    <a:pt x="56" y="20"/>
                  </a:cubicBezTo>
                  <a:cubicBezTo>
                    <a:pt x="67" y="12"/>
                    <a:pt x="79" y="6"/>
                    <a:pt x="92" y="3"/>
                  </a:cubicBezTo>
                  <a:cubicBezTo>
                    <a:pt x="95" y="2"/>
                    <a:pt x="98" y="2"/>
                    <a:pt x="102" y="1"/>
                  </a:cubicBezTo>
                  <a:cubicBezTo>
                    <a:pt x="105" y="1"/>
                    <a:pt x="109" y="0"/>
                    <a:pt x="113" y="0"/>
                  </a:cubicBezTo>
                  <a:cubicBezTo>
                    <a:pt x="116" y="0"/>
                    <a:pt x="119" y="0"/>
                    <a:pt x="123" y="0"/>
                  </a:cubicBezTo>
                  <a:cubicBezTo>
                    <a:pt x="152" y="2"/>
                    <a:pt x="180" y="15"/>
                    <a:pt x="199" y="40"/>
                  </a:cubicBezTo>
                  <a:cubicBezTo>
                    <a:pt x="232" y="83"/>
                    <a:pt x="218" y="139"/>
                    <a:pt x="173" y="17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57" name="Groupe 1024">
              <a:extLst>
                <a:ext uri="{FF2B5EF4-FFF2-40B4-BE49-F238E27FC236}">
                  <a16:creationId xmlns:a16="http://schemas.microsoft.com/office/drawing/2014/main" id="{29F796DC-5F8C-48DC-8C85-A8646330534E}"/>
                </a:ext>
              </a:extLst>
            </p:cNvPr>
            <p:cNvGrpSpPr/>
            <p:nvPr/>
          </p:nvGrpSpPr>
          <p:grpSpPr>
            <a:xfrm>
              <a:off x="4192589" y="3787775"/>
              <a:ext cx="446087" cy="436563"/>
              <a:chOff x="4192589" y="3787775"/>
              <a:chExt cx="446087" cy="436563"/>
            </a:xfrm>
          </p:grpSpPr>
          <p:sp>
            <p:nvSpPr>
              <p:cNvPr id="558" name="Freeform 240">
                <a:extLst>
                  <a:ext uri="{FF2B5EF4-FFF2-40B4-BE49-F238E27FC236}">
                    <a16:creationId xmlns:a16="http://schemas.microsoft.com/office/drawing/2014/main" id="{AD1EC292-AAF9-49DE-91BD-5924D3CD8EAA}"/>
                  </a:ext>
                </a:extLst>
              </p:cNvPr>
              <p:cNvSpPr>
                <a:spLocks/>
              </p:cNvSpPr>
              <p:nvPr/>
            </p:nvSpPr>
            <p:spPr bwMode="auto">
              <a:xfrm>
                <a:off x="4286251" y="3795712"/>
                <a:ext cx="138113" cy="142875"/>
              </a:xfrm>
              <a:custGeom>
                <a:avLst/>
                <a:gdLst>
                  <a:gd name="T0" fmla="*/ 22 w 37"/>
                  <a:gd name="T1" fmla="*/ 38 h 38"/>
                  <a:gd name="T2" fmla="*/ 0 w 37"/>
                  <a:gd name="T3" fmla="*/ 25 h 38"/>
                  <a:gd name="T4" fmla="*/ 17 w 37"/>
                  <a:gd name="T5" fmla="*/ 2 h 38"/>
                  <a:gd name="T6" fmla="*/ 20 w 37"/>
                  <a:gd name="T7" fmla="*/ 0 h 38"/>
                  <a:gd name="T8" fmla="*/ 22 w 37"/>
                  <a:gd name="T9" fmla="*/ 0 h 38"/>
                  <a:gd name="T10" fmla="*/ 23 w 37"/>
                  <a:gd name="T11" fmla="*/ 1 h 38"/>
                  <a:gd name="T12" fmla="*/ 33 w 37"/>
                  <a:gd name="T13" fmla="*/ 9 h 38"/>
                  <a:gd name="T14" fmla="*/ 37 w 37"/>
                  <a:gd name="T15" fmla="*/ 17 h 38"/>
                  <a:gd name="T16" fmla="*/ 22 w 37"/>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22" y="38"/>
                    </a:moveTo>
                    <a:cubicBezTo>
                      <a:pt x="15" y="34"/>
                      <a:pt x="7" y="30"/>
                      <a:pt x="0" y="25"/>
                    </a:cubicBezTo>
                    <a:cubicBezTo>
                      <a:pt x="4" y="18"/>
                      <a:pt x="9" y="10"/>
                      <a:pt x="17" y="2"/>
                    </a:cubicBezTo>
                    <a:cubicBezTo>
                      <a:pt x="18" y="1"/>
                      <a:pt x="19" y="1"/>
                      <a:pt x="20" y="0"/>
                    </a:cubicBezTo>
                    <a:cubicBezTo>
                      <a:pt x="22" y="0"/>
                      <a:pt x="22" y="0"/>
                      <a:pt x="22" y="0"/>
                    </a:cubicBezTo>
                    <a:cubicBezTo>
                      <a:pt x="23" y="1"/>
                      <a:pt x="23" y="1"/>
                      <a:pt x="23" y="1"/>
                    </a:cubicBezTo>
                    <a:cubicBezTo>
                      <a:pt x="27" y="1"/>
                      <a:pt x="31" y="6"/>
                      <a:pt x="33" y="9"/>
                    </a:cubicBezTo>
                    <a:cubicBezTo>
                      <a:pt x="34" y="12"/>
                      <a:pt x="36" y="14"/>
                      <a:pt x="37" y="17"/>
                    </a:cubicBezTo>
                    <a:lnTo>
                      <a:pt x="22" y="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a:p>
                <a:endParaRPr lang="en-US"/>
              </a:p>
              <a:p>
                <a:endParaRPr lang="en-US"/>
              </a:p>
            </p:txBody>
          </p:sp>
          <p:sp>
            <p:nvSpPr>
              <p:cNvPr id="559" name="Freeform 241">
                <a:extLst>
                  <a:ext uri="{FF2B5EF4-FFF2-40B4-BE49-F238E27FC236}">
                    <a16:creationId xmlns:a16="http://schemas.microsoft.com/office/drawing/2014/main" id="{21A93C3B-F0CD-40B6-A8F4-0D2A38D9842C}"/>
                  </a:ext>
                </a:extLst>
              </p:cNvPr>
              <p:cNvSpPr>
                <a:spLocks/>
              </p:cNvSpPr>
              <p:nvPr/>
            </p:nvSpPr>
            <p:spPr bwMode="auto">
              <a:xfrm>
                <a:off x="4368801" y="3787775"/>
                <a:ext cx="217488" cy="146050"/>
              </a:xfrm>
              <a:custGeom>
                <a:avLst/>
                <a:gdLst>
                  <a:gd name="T0" fmla="*/ 12 w 58"/>
                  <a:gd name="T1" fmla="*/ 10 h 39"/>
                  <a:gd name="T2" fmla="*/ 22 w 58"/>
                  <a:gd name="T3" fmla="*/ 29 h 39"/>
                  <a:gd name="T4" fmla="*/ 11 w 58"/>
                  <a:gd name="T5" fmla="*/ 36 h 39"/>
                  <a:gd name="T6" fmla="*/ 44 w 58"/>
                  <a:gd name="T7" fmla="*/ 39 h 39"/>
                  <a:gd name="T8" fmla="*/ 58 w 58"/>
                  <a:gd name="T9" fmla="*/ 8 h 39"/>
                  <a:gd name="T10" fmla="*/ 47 w 58"/>
                  <a:gd name="T11" fmla="*/ 15 h 39"/>
                  <a:gd name="T12" fmla="*/ 33 w 58"/>
                  <a:gd name="T13" fmla="*/ 0 h 39"/>
                  <a:gd name="T14" fmla="*/ 0 w 58"/>
                  <a:gd name="T15" fmla="*/ 0 h 39"/>
                  <a:gd name="T16" fmla="*/ 12 w 58"/>
                  <a:gd name="T17"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12" y="10"/>
                    </a:moveTo>
                    <a:cubicBezTo>
                      <a:pt x="16" y="16"/>
                      <a:pt x="19" y="22"/>
                      <a:pt x="22" y="29"/>
                    </a:cubicBezTo>
                    <a:cubicBezTo>
                      <a:pt x="11" y="36"/>
                      <a:pt x="11" y="36"/>
                      <a:pt x="11" y="36"/>
                    </a:cubicBezTo>
                    <a:cubicBezTo>
                      <a:pt x="44" y="39"/>
                      <a:pt x="44" y="39"/>
                      <a:pt x="44" y="39"/>
                    </a:cubicBezTo>
                    <a:cubicBezTo>
                      <a:pt x="58" y="8"/>
                      <a:pt x="58" y="8"/>
                      <a:pt x="58" y="8"/>
                    </a:cubicBezTo>
                    <a:cubicBezTo>
                      <a:pt x="47" y="15"/>
                      <a:pt x="47" y="15"/>
                      <a:pt x="47" y="15"/>
                    </a:cubicBezTo>
                    <a:cubicBezTo>
                      <a:pt x="43" y="8"/>
                      <a:pt x="39" y="3"/>
                      <a:pt x="33" y="0"/>
                    </a:cubicBezTo>
                    <a:cubicBezTo>
                      <a:pt x="22" y="0"/>
                      <a:pt x="11" y="0"/>
                      <a:pt x="0" y="0"/>
                    </a:cubicBezTo>
                    <a:cubicBezTo>
                      <a:pt x="4" y="0"/>
                      <a:pt x="9" y="4"/>
                      <a:pt x="12"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242">
                <a:extLst>
                  <a:ext uri="{FF2B5EF4-FFF2-40B4-BE49-F238E27FC236}">
                    <a16:creationId xmlns:a16="http://schemas.microsoft.com/office/drawing/2014/main" id="{E4D1B9EC-9345-4BAC-BD9F-FBB5F1B2FF6D}"/>
                  </a:ext>
                </a:extLst>
              </p:cNvPr>
              <p:cNvSpPr>
                <a:spLocks/>
              </p:cNvSpPr>
              <p:nvPr/>
            </p:nvSpPr>
            <p:spPr bwMode="auto">
              <a:xfrm>
                <a:off x="4506914" y="3933825"/>
                <a:ext cx="128588" cy="128588"/>
              </a:xfrm>
              <a:custGeom>
                <a:avLst/>
                <a:gdLst>
                  <a:gd name="T0" fmla="*/ 1 w 34"/>
                  <a:gd name="T1" fmla="*/ 15 h 34"/>
                  <a:gd name="T2" fmla="*/ 1 w 34"/>
                  <a:gd name="T3" fmla="*/ 15 h 34"/>
                  <a:gd name="T4" fmla="*/ 1 w 34"/>
                  <a:gd name="T5" fmla="*/ 15 h 34"/>
                  <a:gd name="T6" fmla="*/ 10 w 34"/>
                  <a:gd name="T7" fmla="*/ 33 h 34"/>
                  <a:gd name="T8" fmla="*/ 20 w 34"/>
                  <a:gd name="T9" fmla="*/ 34 h 34"/>
                  <a:gd name="T10" fmla="*/ 33 w 34"/>
                  <a:gd name="T11" fmla="*/ 29 h 34"/>
                  <a:gd name="T12" fmla="*/ 33 w 34"/>
                  <a:gd name="T13" fmla="*/ 29 h 34"/>
                  <a:gd name="T14" fmla="*/ 34 w 34"/>
                  <a:gd name="T15" fmla="*/ 27 h 34"/>
                  <a:gd name="T16" fmla="*/ 34 w 34"/>
                  <a:gd name="T17" fmla="*/ 25 h 34"/>
                  <a:gd name="T18" fmla="*/ 22 w 34"/>
                  <a:gd name="T19" fmla="*/ 0 h 34"/>
                  <a:gd name="T20" fmla="*/ 0 w 34"/>
                  <a:gd name="T21" fmla="*/ 12 h 34"/>
                  <a:gd name="T22" fmla="*/ 1 w 34"/>
                  <a:gd name="T23"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1" y="15"/>
                    </a:moveTo>
                    <a:cubicBezTo>
                      <a:pt x="1" y="15"/>
                      <a:pt x="1" y="15"/>
                      <a:pt x="1" y="15"/>
                    </a:cubicBezTo>
                    <a:cubicBezTo>
                      <a:pt x="1" y="15"/>
                      <a:pt x="1" y="15"/>
                      <a:pt x="1" y="15"/>
                    </a:cubicBezTo>
                    <a:cubicBezTo>
                      <a:pt x="10" y="33"/>
                      <a:pt x="10" y="33"/>
                      <a:pt x="10" y="33"/>
                    </a:cubicBezTo>
                    <a:cubicBezTo>
                      <a:pt x="13" y="34"/>
                      <a:pt x="17" y="34"/>
                      <a:pt x="20" y="34"/>
                    </a:cubicBezTo>
                    <a:cubicBezTo>
                      <a:pt x="24" y="33"/>
                      <a:pt x="31" y="32"/>
                      <a:pt x="33" y="29"/>
                    </a:cubicBezTo>
                    <a:cubicBezTo>
                      <a:pt x="33" y="29"/>
                      <a:pt x="33" y="29"/>
                      <a:pt x="33" y="29"/>
                    </a:cubicBezTo>
                    <a:cubicBezTo>
                      <a:pt x="34" y="27"/>
                      <a:pt x="34" y="27"/>
                      <a:pt x="34" y="27"/>
                    </a:cubicBezTo>
                    <a:cubicBezTo>
                      <a:pt x="34" y="26"/>
                      <a:pt x="34" y="26"/>
                      <a:pt x="34" y="25"/>
                    </a:cubicBezTo>
                    <a:cubicBezTo>
                      <a:pt x="31" y="15"/>
                      <a:pt x="27" y="7"/>
                      <a:pt x="22" y="0"/>
                    </a:cubicBezTo>
                    <a:cubicBezTo>
                      <a:pt x="15" y="4"/>
                      <a:pt x="7" y="8"/>
                      <a:pt x="0" y="12"/>
                    </a:cubicBezTo>
                    <a:lnTo>
                      <a:pt x="1" y="15"/>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243">
                <a:extLst>
                  <a:ext uri="{FF2B5EF4-FFF2-40B4-BE49-F238E27FC236}">
                    <a16:creationId xmlns:a16="http://schemas.microsoft.com/office/drawing/2014/main" id="{659744EB-14A4-4000-AE79-39BFCB72BB35}"/>
                  </a:ext>
                </a:extLst>
              </p:cNvPr>
              <p:cNvSpPr>
                <a:spLocks/>
              </p:cNvSpPr>
              <p:nvPr/>
            </p:nvSpPr>
            <p:spPr bwMode="auto">
              <a:xfrm>
                <a:off x="4432301" y="4016375"/>
                <a:ext cx="206375" cy="207963"/>
              </a:xfrm>
              <a:custGeom>
                <a:avLst/>
                <a:gdLst>
                  <a:gd name="T0" fmla="*/ 41 w 55"/>
                  <a:gd name="T1" fmla="*/ 14 h 55"/>
                  <a:gd name="T2" fmla="*/ 19 w 55"/>
                  <a:gd name="T3" fmla="*/ 13 h 55"/>
                  <a:gd name="T4" fmla="*/ 19 w 55"/>
                  <a:gd name="T5" fmla="*/ 0 h 55"/>
                  <a:gd name="T6" fmla="*/ 0 w 55"/>
                  <a:gd name="T7" fmla="*/ 27 h 55"/>
                  <a:gd name="T8" fmla="*/ 20 w 55"/>
                  <a:gd name="T9" fmla="*/ 55 h 55"/>
                  <a:gd name="T10" fmla="*/ 20 w 55"/>
                  <a:gd name="T11" fmla="*/ 41 h 55"/>
                  <a:gd name="T12" fmla="*/ 39 w 55"/>
                  <a:gd name="T13" fmla="*/ 37 h 55"/>
                  <a:gd name="T14" fmla="*/ 55 w 55"/>
                  <a:gd name="T15" fmla="*/ 8 h 55"/>
                  <a:gd name="T16" fmla="*/ 41 w 55"/>
                  <a:gd name="T17"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41" y="14"/>
                    </a:moveTo>
                    <a:cubicBezTo>
                      <a:pt x="34" y="14"/>
                      <a:pt x="27" y="14"/>
                      <a:pt x="19" y="13"/>
                    </a:cubicBezTo>
                    <a:cubicBezTo>
                      <a:pt x="19" y="0"/>
                      <a:pt x="19" y="0"/>
                      <a:pt x="19" y="0"/>
                    </a:cubicBezTo>
                    <a:cubicBezTo>
                      <a:pt x="0" y="27"/>
                      <a:pt x="0" y="27"/>
                      <a:pt x="0" y="27"/>
                    </a:cubicBezTo>
                    <a:cubicBezTo>
                      <a:pt x="20" y="55"/>
                      <a:pt x="20" y="55"/>
                      <a:pt x="20" y="55"/>
                    </a:cubicBezTo>
                    <a:cubicBezTo>
                      <a:pt x="20" y="41"/>
                      <a:pt x="20" y="41"/>
                      <a:pt x="20" y="41"/>
                    </a:cubicBezTo>
                    <a:cubicBezTo>
                      <a:pt x="27" y="42"/>
                      <a:pt x="34" y="41"/>
                      <a:pt x="39" y="37"/>
                    </a:cubicBezTo>
                    <a:cubicBezTo>
                      <a:pt x="44" y="27"/>
                      <a:pt x="50" y="17"/>
                      <a:pt x="55" y="8"/>
                    </a:cubicBezTo>
                    <a:cubicBezTo>
                      <a:pt x="53" y="12"/>
                      <a:pt x="48" y="13"/>
                      <a:pt x="41" y="14"/>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244">
                <a:extLst>
                  <a:ext uri="{FF2B5EF4-FFF2-40B4-BE49-F238E27FC236}">
                    <a16:creationId xmlns:a16="http://schemas.microsoft.com/office/drawing/2014/main" id="{BEC49D35-A5DD-46FB-AAA7-49653AD02DC3}"/>
                  </a:ext>
                </a:extLst>
              </p:cNvPr>
              <p:cNvSpPr>
                <a:spLocks/>
              </p:cNvSpPr>
              <p:nvPr/>
            </p:nvSpPr>
            <p:spPr bwMode="auto">
              <a:xfrm>
                <a:off x="4289426" y="4076700"/>
                <a:ext cx="131763" cy="101600"/>
              </a:xfrm>
              <a:custGeom>
                <a:avLst/>
                <a:gdLst>
                  <a:gd name="T0" fmla="*/ 8 w 35"/>
                  <a:gd name="T1" fmla="*/ 0 h 27"/>
                  <a:gd name="T2" fmla="*/ 4 w 35"/>
                  <a:gd name="T3" fmla="*/ 9 h 27"/>
                  <a:gd name="T4" fmla="*/ 3 w 35"/>
                  <a:gd name="T5" fmla="*/ 22 h 27"/>
                  <a:gd name="T6" fmla="*/ 3 w 35"/>
                  <a:gd name="T7" fmla="*/ 22 h 27"/>
                  <a:gd name="T8" fmla="*/ 4 w 35"/>
                  <a:gd name="T9" fmla="*/ 24 h 27"/>
                  <a:gd name="T10" fmla="*/ 7 w 35"/>
                  <a:gd name="T11" fmla="*/ 25 h 27"/>
                  <a:gd name="T12" fmla="*/ 35 w 35"/>
                  <a:gd name="T13" fmla="*/ 25 h 27"/>
                  <a:gd name="T14" fmla="*/ 33 w 35"/>
                  <a:gd name="T15" fmla="*/ 0 h 27"/>
                  <a:gd name="T16" fmla="*/ 8 w 35"/>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8" y="0"/>
                    </a:moveTo>
                    <a:cubicBezTo>
                      <a:pt x="7" y="3"/>
                      <a:pt x="5" y="6"/>
                      <a:pt x="4" y="9"/>
                    </a:cubicBezTo>
                    <a:cubicBezTo>
                      <a:pt x="3" y="12"/>
                      <a:pt x="0" y="18"/>
                      <a:pt x="3" y="22"/>
                    </a:cubicBezTo>
                    <a:cubicBezTo>
                      <a:pt x="3" y="22"/>
                      <a:pt x="3" y="22"/>
                      <a:pt x="3" y="22"/>
                    </a:cubicBezTo>
                    <a:cubicBezTo>
                      <a:pt x="4" y="24"/>
                      <a:pt x="4" y="24"/>
                      <a:pt x="4" y="24"/>
                    </a:cubicBezTo>
                    <a:cubicBezTo>
                      <a:pt x="5" y="24"/>
                      <a:pt x="6" y="25"/>
                      <a:pt x="7" y="25"/>
                    </a:cubicBezTo>
                    <a:cubicBezTo>
                      <a:pt x="17" y="27"/>
                      <a:pt x="26" y="26"/>
                      <a:pt x="35" y="25"/>
                    </a:cubicBezTo>
                    <a:cubicBezTo>
                      <a:pt x="34" y="17"/>
                      <a:pt x="33" y="8"/>
                      <a:pt x="33" y="0"/>
                    </a:cubicBezTo>
                    <a:lnTo>
                      <a:pt x="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245">
                <a:extLst>
                  <a:ext uri="{FF2B5EF4-FFF2-40B4-BE49-F238E27FC236}">
                    <a16:creationId xmlns:a16="http://schemas.microsoft.com/office/drawing/2014/main" id="{224A8CAD-9504-48BA-B7E5-AC4517CB9911}"/>
                  </a:ext>
                </a:extLst>
              </p:cNvPr>
              <p:cNvSpPr>
                <a:spLocks/>
              </p:cNvSpPr>
              <p:nvPr/>
            </p:nvSpPr>
            <p:spPr bwMode="auto">
              <a:xfrm>
                <a:off x="4192589" y="3944937"/>
                <a:ext cx="187325" cy="219075"/>
              </a:xfrm>
              <a:custGeom>
                <a:avLst/>
                <a:gdLst>
                  <a:gd name="T0" fmla="*/ 28 w 50"/>
                  <a:gd name="T1" fmla="*/ 43 h 58"/>
                  <a:gd name="T2" fmla="*/ 38 w 50"/>
                  <a:gd name="T3" fmla="*/ 24 h 58"/>
                  <a:gd name="T4" fmla="*/ 50 w 50"/>
                  <a:gd name="T5" fmla="*/ 30 h 58"/>
                  <a:gd name="T6" fmla="*/ 33 w 50"/>
                  <a:gd name="T7" fmla="*/ 0 h 58"/>
                  <a:gd name="T8" fmla="*/ 0 w 50"/>
                  <a:gd name="T9" fmla="*/ 6 h 58"/>
                  <a:gd name="T10" fmla="*/ 12 w 50"/>
                  <a:gd name="T11" fmla="*/ 12 h 58"/>
                  <a:gd name="T12" fmla="*/ 8 w 50"/>
                  <a:gd name="T13" fmla="*/ 31 h 58"/>
                  <a:gd name="T14" fmla="*/ 27 w 50"/>
                  <a:gd name="T15" fmla="*/ 58 h 58"/>
                  <a:gd name="T16" fmla="*/ 28 w 50"/>
                  <a:gd name="T1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8">
                    <a:moveTo>
                      <a:pt x="28" y="43"/>
                    </a:moveTo>
                    <a:cubicBezTo>
                      <a:pt x="31" y="36"/>
                      <a:pt x="34" y="30"/>
                      <a:pt x="38" y="24"/>
                    </a:cubicBezTo>
                    <a:cubicBezTo>
                      <a:pt x="50" y="30"/>
                      <a:pt x="50" y="30"/>
                      <a:pt x="50" y="30"/>
                    </a:cubicBezTo>
                    <a:cubicBezTo>
                      <a:pt x="33" y="0"/>
                      <a:pt x="33" y="0"/>
                      <a:pt x="33" y="0"/>
                    </a:cubicBezTo>
                    <a:cubicBezTo>
                      <a:pt x="0" y="6"/>
                      <a:pt x="0" y="6"/>
                      <a:pt x="0" y="6"/>
                    </a:cubicBezTo>
                    <a:cubicBezTo>
                      <a:pt x="12" y="12"/>
                      <a:pt x="12" y="12"/>
                      <a:pt x="12" y="12"/>
                    </a:cubicBezTo>
                    <a:cubicBezTo>
                      <a:pt x="9" y="18"/>
                      <a:pt x="7" y="25"/>
                      <a:pt x="8" y="31"/>
                    </a:cubicBezTo>
                    <a:cubicBezTo>
                      <a:pt x="14" y="40"/>
                      <a:pt x="21" y="49"/>
                      <a:pt x="27" y="58"/>
                    </a:cubicBezTo>
                    <a:cubicBezTo>
                      <a:pt x="24" y="55"/>
                      <a:pt x="25" y="49"/>
                      <a:pt x="28" y="4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Line 246">
                <a:extLst>
                  <a:ext uri="{FF2B5EF4-FFF2-40B4-BE49-F238E27FC236}">
                    <a16:creationId xmlns:a16="http://schemas.microsoft.com/office/drawing/2014/main" id="{0AD2C61C-A1BF-4C5E-8796-5852B0CD104A}"/>
                  </a:ext>
                </a:extLst>
              </p:cNvPr>
              <p:cNvSpPr>
                <a:spLocks noChangeShapeType="1"/>
              </p:cNvSpPr>
              <p:nvPr/>
            </p:nvSpPr>
            <p:spPr bwMode="auto">
              <a:xfrm>
                <a:off x="4297364" y="41068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Line 247">
                <a:extLst>
                  <a:ext uri="{FF2B5EF4-FFF2-40B4-BE49-F238E27FC236}">
                    <a16:creationId xmlns:a16="http://schemas.microsoft.com/office/drawing/2014/main" id="{B81C3F94-482D-4539-8262-5D7047265B13}"/>
                  </a:ext>
                </a:extLst>
              </p:cNvPr>
              <p:cNvSpPr>
                <a:spLocks noChangeShapeType="1"/>
              </p:cNvSpPr>
              <p:nvPr/>
            </p:nvSpPr>
            <p:spPr bwMode="auto">
              <a:xfrm>
                <a:off x="4297364" y="41068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98" name="Groupe 25">
            <a:extLst>
              <a:ext uri="{FF2B5EF4-FFF2-40B4-BE49-F238E27FC236}">
                <a16:creationId xmlns:a16="http://schemas.microsoft.com/office/drawing/2014/main" id="{F9FB9226-2827-4098-9D53-D86D6EA5B0BE}"/>
              </a:ext>
              <a:ext uri="{C183D7F6-B498-43B3-948B-1728B52AA6E4}">
                <adec:decorative xmlns:adec="http://schemas.microsoft.com/office/drawing/2017/decorative" val="1"/>
              </a:ext>
            </a:extLst>
          </p:cNvPr>
          <p:cNvGrpSpPr>
            <a:grpSpLocks noChangeAspect="1"/>
          </p:cNvGrpSpPr>
          <p:nvPr/>
        </p:nvGrpSpPr>
        <p:grpSpPr>
          <a:xfrm>
            <a:off x="1374887" y="5448851"/>
            <a:ext cx="675768" cy="633600"/>
            <a:chOff x="1987945" y="3430525"/>
            <a:chExt cx="2160000" cy="2025216"/>
          </a:xfrm>
        </p:grpSpPr>
        <p:sp>
          <p:nvSpPr>
            <p:cNvPr id="599" name="Freeform 335">
              <a:extLst>
                <a:ext uri="{FF2B5EF4-FFF2-40B4-BE49-F238E27FC236}">
                  <a16:creationId xmlns:a16="http://schemas.microsoft.com/office/drawing/2014/main" id="{42AEE85B-9287-4796-8C51-ADD7A5FA77CA}"/>
                </a:ext>
              </a:extLst>
            </p:cNvPr>
            <p:cNvSpPr>
              <a:spLocks/>
            </p:cNvSpPr>
            <p:nvPr/>
          </p:nvSpPr>
          <p:spPr bwMode="auto">
            <a:xfrm>
              <a:off x="1987945" y="3430525"/>
              <a:ext cx="2160000" cy="2025216"/>
            </a:xfrm>
            <a:custGeom>
              <a:avLst/>
              <a:gdLst>
                <a:gd name="T0" fmla="*/ 42 w 293"/>
                <a:gd name="T1" fmla="*/ 214 h 274"/>
                <a:gd name="T2" fmla="*/ 70 w 293"/>
                <a:gd name="T3" fmla="*/ 41 h 274"/>
                <a:gd name="T4" fmla="*/ 251 w 293"/>
                <a:gd name="T5" fmla="*/ 66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1"/>
                    <a:pt x="251" y="66"/>
                  </a:cubicBezTo>
                  <a:cubicBezTo>
                    <a:pt x="293" y="121"/>
                    <a:pt x="276" y="192"/>
                    <a:pt x="218" y="233"/>
                  </a:cubicBezTo>
                  <a:cubicBezTo>
                    <a:pt x="160" y="274"/>
                    <a:pt x="84" y="269"/>
                    <a:pt x="42" y="214"/>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00" name="Freeform 337">
              <a:extLst>
                <a:ext uri="{FF2B5EF4-FFF2-40B4-BE49-F238E27FC236}">
                  <a16:creationId xmlns:a16="http://schemas.microsoft.com/office/drawing/2014/main" id="{8C89E3F0-6A79-4BCF-A596-878FCBBCB313}"/>
                </a:ext>
              </a:extLst>
            </p:cNvPr>
            <p:cNvSpPr>
              <a:spLocks noEditPoints="1"/>
            </p:cNvSpPr>
            <p:nvPr/>
          </p:nvSpPr>
          <p:spPr bwMode="auto">
            <a:xfrm>
              <a:off x="2418604" y="3783551"/>
              <a:ext cx="1284361" cy="1284361"/>
            </a:xfrm>
            <a:custGeom>
              <a:avLst/>
              <a:gdLst>
                <a:gd name="T0" fmla="*/ 133 w 137"/>
                <a:gd name="T1" fmla="*/ 51 h 136"/>
                <a:gd name="T2" fmla="*/ 40 w 137"/>
                <a:gd name="T3" fmla="*/ 8 h 136"/>
                <a:gd name="T4" fmla="*/ 8 w 137"/>
                <a:gd name="T5" fmla="*/ 41 h 136"/>
                <a:gd name="T6" fmla="*/ 40 w 137"/>
                <a:gd name="T7" fmla="*/ 130 h 136"/>
                <a:gd name="T8" fmla="*/ 68 w 137"/>
                <a:gd name="T9" fmla="*/ 136 h 136"/>
                <a:gd name="T10" fmla="*/ 97 w 137"/>
                <a:gd name="T11" fmla="*/ 130 h 136"/>
                <a:gd name="T12" fmla="*/ 133 w 137"/>
                <a:gd name="T13" fmla="*/ 52 h 136"/>
                <a:gd name="T14" fmla="*/ 35 w 137"/>
                <a:gd name="T15" fmla="*/ 56 h 136"/>
                <a:gd name="T16" fmla="*/ 33 w 137"/>
                <a:gd name="T17" fmla="*/ 36 h 136"/>
                <a:gd name="T18" fmla="*/ 19 w 137"/>
                <a:gd name="T19" fmla="*/ 28 h 136"/>
                <a:gd name="T20" fmla="*/ 23 w 137"/>
                <a:gd name="T21" fmla="*/ 41 h 136"/>
                <a:gd name="T22" fmla="*/ 26 w 137"/>
                <a:gd name="T23" fmla="*/ 50 h 136"/>
                <a:gd name="T24" fmla="*/ 22 w 137"/>
                <a:gd name="T25" fmla="*/ 48 h 136"/>
                <a:gd name="T26" fmla="*/ 22 w 137"/>
                <a:gd name="T27" fmla="*/ 58 h 136"/>
                <a:gd name="T28" fmla="*/ 31 w 137"/>
                <a:gd name="T29" fmla="*/ 56 h 136"/>
                <a:gd name="T30" fmla="*/ 30 w 137"/>
                <a:gd name="T31" fmla="*/ 70 h 136"/>
                <a:gd name="T32" fmla="*/ 20 w 137"/>
                <a:gd name="T33" fmla="*/ 78 h 136"/>
                <a:gd name="T34" fmla="*/ 19 w 137"/>
                <a:gd name="T35" fmla="*/ 84 h 136"/>
                <a:gd name="T36" fmla="*/ 43 w 137"/>
                <a:gd name="T37" fmla="*/ 97 h 136"/>
                <a:gd name="T38" fmla="*/ 31 w 137"/>
                <a:gd name="T39" fmla="*/ 114 h 136"/>
                <a:gd name="T40" fmla="*/ 20 w 137"/>
                <a:gd name="T41" fmla="*/ 110 h 136"/>
                <a:gd name="T42" fmla="*/ 21 w 137"/>
                <a:gd name="T43" fmla="*/ 95 h 136"/>
                <a:gd name="T44" fmla="*/ 9 w 137"/>
                <a:gd name="T45" fmla="*/ 86 h 136"/>
                <a:gd name="T46" fmla="*/ 7 w 137"/>
                <a:gd name="T47" fmla="*/ 85 h 136"/>
                <a:gd name="T48" fmla="*/ 11 w 137"/>
                <a:gd name="T49" fmla="*/ 42 h 136"/>
                <a:gd name="T50" fmla="*/ 16 w 137"/>
                <a:gd name="T51" fmla="*/ 33 h 136"/>
                <a:gd name="T52" fmla="*/ 19 w 137"/>
                <a:gd name="T53" fmla="*/ 28 h 136"/>
                <a:gd name="T54" fmla="*/ 51 w 137"/>
                <a:gd name="T55" fmla="*/ 8 h 136"/>
                <a:gd name="T56" fmla="*/ 54 w 137"/>
                <a:gd name="T57" fmla="*/ 25 h 136"/>
                <a:gd name="T58" fmla="*/ 48 w 137"/>
                <a:gd name="T59" fmla="*/ 44 h 136"/>
                <a:gd name="T60" fmla="*/ 44 w 137"/>
                <a:gd name="T61" fmla="*/ 56 h 136"/>
                <a:gd name="T62" fmla="*/ 78 w 137"/>
                <a:gd name="T63" fmla="*/ 102 h 136"/>
                <a:gd name="T64" fmla="*/ 64 w 137"/>
                <a:gd name="T65" fmla="*/ 108 h 136"/>
                <a:gd name="T66" fmla="*/ 60 w 137"/>
                <a:gd name="T67" fmla="*/ 93 h 136"/>
                <a:gd name="T68" fmla="*/ 49 w 137"/>
                <a:gd name="T69" fmla="*/ 82 h 136"/>
                <a:gd name="T70" fmla="*/ 57 w 137"/>
                <a:gd name="T71" fmla="*/ 72 h 136"/>
                <a:gd name="T72" fmla="*/ 70 w 137"/>
                <a:gd name="T73" fmla="*/ 78 h 136"/>
                <a:gd name="T74" fmla="*/ 77 w 137"/>
                <a:gd name="T75" fmla="*/ 80 h 136"/>
                <a:gd name="T76" fmla="*/ 84 w 137"/>
                <a:gd name="T77" fmla="*/ 91 h 136"/>
                <a:gd name="T78" fmla="*/ 108 w 137"/>
                <a:gd name="T79" fmla="*/ 115 h 136"/>
                <a:gd name="T80" fmla="*/ 120 w 137"/>
                <a:gd name="T81" fmla="*/ 97 h 136"/>
                <a:gd name="T82" fmla="*/ 111 w 137"/>
                <a:gd name="T83" fmla="*/ 116 h 136"/>
                <a:gd name="T84" fmla="*/ 122 w 137"/>
                <a:gd name="T85" fmla="*/ 71 h 136"/>
                <a:gd name="T86" fmla="*/ 111 w 137"/>
                <a:gd name="T87" fmla="*/ 84 h 136"/>
                <a:gd name="T88" fmla="*/ 106 w 137"/>
                <a:gd name="T89" fmla="*/ 88 h 136"/>
                <a:gd name="T90" fmla="*/ 101 w 137"/>
                <a:gd name="T91" fmla="*/ 83 h 136"/>
                <a:gd name="T92" fmla="*/ 92 w 137"/>
                <a:gd name="T93" fmla="*/ 85 h 136"/>
                <a:gd name="T94" fmla="*/ 84 w 137"/>
                <a:gd name="T95" fmla="*/ 79 h 136"/>
                <a:gd name="T96" fmla="*/ 54 w 137"/>
                <a:gd name="T97" fmla="*/ 62 h 136"/>
                <a:gd name="T98" fmla="*/ 60 w 137"/>
                <a:gd name="T99" fmla="*/ 58 h 136"/>
                <a:gd name="T100" fmla="*/ 66 w 137"/>
                <a:gd name="T101" fmla="*/ 50 h 136"/>
                <a:gd name="T102" fmla="*/ 78 w 137"/>
                <a:gd name="T103" fmla="*/ 47 h 136"/>
                <a:gd name="T104" fmla="*/ 84 w 137"/>
                <a:gd name="T105" fmla="*/ 45 h 136"/>
                <a:gd name="T106" fmla="*/ 93 w 137"/>
                <a:gd name="T107" fmla="*/ 30 h 136"/>
                <a:gd name="T108" fmla="*/ 92 w 137"/>
                <a:gd name="T109" fmla="*/ 41 h 136"/>
                <a:gd name="T110" fmla="*/ 98 w 137"/>
                <a:gd name="T111" fmla="*/ 35 h 136"/>
                <a:gd name="T112" fmla="*/ 111 w 137"/>
                <a:gd name="T113" fmla="*/ 32 h 136"/>
                <a:gd name="T114" fmla="*/ 115 w 137"/>
                <a:gd name="T115" fmla="*/ 35 h 136"/>
                <a:gd name="T116" fmla="*/ 122 w 137"/>
                <a:gd name="T117" fmla="*/ 35 h 136"/>
                <a:gd name="T118" fmla="*/ 130 w 137"/>
                <a:gd name="T119" fmla="*/ 52 h 136"/>
                <a:gd name="T120" fmla="*/ 128 w 137"/>
                <a:gd name="T121"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36">
                  <a:moveTo>
                    <a:pt x="133" y="52"/>
                  </a:moveTo>
                  <a:cubicBezTo>
                    <a:pt x="133" y="51"/>
                    <a:pt x="133" y="51"/>
                    <a:pt x="133" y="51"/>
                  </a:cubicBezTo>
                  <a:cubicBezTo>
                    <a:pt x="128" y="32"/>
                    <a:pt x="115" y="16"/>
                    <a:pt x="97" y="8"/>
                  </a:cubicBezTo>
                  <a:cubicBezTo>
                    <a:pt x="79" y="0"/>
                    <a:pt x="57" y="0"/>
                    <a:pt x="40" y="8"/>
                  </a:cubicBezTo>
                  <a:cubicBezTo>
                    <a:pt x="26" y="15"/>
                    <a:pt x="14" y="27"/>
                    <a:pt x="8" y="41"/>
                  </a:cubicBezTo>
                  <a:cubicBezTo>
                    <a:pt x="8" y="41"/>
                    <a:pt x="8" y="41"/>
                    <a:pt x="8" y="41"/>
                  </a:cubicBezTo>
                  <a:cubicBezTo>
                    <a:pt x="1" y="55"/>
                    <a:pt x="0" y="71"/>
                    <a:pt x="4" y="86"/>
                  </a:cubicBezTo>
                  <a:cubicBezTo>
                    <a:pt x="9" y="106"/>
                    <a:pt x="22" y="122"/>
                    <a:pt x="40" y="130"/>
                  </a:cubicBezTo>
                  <a:cubicBezTo>
                    <a:pt x="40" y="130"/>
                    <a:pt x="40" y="130"/>
                    <a:pt x="40" y="130"/>
                  </a:cubicBezTo>
                  <a:cubicBezTo>
                    <a:pt x="49" y="134"/>
                    <a:pt x="59" y="136"/>
                    <a:pt x="68" y="136"/>
                  </a:cubicBezTo>
                  <a:cubicBezTo>
                    <a:pt x="78" y="136"/>
                    <a:pt x="88" y="134"/>
                    <a:pt x="97" y="130"/>
                  </a:cubicBezTo>
                  <a:cubicBezTo>
                    <a:pt x="97" y="130"/>
                    <a:pt x="97" y="130"/>
                    <a:pt x="97" y="130"/>
                  </a:cubicBezTo>
                  <a:cubicBezTo>
                    <a:pt x="111" y="123"/>
                    <a:pt x="123" y="111"/>
                    <a:pt x="129" y="97"/>
                  </a:cubicBezTo>
                  <a:cubicBezTo>
                    <a:pt x="136" y="83"/>
                    <a:pt x="137" y="67"/>
                    <a:pt x="133" y="52"/>
                  </a:cubicBezTo>
                  <a:close/>
                  <a:moveTo>
                    <a:pt x="44" y="56"/>
                  </a:moveTo>
                  <a:cubicBezTo>
                    <a:pt x="42" y="57"/>
                    <a:pt x="36" y="57"/>
                    <a:pt x="35" y="56"/>
                  </a:cubicBezTo>
                  <a:cubicBezTo>
                    <a:pt x="33" y="54"/>
                    <a:pt x="31" y="48"/>
                    <a:pt x="30" y="45"/>
                  </a:cubicBezTo>
                  <a:cubicBezTo>
                    <a:pt x="30" y="42"/>
                    <a:pt x="33" y="40"/>
                    <a:pt x="33" y="36"/>
                  </a:cubicBezTo>
                  <a:cubicBezTo>
                    <a:pt x="32" y="32"/>
                    <a:pt x="27" y="31"/>
                    <a:pt x="25" y="29"/>
                  </a:cubicBezTo>
                  <a:cubicBezTo>
                    <a:pt x="23" y="28"/>
                    <a:pt x="21" y="28"/>
                    <a:pt x="19" y="28"/>
                  </a:cubicBezTo>
                  <a:cubicBezTo>
                    <a:pt x="18" y="30"/>
                    <a:pt x="17" y="32"/>
                    <a:pt x="16" y="33"/>
                  </a:cubicBezTo>
                  <a:cubicBezTo>
                    <a:pt x="15" y="37"/>
                    <a:pt x="20" y="39"/>
                    <a:pt x="23" y="41"/>
                  </a:cubicBezTo>
                  <a:cubicBezTo>
                    <a:pt x="25" y="43"/>
                    <a:pt x="30" y="46"/>
                    <a:pt x="29" y="48"/>
                  </a:cubicBezTo>
                  <a:cubicBezTo>
                    <a:pt x="29" y="50"/>
                    <a:pt x="28" y="51"/>
                    <a:pt x="26" y="50"/>
                  </a:cubicBezTo>
                  <a:cubicBezTo>
                    <a:pt x="26" y="50"/>
                    <a:pt x="26" y="49"/>
                    <a:pt x="25" y="48"/>
                  </a:cubicBezTo>
                  <a:cubicBezTo>
                    <a:pt x="25" y="48"/>
                    <a:pt x="23" y="48"/>
                    <a:pt x="22" y="48"/>
                  </a:cubicBezTo>
                  <a:cubicBezTo>
                    <a:pt x="18" y="48"/>
                    <a:pt x="17" y="52"/>
                    <a:pt x="16" y="55"/>
                  </a:cubicBezTo>
                  <a:cubicBezTo>
                    <a:pt x="14" y="60"/>
                    <a:pt x="19" y="61"/>
                    <a:pt x="22" y="58"/>
                  </a:cubicBezTo>
                  <a:cubicBezTo>
                    <a:pt x="24" y="56"/>
                    <a:pt x="24" y="52"/>
                    <a:pt x="27" y="53"/>
                  </a:cubicBezTo>
                  <a:cubicBezTo>
                    <a:pt x="28" y="54"/>
                    <a:pt x="30" y="55"/>
                    <a:pt x="31" y="56"/>
                  </a:cubicBezTo>
                  <a:cubicBezTo>
                    <a:pt x="32" y="57"/>
                    <a:pt x="34" y="59"/>
                    <a:pt x="35" y="61"/>
                  </a:cubicBezTo>
                  <a:cubicBezTo>
                    <a:pt x="40" y="65"/>
                    <a:pt x="34" y="67"/>
                    <a:pt x="30" y="70"/>
                  </a:cubicBezTo>
                  <a:cubicBezTo>
                    <a:pt x="28" y="71"/>
                    <a:pt x="27" y="74"/>
                    <a:pt x="25" y="75"/>
                  </a:cubicBezTo>
                  <a:cubicBezTo>
                    <a:pt x="24" y="77"/>
                    <a:pt x="22" y="77"/>
                    <a:pt x="20" y="78"/>
                  </a:cubicBezTo>
                  <a:cubicBezTo>
                    <a:pt x="19" y="78"/>
                    <a:pt x="14" y="79"/>
                    <a:pt x="15" y="81"/>
                  </a:cubicBezTo>
                  <a:cubicBezTo>
                    <a:pt x="15" y="82"/>
                    <a:pt x="18" y="83"/>
                    <a:pt x="19" y="84"/>
                  </a:cubicBezTo>
                  <a:cubicBezTo>
                    <a:pt x="22" y="86"/>
                    <a:pt x="26" y="88"/>
                    <a:pt x="30" y="90"/>
                  </a:cubicBezTo>
                  <a:cubicBezTo>
                    <a:pt x="33" y="91"/>
                    <a:pt x="42" y="93"/>
                    <a:pt x="43" y="97"/>
                  </a:cubicBezTo>
                  <a:cubicBezTo>
                    <a:pt x="43" y="100"/>
                    <a:pt x="39" y="104"/>
                    <a:pt x="36" y="106"/>
                  </a:cubicBezTo>
                  <a:cubicBezTo>
                    <a:pt x="34" y="109"/>
                    <a:pt x="33" y="112"/>
                    <a:pt x="31" y="114"/>
                  </a:cubicBezTo>
                  <a:cubicBezTo>
                    <a:pt x="30" y="115"/>
                    <a:pt x="30" y="116"/>
                    <a:pt x="29" y="118"/>
                  </a:cubicBezTo>
                  <a:cubicBezTo>
                    <a:pt x="26" y="115"/>
                    <a:pt x="23" y="113"/>
                    <a:pt x="20" y="110"/>
                  </a:cubicBezTo>
                  <a:cubicBezTo>
                    <a:pt x="20" y="108"/>
                    <a:pt x="21" y="107"/>
                    <a:pt x="21" y="105"/>
                  </a:cubicBezTo>
                  <a:cubicBezTo>
                    <a:pt x="21" y="102"/>
                    <a:pt x="21" y="98"/>
                    <a:pt x="21" y="95"/>
                  </a:cubicBezTo>
                  <a:cubicBezTo>
                    <a:pt x="21" y="91"/>
                    <a:pt x="21" y="91"/>
                    <a:pt x="17" y="89"/>
                  </a:cubicBezTo>
                  <a:cubicBezTo>
                    <a:pt x="14" y="88"/>
                    <a:pt x="11" y="87"/>
                    <a:pt x="9" y="86"/>
                  </a:cubicBezTo>
                  <a:cubicBezTo>
                    <a:pt x="8" y="86"/>
                    <a:pt x="8" y="86"/>
                    <a:pt x="7" y="85"/>
                  </a:cubicBezTo>
                  <a:cubicBezTo>
                    <a:pt x="7" y="85"/>
                    <a:pt x="7" y="85"/>
                    <a:pt x="7" y="85"/>
                  </a:cubicBezTo>
                  <a:cubicBezTo>
                    <a:pt x="7" y="85"/>
                    <a:pt x="7" y="85"/>
                    <a:pt x="7" y="85"/>
                  </a:cubicBezTo>
                  <a:cubicBezTo>
                    <a:pt x="3" y="71"/>
                    <a:pt x="5" y="56"/>
                    <a:pt x="11" y="42"/>
                  </a:cubicBezTo>
                  <a:cubicBezTo>
                    <a:pt x="11" y="42"/>
                    <a:pt x="11" y="42"/>
                    <a:pt x="11" y="42"/>
                  </a:cubicBezTo>
                  <a:cubicBezTo>
                    <a:pt x="12" y="39"/>
                    <a:pt x="14" y="36"/>
                    <a:pt x="16" y="33"/>
                  </a:cubicBezTo>
                  <a:cubicBezTo>
                    <a:pt x="16" y="32"/>
                    <a:pt x="16" y="32"/>
                    <a:pt x="16" y="32"/>
                  </a:cubicBezTo>
                  <a:cubicBezTo>
                    <a:pt x="17" y="30"/>
                    <a:pt x="18" y="29"/>
                    <a:pt x="19" y="28"/>
                  </a:cubicBezTo>
                  <a:cubicBezTo>
                    <a:pt x="25" y="21"/>
                    <a:pt x="33" y="15"/>
                    <a:pt x="41" y="11"/>
                  </a:cubicBezTo>
                  <a:cubicBezTo>
                    <a:pt x="44" y="10"/>
                    <a:pt x="48" y="9"/>
                    <a:pt x="51" y="8"/>
                  </a:cubicBezTo>
                  <a:cubicBezTo>
                    <a:pt x="55" y="9"/>
                    <a:pt x="58" y="12"/>
                    <a:pt x="58" y="16"/>
                  </a:cubicBezTo>
                  <a:cubicBezTo>
                    <a:pt x="58" y="20"/>
                    <a:pt x="56" y="22"/>
                    <a:pt x="54" y="25"/>
                  </a:cubicBezTo>
                  <a:cubicBezTo>
                    <a:pt x="52" y="29"/>
                    <a:pt x="55" y="35"/>
                    <a:pt x="53" y="39"/>
                  </a:cubicBezTo>
                  <a:cubicBezTo>
                    <a:pt x="51" y="41"/>
                    <a:pt x="50" y="42"/>
                    <a:pt x="48" y="44"/>
                  </a:cubicBezTo>
                  <a:cubicBezTo>
                    <a:pt x="47" y="46"/>
                    <a:pt x="47" y="48"/>
                    <a:pt x="46" y="50"/>
                  </a:cubicBezTo>
                  <a:cubicBezTo>
                    <a:pt x="46" y="52"/>
                    <a:pt x="45" y="55"/>
                    <a:pt x="44" y="56"/>
                  </a:cubicBezTo>
                  <a:close/>
                  <a:moveTo>
                    <a:pt x="84" y="91"/>
                  </a:moveTo>
                  <a:cubicBezTo>
                    <a:pt x="82" y="94"/>
                    <a:pt x="80" y="98"/>
                    <a:pt x="78" y="102"/>
                  </a:cubicBezTo>
                  <a:cubicBezTo>
                    <a:pt x="76" y="106"/>
                    <a:pt x="79" y="113"/>
                    <a:pt x="72" y="114"/>
                  </a:cubicBezTo>
                  <a:cubicBezTo>
                    <a:pt x="67" y="115"/>
                    <a:pt x="64" y="113"/>
                    <a:pt x="64" y="108"/>
                  </a:cubicBezTo>
                  <a:cubicBezTo>
                    <a:pt x="64" y="105"/>
                    <a:pt x="67" y="100"/>
                    <a:pt x="65" y="96"/>
                  </a:cubicBezTo>
                  <a:cubicBezTo>
                    <a:pt x="64" y="94"/>
                    <a:pt x="62" y="94"/>
                    <a:pt x="60" y="93"/>
                  </a:cubicBezTo>
                  <a:cubicBezTo>
                    <a:pt x="57" y="93"/>
                    <a:pt x="55" y="92"/>
                    <a:pt x="52" y="91"/>
                  </a:cubicBezTo>
                  <a:cubicBezTo>
                    <a:pt x="48" y="88"/>
                    <a:pt x="47" y="86"/>
                    <a:pt x="49" y="82"/>
                  </a:cubicBezTo>
                  <a:cubicBezTo>
                    <a:pt x="50" y="79"/>
                    <a:pt x="51" y="76"/>
                    <a:pt x="52" y="74"/>
                  </a:cubicBezTo>
                  <a:cubicBezTo>
                    <a:pt x="53" y="72"/>
                    <a:pt x="56" y="71"/>
                    <a:pt x="57" y="72"/>
                  </a:cubicBezTo>
                  <a:cubicBezTo>
                    <a:pt x="58" y="73"/>
                    <a:pt x="58" y="75"/>
                    <a:pt x="58" y="76"/>
                  </a:cubicBezTo>
                  <a:cubicBezTo>
                    <a:pt x="60" y="81"/>
                    <a:pt x="67" y="77"/>
                    <a:pt x="70" y="78"/>
                  </a:cubicBezTo>
                  <a:cubicBezTo>
                    <a:pt x="71" y="78"/>
                    <a:pt x="71" y="78"/>
                    <a:pt x="71" y="78"/>
                  </a:cubicBezTo>
                  <a:cubicBezTo>
                    <a:pt x="73" y="79"/>
                    <a:pt x="75" y="79"/>
                    <a:pt x="77" y="80"/>
                  </a:cubicBezTo>
                  <a:cubicBezTo>
                    <a:pt x="80" y="80"/>
                    <a:pt x="87" y="81"/>
                    <a:pt x="88" y="84"/>
                  </a:cubicBezTo>
                  <a:cubicBezTo>
                    <a:pt x="88" y="87"/>
                    <a:pt x="85" y="88"/>
                    <a:pt x="84" y="91"/>
                  </a:cubicBezTo>
                  <a:close/>
                  <a:moveTo>
                    <a:pt x="111" y="116"/>
                  </a:moveTo>
                  <a:cubicBezTo>
                    <a:pt x="110" y="116"/>
                    <a:pt x="109" y="115"/>
                    <a:pt x="108" y="115"/>
                  </a:cubicBezTo>
                  <a:cubicBezTo>
                    <a:pt x="107" y="112"/>
                    <a:pt x="112" y="107"/>
                    <a:pt x="113" y="105"/>
                  </a:cubicBezTo>
                  <a:cubicBezTo>
                    <a:pt x="115" y="101"/>
                    <a:pt x="116" y="99"/>
                    <a:pt x="120" y="97"/>
                  </a:cubicBezTo>
                  <a:cubicBezTo>
                    <a:pt x="121" y="97"/>
                    <a:pt x="124" y="96"/>
                    <a:pt x="125" y="96"/>
                  </a:cubicBezTo>
                  <a:cubicBezTo>
                    <a:pt x="122" y="104"/>
                    <a:pt x="117" y="110"/>
                    <a:pt x="111" y="116"/>
                  </a:cubicBezTo>
                  <a:close/>
                  <a:moveTo>
                    <a:pt x="128" y="63"/>
                  </a:moveTo>
                  <a:cubicBezTo>
                    <a:pt x="125" y="65"/>
                    <a:pt x="124" y="69"/>
                    <a:pt x="122" y="71"/>
                  </a:cubicBezTo>
                  <a:cubicBezTo>
                    <a:pt x="120" y="72"/>
                    <a:pt x="118" y="73"/>
                    <a:pt x="117" y="75"/>
                  </a:cubicBezTo>
                  <a:cubicBezTo>
                    <a:pt x="115" y="77"/>
                    <a:pt x="112" y="81"/>
                    <a:pt x="111" y="84"/>
                  </a:cubicBezTo>
                  <a:cubicBezTo>
                    <a:pt x="111" y="86"/>
                    <a:pt x="115" y="103"/>
                    <a:pt x="108" y="96"/>
                  </a:cubicBezTo>
                  <a:cubicBezTo>
                    <a:pt x="106" y="94"/>
                    <a:pt x="105" y="91"/>
                    <a:pt x="106" y="88"/>
                  </a:cubicBezTo>
                  <a:cubicBezTo>
                    <a:pt x="106" y="86"/>
                    <a:pt x="106" y="86"/>
                    <a:pt x="105" y="84"/>
                  </a:cubicBezTo>
                  <a:cubicBezTo>
                    <a:pt x="104" y="83"/>
                    <a:pt x="102" y="81"/>
                    <a:pt x="101" y="83"/>
                  </a:cubicBezTo>
                  <a:cubicBezTo>
                    <a:pt x="98" y="85"/>
                    <a:pt x="100" y="91"/>
                    <a:pt x="96" y="91"/>
                  </a:cubicBezTo>
                  <a:cubicBezTo>
                    <a:pt x="91" y="91"/>
                    <a:pt x="93" y="87"/>
                    <a:pt x="92" y="85"/>
                  </a:cubicBezTo>
                  <a:cubicBezTo>
                    <a:pt x="92" y="84"/>
                    <a:pt x="90" y="83"/>
                    <a:pt x="89" y="82"/>
                  </a:cubicBezTo>
                  <a:cubicBezTo>
                    <a:pt x="88" y="81"/>
                    <a:pt x="86" y="80"/>
                    <a:pt x="84" y="79"/>
                  </a:cubicBezTo>
                  <a:cubicBezTo>
                    <a:pt x="79" y="76"/>
                    <a:pt x="74" y="76"/>
                    <a:pt x="69" y="75"/>
                  </a:cubicBezTo>
                  <a:cubicBezTo>
                    <a:pt x="62" y="72"/>
                    <a:pt x="56" y="70"/>
                    <a:pt x="54" y="62"/>
                  </a:cubicBezTo>
                  <a:cubicBezTo>
                    <a:pt x="54" y="60"/>
                    <a:pt x="55" y="56"/>
                    <a:pt x="57" y="57"/>
                  </a:cubicBezTo>
                  <a:cubicBezTo>
                    <a:pt x="59" y="57"/>
                    <a:pt x="59" y="59"/>
                    <a:pt x="60" y="58"/>
                  </a:cubicBezTo>
                  <a:cubicBezTo>
                    <a:pt x="62" y="58"/>
                    <a:pt x="61" y="56"/>
                    <a:pt x="62" y="56"/>
                  </a:cubicBezTo>
                  <a:cubicBezTo>
                    <a:pt x="63" y="54"/>
                    <a:pt x="64" y="52"/>
                    <a:pt x="66" y="50"/>
                  </a:cubicBezTo>
                  <a:cubicBezTo>
                    <a:pt x="68" y="48"/>
                    <a:pt x="69" y="43"/>
                    <a:pt x="73" y="42"/>
                  </a:cubicBezTo>
                  <a:cubicBezTo>
                    <a:pt x="76" y="42"/>
                    <a:pt x="77" y="44"/>
                    <a:pt x="78" y="47"/>
                  </a:cubicBezTo>
                  <a:cubicBezTo>
                    <a:pt x="79" y="48"/>
                    <a:pt x="80" y="50"/>
                    <a:pt x="82" y="49"/>
                  </a:cubicBezTo>
                  <a:cubicBezTo>
                    <a:pt x="84" y="48"/>
                    <a:pt x="84" y="47"/>
                    <a:pt x="84" y="45"/>
                  </a:cubicBezTo>
                  <a:cubicBezTo>
                    <a:pt x="84" y="42"/>
                    <a:pt x="84" y="39"/>
                    <a:pt x="84" y="35"/>
                  </a:cubicBezTo>
                  <a:cubicBezTo>
                    <a:pt x="84" y="30"/>
                    <a:pt x="88" y="28"/>
                    <a:pt x="93" y="30"/>
                  </a:cubicBezTo>
                  <a:cubicBezTo>
                    <a:pt x="94" y="33"/>
                    <a:pt x="90" y="35"/>
                    <a:pt x="88" y="37"/>
                  </a:cubicBezTo>
                  <a:cubicBezTo>
                    <a:pt x="86" y="40"/>
                    <a:pt x="89" y="43"/>
                    <a:pt x="92" y="41"/>
                  </a:cubicBezTo>
                  <a:cubicBezTo>
                    <a:pt x="93" y="40"/>
                    <a:pt x="94" y="39"/>
                    <a:pt x="94" y="38"/>
                  </a:cubicBezTo>
                  <a:cubicBezTo>
                    <a:pt x="95" y="37"/>
                    <a:pt x="97" y="36"/>
                    <a:pt x="98" y="35"/>
                  </a:cubicBezTo>
                  <a:cubicBezTo>
                    <a:pt x="99" y="35"/>
                    <a:pt x="100" y="34"/>
                    <a:pt x="102" y="33"/>
                  </a:cubicBezTo>
                  <a:cubicBezTo>
                    <a:pt x="105" y="32"/>
                    <a:pt x="109" y="33"/>
                    <a:pt x="111" y="32"/>
                  </a:cubicBezTo>
                  <a:cubicBezTo>
                    <a:pt x="112" y="33"/>
                    <a:pt x="112" y="33"/>
                    <a:pt x="112" y="33"/>
                  </a:cubicBezTo>
                  <a:cubicBezTo>
                    <a:pt x="113" y="34"/>
                    <a:pt x="113" y="35"/>
                    <a:pt x="115" y="35"/>
                  </a:cubicBezTo>
                  <a:cubicBezTo>
                    <a:pt x="116" y="35"/>
                    <a:pt x="117" y="35"/>
                    <a:pt x="119" y="35"/>
                  </a:cubicBezTo>
                  <a:cubicBezTo>
                    <a:pt x="120" y="35"/>
                    <a:pt x="121" y="35"/>
                    <a:pt x="122" y="35"/>
                  </a:cubicBezTo>
                  <a:cubicBezTo>
                    <a:pt x="125" y="40"/>
                    <a:pt x="128" y="46"/>
                    <a:pt x="130" y="52"/>
                  </a:cubicBezTo>
                  <a:cubicBezTo>
                    <a:pt x="130" y="52"/>
                    <a:pt x="130" y="52"/>
                    <a:pt x="130" y="52"/>
                  </a:cubicBezTo>
                  <a:cubicBezTo>
                    <a:pt x="130" y="54"/>
                    <a:pt x="131" y="57"/>
                    <a:pt x="131" y="59"/>
                  </a:cubicBezTo>
                  <a:cubicBezTo>
                    <a:pt x="130" y="60"/>
                    <a:pt x="129" y="61"/>
                    <a:pt x="128" y="6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45" name="Group 244">
            <a:extLst>
              <a:ext uri="{FF2B5EF4-FFF2-40B4-BE49-F238E27FC236}">
                <a16:creationId xmlns:a16="http://schemas.microsoft.com/office/drawing/2014/main" id="{B7054509-098D-4DFE-A69F-4CD676430DC4}"/>
              </a:ext>
              <a:ext uri="{C183D7F6-B498-43B3-948B-1728B52AA6E4}">
                <adec:decorative xmlns:adec="http://schemas.microsoft.com/office/drawing/2017/decorative" val="1"/>
              </a:ext>
            </a:extLst>
          </p:cNvPr>
          <p:cNvGrpSpPr/>
          <p:nvPr/>
        </p:nvGrpSpPr>
        <p:grpSpPr>
          <a:xfrm>
            <a:off x="700659" y="6136481"/>
            <a:ext cx="4573686" cy="123111"/>
            <a:chOff x="700659" y="6136481"/>
            <a:chExt cx="4573686" cy="123111"/>
          </a:xfrm>
        </p:grpSpPr>
        <p:sp>
          <p:nvSpPr>
            <p:cNvPr id="601" name="Rectangle 239">
              <a:extLst>
                <a:ext uri="{FF2B5EF4-FFF2-40B4-BE49-F238E27FC236}">
                  <a16:creationId xmlns:a16="http://schemas.microsoft.com/office/drawing/2014/main" id="{542B5AB4-84B1-4C19-B349-FAEC474AA32F}"/>
                </a:ext>
              </a:extLst>
            </p:cNvPr>
            <p:cNvSpPr>
              <a:spLocks noChangeArrowheads="1"/>
            </p:cNvSpPr>
            <p:nvPr/>
          </p:nvSpPr>
          <p:spPr bwMode="auto">
            <a:xfrm>
              <a:off x="700659" y="6136481"/>
              <a:ext cx="28373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World</a:t>
              </a:r>
              <a:endParaRPr kumimoji="0" lang="fr-FR" altLang="fr-FR" sz="800" b="0" i="0" u="none" strike="noStrike" cap="none" normalizeH="0" baseline="0">
                <a:ln>
                  <a:noFill/>
                </a:ln>
                <a:solidFill>
                  <a:schemeClr val="tx1"/>
                </a:solidFill>
                <a:effectLst/>
                <a:latin typeface="+mn-lt"/>
              </a:endParaRPr>
            </a:p>
          </p:txBody>
        </p:sp>
        <p:sp>
          <p:nvSpPr>
            <p:cNvPr id="602" name="Rectangle 261">
              <a:extLst>
                <a:ext uri="{FF2B5EF4-FFF2-40B4-BE49-F238E27FC236}">
                  <a16:creationId xmlns:a16="http://schemas.microsoft.com/office/drawing/2014/main" id="{CE6DFE39-53EA-49AD-8C0C-1896278F69AF}"/>
                </a:ext>
              </a:extLst>
            </p:cNvPr>
            <p:cNvSpPr>
              <a:spLocks noChangeArrowheads="1"/>
            </p:cNvSpPr>
            <p:nvPr/>
          </p:nvSpPr>
          <p:spPr bwMode="auto">
            <a:xfrm>
              <a:off x="2351584" y="6136481"/>
              <a:ext cx="16954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Social </a:t>
              </a:r>
              <a:r>
                <a:rPr kumimoji="0" lang="fr-FR" altLang="fr-FR" sz="800" b="0" i="0" u="none" strike="noStrike" cap="none" normalizeH="0" baseline="0" err="1">
                  <a:ln>
                    <a:noFill/>
                  </a:ln>
                  <a:solidFill>
                    <a:srgbClr val="000000"/>
                  </a:solidFill>
                  <a:effectLst/>
                  <a:latin typeface="+mn-lt"/>
                </a:rPr>
                <a:t>responsibility</a:t>
              </a:r>
              <a:endParaRPr kumimoji="0" lang="fr-FR" altLang="fr-FR" sz="800" b="0" i="0" u="none" strike="noStrike" cap="none" normalizeH="0" baseline="0">
                <a:ln>
                  <a:noFill/>
                </a:ln>
                <a:solidFill>
                  <a:schemeClr val="tx1"/>
                </a:solidFill>
                <a:effectLst/>
                <a:latin typeface="+mn-lt"/>
              </a:endParaRPr>
            </a:p>
          </p:txBody>
        </p:sp>
        <p:sp>
          <p:nvSpPr>
            <p:cNvPr id="603" name="Rectangle 178">
              <a:extLst>
                <a:ext uri="{FF2B5EF4-FFF2-40B4-BE49-F238E27FC236}">
                  <a16:creationId xmlns:a16="http://schemas.microsoft.com/office/drawing/2014/main" id="{9BE4D807-C292-4401-8D4C-05B291560FDC}"/>
                </a:ext>
              </a:extLst>
            </p:cNvPr>
            <p:cNvSpPr>
              <a:spLocks noChangeArrowheads="1"/>
            </p:cNvSpPr>
            <p:nvPr/>
          </p:nvSpPr>
          <p:spPr bwMode="auto">
            <a:xfrm>
              <a:off x="4833519" y="6136481"/>
              <a:ext cx="44082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err="1">
                  <a:ln>
                    <a:noFill/>
                  </a:ln>
                  <a:solidFill>
                    <a:srgbClr val="000000"/>
                  </a:solidFill>
                  <a:effectLst/>
                  <a:latin typeface="+mn-lt"/>
                </a:rPr>
                <a:t>Recycling</a:t>
              </a:r>
              <a:endParaRPr kumimoji="0" lang="fr-FR" altLang="fr-FR" sz="800" b="0" i="0" u="none" strike="noStrike" cap="none" normalizeH="0" baseline="0">
                <a:ln>
                  <a:noFill/>
                </a:ln>
                <a:solidFill>
                  <a:schemeClr val="tx1"/>
                </a:solidFill>
                <a:effectLst/>
                <a:latin typeface="+mn-lt"/>
              </a:endParaRPr>
            </a:p>
          </p:txBody>
        </p:sp>
      </p:grpSp>
      <p:grpSp>
        <p:nvGrpSpPr>
          <p:cNvPr id="612" name="Groupe 436">
            <a:extLst>
              <a:ext uri="{FF2B5EF4-FFF2-40B4-BE49-F238E27FC236}">
                <a16:creationId xmlns:a16="http://schemas.microsoft.com/office/drawing/2014/main" id="{2ED8DD53-06EF-49C7-A0AA-75CA36A68E83}"/>
              </a:ext>
              <a:ext uri="{C183D7F6-B498-43B3-948B-1728B52AA6E4}">
                <adec:decorative xmlns:adec="http://schemas.microsoft.com/office/drawing/2017/decorative" val="1"/>
              </a:ext>
            </a:extLst>
          </p:cNvPr>
          <p:cNvGrpSpPr>
            <a:grpSpLocks noChangeAspect="1"/>
          </p:cNvGrpSpPr>
          <p:nvPr/>
        </p:nvGrpSpPr>
        <p:grpSpPr>
          <a:xfrm>
            <a:off x="5591944" y="5448851"/>
            <a:ext cx="674643" cy="633600"/>
            <a:chOff x="8498189" y="685769"/>
            <a:chExt cx="902946" cy="848014"/>
          </a:xfrm>
        </p:grpSpPr>
        <p:sp>
          <p:nvSpPr>
            <p:cNvPr id="613" name="Freeform 87">
              <a:extLst>
                <a:ext uri="{FF2B5EF4-FFF2-40B4-BE49-F238E27FC236}">
                  <a16:creationId xmlns:a16="http://schemas.microsoft.com/office/drawing/2014/main" id="{8B92F8C0-84A5-413A-9F26-9D3027C53BAC}"/>
                </a:ext>
              </a:extLst>
            </p:cNvPr>
            <p:cNvSpPr>
              <a:spLocks/>
            </p:cNvSpPr>
            <p:nvPr/>
          </p:nvSpPr>
          <p:spPr bwMode="auto">
            <a:xfrm>
              <a:off x="8498189" y="685769"/>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614" name="Freeform 20">
              <a:extLst>
                <a:ext uri="{FF2B5EF4-FFF2-40B4-BE49-F238E27FC236}">
                  <a16:creationId xmlns:a16="http://schemas.microsoft.com/office/drawing/2014/main" id="{C5A2EE6F-863D-4488-8483-02AA69CD68B7}"/>
                </a:ext>
              </a:extLst>
            </p:cNvPr>
            <p:cNvSpPr>
              <a:spLocks noEditPoints="1"/>
            </p:cNvSpPr>
            <p:nvPr/>
          </p:nvSpPr>
          <p:spPr bwMode="auto">
            <a:xfrm>
              <a:off x="8744043" y="862896"/>
              <a:ext cx="392980" cy="490002"/>
            </a:xfrm>
            <a:custGeom>
              <a:avLst/>
              <a:gdLst>
                <a:gd name="T0" fmla="*/ 4 w 54"/>
                <a:gd name="T1" fmla="*/ 69 h 69"/>
                <a:gd name="T2" fmla="*/ 51 w 54"/>
                <a:gd name="T3" fmla="*/ 67 h 69"/>
                <a:gd name="T4" fmla="*/ 3 w 54"/>
                <a:gd name="T5" fmla="*/ 20 h 69"/>
                <a:gd name="T6" fmla="*/ 27 w 54"/>
                <a:gd name="T7" fmla="*/ 59 h 69"/>
                <a:gd name="T8" fmla="*/ 15 w 54"/>
                <a:gd name="T9" fmla="*/ 57 h 69"/>
                <a:gd name="T10" fmla="*/ 17 w 54"/>
                <a:gd name="T11" fmla="*/ 51 h 69"/>
                <a:gd name="T12" fmla="*/ 27 w 54"/>
                <a:gd name="T13" fmla="*/ 59 h 69"/>
                <a:gd name="T14" fmla="*/ 39 w 54"/>
                <a:gd name="T15" fmla="*/ 59 h 69"/>
                <a:gd name="T16" fmla="*/ 33 w 54"/>
                <a:gd name="T17" fmla="*/ 61 h 69"/>
                <a:gd name="T18" fmla="*/ 33 w 54"/>
                <a:gd name="T19" fmla="*/ 49 h 69"/>
                <a:gd name="T20" fmla="*/ 43 w 54"/>
                <a:gd name="T21" fmla="*/ 51 h 69"/>
                <a:gd name="T22" fmla="*/ 41 w 54"/>
                <a:gd name="T23" fmla="*/ 57 h 69"/>
                <a:gd name="T24" fmla="*/ 45 w 54"/>
                <a:gd name="T25" fmla="*/ 48 h 69"/>
                <a:gd name="T26" fmla="*/ 39 w 54"/>
                <a:gd name="T27" fmla="*/ 49 h 69"/>
                <a:gd name="T28" fmla="*/ 41 w 54"/>
                <a:gd name="T29" fmla="*/ 37 h 69"/>
                <a:gd name="T30" fmla="*/ 32 w 54"/>
                <a:gd name="T31" fmla="*/ 26 h 69"/>
                <a:gd name="T32" fmla="*/ 38 w 54"/>
                <a:gd name="T33" fmla="*/ 31 h 69"/>
                <a:gd name="T34" fmla="*/ 36 w 54"/>
                <a:gd name="T35" fmla="*/ 37 h 69"/>
                <a:gd name="T36" fmla="*/ 31 w 54"/>
                <a:gd name="T37" fmla="*/ 36 h 69"/>
                <a:gd name="T38" fmla="*/ 23 w 54"/>
                <a:gd name="T39" fmla="*/ 26 h 69"/>
                <a:gd name="T40" fmla="*/ 19 w 54"/>
                <a:gd name="T41" fmla="*/ 28 h 69"/>
                <a:gd name="T42" fmla="*/ 25 w 54"/>
                <a:gd name="T43" fmla="*/ 28 h 69"/>
                <a:gd name="T44" fmla="*/ 21 w 54"/>
                <a:gd name="T45" fmla="*/ 40 h 69"/>
                <a:gd name="T46" fmla="*/ 19 w 54"/>
                <a:gd name="T47" fmla="*/ 28 h 69"/>
                <a:gd name="T48" fmla="*/ 11 w 54"/>
                <a:gd name="T49" fmla="*/ 42 h 69"/>
                <a:gd name="T50" fmla="*/ 17 w 54"/>
                <a:gd name="T51" fmla="*/ 40 h 69"/>
                <a:gd name="T52" fmla="*/ 18 w 54"/>
                <a:gd name="T53" fmla="*/ 46 h 69"/>
                <a:gd name="T54" fmla="*/ 13 w 54"/>
                <a:gd name="T55" fmla="*/ 57 h 69"/>
                <a:gd name="T56" fmla="*/ 9 w 54"/>
                <a:gd name="T57" fmla="*/ 46 h 69"/>
                <a:gd name="T58" fmla="*/ 39 w 54"/>
                <a:gd name="T59" fmla="*/ 9 h 69"/>
                <a:gd name="T60" fmla="*/ 33 w 54"/>
                <a:gd name="T61" fmla="*/ 0 h 69"/>
                <a:gd name="T62" fmla="*/ 15 w 54"/>
                <a:gd name="T63" fmla="*/ 6 h 69"/>
                <a:gd name="T64" fmla="*/ 2 w 54"/>
                <a:gd name="T65" fmla="*/ 9 h 69"/>
                <a:gd name="T66" fmla="*/ 0 w 54"/>
                <a:gd name="T67" fmla="*/ 15 h 69"/>
                <a:gd name="T68" fmla="*/ 52 w 54"/>
                <a:gd name="T69" fmla="*/ 17 h 69"/>
                <a:gd name="T70" fmla="*/ 54 w 54"/>
                <a:gd name="T71" fmla="*/ 10 h 69"/>
                <a:gd name="T72" fmla="*/ 35 w 54"/>
                <a:gd name="T73" fmla="*/ 9 h 69"/>
                <a:gd name="T74" fmla="*/ 19 w 54"/>
                <a:gd name="T75" fmla="*/ 6 h 69"/>
                <a:gd name="T76" fmla="*/ 33 w 54"/>
                <a:gd name="T77" fmla="*/ 4 h 69"/>
                <a:gd name="T78" fmla="*/ 35 w 54"/>
                <a:gd name="T79" fmla="*/ 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69">
                  <a:moveTo>
                    <a:pt x="3" y="67"/>
                  </a:moveTo>
                  <a:cubicBezTo>
                    <a:pt x="3" y="68"/>
                    <a:pt x="4" y="69"/>
                    <a:pt x="4" y="69"/>
                  </a:cubicBezTo>
                  <a:cubicBezTo>
                    <a:pt x="50" y="69"/>
                    <a:pt x="50" y="69"/>
                    <a:pt x="50" y="69"/>
                  </a:cubicBezTo>
                  <a:cubicBezTo>
                    <a:pt x="50" y="69"/>
                    <a:pt x="51" y="68"/>
                    <a:pt x="51" y="67"/>
                  </a:cubicBezTo>
                  <a:cubicBezTo>
                    <a:pt x="51" y="20"/>
                    <a:pt x="51" y="20"/>
                    <a:pt x="51" y="20"/>
                  </a:cubicBezTo>
                  <a:cubicBezTo>
                    <a:pt x="3" y="20"/>
                    <a:pt x="3" y="20"/>
                    <a:pt x="3" y="20"/>
                  </a:cubicBezTo>
                  <a:lnTo>
                    <a:pt x="3" y="67"/>
                  </a:lnTo>
                  <a:close/>
                  <a:moveTo>
                    <a:pt x="27" y="59"/>
                  </a:moveTo>
                  <a:cubicBezTo>
                    <a:pt x="18" y="59"/>
                    <a:pt x="18" y="59"/>
                    <a:pt x="18" y="59"/>
                  </a:cubicBezTo>
                  <a:cubicBezTo>
                    <a:pt x="16" y="59"/>
                    <a:pt x="15" y="58"/>
                    <a:pt x="15" y="57"/>
                  </a:cubicBezTo>
                  <a:cubicBezTo>
                    <a:pt x="14" y="56"/>
                    <a:pt x="15" y="55"/>
                    <a:pt x="15" y="54"/>
                  </a:cubicBezTo>
                  <a:cubicBezTo>
                    <a:pt x="17" y="51"/>
                    <a:pt x="17" y="51"/>
                    <a:pt x="17" y="51"/>
                  </a:cubicBezTo>
                  <a:cubicBezTo>
                    <a:pt x="27" y="51"/>
                    <a:pt x="27" y="51"/>
                    <a:pt x="27" y="51"/>
                  </a:cubicBezTo>
                  <a:lnTo>
                    <a:pt x="27" y="59"/>
                  </a:lnTo>
                  <a:close/>
                  <a:moveTo>
                    <a:pt x="41" y="57"/>
                  </a:moveTo>
                  <a:cubicBezTo>
                    <a:pt x="41" y="58"/>
                    <a:pt x="39" y="59"/>
                    <a:pt x="39" y="59"/>
                  </a:cubicBezTo>
                  <a:cubicBezTo>
                    <a:pt x="33" y="59"/>
                    <a:pt x="33" y="59"/>
                    <a:pt x="33" y="59"/>
                  </a:cubicBezTo>
                  <a:cubicBezTo>
                    <a:pt x="33" y="61"/>
                    <a:pt x="33" y="61"/>
                    <a:pt x="33" y="61"/>
                  </a:cubicBezTo>
                  <a:cubicBezTo>
                    <a:pt x="29" y="55"/>
                    <a:pt x="29" y="55"/>
                    <a:pt x="29" y="55"/>
                  </a:cubicBezTo>
                  <a:cubicBezTo>
                    <a:pt x="33" y="49"/>
                    <a:pt x="33" y="49"/>
                    <a:pt x="33" y="49"/>
                  </a:cubicBezTo>
                  <a:cubicBezTo>
                    <a:pt x="33" y="51"/>
                    <a:pt x="33" y="51"/>
                    <a:pt x="33" y="51"/>
                  </a:cubicBezTo>
                  <a:cubicBezTo>
                    <a:pt x="43" y="51"/>
                    <a:pt x="43" y="51"/>
                    <a:pt x="43" y="51"/>
                  </a:cubicBezTo>
                  <a:cubicBezTo>
                    <a:pt x="44" y="51"/>
                    <a:pt x="45" y="50"/>
                    <a:pt x="46" y="49"/>
                  </a:cubicBezTo>
                  <a:cubicBezTo>
                    <a:pt x="45" y="50"/>
                    <a:pt x="42" y="56"/>
                    <a:pt x="41" y="57"/>
                  </a:cubicBezTo>
                  <a:close/>
                  <a:moveTo>
                    <a:pt x="45" y="45"/>
                  </a:moveTo>
                  <a:cubicBezTo>
                    <a:pt x="46" y="46"/>
                    <a:pt x="45" y="47"/>
                    <a:pt x="45" y="48"/>
                  </a:cubicBezTo>
                  <a:cubicBezTo>
                    <a:pt x="44" y="49"/>
                    <a:pt x="43" y="49"/>
                    <a:pt x="42" y="49"/>
                  </a:cubicBezTo>
                  <a:cubicBezTo>
                    <a:pt x="39" y="49"/>
                    <a:pt x="39" y="49"/>
                    <a:pt x="39" y="49"/>
                  </a:cubicBezTo>
                  <a:cubicBezTo>
                    <a:pt x="34" y="41"/>
                    <a:pt x="34" y="41"/>
                    <a:pt x="34" y="41"/>
                  </a:cubicBezTo>
                  <a:cubicBezTo>
                    <a:pt x="41" y="37"/>
                    <a:pt x="41" y="37"/>
                    <a:pt x="41" y="37"/>
                  </a:cubicBezTo>
                  <a:lnTo>
                    <a:pt x="45" y="45"/>
                  </a:lnTo>
                  <a:close/>
                  <a:moveTo>
                    <a:pt x="32" y="26"/>
                  </a:moveTo>
                  <a:cubicBezTo>
                    <a:pt x="34" y="26"/>
                    <a:pt x="35" y="26"/>
                    <a:pt x="35" y="27"/>
                  </a:cubicBezTo>
                  <a:cubicBezTo>
                    <a:pt x="38" y="31"/>
                    <a:pt x="38" y="31"/>
                    <a:pt x="38" y="31"/>
                  </a:cubicBezTo>
                  <a:cubicBezTo>
                    <a:pt x="40" y="30"/>
                    <a:pt x="40" y="30"/>
                    <a:pt x="40" y="30"/>
                  </a:cubicBezTo>
                  <a:cubicBezTo>
                    <a:pt x="36" y="37"/>
                    <a:pt x="36" y="37"/>
                    <a:pt x="36" y="37"/>
                  </a:cubicBezTo>
                  <a:cubicBezTo>
                    <a:pt x="29" y="37"/>
                    <a:pt x="29" y="37"/>
                    <a:pt x="29" y="37"/>
                  </a:cubicBezTo>
                  <a:cubicBezTo>
                    <a:pt x="31" y="36"/>
                    <a:pt x="31" y="36"/>
                    <a:pt x="31" y="36"/>
                  </a:cubicBezTo>
                  <a:cubicBezTo>
                    <a:pt x="26" y="27"/>
                    <a:pt x="26" y="27"/>
                    <a:pt x="26" y="27"/>
                  </a:cubicBezTo>
                  <a:cubicBezTo>
                    <a:pt x="25" y="27"/>
                    <a:pt x="24" y="25"/>
                    <a:pt x="23" y="26"/>
                  </a:cubicBezTo>
                  <a:cubicBezTo>
                    <a:pt x="24" y="26"/>
                    <a:pt x="31" y="26"/>
                    <a:pt x="32" y="26"/>
                  </a:cubicBezTo>
                  <a:close/>
                  <a:moveTo>
                    <a:pt x="19" y="28"/>
                  </a:moveTo>
                  <a:cubicBezTo>
                    <a:pt x="20" y="27"/>
                    <a:pt x="21" y="27"/>
                    <a:pt x="22" y="27"/>
                  </a:cubicBezTo>
                  <a:cubicBezTo>
                    <a:pt x="23" y="26"/>
                    <a:pt x="24" y="28"/>
                    <a:pt x="25" y="28"/>
                  </a:cubicBezTo>
                  <a:cubicBezTo>
                    <a:pt x="26" y="31"/>
                    <a:pt x="26" y="31"/>
                    <a:pt x="26" y="31"/>
                  </a:cubicBezTo>
                  <a:cubicBezTo>
                    <a:pt x="21" y="40"/>
                    <a:pt x="21" y="40"/>
                    <a:pt x="21" y="40"/>
                  </a:cubicBezTo>
                  <a:cubicBezTo>
                    <a:pt x="14" y="36"/>
                    <a:pt x="14" y="36"/>
                    <a:pt x="14" y="36"/>
                  </a:cubicBezTo>
                  <a:lnTo>
                    <a:pt x="19" y="28"/>
                  </a:lnTo>
                  <a:close/>
                  <a:moveTo>
                    <a:pt x="9" y="46"/>
                  </a:moveTo>
                  <a:cubicBezTo>
                    <a:pt x="11" y="42"/>
                    <a:pt x="11" y="42"/>
                    <a:pt x="11" y="42"/>
                  </a:cubicBezTo>
                  <a:cubicBezTo>
                    <a:pt x="9" y="40"/>
                    <a:pt x="9" y="40"/>
                    <a:pt x="9" y="40"/>
                  </a:cubicBezTo>
                  <a:cubicBezTo>
                    <a:pt x="17" y="40"/>
                    <a:pt x="17" y="40"/>
                    <a:pt x="17" y="40"/>
                  </a:cubicBezTo>
                  <a:cubicBezTo>
                    <a:pt x="20" y="47"/>
                    <a:pt x="20" y="47"/>
                    <a:pt x="20" y="47"/>
                  </a:cubicBezTo>
                  <a:cubicBezTo>
                    <a:pt x="18" y="46"/>
                    <a:pt x="18" y="46"/>
                    <a:pt x="18" y="46"/>
                  </a:cubicBezTo>
                  <a:cubicBezTo>
                    <a:pt x="14" y="54"/>
                    <a:pt x="14" y="54"/>
                    <a:pt x="14" y="54"/>
                  </a:cubicBezTo>
                  <a:cubicBezTo>
                    <a:pt x="13" y="55"/>
                    <a:pt x="13" y="56"/>
                    <a:pt x="13" y="57"/>
                  </a:cubicBezTo>
                  <a:cubicBezTo>
                    <a:pt x="13" y="56"/>
                    <a:pt x="9" y="50"/>
                    <a:pt x="9" y="49"/>
                  </a:cubicBezTo>
                  <a:cubicBezTo>
                    <a:pt x="8" y="48"/>
                    <a:pt x="8" y="47"/>
                    <a:pt x="9" y="46"/>
                  </a:cubicBezTo>
                  <a:close/>
                  <a:moveTo>
                    <a:pt x="52" y="9"/>
                  </a:moveTo>
                  <a:cubicBezTo>
                    <a:pt x="39" y="9"/>
                    <a:pt x="39" y="9"/>
                    <a:pt x="39" y="9"/>
                  </a:cubicBezTo>
                  <a:cubicBezTo>
                    <a:pt x="39" y="6"/>
                    <a:pt x="39" y="6"/>
                    <a:pt x="39" y="6"/>
                  </a:cubicBezTo>
                  <a:cubicBezTo>
                    <a:pt x="39" y="3"/>
                    <a:pt x="36" y="0"/>
                    <a:pt x="33" y="0"/>
                  </a:cubicBezTo>
                  <a:cubicBezTo>
                    <a:pt x="21" y="0"/>
                    <a:pt x="21" y="0"/>
                    <a:pt x="21" y="0"/>
                  </a:cubicBezTo>
                  <a:cubicBezTo>
                    <a:pt x="18" y="0"/>
                    <a:pt x="15" y="3"/>
                    <a:pt x="15" y="6"/>
                  </a:cubicBezTo>
                  <a:cubicBezTo>
                    <a:pt x="15" y="9"/>
                    <a:pt x="15" y="9"/>
                    <a:pt x="15" y="9"/>
                  </a:cubicBezTo>
                  <a:cubicBezTo>
                    <a:pt x="2" y="9"/>
                    <a:pt x="2" y="9"/>
                    <a:pt x="2" y="9"/>
                  </a:cubicBezTo>
                  <a:cubicBezTo>
                    <a:pt x="1" y="9"/>
                    <a:pt x="0" y="10"/>
                    <a:pt x="0" y="10"/>
                  </a:cubicBezTo>
                  <a:cubicBezTo>
                    <a:pt x="0" y="15"/>
                    <a:pt x="0" y="15"/>
                    <a:pt x="0" y="15"/>
                  </a:cubicBezTo>
                  <a:cubicBezTo>
                    <a:pt x="0" y="16"/>
                    <a:pt x="1" y="16"/>
                    <a:pt x="2" y="17"/>
                  </a:cubicBezTo>
                  <a:cubicBezTo>
                    <a:pt x="52" y="17"/>
                    <a:pt x="52" y="17"/>
                    <a:pt x="52" y="17"/>
                  </a:cubicBezTo>
                  <a:cubicBezTo>
                    <a:pt x="53" y="16"/>
                    <a:pt x="54" y="16"/>
                    <a:pt x="54" y="15"/>
                  </a:cubicBezTo>
                  <a:cubicBezTo>
                    <a:pt x="54" y="10"/>
                    <a:pt x="54" y="10"/>
                    <a:pt x="54" y="10"/>
                  </a:cubicBezTo>
                  <a:cubicBezTo>
                    <a:pt x="54" y="10"/>
                    <a:pt x="53" y="9"/>
                    <a:pt x="52" y="9"/>
                  </a:cubicBezTo>
                  <a:close/>
                  <a:moveTo>
                    <a:pt x="35" y="9"/>
                  </a:moveTo>
                  <a:cubicBezTo>
                    <a:pt x="19" y="9"/>
                    <a:pt x="19" y="9"/>
                    <a:pt x="19" y="9"/>
                  </a:cubicBezTo>
                  <a:cubicBezTo>
                    <a:pt x="19" y="7"/>
                    <a:pt x="19" y="6"/>
                    <a:pt x="19" y="6"/>
                  </a:cubicBezTo>
                  <a:cubicBezTo>
                    <a:pt x="19" y="5"/>
                    <a:pt x="20" y="4"/>
                    <a:pt x="21" y="4"/>
                  </a:cubicBezTo>
                  <a:cubicBezTo>
                    <a:pt x="33" y="4"/>
                    <a:pt x="33" y="4"/>
                    <a:pt x="33" y="4"/>
                  </a:cubicBezTo>
                  <a:cubicBezTo>
                    <a:pt x="34" y="4"/>
                    <a:pt x="35" y="5"/>
                    <a:pt x="35" y="6"/>
                  </a:cubicBezTo>
                  <a:cubicBezTo>
                    <a:pt x="35" y="6"/>
                    <a:pt x="35" y="7"/>
                    <a:pt x="35"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615" name="Groupe 389">
            <a:extLst>
              <a:ext uri="{FF2B5EF4-FFF2-40B4-BE49-F238E27FC236}">
                <a16:creationId xmlns:a16="http://schemas.microsoft.com/office/drawing/2014/main" id="{4A734BDB-B146-493D-A173-0B795BE84C8B}"/>
              </a:ext>
              <a:ext uri="{C183D7F6-B498-43B3-948B-1728B52AA6E4}">
                <adec:decorative xmlns:adec="http://schemas.microsoft.com/office/drawing/2017/decorative" val="1"/>
              </a:ext>
            </a:extLst>
          </p:cNvPr>
          <p:cNvGrpSpPr>
            <a:grpSpLocks noChangeAspect="1"/>
          </p:cNvGrpSpPr>
          <p:nvPr/>
        </p:nvGrpSpPr>
        <p:grpSpPr>
          <a:xfrm>
            <a:off x="9986839" y="5448851"/>
            <a:ext cx="676827" cy="633600"/>
            <a:chOff x="6848476" y="504826"/>
            <a:chExt cx="869950" cy="814388"/>
          </a:xfrm>
        </p:grpSpPr>
        <p:sp>
          <p:nvSpPr>
            <p:cNvPr id="616" name="Freeform 94">
              <a:extLst>
                <a:ext uri="{FF2B5EF4-FFF2-40B4-BE49-F238E27FC236}">
                  <a16:creationId xmlns:a16="http://schemas.microsoft.com/office/drawing/2014/main" id="{D462AAF9-1FF9-41FC-B94A-6A8480B46685}"/>
                </a:ext>
              </a:extLst>
            </p:cNvPr>
            <p:cNvSpPr>
              <a:spLocks/>
            </p:cNvSpPr>
            <p:nvPr/>
          </p:nvSpPr>
          <p:spPr bwMode="auto">
            <a:xfrm>
              <a:off x="6848476" y="504826"/>
              <a:ext cx="869950" cy="814388"/>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95">
              <a:extLst>
                <a:ext uri="{FF2B5EF4-FFF2-40B4-BE49-F238E27FC236}">
                  <a16:creationId xmlns:a16="http://schemas.microsoft.com/office/drawing/2014/main" id="{685A9161-0E46-4869-AA8A-2FC0B1ED4774}"/>
                </a:ext>
              </a:extLst>
            </p:cNvPr>
            <p:cNvSpPr>
              <a:spLocks/>
            </p:cNvSpPr>
            <p:nvPr/>
          </p:nvSpPr>
          <p:spPr bwMode="auto">
            <a:xfrm>
              <a:off x="7219951" y="942976"/>
              <a:ext cx="130175" cy="125413"/>
            </a:xfrm>
            <a:custGeom>
              <a:avLst/>
              <a:gdLst>
                <a:gd name="T0" fmla="*/ 30 w 35"/>
                <a:gd name="T1" fmla="*/ 0 h 33"/>
                <a:gd name="T2" fmla="*/ 5 w 35"/>
                <a:gd name="T3" fmla="*/ 1 h 33"/>
                <a:gd name="T4" fmla="*/ 0 w 35"/>
                <a:gd name="T5" fmla="*/ 7 h 33"/>
                <a:gd name="T6" fmla="*/ 0 w 35"/>
                <a:gd name="T7" fmla="*/ 9 h 33"/>
                <a:gd name="T8" fmla="*/ 0 w 35"/>
                <a:gd name="T9" fmla="*/ 32 h 33"/>
                <a:gd name="T10" fmla="*/ 30 w 35"/>
                <a:gd name="T11" fmla="*/ 32 h 33"/>
                <a:gd name="T12" fmla="*/ 35 w 35"/>
                <a:gd name="T13" fmla="*/ 27 h 33"/>
                <a:gd name="T14" fmla="*/ 35 w 35"/>
                <a:gd name="T15" fmla="*/ 5 h 33"/>
                <a:gd name="T16" fmla="*/ 30 w 35"/>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3">
                  <a:moveTo>
                    <a:pt x="30" y="0"/>
                  </a:moveTo>
                  <a:cubicBezTo>
                    <a:pt x="27" y="0"/>
                    <a:pt x="7" y="1"/>
                    <a:pt x="5" y="1"/>
                  </a:cubicBezTo>
                  <a:cubicBezTo>
                    <a:pt x="1" y="1"/>
                    <a:pt x="0" y="3"/>
                    <a:pt x="0" y="7"/>
                  </a:cubicBezTo>
                  <a:cubicBezTo>
                    <a:pt x="0" y="9"/>
                    <a:pt x="0" y="9"/>
                    <a:pt x="0" y="9"/>
                  </a:cubicBezTo>
                  <a:cubicBezTo>
                    <a:pt x="0" y="13"/>
                    <a:pt x="1" y="27"/>
                    <a:pt x="0" y="32"/>
                  </a:cubicBezTo>
                  <a:cubicBezTo>
                    <a:pt x="1" y="32"/>
                    <a:pt x="26" y="33"/>
                    <a:pt x="30" y="32"/>
                  </a:cubicBezTo>
                  <a:cubicBezTo>
                    <a:pt x="33" y="32"/>
                    <a:pt x="35" y="31"/>
                    <a:pt x="35" y="27"/>
                  </a:cubicBezTo>
                  <a:cubicBezTo>
                    <a:pt x="35" y="5"/>
                    <a:pt x="35" y="5"/>
                    <a:pt x="35" y="5"/>
                  </a:cubicBezTo>
                  <a:cubicBezTo>
                    <a:pt x="35" y="1"/>
                    <a:pt x="34" y="1"/>
                    <a:pt x="3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96">
              <a:extLst>
                <a:ext uri="{FF2B5EF4-FFF2-40B4-BE49-F238E27FC236}">
                  <a16:creationId xmlns:a16="http://schemas.microsoft.com/office/drawing/2014/main" id="{4B40ECBA-9572-4999-90AD-B06290B36FCF}"/>
                </a:ext>
              </a:extLst>
            </p:cNvPr>
            <p:cNvSpPr>
              <a:spLocks/>
            </p:cNvSpPr>
            <p:nvPr/>
          </p:nvSpPr>
          <p:spPr bwMode="auto">
            <a:xfrm>
              <a:off x="7156451" y="835026"/>
              <a:ext cx="258763" cy="79375"/>
            </a:xfrm>
            <a:custGeom>
              <a:avLst/>
              <a:gdLst>
                <a:gd name="T0" fmla="*/ 69 w 69"/>
                <a:gd name="T1" fmla="*/ 0 h 21"/>
                <a:gd name="T2" fmla="*/ 69 w 69"/>
                <a:gd name="T3" fmla="*/ 12 h 21"/>
                <a:gd name="T4" fmla="*/ 60 w 69"/>
                <a:gd name="T5" fmla="*/ 21 h 21"/>
                <a:gd name="T6" fmla="*/ 9 w 69"/>
                <a:gd name="T7" fmla="*/ 21 h 21"/>
                <a:gd name="T8" fmla="*/ 0 w 69"/>
                <a:gd name="T9" fmla="*/ 11 h 21"/>
                <a:gd name="T10" fmla="*/ 0 w 69"/>
                <a:gd name="T11" fmla="*/ 0 h 21"/>
                <a:gd name="T12" fmla="*/ 17 w 69"/>
                <a:gd name="T13" fmla="*/ 0 h 21"/>
                <a:gd name="T14" fmla="*/ 17 w 69"/>
                <a:gd name="T15" fmla="*/ 3 h 21"/>
                <a:gd name="T16" fmla="*/ 3 w 69"/>
                <a:gd name="T17" fmla="*/ 3 h 21"/>
                <a:gd name="T18" fmla="*/ 3 w 69"/>
                <a:gd name="T19" fmla="*/ 12 h 21"/>
                <a:gd name="T20" fmla="*/ 9 w 69"/>
                <a:gd name="T21" fmla="*/ 18 h 21"/>
                <a:gd name="T22" fmla="*/ 60 w 69"/>
                <a:gd name="T23" fmla="*/ 18 h 21"/>
                <a:gd name="T24" fmla="*/ 66 w 69"/>
                <a:gd name="T25" fmla="*/ 11 h 21"/>
                <a:gd name="T26" fmla="*/ 66 w 69"/>
                <a:gd name="T27" fmla="*/ 3 h 21"/>
                <a:gd name="T28" fmla="*/ 49 w 69"/>
                <a:gd name="T29" fmla="*/ 3 h 21"/>
                <a:gd name="T30" fmla="*/ 49 w 69"/>
                <a:gd name="T31" fmla="*/ 3 h 21"/>
                <a:gd name="T32" fmla="*/ 49 w 69"/>
                <a:gd name="T33" fmla="*/ 3 h 21"/>
                <a:gd name="T34" fmla="*/ 49 w 69"/>
                <a:gd name="T35" fmla="*/ 1 h 21"/>
                <a:gd name="T36" fmla="*/ 49 w 69"/>
                <a:gd name="T37" fmla="*/ 0 h 21"/>
                <a:gd name="T38" fmla="*/ 69 w 69"/>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1">
                  <a:moveTo>
                    <a:pt x="69" y="0"/>
                  </a:moveTo>
                  <a:cubicBezTo>
                    <a:pt x="69" y="12"/>
                    <a:pt x="69" y="12"/>
                    <a:pt x="69" y="12"/>
                  </a:cubicBezTo>
                  <a:cubicBezTo>
                    <a:pt x="69" y="17"/>
                    <a:pt x="65" y="21"/>
                    <a:pt x="60" y="21"/>
                  </a:cubicBezTo>
                  <a:cubicBezTo>
                    <a:pt x="9" y="21"/>
                    <a:pt x="9" y="21"/>
                    <a:pt x="9" y="21"/>
                  </a:cubicBezTo>
                  <a:cubicBezTo>
                    <a:pt x="4" y="21"/>
                    <a:pt x="0" y="17"/>
                    <a:pt x="0" y="11"/>
                  </a:cubicBezTo>
                  <a:cubicBezTo>
                    <a:pt x="0" y="0"/>
                    <a:pt x="0" y="0"/>
                    <a:pt x="0" y="0"/>
                  </a:cubicBezTo>
                  <a:cubicBezTo>
                    <a:pt x="17" y="0"/>
                    <a:pt x="17" y="0"/>
                    <a:pt x="17" y="0"/>
                  </a:cubicBezTo>
                  <a:cubicBezTo>
                    <a:pt x="17" y="3"/>
                    <a:pt x="17" y="3"/>
                    <a:pt x="17" y="3"/>
                  </a:cubicBezTo>
                  <a:cubicBezTo>
                    <a:pt x="3" y="3"/>
                    <a:pt x="3" y="3"/>
                    <a:pt x="3" y="3"/>
                  </a:cubicBezTo>
                  <a:cubicBezTo>
                    <a:pt x="3" y="12"/>
                    <a:pt x="3" y="12"/>
                    <a:pt x="3" y="12"/>
                  </a:cubicBezTo>
                  <a:cubicBezTo>
                    <a:pt x="3" y="15"/>
                    <a:pt x="6" y="18"/>
                    <a:pt x="9" y="18"/>
                  </a:cubicBezTo>
                  <a:cubicBezTo>
                    <a:pt x="60" y="18"/>
                    <a:pt x="60" y="18"/>
                    <a:pt x="60" y="18"/>
                  </a:cubicBezTo>
                  <a:cubicBezTo>
                    <a:pt x="63" y="18"/>
                    <a:pt x="66" y="15"/>
                    <a:pt x="66" y="11"/>
                  </a:cubicBezTo>
                  <a:cubicBezTo>
                    <a:pt x="66" y="3"/>
                    <a:pt x="66" y="3"/>
                    <a:pt x="66" y="3"/>
                  </a:cubicBezTo>
                  <a:cubicBezTo>
                    <a:pt x="49" y="3"/>
                    <a:pt x="49" y="3"/>
                    <a:pt x="49" y="3"/>
                  </a:cubicBezTo>
                  <a:cubicBezTo>
                    <a:pt x="49" y="3"/>
                    <a:pt x="49" y="3"/>
                    <a:pt x="49" y="3"/>
                  </a:cubicBezTo>
                  <a:cubicBezTo>
                    <a:pt x="49" y="3"/>
                    <a:pt x="49" y="3"/>
                    <a:pt x="49" y="3"/>
                  </a:cubicBezTo>
                  <a:cubicBezTo>
                    <a:pt x="49" y="1"/>
                    <a:pt x="49" y="1"/>
                    <a:pt x="49" y="1"/>
                  </a:cubicBezTo>
                  <a:cubicBezTo>
                    <a:pt x="49" y="1"/>
                    <a:pt x="49" y="1"/>
                    <a:pt x="49" y="0"/>
                  </a:cubicBezTo>
                  <a:lnTo>
                    <a:pt x="6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97">
              <a:extLst>
                <a:ext uri="{FF2B5EF4-FFF2-40B4-BE49-F238E27FC236}">
                  <a16:creationId xmlns:a16="http://schemas.microsoft.com/office/drawing/2014/main" id="{DC0A847E-8A1C-4AA8-B1DF-575A92F4123B}"/>
                </a:ext>
              </a:extLst>
            </p:cNvPr>
            <p:cNvSpPr>
              <a:spLocks/>
            </p:cNvSpPr>
            <p:nvPr/>
          </p:nvSpPr>
          <p:spPr bwMode="auto">
            <a:xfrm>
              <a:off x="7159626" y="838201"/>
              <a:ext cx="255588" cy="71438"/>
            </a:xfrm>
            <a:custGeom>
              <a:avLst/>
              <a:gdLst>
                <a:gd name="T0" fmla="*/ 68 w 68"/>
                <a:gd name="T1" fmla="*/ 0 h 19"/>
                <a:gd name="T2" fmla="*/ 68 w 68"/>
                <a:gd name="T3" fmla="*/ 10 h 19"/>
                <a:gd name="T4" fmla="*/ 59 w 68"/>
                <a:gd name="T5" fmla="*/ 19 h 19"/>
                <a:gd name="T6" fmla="*/ 8 w 68"/>
                <a:gd name="T7" fmla="*/ 19 h 19"/>
                <a:gd name="T8" fmla="*/ 0 w 68"/>
                <a:gd name="T9" fmla="*/ 10 h 19"/>
                <a:gd name="T10" fmla="*/ 0 w 68"/>
                <a:gd name="T11" fmla="*/ 0 h 19"/>
                <a:gd name="T12" fmla="*/ 16 w 68"/>
                <a:gd name="T13" fmla="*/ 0 h 19"/>
                <a:gd name="T14" fmla="*/ 16 w 68"/>
                <a:gd name="T15" fmla="*/ 2 h 19"/>
                <a:gd name="T16" fmla="*/ 1 w 68"/>
                <a:gd name="T17" fmla="*/ 2 h 19"/>
                <a:gd name="T18" fmla="*/ 1 w 68"/>
                <a:gd name="T19" fmla="*/ 10 h 19"/>
                <a:gd name="T20" fmla="*/ 8 w 68"/>
                <a:gd name="T21" fmla="*/ 18 h 19"/>
                <a:gd name="T22" fmla="*/ 59 w 68"/>
                <a:gd name="T23" fmla="*/ 18 h 19"/>
                <a:gd name="T24" fmla="*/ 66 w 68"/>
                <a:gd name="T25" fmla="*/ 10 h 19"/>
                <a:gd name="T26" fmla="*/ 66 w 68"/>
                <a:gd name="T27" fmla="*/ 2 h 19"/>
                <a:gd name="T28" fmla="*/ 48 w 68"/>
                <a:gd name="T29" fmla="*/ 2 h 19"/>
                <a:gd name="T30" fmla="*/ 48 w 68"/>
                <a:gd name="T31" fmla="*/ 0 h 19"/>
                <a:gd name="T32" fmla="*/ 68 w 68"/>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19">
                  <a:moveTo>
                    <a:pt x="68" y="0"/>
                  </a:moveTo>
                  <a:cubicBezTo>
                    <a:pt x="68" y="10"/>
                    <a:pt x="68" y="10"/>
                    <a:pt x="68" y="10"/>
                  </a:cubicBezTo>
                  <a:cubicBezTo>
                    <a:pt x="68" y="15"/>
                    <a:pt x="64" y="19"/>
                    <a:pt x="59" y="19"/>
                  </a:cubicBezTo>
                  <a:cubicBezTo>
                    <a:pt x="8" y="19"/>
                    <a:pt x="8" y="19"/>
                    <a:pt x="8" y="19"/>
                  </a:cubicBezTo>
                  <a:cubicBezTo>
                    <a:pt x="3" y="19"/>
                    <a:pt x="0" y="15"/>
                    <a:pt x="0" y="10"/>
                  </a:cubicBezTo>
                  <a:cubicBezTo>
                    <a:pt x="0" y="0"/>
                    <a:pt x="0" y="0"/>
                    <a:pt x="0" y="0"/>
                  </a:cubicBezTo>
                  <a:cubicBezTo>
                    <a:pt x="16" y="0"/>
                    <a:pt x="16" y="0"/>
                    <a:pt x="16" y="0"/>
                  </a:cubicBezTo>
                  <a:cubicBezTo>
                    <a:pt x="16" y="2"/>
                    <a:pt x="16" y="2"/>
                    <a:pt x="16" y="2"/>
                  </a:cubicBezTo>
                  <a:cubicBezTo>
                    <a:pt x="1" y="2"/>
                    <a:pt x="1" y="2"/>
                    <a:pt x="1" y="2"/>
                  </a:cubicBezTo>
                  <a:cubicBezTo>
                    <a:pt x="1" y="10"/>
                    <a:pt x="1" y="10"/>
                    <a:pt x="1" y="10"/>
                  </a:cubicBezTo>
                  <a:cubicBezTo>
                    <a:pt x="1" y="14"/>
                    <a:pt x="4" y="18"/>
                    <a:pt x="8" y="18"/>
                  </a:cubicBezTo>
                  <a:cubicBezTo>
                    <a:pt x="59" y="18"/>
                    <a:pt x="59" y="18"/>
                    <a:pt x="59" y="18"/>
                  </a:cubicBezTo>
                  <a:cubicBezTo>
                    <a:pt x="63" y="18"/>
                    <a:pt x="66" y="14"/>
                    <a:pt x="66" y="10"/>
                  </a:cubicBezTo>
                  <a:cubicBezTo>
                    <a:pt x="66" y="2"/>
                    <a:pt x="66" y="2"/>
                    <a:pt x="66" y="2"/>
                  </a:cubicBezTo>
                  <a:cubicBezTo>
                    <a:pt x="48" y="2"/>
                    <a:pt x="48" y="2"/>
                    <a:pt x="48" y="2"/>
                  </a:cubicBezTo>
                  <a:cubicBezTo>
                    <a:pt x="48" y="0"/>
                    <a:pt x="48" y="0"/>
                    <a:pt x="48" y="0"/>
                  </a:cubicBez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Rectangle 98">
              <a:extLst>
                <a:ext uri="{FF2B5EF4-FFF2-40B4-BE49-F238E27FC236}">
                  <a16:creationId xmlns:a16="http://schemas.microsoft.com/office/drawing/2014/main" id="{2DD4EE64-5D53-4332-A057-903423C7D071}"/>
                </a:ext>
              </a:extLst>
            </p:cNvPr>
            <p:cNvSpPr>
              <a:spLocks noChangeArrowheads="1"/>
            </p:cNvSpPr>
            <p:nvPr/>
          </p:nvSpPr>
          <p:spPr bwMode="auto">
            <a:xfrm>
              <a:off x="7280276" y="906463"/>
              <a:ext cx="11113"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Rectangle 99">
              <a:extLst>
                <a:ext uri="{FF2B5EF4-FFF2-40B4-BE49-F238E27FC236}">
                  <a16:creationId xmlns:a16="http://schemas.microsoft.com/office/drawing/2014/main" id="{62ED1731-18A5-4E53-B1E4-441DA96649E8}"/>
                </a:ext>
              </a:extLst>
            </p:cNvPr>
            <p:cNvSpPr>
              <a:spLocks noChangeArrowheads="1"/>
            </p:cNvSpPr>
            <p:nvPr/>
          </p:nvSpPr>
          <p:spPr bwMode="auto">
            <a:xfrm>
              <a:off x="7283451" y="906463"/>
              <a:ext cx="3175" cy="36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00">
              <a:extLst>
                <a:ext uri="{FF2B5EF4-FFF2-40B4-BE49-F238E27FC236}">
                  <a16:creationId xmlns:a16="http://schemas.microsoft.com/office/drawing/2014/main" id="{7D3DC555-259B-4DFA-A7EF-D26574CA9726}"/>
                </a:ext>
              </a:extLst>
            </p:cNvPr>
            <p:cNvSpPr>
              <a:spLocks/>
            </p:cNvSpPr>
            <p:nvPr/>
          </p:nvSpPr>
          <p:spPr bwMode="auto">
            <a:xfrm>
              <a:off x="7088188" y="755651"/>
              <a:ext cx="131763" cy="123825"/>
            </a:xfrm>
            <a:custGeom>
              <a:avLst/>
              <a:gdLst>
                <a:gd name="T0" fmla="*/ 35 w 35"/>
                <a:gd name="T1" fmla="*/ 21 h 33"/>
                <a:gd name="T2" fmla="*/ 35 w 35"/>
                <a:gd name="T3" fmla="*/ 27 h 33"/>
                <a:gd name="T4" fmla="*/ 30 w 35"/>
                <a:gd name="T5" fmla="*/ 32 h 33"/>
                <a:gd name="T6" fmla="*/ 21 w 35"/>
                <a:gd name="T7" fmla="*/ 33 h 33"/>
                <a:gd name="T8" fmla="*/ 20 w 35"/>
                <a:gd name="T9" fmla="*/ 32 h 33"/>
                <a:gd name="T10" fmla="*/ 19 w 35"/>
                <a:gd name="T11" fmla="*/ 32 h 33"/>
                <a:gd name="T12" fmla="*/ 18 w 35"/>
                <a:gd name="T13" fmla="*/ 32 h 33"/>
                <a:gd name="T14" fmla="*/ 1 w 35"/>
                <a:gd name="T15" fmla="*/ 32 h 33"/>
                <a:gd name="T16" fmla="*/ 0 w 35"/>
                <a:gd name="T17" fmla="*/ 9 h 33"/>
                <a:gd name="T18" fmla="*/ 0 w 35"/>
                <a:gd name="T19" fmla="*/ 7 h 33"/>
                <a:gd name="T20" fmla="*/ 5 w 35"/>
                <a:gd name="T21" fmla="*/ 1 h 33"/>
                <a:gd name="T22" fmla="*/ 30 w 35"/>
                <a:gd name="T23" fmla="*/ 1 h 33"/>
                <a:gd name="T24" fmla="*/ 35 w 35"/>
                <a:gd name="T25" fmla="*/ 5 h 33"/>
                <a:gd name="T26" fmla="*/ 35 w 35"/>
                <a:gd name="T27"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3">
                  <a:moveTo>
                    <a:pt x="35" y="21"/>
                  </a:moveTo>
                  <a:cubicBezTo>
                    <a:pt x="35" y="27"/>
                    <a:pt x="35" y="27"/>
                    <a:pt x="35" y="27"/>
                  </a:cubicBezTo>
                  <a:cubicBezTo>
                    <a:pt x="35" y="32"/>
                    <a:pt x="34" y="32"/>
                    <a:pt x="30" y="32"/>
                  </a:cubicBezTo>
                  <a:cubicBezTo>
                    <a:pt x="29" y="33"/>
                    <a:pt x="25" y="33"/>
                    <a:pt x="21" y="33"/>
                  </a:cubicBezTo>
                  <a:cubicBezTo>
                    <a:pt x="20" y="33"/>
                    <a:pt x="20" y="33"/>
                    <a:pt x="20" y="32"/>
                  </a:cubicBezTo>
                  <a:cubicBezTo>
                    <a:pt x="19" y="32"/>
                    <a:pt x="19" y="32"/>
                    <a:pt x="19" y="32"/>
                  </a:cubicBezTo>
                  <a:cubicBezTo>
                    <a:pt x="18" y="32"/>
                    <a:pt x="18" y="32"/>
                    <a:pt x="18" y="32"/>
                  </a:cubicBezTo>
                  <a:cubicBezTo>
                    <a:pt x="10" y="32"/>
                    <a:pt x="1" y="32"/>
                    <a:pt x="1" y="32"/>
                  </a:cubicBezTo>
                  <a:cubicBezTo>
                    <a:pt x="1" y="28"/>
                    <a:pt x="0" y="13"/>
                    <a:pt x="0" y="9"/>
                  </a:cubicBezTo>
                  <a:cubicBezTo>
                    <a:pt x="0" y="7"/>
                    <a:pt x="0" y="7"/>
                    <a:pt x="0" y="7"/>
                  </a:cubicBezTo>
                  <a:cubicBezTo>
                    <a:pt x="0" y="3"/>
                    <a:pt x="1" y="1"/>
                    <a:pt x="5" y="1"/>
                  </a:cubicBezTo>
                  <a:cubicBezTo>
                    <a:pt x="7" y="1"/>
                    <a:pt x="27" y="0"/>
                    <a:pt x="30" y="1"/>
                  </a:cubicBezTo>
                  <a:cubicBezTo>
                    <a:pt x="34" y="1"/>
                    <a:pt x="35" y="2"/>
                    <a:pt x="35" y="5"/>
                  </a:cubicBezTo>
                  <a:lnTo>
                    <a:pt x="35"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101">
              <a:extLst>
                <a:ext uri="{FF2B5EF4-FFF2-40B4-BE49-F238E27FC236}">
                  <a16:creationId xmlns:a16="http://schemas.microsoft.com/office/drawing/2014/main" id="{959F3123-3CBB-4E50-992D-9C8691E99F78}"/>
                </a:ext>
              </a:extLst>
            </p:cNvPr>
            <p:cNvSpPr>
              <a:spLocks/>
            </p:cNvSpPr>
            <p:nvPr/>
          </p:nvSpPr>
          <p:spPr bwMode="auto">
            <a:xfrm>
              <a:off x="7339013" y="755651"/>
              <a:ext cx="131763" cy="123825"/>
            </a:xfrm>
            <a:custGeom>
              <a:avLst/>
              <a:gdLst>
                <a:gd name="T0" fmla="*/ 35 w 35"/>
                <a:gd name="T1" fmla="*/ 27 h 33"/>
                <a:gd name="T2" fmla="*/ 30 w 35"/>
                <a:gd name="T3" fmla="*/ 32 h 33"/>
                <a:gd name="T4" fmla="*/ 20 w 35"/>
                <a:gd name="T5" fmla="*/ 33 h 33"/>
                <a:gd name="T6" fmla="*/ 20 w 35"/>
                <a:gd name="T7" fmla="*/ 32 h 33"/>
                <a:gd name="T8" fmla="*/ 18 w 35"/>
                <a:gd name="T9" fmla="*/ 32 h 33"/>
                <a:gd name="T10" fmla="*/ 17 w 35"/>
                <a:gd name="T11" fmla="*/ 32 h 33"/>
                <a:gd name="T12" fmla="*/ 0 w 35"/>
                <a:gd name="T13" fmla="*/ 32 h 33"/>
                <a:gd name="T14" fmla="*/ 0 w 35"/>
                <a:gd name="T15" fmla="*/ 24 h 33"/>
                <a:gd name="T16" fmla="*/ 0 w 35"/>
                <a:gd name="T17" fmla="*/ 24 h 33"/>
                <a:gd name="T18" fmla="*/ 0 w 35"/>
                <a:gd name="T19" fmla="*/ 22 h 33"/>
                <a:gd name="T20" fmla="*/ 0 w 35"/>
                <a:gd name="T21" fmla="*/ 21 h 33"/>
                <a:gd name="T22" fmla="*/ 0 w 35"/>
                <a:gd name="T23" fmla="*/ 9 h 33"/>
                <a:gd name="T24" fmla="*/ 0 w 35"/>
                <a:gd name="T25" fmla="*/ 7 h 33"/>
                <a:gd name="T26" fmla="*/ 5 w 35"/>
                <a:gd name="T27" fmla="*/ 1 h 33"/>
                <a:gd name="T28" fmla="*/ 29 w 35"/>
                <a:gd name="T29" fmla="*/ 1 h 33"/>
                <a:gd name="T30" fmla="*/ 35 w 35"/>
                <a:gd name="T31" fmla="*/ 5 h 33"/>
                <a:gd name="T32" fmla="*/ 35 w 35"/>
                <a:gd name="T33"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33">
                  <a:moveTo>
                    <a:pt x="35" y="27"/>
                  </a:moveTo>
                  <a:cubicBezTo>
                    <a:pt x="35" y="32"/>
                    <a:pt x="33" y="32"/>
                    <a:pt x="30" y="32"/>
                  </a:cubicBezTo>
                  <a:cubicBezTo>
                    <a:pt x="28" y="33"/>
                    <a:pt x="25" y="33"/>
                    <a:pt x="20" y="33"/>
                  </a:cubicBezTo>
                  <a:cubicBezTo>
                    <a:pt x="20" y="33"/>
                    <a:pt x="20" y="33"/>
                    <a:pt x="20" y="32"/>
                  </a:cubicBezTo>
                  <a:cubicBezTo>
                    <a:pt x="19" y="32"/>
                    <a:pt x="19" y="32"/>
                    <a:pt x="18" y="32"/>
                  </a:cubicBezTo>
                  <a:cubicBezTo>
                    <a:pt x="18" y="32"/>
                    <a:pt x="18" y="32"/>
                    <a:pt x="17" y="32"/>
                  </a:cubicBezTo>
                  <a:cubicBezTo>
                    <a:pt x="10" y="32"/>
                    <a:pt x="1" y="32"/>
                    <a:pt x="0" y="32"/>
                  </a:cubicBezTo>
                  <a:cubicBezTo>
                    <a:pt x="0" y="30"/>
                    <a:pt x="0" y="28"/>
                    <a:pt x="0" y="24"/>
                  </a:cubicBezTo>
                  <a:cubicBezTo>
                    <a:pt x="0" y="24"/>
                    <a:pt x="0" y="24"/>
                    <a:pt x="0" y="24"/>
                  </a:cubicBezTo>
                  <a:cubicBezTo>
                    <a:pt x="0" y="23"/>
                    <a:pt x="0" y="23"/>
                    <a:pt x="0" y="22"/>
                  </a:cubicBezTo>
                  <a:cubicBezTo>
                    <a:pt x="0" y="22"/>
                    <a:pt x="0" y="22"/>
                    <a:pt x="0" y="21"/>
                  </a:cubicBezTo>
                  <a:cubicBezTo>
                    <a:pt x="0" y="16"/>
                    <a:pt x="0" y="11"/>
                    <a:pt x="0" y="9"/>
                  </a:cubicBezTo>
                  <a:cubicBezTo>
                    <a:pt x="0" y="7"/>
                    <a:pt x="0" y="7"/>
                    <a:pt x="0" y="7"/>
                  </a:cubicBezTo>
                  <a:cubicBezTo>
                    <a:pt x="0" y="3"/>
                    <a:pt x="1" y="1"/>
                    <a:pt x="5" y="1"/>
                  </a:cubicBezTo>
                  <a:cubicBezTo>
                    <a:pt x="7" y="1"/>
                    <a:pt x="26" y="0"/>
                    <a:pt x="29" y="1"/>
                  </a:cubicBezTo>
                  <a:cubicBezTo>
                    <a:pt x="34" y="1"/>
                    <a:pt x="35" y="2"/>
                    <a:pt x="35" y="5"/>
                  </a:cubicBezTo>
                  <a:lnTo>
                    <a:pt x="35"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1" name="Groupe 183">
            <a:extLst>
              <a:ext uri="{FF2B5EF4-FFF2-40B4-BE49-F238E27FC236}">
                <a16:creationId xmlns:a16="http://schemas.microsoft.com/office/drawing/2014/main" id="{04D5B88F-1FEA-40DA-9BCA-A52A6F71A7D3}"/>
              </a:ext>
              <a:ext uri="{C183D7F6-B498-43B3-948B-1728B52AA6E4}">
                <adec:decorative xmlns:adec="http://schemas.microsoft.com/office/drawing/2017/decorative" val="1"/>
              </a:ext>
            </a:extLst>
          </p:cNvPr>
          <p:cNvGrpSpPr>
            <a:grpSpLocks noChangeAspect="1"/>
          </p:cNvGrpSpPr>
          <p:nvPr/>
        </p:nvGrpSpPr>
        <p:grpSpPr>
          <a:xfrm>
            <a:off x="8043870" y="5448851"/>
            <a:ext cx="678938" cy="633600"/>
            <a:chOff x="9937751" y="2027238"/>
            <a:chExt cx="950913" cy="887412"/>
          </a:xfrm>
        </p:grpSpPr>
        <p:sp>
          <p:nvSpPr>
            <p:cNvPr id="632" name="Freeform 144">
              <a:extLst>
                <a:ext uri="{FF2B5EF4-FFF2-40B4-BE49-F238E27FC236}">
                  <a16:creationId xmlns:a16="http://schemas.microsoft.com/office/drawing/2014/main" id="{101BAC09-05B3-49E6-9220-78C53DF35B08}"/>
                </a:ext>
              </a:extLst>
            </p:cNvPr>
            <p:cNvSpPr>
              <a:spLocks/>
            </p:cNvSpPr>
            <p:nvPr/>
          </p:nvSpPr>
          <p:spPr bwMode="auto">
            <a:xfrm>
              <a:off x="9937751" y="2027238"/>
              <a:ext cx="950913" cy="887412"/>
            </a:xfrm>
            <a:custGeom>
              <a:avLst/>
              <a:gdLst>
                <a:gd name="T0" fmla="*/ 29 w 253"/>
                <a:gd name="T1" fmla="*/ 172 h 236"/>
                <a:gd name="T2" fmla="*/ 74 w 253"/>
                <a:gd name="T3" fmla="*/ 28 h 236"/>
                <a:gd name="T4" fmla="*/ 224 w 253"/>
                <a:gd name="T5" fmla="*/ 71 h 236"/>
                <a:gd name="T6" fmla="*/ 176 w 253"/>
                <a:gd name="T7" fmla="*/ 208 h 236"/>
                <a:gd name="T8" fmla="*/ 29 w 253"/>
                <a:gd name="T9" fmla="*/ 172 h 236"/>
              </a:gdLst>
              <a:ahLst/>
              <a:cxnLst>
                <a:cxn ang="0">
                  <a:pos x="T0" y="T1"/>
                </a:cxn>
                <a:cxn ang="0">
                  <a:pos x="T2" y="T3"/>
                </a:cxn>
                <a:cxn ang="0">
                  <a:pos x="T4" y="T5"/>
                </a:cxn>
                <a:cxn ang="0">
                  <a:pos x="T6" y="T7"/>
                </a:cxn>
                <a:cxn ang="0">
                  <a:pos x="T8" y="T9"/>
                </a:cxn>
              </a:cxnLst>
              <a:rect l="0" t="0" r="r" b="b"/>
              <a:pathLst>
                <a:path w="253" h="236">
                  <a:moveTo>
                    <a:pt x="29" y="172"/>
                  </a:moveTo>
                  <a:cubicBezTo>
                    <a:pt x="0" y="120"/>
                    <a:pt x="20" y="56"/>
                    <a:pt x="74" y="28"/>
                  </a:cubicBezTo>
                  <a:cubicBezTo>
                    <a:pt x="127" y="0"/>
                    <a:pt x="194" y="19"/>
                    <a:pt x="224" y="71"/>
                  </a:cubicBezTo>
                  <a:cubicBezTo>
                    <a:pt x="253" y="122"/>
                    <a:pt x="230" y="180"/>
                    <a:pt x="176" y="208"/>
                  </a:cubicBezTo>
                  <a:cubicBezTo>
                    <a:pt x="123" y="236"/>
                    <a:pt x="59" y="223"/>
                    <a:pt x="29" y="172"/>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633" name="Groupe 185">
              <a:extLst>
                <a:ext uri="{FF2B5EF4-FFF2-40B4-BE49-F238E27FC236}">
                  <a16:creationId xmlns:a16="http://schemas.microsoft.com/office/drawing/2014/main" id="{F2047FEE-77D2-4A81-A004-7D77D38B854A}"/>
                </a:ext>
              </a:extLst>
            </p:cNvPr>
            <p:cNvGrpSpPr/>
            <p:nvPr/>
          </p:nvGrpSpPr>
          <p:grpSpPr>
            <a:xfrm>
              <a:off x="10198101" y="2282825"/>
              <a:ext cx="449263" cy="392112"/>
              <a:chOff x="10198101" y="2282825"/>
              <a:chExt cx="449263" cy="392112"/>
            </a:xfrm>
          </p:grpSpPr>
          <p:sp>
            <p:nvSpPr>
              <p:cNvPr id="634" name="Freeform 145">
                <a:extLst>
                  <a:ext uri="{FF2B5EF4-FFF2-40B4-BE49-F238E27FC236}">
                    <a16:creationId xmlns:a16="http://schemas.microsoft.com/office/drawing/2014/main" id="{44302C79-232B-4BD5-9EE5-EC27746B7570}"/>
                  </a:ext>
                </a:extLst>
              </p:cNvPr>
              <p:cNvSpPr>
                <a:spLocks/>
              </p:cNvSpPr>
              <p:nvPr/>
            </p:nvSpPr>
            <p:spPr bwMode="auto">
              <a:xfrm>
                <a:off x="10198101" y="2282825"/>
                <a:ext cx="449263" cy="392112"/>
              </a:xfrm>
              <a:custGeom>
                <a:avLst/>
                <a:gdLst>
                  <a:gd name="T0" fmla="*/ 114 w 120"/>
                  <a:gd name="T1" fmla="*/ 84 h 104"/>
                  <a:gd name="T2" fmla="*/ 17 w 120"/>
                  <a:gd name="T3" fmla="*/ 88 h 104"/>
                  <a:gd name="T4" fmla="*/ 15 w 120"/>
                  <a:gd name="T5" fmla="*/ 8 h 104"/>
                  <a:gd name="T6" fmla="*/ 0 w 120"/>
                  <a:gd name="T7" fmla="*/ 7 h 104"/>
                  <a:gd name="T8" fmla="*/ 3 w 120"/>
                  <a:gd name="T9" fmla="*/ 98 h 104"/>
                  <a:gd name="T10" fmla="*/ 3 w 120"/>
                  <a:gd name="T11" fmla="*/ 98 h 104"/>
                  <a:gd name="T12" fmla="*/ 3 w 120"/>
                  <a:gd name="T13" fmla="*/ 100 h 104"/>
                  <a:gd name="T14" fmla="*/ 113 w 120"/>
                  <a:gd name="T15" fmla="*/ 99 h 104"/>
                  <a:gd name="T16" fmla="*/ 114 w 120"/>
                  <a:gd name="T17" fmla="*/ 8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04">
                    <a:moveTo>
                      <a:pt x="114" y="84"/>
                    </a:moveTo>
                    <a:cubicBezTo>
                      <a:pt x="110" y="89"/>
                      <a:pt x="35" y="88"/>
                      <a:pt x="17" y="88"/>
                    </a:cubicBezTo>
                    <a:cubicBezTo>
                      <a:pt x="17" y="72"/>
                      <a:pt x="18" y="13"/>
                      <a:pt x="15" y="8"/>
                    </a:cubicBezTo>
                    <a:cubicBezTo>
                      <a:pt x="10" y="0"/>
                      <a:pt x="0" y="7"/>
                      <a:pt x="0" y="7"/>
                    </a:cubicBezTo>
                    <a:cubicBezTo>
                      <a:pt x="8" y="12"/>
                      <a:pt x="3" y="98"/>
                      <a:pt x="3" y="98"/>
                    </a:cubicBezTo>
                    <a:cubicBezTo>
                      <a:pt x="3" y="98"/>
                      <a:pt x="3" y="98"/>
                      <a:pt x="3" y="98"/>
                    </a:cubicBezTo>
                    <a:cubicBezTo>
                      <a:pt x="3" y="100"/>
                      <a:pt x="3" y="100"/>
                      <a:pt x="3" y="100"/>
                    </a:cubicBezTo>
                    <a:cubicBezTo>
                      <a:pt x="3" y="100"/>
                      <a:pt x="106" y="104"/>
                      <a:pt x="113" y="99"/>
                    </a:cubicBezTo>
                    <a:cubicBezTo>
                      <a:pt x="120" y="94"/>
                      <a:pt x="114" y="84"/>
                      <a:pt x="114"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35" name="Freeform 146">
                <a:extLst>
                  <a:ext uri="{FF2B5EF4-FFF2-40B4-BE49-F238E27FC236}">
                    <a16:creationId xmlns:a16="http://schemas.microsoft.com/office/drawing/2014/main" id="{A69EB91A-4379-4676-BD7E-6DCAFCBA5D27}"/>
                  </a:ext>
                </a:extLst>
              </p:cNvPr>
              <p:cNvSpPr>
                <a:spLocks/>
              </p:cNvSpPr>
              <p:nvPr/>
            </p:nvSpPr>
            <p:spPr bwMode="auto">
              <a:xfrm>
                <a:off x="10302876" y="2320925"/>
                <a:ext cx="344488" cy="241300"/>
              </a:xfrm>
              <a:custGeom>
                <a:avLst/>
                <a:gdLst>
                  <a:gd name="T0" fmla="*/ 59 w 92"/>
                  <a:gd name="T1" fmla="*/ 3 h 64"/>
                  <a:gd name="T2" fmla="*/ 60 w 92"/>
                  <a:gd name="T3" fmla="*/ 3 h 64"/>
                  <a:gd name="T4" fmla="*/ 92 w 92"/>
                  <a:gd name="T5" fmla="*/ 0 h 64"/>
                  <a:gd name="T6" fmla="*/ 92 w 92"/>
                  <a:gd name="T7" fmla="*/ 1 h 64"/>
                  <a:gd name="T8" fmla="*/ 87 w 92"/>
                  <a:gd name="T9" fmla="*/ 33 h 64"/>
                  <a:gd name="T10" fmla="*/ 78 w 92"/>
                  <a:gd name="T11" fmla="*/ 23 h 64"/>
                  <a:gd name="T12" fmla="*/ 49 w 92"/>
                  <a:gd name="T13" fmla="*/ 49 h 64"/>
                  <a:gd name="T14" fmla="*/ 43 w 92"/>
                  <a:gd name="T15" fmla="*/ 45 h 64"/>
                  <a:gd name="T16" fmla="*/ 37 w 92"/>
                  <a:gd name="T17" fmla="*/ 41 h 64"/>
                  <a:gd name="T18" fmla="*/ 9 w 92"/>
                  <a:gd name="T19" fmla="*/ 64 h 64"/>
                  <a:gd name="T20" fmla="*/ 0 w 92"/>
                  <a:gd name="T21" fmla="*/ 53 h 64"/>
                  <a:gd name="T22" fmla="*/ 0 w 92"/>
                  <a:gd name="T23" fmla="*/ 53 h 64"/>
                  <a:gd name="T24" fmla="*/ 36 w 92"/>
                  <a:gd name="T25" fmla="*/ 24 h 64"/>
                  <a:gd name="T26" fmla="*/ 43 w 92"/>
                  <a:gd name="T27" fmla="*/ 27 h 64"/>
                  <a:gd name="T28" fmla="*/ 48 w 92"/>
                  <a:gd name="T29" fmla="*/ 31 h 64"/>
                  <a:gd name="T30" fmla="*/ 68 w 92"/>
                  <a:gd name="T31" fmla="*/ 13 h 64"/>
                  <a:gd name="T32" fmla="*/ 59 w 92"/>
                  <a:gd name="T33"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64">
                    <a:moveTo>
                      <a:pt x="59" y="3"/>
                    </a:moveTo>
                    <a:cubicBezTo>
                      <a:pt x="60" y="3"/>
                      <a:pt x="60" y="3"/>
                      <a:pt x="60" y="3"/>
                    </a:cubicBezTo>
                    <a:cubicBezTo>
                      <a:pt x="70" y="2"/>
                      <a:pt x="81" y="1"/>
                      <a:pt x="92" y="0"/>
                    </a:cubicBezTo>
                    <a:cubicBezTo>
                      <a:pt x="92" y="0"/>
                      <a:pt x="92" y="0"/>
                      <a:pt x="92" y="1"/>
                    </a:cubicBezTo>
                    <a:cubicBezTo>
                      <a:pt x="92" y="11"/>
                      <a:pt x="91" y="21"/>
                      <a:pt x="87" y="33"/>
                    </a:cubicBezTo>
                    <a:cubicBezTo>
                      <a:pt x="84" y="29"/>
                      <a:pt x="81" y="27"/>
                      <a:pt x="78" y="23"/>
                    </a:cubicBezTo>
                    <a:cubicBezTo>
                      <a:pt x="68" y="31"/>
                      <a:pt x="59" y="40"/>
                      <a:pt x="49" y="49"/>
                    </a:cubicBezTo>
                    <a:cubicBezTo>
                      <a:pt x="47" y="48"/>
                      <a:pt x="45" y="46"/>
                      <a:pt x="43" y="45"/>
                    </a:cubicBezTo>
                    <a:cubicBezTo>
                      <a:pt x="41" y="44"/>
                      <a:pt x="39" y="42"/>
                      <a:pt x="37" y="41"/>
                    </a:cubicBezTo>
                    <a:cubicBezTo>
                      <a:pt x="28" y="48"/>
                      <a:pt x="19" y="56"/>
                      <a:pt x="9" y="64"/>
                    </a:cubicBezTo>
                    <a:cubicBezTo>
                      <a:pt x="8" y="60"/>
                      <a:pt x="1" y="58"/>
                      <a:pt x="0" y="53"/>
                    </a:cubicBezTo>
                    <a:cubicBezTo>
                      <a:pt x="0" y="53"/>
                      <a:pt x="0" y="53"/>
                      <a:pt x="0" y="53"/>
                    </a:cubicBezTo>
                    <a:cubicBezTo>
                      <a:pt x="13" y="43"/>
                      <a:pt x="24" y="34"/>
                      <a:pt x="36" y="24"/>
                    </a:cubicBezTo>
                    <a:cubicBezTo>
                      <a:pt x="38" y="23"/>
                      <a:pt x="40" y="25"/>
                      <a:pt x="43" y="27"/>
                    </a:cubicBezTo>
                    <a:cubicBezTo>
                      <a:pt x="44" y="28"/>
                      <a:pt x="46" y="30"/>
                      <a:pt x="48" y="31"/>
                    </a:cubicBezTo>
                    <a:cubicBezTo>
                      <a:pt x="55" y="25"/>
                      <a:pt x="61" y="19"/>
                      <a:pt x="68" y="13"/>
                    </a:cubicBezTo>
                    <a:cubicBezTo>
                      <a:pt x="64" y="10"/>
                      <a:pt x="62" y="6"/>
                      <a:pt x="59"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80" name="Group 179">
            <a:extLst>
              <a:ext uri="{FF2B5EF4-FFF2-40B4-BE49-F238E27FC236}">
                <a16:creationId xmlns:a16="http://schemas.microsoft.com/office/drawing/2014/main" id="{6FDEC0C4-5315-43EA-96C0-B2D58153E57F}"/>
              </a:ext>
              <a:ext uri="{C183D7F6-B498-43B3-948B-1728B52AA6E4}">
                <adec:decorative xmlns:adec="http://schemas.microsoft.com/office/drawing/2017/decorative" val="1"/>
              </a:ext>
            </a:extLst>
          </p:cNvPr>
          <p:cNvGrpSpPr/>
          <p:nvPr/>
        </p:nvGrpSpPr>
        <p:grpSpPr>
          <a:xfrm>
            <a:off x="7074444" y="5448851"/>
            <a:ext cx="676259" cy="633600"/>
            <a:chOff x="7773999" y="5888049"/>
            <a:chExt cx="676259" cy="633600"/>
          </a:xfrm>
        </p:grpSpPr>
        <p:sp>
          <p:nvSpPr>
            <p:cNvPr id="636" name="Freeform 199">
              <a:extLst>
                <a:ext uri="{FF2B5EF4-FFF2-40B4-BE49-F238E27FC236}">
                  <a16:creationId xmlns:a16="http://schemas.microsoft.com/office/drawing/2014/main" id="{24E8A4D0-D5AE-4D68-83D0-2FD8E64FA8ED}"/>
                </a:ext>
              </a:extLst>
            </p:cNvPr>
            <p:cNvSpPr>
              <a:spLocks noChangeAspect="1"/>
            </p:cNvSpPr>
            <p:nvPr/>
          </p:nvSpPr>
          <p:spPr bwMode="auto">
            <a:xfrm>
              <a:off x="7773999" y="5888049"/>
              <a:ext cx="676259" cy="633600"/>
            </a:xfrm>
            <a:custGeom>
              <a:avLst/>
              <a:gdLst>
                <a:gd name="T0" fmla="*/ 29 w 253"/>
                <a:gd name="T1" fmla="*/ 171 h 236"/>
                <a:gd name="T2" fmla="*/ 73 w 253"/>
                <a:gd name="T3" fmla="*/ 28 h 236"/>
                <a:gd name="T4" fmla="*/ 223 w 253"/>
                <a:gd name="T5" fmla="*/ 71 h 236"/>
                <a:gd name="T6" fmla="*/ 176 w 253"/>
                <a:gd name="T7" fmla="*/ 208 h 236"/>
                <a:gd name="T8" fmla="*/ 29 w 253"/>
                <a:gd name="T9" fmla="*/ 171 h 236"/>
              </a:gdLst>
              <a:ahLst/>
              <a:cxnLst>
                <a:cxn ang="0">
                  <a:pos x="T0" y="T1"/>
                </a:cxn>
                <a:cxn ang="0">
                  <a:pos x="T2" y="T3"/>
                </a:cxn>
                <a:cxn ang="0">
                  <a:pos x="T4" y="T5"/>
                </a:cxn>
                <a:cxn ang="0">
                  <a:pos x="T6" y="T7"/>
                </a:cxn>
                <a:cxn ang="0">
                  <a:pos x="T8" y="T9"/>
                </a:cxn>
              </a:cxnLst>
              <a:rect l="0" t="0" r="r" b="b"/>
              <a:pathLst>
                <a:path w="253" h="236">
                  <a:moveTo>
                    <a:pt x="29" y="171"/>
                  </a:moveTo>
                  <a:cubicBezTo>
                    <a:pt x="0" y="120"/>
                    <a:pt x="19" y="56"/>
                    <a:pt x="73" y="28"/>
                  </a:cubicBezTo>
                  <a:cubicBezTo>
                    <a:pt x="127" y="0"/>
                    <a:pt x="194" y="19"/>
                    <a:pt x="223" y="71"/>
                  </a:cubicBezTo>
                  <a:cubicBezTo>
                    <a:pt x="253" y="122"/>
                    <a:pt x="230" y="180"/>
                    <a:pt x="176" y="208"/>
                  </a:cubicBezTo>
                  <a:cubicBezTo>
                    <a:pt x="122" y="236"/>
                    <a:pt x="58" y="223"/>
                    <a:pt x="29" y="171"/>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7" name="Groupe 292">
              <a:extLst>
                <a:ext uri="{FF2B5EF4-FFF2-40B4-BE49-F238E27FC236}">
                  <a16:creationId xmlns:a16="http://schemas.microsoft.com/office/drawing/2014/main" id="{2E87454E-1B8D-4956-B1A4-18030E0D8B64}"/>
                </a:ext>
              </a:extLst>
            </p:cNvPr>
            <p:cNvGrpSpPr/>
            <p:nvPr/>
          </p:nvGrpSpPr>
          <p:grpSpPr>
            <a:xfrm>
              <a:off x="7921517" y="6056871"/>
              <a:ext cx="379248" cy="320793"/>
              <a:chOff x="9088438" y="2917825"/>
              <a:chExt cx="422275" cy="357188"/>
            </a:xfrm>
            <a:solidFill>
              <a:schemeClr val="bg1"/>
            </a:solidFill>
          </p:grpSpPr>
          <p:sp>
            <p:nvSpPr>
              <p:cNvPr id="638" name="Freeform 200">
                <a:extLst>
                  <a:ext uri="{FF2B5EF4-FFF2-40B4-BE49-F238E27FC236}">
                    <a16:creationId xmlns:a16="http://schemas.microsoft.com/office/drawing/2014/main" id="{042CF35F-2C64-4707-BF8C-7A712AA90AE0}"/>
                  </a:ext>
                </a:extLst>
              </p:cNvPr>
              <p:cNvSpPr>
                <a:spLocks/>
              </p:cNvSpPr>
              <p:nvPr/>
            </p:nvSpPr>
            <p:spPr bwMode="auto">
              <a:xfrm>
                <a:off x="9088438" y="2917825"/>
                <a:ext cx="422275" cy="211137"/>
              </a:xfrm>
              <a:custGeom>
                <a:avLst/>
                <a:gdLst>
                  <a:gd name="T0" fmla="*/ 85 w 125"/>
                  <a:gd name="T1" fmla="*/ 0 h 62"/>
                  <a:gd name="T2" fmla="*/ 85 w 125"/>
                  <a:gd name="T3" fmla="*/ 0 h 62"/>
                  <a:gd name="T4" fmla="*/ 125 w 125"/>
                  <a:gd name="T5" fmla="*/ 5 h 62"/>
                  <a:gd name="T6" fmla="*/ 125 w 125"/>
                  <a:gd name="T7" fmla="*/ 6 h 62"/>
                  <a:gd name="T8" fmla="*/ 111 w 125"/>
                  <a:gd name="T9" fmla="*/ 44 h 62"/>
                  <a:gd name="T10" fmla="*/ 102 w 125"/>
                  <a:gd name="T11" fmla="*/ 30 h 62"/>
                  <a:gd name="T12" fmla="*/ 61 w 125"/>
                  <a:gd name="T13" fmla="*/ 54 h 62"/>
                  <a:gd name="T14" fmla="*/ 54 w 125"/>
                  <a:gd name="T15" fmla="*/ 48 h 62"/>
                  <a:gd name="T16" fmla="*/ 48 w 125"/>
                  <a:gd name="T17" fmla="*/ 41 h 62"/>
                  <a:gd name="T18" fmla="*/ 9 w 125"/>
                  <a:gd name="T19" fmla="*/ 62 h 62"/>
                  <a:gd name="T20" fmla="*/ 0 w 125"/>
                  <a:gd name="T21" fmla="*/ 47 h 62"/>
                  <a:gd name="T22" fmla="*/ 0 w 125"/>
                  <a:gd name="T23" fmla="*/ 47 h 62"/>
                  <a:gd name="T24" fmla="*/ 51 w 125"/>
                  <a:gd name="T25" fmla="*/ 20 h 62"/>
                  <a:gd name="T26" fmla="*/ 58 w 125"/>
                  <a:gd name="T27" fmla="*/ 26 h 62"/>
                  <a:gd name="T28" fmla="*/ 64 w 125"/>
                  <a:gd name="T29" fmla="*/ 32 h 62"/>
                  <a:gd name="T30" fmla="*/ 93 w 125"/>
                  <a:gd name="T31" fmla="*/ 14 h 62"/>
                  <a:gd name="T32" fmla="*/ 85 w 125"/>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62">
                    <a:moveTo>
                      <a:pt x="85" y="0"/>
                    </a:moveTo>
                    <a:cubicBezTo>
                      <a:pt x="85" y="0"/>
                      <a:pt x="85" y="0"/>
                      <a:pt x="85" y="0"/>
                    </a:cubicBezTo>
                    <a:cubicBezTo>
                      <a:pt x="98" y="2"/>
                      <a:pt x="112" y="3"/>
                      <a:pt x="125" y="5"/>
                    </a:cubicBezTo>
                    <a:cubicBezTo>
                      <a:pt x="125" y="6"/>
                      <a:pt x="125" y="6"/>
                      <a:pt x="125" y="6"/>
                    </a:cubicBezTo>
                    <a:cubicBezTo>
                      <a:pt x="123" y="18"/>
                      <a:pt x="119" y="31"/>
                      <a:pt x="111" y="44"/>
                    </a:cubicBezTo>
                    <a:cubicBezTo>
                      <a:pt x="108" y="39"/>
                      <a:pt x="104" y="36"/>
                      <a:pt x="102" y="30"/>
                    </a:cubicBezTo>
                    <a:cubicBezTo>
                      <a:pt x="88" y="38"/>
                      <a:pt x="75" y="46"/>
                      <a:pt x="61" y="54"/>
                    </a:cubicBezTo>
                    <a:cubicBezTo>
                      <a:pt x="59" y="52"/>
                      <a:pt x="57" y="50"/>
                      <a:pt x="54" y="48"/>
                    </a:cubicBezTo>
                    <a:cubicBezTo>
                      <a:pt x="52" y="46"/>
                      <a:pt x="51" y="43"/>
                      <a:pt x="48" y="41"/>
                    </a:cubicBezTo>
                    <a:cubicBezTo>
                      <a:pt x="35" y="48"/>
                      <a:pt x="22" y="55"/>
                      <a:pt x="9" y="62"/>
                    </a:cubicBezTo>
                    <a:cubicBezTo>
                      <a:pt x="8" y="57"/>
                      <a:pt x="0" y="54"/>
                      <a:pt x="0" y="47"/>
                    </a:cubicBezTo>
                    <a:cubicBezTo>
                      <a:pt x="0" y="47"/>
                      <a:pt x="0" y="47"/>
                      <a:pt x="0" y="47"/>
                    </a:cubicBezTo>
                    <a:cubicBezTo>
                      <a:pt x="18" y="38"/>
                      <a:pt x="34" y="30"/>
                      <a:pt x="51" y="20"/>
                    </a:cubicBezTo>
                    <a:cubicBezTo>
                      <a:pt x="54" y="20"/>
                      <a:pt x="56" y="23"/>
                      <a:pt x="58" y="26"/>
                    </a:cubicBezTo>
                    <a:cubicBezTo>
                      <a:pt x="60" y="28"/>
                      <a:pt x="62" y="31"/>
                      <a:pt x="64" y="32"/>
                    </a:cubicBezTo>
                    <a:cubicBezTo>
                      <a:pt x="74" y="26"/>
                      <a:pt x="83" y="20"/>
                      <a:pt x="93" y="14"/>
                    </a:cubicBezTo>
                    <a:cubicBezTo>
                      <a:pt x="88" y="10"/>
                      <a:pt x="87" y="5"/>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201">
                <a:extLst>
                  <a:ext uri="{FF2B5EF4-FFF2-40B4-BE49-F238E27FC236}">
                    <a16:creationId xmlns:a16="http://schemas.microsoft.com/office/drawing/2014/main" id="{8AB2B4BD-3AF6-48A6-99E3-1862F1053D0A}"/>
                  </a:ext>
                </a:extLst>
              </p:cNvPr>
              <p:cNvSpPr>
                <a:spLocks/>
              </p:cNvSpPr>
              <p:nvPr/>
            </p:nvSpPr>
            <p:spPr bwMode="auto">
              <a:xfrm>
                <a:off x="9372600" y="3049588"/>
                <a:ext cx="57150" cy="225425"/>
              </a:xfrm>
              <a:custGeom>
                <a:avLst/>
                <a:gdLst>
                  <a:gd name="T0" fmla="*/ 14 w 17"/>
                  <a:gd name="T1" fmla="*/ 66 h 66"/>
                  <a:gd name="T2" fmla="*/ 3 w 17"/>
                  <a:gd name="T3" fmla="*/ 66 h 66"/>
                  <a:gd name="T4" fmla="*/ 0 w 17"/>
                  <a:gd name="T5" fmla="*/ 63 h 66"/>
                  <a:gd name="T6" fmla="*/ 0 w 17"/>
                  <a:gd name="T7" fmla="*/ 10 h 66"/>
                  <a:gd name="T8" fmla="*/ 1 w 17"/>
                  <a:gd name="T9" fmla="*/ 8 h 66"/>
                  <a:gd name="T10" fmla="*/ 13 w 17"/>
                  <a:gd name="T11" fmla="*/ 1 h 66"/>
                  <a:gd name="T12" fmla="*/ 17 w 17"/>
                  <a:gd name="T13" fmla="*/ 4 h 66"/>
                  <a:gd name="T14" fmla="*/ 17 w 17"/>
                  <a:gd name="T15" fmla="*/ 63 h 66"/>
                  <a:gd name="T16" fmla="*/ 14 w 17"/>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6">
                    <a:moveTo>
                      <a:pt x="14" y="66"/>
                    </a:moveTo>
                    <a:cubicBezTo>
                      <a:pt x="3" y="66"/>
                      <a:pt x="3" y="66"/>
                      <a:pt x="3" y="66"/>
                    </a:cubicBezTo>
                    <a:cubicBezTo>
                      <a:pt x="1" y="66"/>
                      <a:pt x="0" y="65"/>
                      <a:pt x="0" y="63"/>
                    </a:cubicBezTo>
                    <a:cubicBezTo>
                      <a:pt x="0" y="10"/>
                      <a:pt x="0" y="10"/>
                      <a:pt x="0" y="10"/>
                    </a:cubicBezTo>
                    <a:cubicBezTo>
                      <a:pt x="0" y="9"/>
                      <a:pt x="1" y="8"/>
                      <a:pt x="1" y="8"/>
                    </a:cubicBezTo>
                    <a:cubicBezTo>
                      <a:pt x="5" y="6"/>
                      <a:pt x="9" y="3"/>
                      <a:pt x="13" y="1"/>
                    </a:cubicBezTo>
                    <a:cubicBezTo>
                      <a:pt x="15" y="0"/>
                      <a:pt x="17" y="2"/>
                      <a:pt x="17" y="4"/>
                    </a:cubicBezTo>
                    <a:cubicBezTo>
                      <a:pt x="17" y="63"/>
                      <a:pt x="17" y="63"/>
                      <a:pt x="17" y="63"/>
                    </a:cubicBezTo>
                    <a:cubicBezTo>
                      <a:pt x="17" y="65"/>
                      <a:pt x="16" y="66"/>
                      <a:pt x="1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202">
                <a:extLst>
                  <a:ext uri="{FF2B5EF4-FFF2-40B4-BE49-F238E27FC236}">
                    <a16:creationId xmlns:a16="http://schemas.microsoft.com/office/drawing/2014/main" id="{AED3389D-5DB7-4C13-A37D-D18B252FCDE2}"/>
                  </a:ext>
                </a:extLst>
              </p:cNvPr>
              <p:cNvSpPr>
                <a:spLocks/>
              </p:cNvSpPr>
              <p:nvPr/>
            </p:nvSpPr>
            <p:spPr bwMode="auto">
              <a:xfrm>
                <a:off x="9210675" y="3087688"/>
                <a:ext cx="60325" cy="187325"/>
              </a:xfrm>
              <a:custGeom>
                <a:avLst/>
                <a:gdLst>
                  <a:gd name="T0" fmla="*/ 15 w 18"/>
                  <a:gd name="T1" fmla="*/ 55 h 55"/>
                  <a:gd name="T2" fmla="*/ 3 w 18"/>
                  <a:gd name="T3" fmla="*/ 55 h 55"/>
                  <a:gd name="T4" fmla="*/ 0 w 18"/>
                  <a:gd name="T5" fmla="*/ 52 h 55"/>
                  <a:gd name="T6" fmla="*/ 0 w 18"/>
                  <a:gd name="T7" fmla="*/ 7 h 55"/>
                  <a:gd name="T8" fmla="*/ 2 w 18"/>
                  <a:gd name="T9" fmla="*/ 4 h 55"/>
                  <a:gd name="T10" fmla="*/ 9 w 18"/>
                  <a:gd name="T11" fmla="*/ 0 h 55"/>
                  <a:gd name="T12" fmla="*/ 13 w 18"/>
                  <a:gd name="T13" fmla="*/ 1 h 55"/>
                  <a:gd name="T14" fmla="*/ 18 w 18"/>
                  <a:gd name="T15" fmla="*/ 6 h 55"/>
                  <a:gd name="T16" fmla="*/ 18 w 18"/>
                  <a:gd name="T17" fmla="*/ 12 h 55"/>
                  <a:gd name="T18" fmla="*/ 18 w 18"/>
                  <a:gd name="T19" fmla="*/ 52 h 55"/>
                  <a:gd name="T20" fmla="*/ 15 w 1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5">
                    <a:moveTo>
                      <a:pt x="15" y="55"/>
                    </a:moveTo>
                    <a:cubicBezTo>
                      <a:pt x="3" y="55"/>
                      <a:pt x="3" y="55"/>
                      <a:pt x="3" y="55"/>
                    </a:cubicBezTo>
                    <a:cubicBezTo>
                      <a:pt x="2" y="55"/>
                      <a:pt x="0" y="54"/>
                      <a:pt x="0" y="52"/>
                    </a:cubicBezTo>
                    <a:cubicBezTo>
                      <a:pt x="0" y="7"/>
                      <a:pt x="0" y="7"/>
                      <a:pt x="0" y="7"/>
                    </a:cubicBezTo>
                    <a:cubicBezTo>
                      <a:pt x="0" y="6"/>
                      <a:pt x="1" y="4"/>
                      <a:pt x="2" y="4"/>
                    </a:cubicBezTo>
                    <a:cubicBezTo>
                      <a:pt x="5" y="3"/>
                      <a:pt x="7" y="1"/>
                      <a:pt x="9" y="0"/>
                    </a:cubicBezTo>
                    <a:cubicBezTo>
                      <a:pt x="10" y="0"/>
                      <a:pt x="12" y="0"/>
                      <a:pt x="13" y="1"/>
                    </a:cubicBezTo>
                    <a:cubicBezTo>
                      <a:pt x="15" y="2"/>
                      <a:pt x="17" y="4"/>
                      <a:pt x="18" y="6"/>
                    </a:cubicBezTo>
                    <a:cubicBezTo>
                      <a:pt x="18" y="8"/>
                      <a:pt x="18" y="10"/>
                      <a:pt x="18" y="12"/>
                    </a:cubicBezTo>
                    <a:cubicBezTo>
                      <a:pt x="18" y="52"/>
                      <a:pt x="18" y="52"/>
                      <a:pt x="18" y="52"/>
                    </a:cubicBezTo>
                    <a:cubicBezTo>
                      <a:pt x="18" y="54"/>
                      <a:pt x="16" y="55"/>
                      <a:pt x="1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203">
                <a:extLst>
                  <a:ext uri="{FF2B5EF4-FFF2-40B4-BE49-F238E27FC236}">
                    <a16:creationId xmlns:a16="http://schemas.microsoft.com/office/drawing/2014/main" id="{33A6F98E-B107-44FA-B2CC-16C80B112BB9}"/>
                  </a:ext>
                </a:extLst>
              </p:cNvPr>
              <p:cNvSpPr>
                <a:spLocks/>
              </p:cNvSpPr>
              <p:nvPr/>
            </p:nvSpPr>
            <p:spPr bwMode="auto">
              <a:xfrm>
                <a:off x="9291638" y="3097213"/>
                <a:ext cx="57150" cy="177800"/>
              </a:xfrm>
              <a:custGeom>
                <a:avLst/>
                <a:gdLst>
                  <a:gd name="T0" fmla="*/ 14 w 17"/>
                  <a:gd name="T1" fmla="*/ 52 h 52"/>
                  <a:gd name="T2" fmla="*/ 3 w 17"/>
                  <a:gd name="T3" fmla="*/ 52 h 52"/>
                  <a:gd name="T4" fmla="*/ 0 w 17"/>
                  <a:gd name="T5" fmla="*/ 49 h 52"/>
                  <a:gd name="T6" fmla="*/ 0 w 17"/>
                  <a:gd name="T7" fmla="*/ 10 h 52"/>
                  <a:gd name="T8" fmla="*/ 2 w 17"/>
                  <a:gd name="T9" fmla="*/ 8 h 52"/>
                  <a:gd name="T10" fmla="*/ 13 w 17"/>
                  <a:gd name="T11" fmla="*/ 1 h 52"/>
                  <a:gd name="T12" fmla="*/ 17 w 17"/>
                  <a:gd name="T13" fmla="*/ 4 h 52"/>
                  <a:gd name="T14" fmla="*/ 17 w 17"/>
                  <a:gd name="T15" fmla="*/ 49 h 52"/>
                  <a:gd name="T16" fmla="*/ 14 w 17"/>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2">
                    <a:moveTo>
                      <a:pt x="14" y="52"/>
                    </a:moveTo>
                    <a:cubicBezTo>
                      <a:pt x="3" y="52"/>
                      <a:pt x="3" y="52"/>
                      <a:pt x="3" y="52"/>
                    </a:cubicBezTo>
                    <a:cubicBezTo>
                      <a:pt x="2" y="52"/>
                      <a:pt x="0" y="51"/>
                      <a:pt x="0" y="49"/>
                    </a:cubicBezTo>
                    <a:cubicBezTo>
                      <a:pt x="0" y="10"/>
                      <a:pt x="0" y="10"/>
                      <a:pt x="0" y="10"/>
                    </a:cubicBezTo>
                    <a:cubicBezTo>
                      <a:pt x="0" y="9"/>
                      <a:pt x="1" y="8"/>
                      <a:pt x="2" y="8"/>
                    </a:cubicBezTo>
                    <a:cubicBezTo>
                      <a:pt x="5" y="6"/>
                      <a:pt x="9" y="3"/>
                      <a:pt x="13" y="1"/>
                    </a:cubicBezTo>
                    <a:cubicBezTo>
                      <a:pt x="15" y="0"/>
                      <a:pt x="17" y="1"/>
                      <a:pt x="17" y="4"/>
                    </a:cubicBezTo>
                    <a:cubicBezTo>
                      <a:pt x="17" y="49"/>
                      <a:pt x="17" y="49"/>
                      <a:pt x="17" y="49"/>
                    </a:cubicBezTo>
                    <a:cubicBezTo>
                      <a:pt x="17" y="51"/>
                      <a:pt x="16" y="52"/>
                      <a:pt x="1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204">
                <a:extLst>
                  <a:ext uri="{FF2B5EF4-FFF2-40B4-BE49-F238E27FC236}">
                    <a16:creationId xmlns:a16="http://schemas.microsoft.com/office/drawing/2014/main" id="{BA426E88-0856-4F8E-9C9D-44247C242297}"/>
                  </a:ext>
                </a:extLst>
              </p:cNvPr>
              <p:cNvSpPr>
                <a:spLocks/>
              </p:cNvSpPr>
              <p:nvPr/>
            </p:nvSpPr>
            <p:spPr bwMode="auto">
              <a:xfrm>
                <a:off x="9121775" y="3117850"/>
                <a:ext cx="58738" cy="157162"/>
              </a:xfrm>
              <a:custGeom>
                <a:avLst/>
                <a:gdLst>
                  <a:gd name="T0" fmla="*/ 14 w 17"/>
                  <a:gd name="T1" fmla="*/ 46 h 46"/>
                  <a:gd name="T2" fmla="*/ 3 w 17"/>
                  <a:gd name="T3" fmla="*/ 46 h 46"/>
                  <a:gd name="T4" fmla="*/ 0 w 17"/>
                  <a:gd name="T5" fmla="*/ 43 h 46"/>
                  <a:gd name="T6" fmla="*/ 0 w 17"/>
                  <a:gd name="T7" fmla="*/ 10 h 46"/>
                  <a:gd name="T8" fmla="*/ 1 w 17"/>
                  <a:gd name="T9" fmla="*/ 7 h 46"/>
                  <a:gd name="T10" fmla="*/ 13 w 17"/>
                  <a:gd name="T11" fmla="*/ 1 h 46"/>
                  <a:gd name="T12" fmla="*/ 17 w 17"/>
                  <a:gd name="T13" fmla="*/ 4 h 46"/>
                  <a:gd name="T14" fmla="*/ 17 w 17"/>
                  <a:gd name="T15" fmla="*/ 43 h 46"/>
                  <a:gd name="T16" fmla="*/ 14 w 1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6">
                    <a:moveTo>
                      <a:pt x="14" y="46"/>
                    </a:moveTo>
                    <a:cubicBezTo>
                      <a:pt x="3" y="46"/>
                      <a:pt x="3" y="46"/>
                      <a:pt x="3" y="46"/>
                    </a:cubicBezTo>
                    <a:cubicBezTo>
                      <a:pt x="1" y="46"/>
                      <a:pt x="0" y="45"/>
                      <a:pt x="0" y="43"/>
                    </a:cubicBezTo>
                    <a:cubicBezTo>
                      <a:pt x="0" y="10"/>
                      <a:pt x="0" y="10"/>
                      <a:pt x="0" y="10"/>
                    </a:cubicBezTo>
                    <a:cubicBezTo>
                      <a:pt x="0" y="9"/>
                      <a:pt x="0" y="8"/>
                      <a:pt x="1" y="7"/>
                    </a:cubicBezTo>
                    <a:cubicBezTo>
                      <a:pt x="5" y="5"/>
                      <a:pt x="9" y="3"/>
                      <a:pt x="13" y="1"/>
                    </a:cubicBezTo>
                    <a:cubicBezTo>
                      <a:pt x="15" y="0"/>
                      <a:pt x="17" y="2"/>
                      <a:pt x="17" y="4"/>
                    </a:cubicBezTo>
                    <a:cubicBezTo>
                      <a:pt x="17" y="43"/>
                      <a:pt x="17" y="43"/>
                      <a:pt x="17" y="43"/>
                    </a:cubicBezTo>
                    <a:cubicBezTo>
                      <a:pt x="17" y="45"/>
                      <a:pt x="16" y="46"/>
                      <a:pt x="1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43" name="Groupe 28">
            <a:extLst>
              <a:ext uri="{FF2B5EF4-FFF2-40B4-BE49-F238E27FC236}">
                <a16:creationId xmlns:a16="http://schemas.microsoft.com/office/drawing/2014/main" id="{1FAC42A3-8A26-45B9-BAB1-B7A14D864CF0}"/>
              </a:ext>
              <a:ext uri="{C183D7F6-B498-43B3-948B-1728B52AA6E4}">
                <adec:decorative xmlns:adec="http://schemas.microsoft.com/office/drawing/2017/decorative" val="1"/>
              </a:ext>
            </a:extLst>
          </p:cNvPr>
          <p:cNvGrpSpPr>
            <a:grpSpLocks noChangeAspect="1"/>
          </p:cNvGrpSpPr>
          <p:nvPr/>
        </p:nvGrpSpPr>
        <p:grpSpPr>
          <a:xfrm>
            <a:off x="9015975" y="5448851"/>
            <a:ext cx="677697" cy="633600"/>
            <a:chOff x="5189788" y="1396153"/>
            <a:chExt cx="770110" cy="720000"/>
          </a:xfrm>
        </p:grpSpPr>
        <p:sp>
          <p:nvSpPr>
            <p:cNvPr id="644" name="Freeform 225">
              <a:extLst>
                <a:ext uri="{FF2B5EF4-FFF2-40B4-BE49-F238E27FC236}">
                  <a16:creationId xmlns:a16="http://schemas.microsoft.com/office/drawing/2014/main" id="{1BA45D51-89D0-4649-A490-4569138145A7}"/>
                </a:ext>
              </a:extLst>
            </p:cNvPr>
            <p:cNvSpPr>
              <a:spLocks/>
            </p:cNvSpPr>
            <p:nvPr/>
          </p:nvSpPr>
          <p:spPr bwMode="auto">
            <a:xfrm>
              <a:off x="5189788" y="1396153"/>
              <a:ext cx="770110" cy="720000"/>
            </a:xfrm>
            <a:custGeom>
              <a:avLst/>
              <a:gdLst>
                <a:gd name="T0" fmla="*/ 35 w 247"/>
                <a:gd name="T1" fmla="*/ 181 h 231"/>
                <a:gd name="T2" fmla="*/ 59 w 247"/>
                <a:gd name="T3" fmla="*/ 35 h 231"/>
                <a:gd name="T4" fmla="*/ 212 w 247"/>
                <a:gd name="T5" fmla="*/ 56 h 231"/>
                <a:gd name="T6" fmla="*/ 184 w 247"/>
                <a:gd name="T7" fmla="*/ 197 h 231"/>
                <a:gd name="T8" fmla="*/ 35 w 247"/>
                <a:gd name="T9" fmla="*/ 181 h 231"/>
              </a:gdLst>
              <a:ahLst/>
              <a:cxnLst>
                <a:cxn ang="0">
                  <a:pos x="T0" y="T1"/>
                </a:cxn>
                <a:cxn ang="0">
                  <a:pos x="T2" y="T3"/>
                </a:cxn>
                <a:cxn ang="0">
                  <a:pos x="T4" y="T5"/>
                </a:cxn>
                <a:cxn ang="0">
                  <a:pos x="T6" y="T7"/>
                </a:cxn>
                <a:cxn ang="0">
                  <a:pos x="T8" y="T9"/>
                </a:cxn>
              </a:cxnLst>
              <a:rect l="0" t="0" r="r" b="b"/>
              <a:pathLst>
                <a:path w="247" h="231">
                  <a:moveTo>
                    <a:pt x="35" y="181"/>
                  </a:moveTo>
                  <a:cubicBezTo>
                    <a:pt x="0" y="134"/>
                    <a:pt x="10" y="69"/>
                    <a:pt x="59" y="35"/>
                  </a:cubicBezTo>
                  <a:cubicBezTo>
                    <a:pt x="108" y="0"/>
                    <a:pt x="176" y="10"/>
                    <a:pt x="212" y="56"/>
                  </a:cubicBezTo>
                  <a:cubicBezTo>
                    <a:pt x="247" y="103"/>
                    <a:pt x="232" y="162"/>
                    <a:pt x="184" y="197"/>
                  </a:cubicBezTo>
                  <a:cubicBezTo>
                    <a:pt x="135" y="231"/>
                    <a:pt x="71" y="227"/>
                    <a:pt x="35" y="181"/>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45" name="Groupe 27">
              <a:extLst>
                <a:ext uri="{FF2B5EF4-FFF2-40B4-BE49-F238E27FC236}">
                  <a16:creationId xmlns:a16="http://schemas.microsoft.com/office/drawing/2014/main" id="{5DC66F15-8414-4FB3-9037-C5F02A7D800A}"/>
                </a:ext>
              </a:extLst>
            </p:cNvPr>
            <p:cNvGrpSpPr/>
            <p:nvPr/>
          </p:nvGrpSpPr>
          <p:grpSpPr>
            <a:xfrm>
              <a:off x="5322701" y="1514834"/>
              <a:ext cx="496098" cy="480864"/>
              <a:chOff x="5322701" y="1514834"/>
              <a:chExt cx="496098" cy="480864"/>
            </a:xfrm>
          </p:grpSpPr>
          <p:sp>
            <p:nvSpPr>
              <p:cNvPr id="646" name="Freeform 226">
                <a:extLst>
                  <a:ext uri="{FF2B5EF4-FFF2-40B4-BE49-F238E27FC236}">
                    <a16:creationId xmlns:a16="http://schemas.microsoft.com/office/drawing/2014/main" id="{0FA2CE3C-1D90-4967-8E98-40090664AA28}"/>
                  </a:ext>
                </a:extLst>
              </p:cNvPr>
              <p:cNvSpPr>
                <a:spLocks/>
              </p:cNvSpPr>
              <p:nvPr/>
            </p:nvSpPr>
            <p:spPr bwMode="auto">
              <a:xfrm>
                <a:off x="5322701" y="1549984"/>
                <a:ext cx="449671" cy="445714"/>
              </a:xfrm>
              <a:custGeom>
                <a:avLst/>
                <a:gdLst>
                  <a:gd name="T0" fmla="*/ 6 w 144"/>
                  <a:gd name="T1" fmla="*/ 61 h 143"/>
                  <a:gd name="T2" fmla="*/ 83 w 144"/>
                  <a:gd name="T3" fmla="*/ 6 h 143"/>
                  <a:gd name="T4" fmla="*/ 138 w 144"/>
                  <a:gd name="T5" fmla="*/ 82 h 143"/>
                  <a:gd name="T6" fmla="*/ 61 w 144"/>
                  <a:gd name="T7" fmla="*/ 137 h 143"/>
                  <a:gd name="T8" fmla="*/ 6 w 144"/>
                  <a:gd name="T9" fmla="*/ 61 h 143"/>
                </a:gdLst>
                <a:ahLst/>
                <a:cxnLst>
                  <a:cxn ang="0">
                    <a:pos x="T0" y="T1"/>
                  </a:cxn>
                  <a:cxn ang="0">
                    <a:pos x="T2" y="T3"/>
                  </a:cxn>
                  <a:cxn ang="0">
                    <a:pos x="T4" y="T5"/>
                  </a:cxn>
                  <a:cxn ang="0">
                    <a:pos x="T6" y="T7"/>
                  </a:cxn>
                  <a:cxn ang="0">
                    <a:pos x="T8" y="T9"/>
                  </a:cxn>
                </a:cxnLst>
                <a:rect l="0" t="0" r="r" b="b"/>
                <a:pathLst>
                  <a:path w="144" h="143">
                    <a:moveTo>
                      <a:pt x="6" y="61"/>
                    </a:moveTo>
                    <a:cubicBezTo>
                      <a:pt x="12" y="25"/>
                      <a:pt x="46" y="0"/>
                      <a:pt x="83" y="6"/>
                    </a:cubicBezTo>
                    <a:cubicBezTo>
                      <a:pt x="119" y="12"/>
                      <a:pt x="144" y="46"/>
                      <a:pt x="138" y="82"/>
                    </a:cubicBezTo>
                    <a:cubicBezTo>
                      <a:pt x="132" y="119"/>
                      <a:pt x="98" y="143"/>
                      <a:pt x="61" y="137"/>
                    </a:cubicBezTo>
                    <a:cubicBezTo>
                      <a:pt x="25" y="132"/>
                      <a:pt x="0" y="97"/>
                      <a:pt x="6" y="61"/>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p>
                <a:endParaRPr lang="en-US"/>
              </a:p>
            </p:txBody>
          </p:sp>
          <p:sp>
            <p:nvSpPr>
              <p:cNvPr id="647" name="Freeform 227">
                <a:extLst>
                  <a:ext uri="{FF2B5EF4-FFF2-40B4-BE49-F238E27FC236}">
                    <a16:creationId xmlns:a16="http://schemas.microsoft.com/office/drawing/2014/main" id="{0EE7A20C-2A2E-44C1-9499-5E73D3EED2EE}"/>
                  </a:ext>
                </a:extLst>
              </p:cNvPr>
              <p:cNvSpPr>
                <a:spLocks/>
              </p:cNvSpPr>
              <p:nvPr/>
            </p:nvSpPr>
            <p:spPr bwMode="auto">
              <a:xfrm>
                <a:off x="5553744" y="1514834"/>
                <a:ext cx="265055" cy="258462"/>
              </a:xfrm>
              <a:custGeom>
                <a:avLst/>
                <a:gdLst>
                  <a:gd name="T0" fmla="*/ 73 w 85"/>
                  <a:gd name="T1" fmla="*/ 63 h 83"/>
                  <a:gd name="T2" fmla="*/ 11 w 85"/>
                  <a:gd name="T3" fmla="*/ 80 h 83"/>
                  <a:gd name="T4" fmla="*/ 4 w 85"/>
                  <a:gd name="T5" fmla="*/ 73 h 83"/>
                  <a:gd name="T6" fmla="*/ 23 w 85"/>
                  <a:gd name="T7" fmla="*/ 3 h 83"/>
                  <a:gd name="T8" fmla="*/ 24 w 85"/>
                  <a:gd name="T9" fmla="*/ 0 h 83"/>
                  <a:gd name="T10" fmla="*/ 59 w 85"/>
                  <a:gd name="T11" fmla="*/ 24 h 83"/>
                  <a:gd name="T12" fmla="*/ 78 w 85"/>
                  <a:gd name="T13" fmla="*/ 51 h 83"/>
                  <a:gd name="T14" fmla="*/ 73 w 85"/>
                  <a:gd name="T15" fmla="*/ 6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83">
                    <a:moveTo>
                      <a:pt x="73" y="63"/>
                    </a:moveTo>
                    <a:cubicBezTo>
                      <a:pt x="11" y="80"/>
                      <a:pt x="11" y="80"/>
                      <a:pt x="11" y="80"/>
                    </a:cubicBezTo>
                    <a:cubicBezTo>
                      <a:pt x="11" y="80"/>
                      <a:pt x="0" y="83"/>
                      <a:pt x="4" y="73"/>
                    </a:cubicBezTo>
                    <a:cubicBezTo>
                      <a:pt x="23" y="3"/>
                      <a:pt x="23" y="3"/>
                      <a:pt x="23" y="3"/>
                    </a:cubicBezTo>
                    <a:cubicBezTo>
                      <a:pt x="24" y="0"/>
                      <a:pt x="24" y="0"/>
                      <a:pt x="24" y="0"/>
                    </a:cubicBezTo>
                    <a:cubicBezTo>
                      <a:pt x="24" y="0"/>
                      <a:pt x="39" y="4"/>
                      <a:pt x="59" y="24"/>
                    </a:cubicBezTo>
                    <a:cubicBezTo>
                      <a:pt x="70" y="35"/>
                      <a:pt x="78" y="51"/>
                      <a:pt x="78" y="51"/>
                    </a:cubicBezTo>
                    <a:cubicBezTo>
                      <a:pt x="78" y="51"/>
                      <a:pt x="85" y="61"/>
                      <a:pt x="73" y="63"/>
                    </a:cubicBezTo>
                    <a:close/>
                  </a:path>
                </a:pathLst>
              </a:custGeom>
              <a:solidFill>
                <a:schemeClr val="bg1"/>
              </a:solidFill>
              <a:ln w="12700">
                <a:solidFill>
                  <a:schemeClr val="accent3"/>
                </a:solidFill>
              </a:ln>
            </p:spPr>
            <p:txBody>
              <a:bodyPr vert="horz" wrap="square" lIns="91440" tIns="45720" rIns="91440" bIns="45720" numCol="1" anchor="t" anchorCtr="0" compatLnSpc="1">
                <a:prstTxWarp prst="textNoShape">
                  <a:avLst/>
                </a:prstTxWarp>
              </a:bodyPr>
              <a:lstStyle/>
              <a:p>
                <a:endParaRPr lang="en-US"/>
              </a:p>
            </p:txBody>
          </p:sp>
        </p:grpSp>
      </p:grpSp>
      <p:sp>
        <p:nvSpPr>
          <p:cNvPr id="651" name="Rectangle 486">
            <a:extLst>
              <a:ext uri="{FF2B5EF4-FFF2-40B4-BE49-F238E27FC236}">
                <a16:creationId xmlns:a16="http://schemas.microsoft.com/office/drawing/2014/main" id="{55ECA8E6-8D52-4DBE-85A1-931DCFF533E9}"/>
              </a:ext>
              <a:ext uri="{C183D7F6-B498-43B3-948B-1728B52AA6E4}">
                <adec:decorative xmlns:adec="http://schemas.microsoft.com/office/drawing/2017/decorative" val="1"/>
              </a:ext>
            </a:extLst>
          </p:cNvPr>
          <p:cNvSpPr>
            <a:spLocks noChangeArrowheads="1"/>
          </p:cNvSpPr>
          <p:nvPr/>
        </p:nvSpPr>
        <p:spPr bwMode="auto">
          <a:xfrm>
            <a:off x="7032104" y="5003884"/>
            <a:ext cx="1168590"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fr-FR" sz="2400">
                <a:latin typeface="+mj-lt"/>
                <a:cs typeface="Arial" pitchFamily="34" charset="0"/>
              </a:rPr>
              <a:t>CHARTS</a:t>
            </a:r>
          </a:p>
        </p:txBody>
      </p:sp>
      <p:grpSp>
        <p:nvGrpSpPr>
          <p:cNvPr id="243" name="Group 242">
            <a:extLst>
              <a:ext uri="{FF2B5EF4-FFF2-40B4-BE49-F238E27FC236}">
                <a16:creationId xmlns:a16="http://schemas.microsoft.com/office/drawing/2014/main" id="{9AB81825-BB45-48F5-ABE7-055F36209CAF}"/>
              </a:ext>
              <a:ext uri="{C183D7F6-B498-43B3-948B-1728B52AA6E4}">
                <adec:decorative xmlns:adec="http://schemas.microsoft.com/office/drawing/2017/decorative" val="1"/>
              </a:ext>
            </a:extLst>
          </p:cNvPr>
          <p:cNvGrpSpPr/>
          <p:nvPr/>
        </p:nvGrpSpPr>
        <p:grpSpPr>
          <a:xfrm>
            <a:off x="569067" y="4530025"/>
            <a:ext cx="3297311" cy="123111"/>
            <a:chOff x="437425" y="4581128"/>
            <a:chExt cx="3297311" cy="123111"/>
          </a:xfrm>
        </p:grpSpPr>
        <p:sp>
          <p:nvSpPr>
            <p:cNvPr id="200" name="Rectangle 148">
              <a:extLst>
                <a:ext uri="{FF2B5EF4-FFF2-40B4-BE49-F238E27FC236}">
                  <a16:creationId xmlns:a16="http://schemas.microsoft.com/office/drawing/2014/main" id="{4ABFC130-2D46-404A-9520-C5CE7739FD1D}"/>
                </a:ext>
              </a:extLst>
            </p:cNvPr>
            <p:cNvSpPr>
              <a:spLocks noChangeArrowheads="1"/>
            </p:cNvSpPr>
            <p:nvPr/>
          </p:nvSpPr>
          <p:spPr bwMode="auto">
            <a:xfrm>
              <a:off x="3535964" y="4581128"/>
              <a:ext cx="19877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PDP</a:t>
              </a:r>
              <a:endParaRPr kumimoji="0" lang="fr-FR" altLang="fr-FR" sz="800" b="0" i="0" u="none" strike="noStrike" cap="none" normalizeH="0" baseline="0">
                <a:ln>
                  <a:noFill/>
                </a:ln>
                <a:solidFill>
                  <a:schemeClr val="tx1"/>
                </a:solidFill>
                <a:effectLst/>
                <a:latin typeface="+mn-lt"/>
              </a:endParaRPr>
            </a:p>
          </p:txBody>
        </p:sp>
        <p:sp>
          <p:nvSpPr>
            <p:cNvPr id="398" name="Rectangle 25">
              <a:extLst>
                <a:ext uri="{FF2B5EF4-FFF2-40B4-BE49-F238E27FC236}">
                  <a16:creationId xmlns:a16="http://schemas.microsoft.com/office/drawing/2014/main" id="{A883479C-3BE1-4797-8F19-FDE2B5EE2B9D}"/>
                </a:ext>
              </a:extLst>
            </p:cNvPr>
            <p:cNvSpPr>
              <a:spLocks noChangeArrowheads="1"/>
            </p:cNvSpPr>
            <p:nvPr/>
          </p:nvSpPr>
          <p:spPr bwMode="auto">
            <a:xfrm>
              <a:off x="437425" y="4581128"/>
              <a:ext cx="46807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Education</a:t>
              </a:r>
              <a:endParaRPr kumimoji="0" lang="fr-FR" altLang="fr-FR" sz="800" b="0" i="0" u="none" strike="noStrike" cap="none" normalizeH="0" baseline="0">
                <a:ln>
                  <a:noFill/>
                </a:ln>
                <a:solidFill>
                  <a:schemeClr val="tx1"/>
                </a:solidFill>
                <a:effectLst/>
                <a:latin typeface="+mn-lt"/>
              </a:endParaRPr>
            </a:p>
          </p:txBody>
        </p:sp>
        <p:sp>
          <p:nvSpPr>
            <p:cNvPr id="482" name="TextBox 707">
              <a:extLst>
                <a:ext uri="{FF2B5EF4-FFF2-40B4-BE49-F238E27FC236}">
                  <a16:creationId xmlns:a16="http://schemas.microsoft.com/office/drawing/2014/main" id="{BF60894A-A327-49A3-B286-E5CB8CD82D12}"/>
                </a:ext>
              </a:extLst>
            </p:cNvPr>
            <p:cNvSpPr txBox="1"/>
            <p:nvPr/>
          </p:nvSpPr>
          <p:spPr>
            <a:xfrm>
              <a:off x="1501342" y="4581128"/>
              <a:ext cx="379912" cy="123111"/>
            </a:xfrm>
            <a:prstGeom prst="rect">
              <a:avLst/>
            </a:prstGeom>
            <a:noFill/>
          </p:spPr>
          <p:txBody>
            <a:bodyPr wrap="none" lIns="0" tIns="0" rIns="0" bIns="0" rtlCol="0">
              <a:spAutoFit/>
            </a:bodyPr>
            <a:lstStyle/>
            <a:p>
              <a:r>
                <a:rPr lang="en-GB" sz="800">
                  <a:solidFill>
                    <a:schemeClr val="bg2">
                      <a:lumMod val="25000"/>
                    </a:schemeClr>
                  </a:solidFill>
                </a:rPr>
                <a:t>Training</a:t>
              </a:r>
            </a:p>
          </p:txBody>
        </p:sp>
        <p:sp>
          <p:nvSpPr>
            <p:cNvPr id="672" name="Rectangle 148">
              <a:extLst>
                <a:ext uri="{FF2B5EF4-FFF2-40B4-BE49-F238E27FC236}">
                  <a16:creationId xmlns:a16="http://schemas.microsoft.com/office/drawing/2014/main" id="{795E1EA6-983B-4617-ABE9-D0F0806E4D67}"/>
                </a:ext>
              </a:extLst>
            </p:cNvPr>
            <p:cNvSpPr>
              <a:spLocks noChangeArrowheads="1"/>
            </p:cNvSpPr>
            <p:nvPr/>
          </p:nvSpPr>
          <p:spPr bwMode="auto">
            <a:xfrm>
              <a:off x="2437443" y="4581128"/>
              <a:ext cx="47128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E-learning</a:t>
              </a:r>
              <a:endParaRPr kumimoji="0" lang="fr-FR" altLang="fr-FR" sz="800" b="0" i="0" u="none" strike="noStrike" cap="none" normalizeH="0" baseline="0">
                <a:ln>
                  <a:noFill/>
                </a:ln>
                <a:solidFill>
                  <a:schemeClr val="tx1"/>
                </a:solidFill>
                <a:effectLst/>
                <a:latin typeface="+mn-lt"/>
              </a:endParaRPr>
            </a:p>
          </p:txBody>
        </p:sp>
      </p:grpSp>
      <p:sp>
        <p:nvSpPr>
          <p:cNvPr id="212" name="Rectangle 211">
            <a:extLst>
              <a:ext uri="{FF2B5EF4-FFF2-40B4-BE49-F238E27FC236}">
                <a16:creationId xmlns:a16="http://schemas.microsoft.com/office/drawing/2014/main" id="{95412578-ED50-4AF9-BD05-A49B72E72BBE}"/>
              </a:ext>
              <a:ext uri="{C183D7F6-B498-43B3-948B-1728B52AA6E4}">
                <adec:decorative xmlns:adec="http://schemas.microsoft.com/office/drawing/2017/decorative" val="1"/>
              </a:ext>
            </a:extLst>
          </p:cNvPr>
          <p:cNvSpPr/>
          <p:nvPr/>
        </p:nvSpPr>
        <p:spPr>
          <a:xfrm>
            <a:off x="403200" y="504000"/>
            <a:ext cx="1152560"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PEOPLE</a:t>
            </a:r>
          </a:p>
        </p:txBody>
      </p:sp>
      <p:grpSp>
        <p:nvGrpSpPr>
          <p:cNvPr id="226" name="Group 225">
            <a:extLst>
              <a:ext uri="{FF2B5EF4-FFF2-40B4-BE49-F238E27FC236}">
                <a16:creationId xmlns:a16="http://schemas.microsoft.com/office/drawing/2014/main" id="{C3B18A25-36C3-4E32-8DE5-821DE76D520B}"/>
              </a:ext>
              <a:ext uri="{C183D7F6-B498-43B3-948B-1728B52AA6E4}">
                <adec:decorative xmlns:adec="http://schemas.microsoft.com/office/drawing/2017/decorative" val="1"/>
              </a:ext>
            </a:extLst>
          </p:cNvPr>
          <p:cNvGrpSpPr/>
          <p:nvPr/>
        </p:nvGrpSpPr>
        <p:grpSpPr>
          <a:xfrm>
            <a:off x="351758" y="3212976"/>
            <a:ext cx="11319844" cy="3312368"/>
            <a:chOff x="351757" y="3212976"/>
            <a:chExt cx="11504883" cy="3312368"/>
          </a:xfrm>
        </p:grpSpPr>
        <p:cxnSp>
          <p:nvCxnSpPr>
            <p:cNvPr id="221" name="Straight Connector 220">
              <a:extLst>
                <a:ext uri="{FF2B5EF4-FFF2-40B4-BE49-F238E27FC236}">
                  <a16:creationId xmlns:a16="http://schemas.microsoft.com/office/drawing/2014/main" id="{A4629C55-84F0-49AF-A1E2-5E586A89210D}"/>
                </a:ext>
              </a:extLst>
            </p:cNvPr>
            <p:cNvCxnSpPr/>
            <p:nvPr/>
          </p:nvCxnSpPr>
          <p:spPr>
            <a:xfrm>
              <a:off x="351757" y="3212976"/>
              <a:ext cx="11504883" cy="0"/>
            </a:xfrm>
            <a:prstGeom prst="line">
              <a:avLst/>
            </a:prstGeom>
            <a:ln w="12700">
              <a:solidFill>
                <a:schemeClr val="bg1">
                  <a:lumMod val="85000"/>
                </a:schemeClr>
              </a:solidFill>
            </a:ln>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8C99E632-3C7A-4291-AF33-6CF0EF4966A8}"/>
                </a:ext>
              </a:extLst>
            </p:cNvPr>
            <p:cNvCxnSpPr/>
            <p:nvPr/>
          </p:nvCxnSpPr>
          <p:spPr>
            <a:xfrm>
              <a:off x="6931135" y="4869160"/>
              <a:ext cx="4925505" cy="0"/>
            </a:xfrm>
            <a:prstGeom prst="line">
              <a:avLst/>
            </a:prstGeom>
            <a:ln w="12700">
              <a:solidFill>
                <a:schemeClr val="bg1">
                  <a:lumMod val="85000"/>
                </a:schemeClr>
              </a:solidFill>
            </a:ln>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ABF47607-1B6C-4D48-BEC6-9A2892D4A5FB}"/>
                </a:ext>
              </a:extLst>
            </p:cNvPr>
            <p:cNvCxnSpPr/>
            <p:nvPr/>
          </p:nvCxnSpPr>
          <p:spPr>
            <a:xfrm>
              <a:off x="6744072" y="3356992"/>
              <a:ext cx="0" cy="3168352"/>
            </a:xfrm>
            <a:prstGeom prst="line">
              <a:avLst/>
            </a:prstGeom>
            <a:ln w="12700">
              <a:solidFill>
                <a:schemeClr val="bg1">
                  <a:lumMod val="85000"/>
                </a:schemeClr>
              </a:solidFill>
            </a:ln>
          </p:spPr>
          <p:style>
            <a:lnRef idx="1">
              <a:schemeClr val="dk1"/>
            </a:lnRef>
            <a:fillRef idx="0">
              <a:schemeClr val="dk1"/>
            </a:fillRef>
            <a:effectRef idx="0">
              <a:schemeClr val="dk1"/>
            </a:effectRef>
            <a:fontRef idx="minor">
              <a:schemeClr val="tx1"/>
            </a:fontRef>
          </p:style>
        </p:cxnSp>
        <p:cxnSp>
          <p:nvCxnSpPr>
            <p:cNvPr id="735" name="Straight Connector 734">
              <a:extLst>
                <a:ext uri="{FF2B5EF4-FFF2-40B4-BE49-F238E27FC236}">
                  <a16:creationId xmlns:a16="http://schemas.microsoft.com/office/drawing/2014/main" id="{7C95FBE1-26A3-48D9-A48F-46D689DA5B4E}"/>
                </a:ext>
              </a:extLst>
            </p:cNvPr>
            <p:cNvCxnSpPr>
              <a:cxnSpLocks/>
            </p:cNvCxnSpPr>
            <p:nvPr/>
          </p:nvCxnSpPr>
          <p:spPr>
            <a:xfrm>
              <a:off x="351757" y="4869160"/>
              <a:ext cx="5875850" cy="0"/>
            </a:xfrm>
            <a:prstGeom prst="line">
              <a:avLst/>
            </a:prstGeom>
            <a:ln w="12700">
              <a:solidFill>
                <a:schemeClr val="bg1">
                  <a:lumMod val="85000"/>
                </a:schemeClr>
              </a:solidFill>
            </a:ln>
          </p:spPr>
          <p:style>
            <a:lnRef idx="1">
              <a:schemeClr val="dk1"/>
            </a:lnRef>
            <a:fillRef idx="0">
              <a:schemeClr val="dk1"/>
            </a:fillRef>
            <a:effectRef idx="0">
              <a:schemeClr val="dk1"/>
            </a:effectRef>
            <a:fontRef idx="minor">
              <a:schemeClr val="tx1"/>
            </a:fontRef>
          </p:style>
        </p:cxnSp>
      </p:grpSp>
      <p:grpSp>
        <p:nvGrpSpPr>
          <p:cNvPr id="242" name="Group 241">
            <a:extLst>
              <a:ext uri="{FF2B5EF4-FFF2-40B4-BE49-F238E27FC236}">
                <a16:creationId xmlns:a16="http://schemas.microsoft.com/office/drawing/2014/main" id="{E25B4B4A-9634-4739-9FD4-485F3378C5F5}"/>
              </a:ext>
              <a:ext uri="{C183D7F6-B498-43B3-948B-1728B52AA6E4}">
                <adec:decorative xmlns:adec="http://schemas.microsoft.com/office/drawing/2017/decorative" val="1"/>
              </a:ext>
            </a:extLst>
          </p:cNvPr>
          <p:cNvGrpSpPr/>
          <p:nvPr/>
        </p:nvGrpSpPr>
        <p:grpSpPr>
          <a:xfrm>
            <a:off x="3951886" y="5448851"/>
            <a:ext cx="599801" cy="569361"/>
            <a:chOff x="6575107" y="7093602"/>
            <a:chExt cx="599801" cy="569361"/>
          </a:xfrm>
        </p:grpSpPr>
        <p:sp>
          <p:nvSpPr>
            <p:cNvPr id="693" name="Freeform: Shape 692">
              <a:extLst>
                <a:ext uri="{FF2B5EF4-FFF2-40B4-BE49-F238E27FC236}">
                  <a16:creationId xmlns:a16="http://schemas.microsoft.com/office/drawing/2014/main" id="{772F8C0E-E544-4EB4-B1BD-7502CE4DAE7E}"/>
                </a:ext>
              </a:extLst>
            </p:cNvPr>
            <p:cNvSpPr/>
            <p:nvPr/>
          </p:nvSpPr>
          <p:spPr>
            <a:xfrm>
              <a:off x="6575107" y="7093602"/>
              <a:ext cx="599801" cy="569361"/>
            </a:xfrm>
            <a:custGeom>
              <a:avLst/>
              <a:gdLst>
                <a:gd name="connsiteX0" fmla="*/ 57112 w 599801"/>
                <a:gd name="connsiteY0" fmla="*/ 462906 h 569361"/>
                <a:gd name="connsiteX1" fmla="*/ 124930 w 599801"/>
                <a:gd name="connsiteY1" fmla="*/ 58665 h 569361"/>
                <a:gd name="connsiteX2" fmla="*/ 546316 w 599801"/>
                <a:gd name="connsiteY2" fmla="*/ 117720 h 569361"/>
                <a:gd name="connsiteX3" fmla="*/ 470116 w 599801"/>
                <a:gd name="connsiteY3" fmla="*/ 507197 h 569361"/>
                <a:gd name="connsiteX4" fmla="*/ 57493 w 599801"/>
                <a:gd name="connsiteY4" fmla="*/ 462906 h 569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801" h="569361">
                  <a:moveTo>
                    <a:pt x="57112" y="462906"/>
                  </a:moveTo>
                  <a:cubicBezTo>
                    <a:pt x="-40043" y="333080"/>
                    <a:pt x="-10515" y="153153"/>
                    <a:pt x="124930" y="58665"/>
                  </a:cubicBezTo>
                  <a:cubicBezTo>
                    <a:pt x="258339" y="-38490"/>
                    <a:pt x="444754" y="-12365"/>
                    <a:pt x="546316" y="117720"/>
                  </a:cubicBezTo>
                  <a:cubicBezTo>
                    <a:pt x="643566" y="244593"/>
                    <a:pt x="602323" y="412995"/>
                    <a:pt x="470116" y="507197"/>
                  </a:cubicBezTo>
                  <a:cubicBezTo>
                    <a:pt x="334575" y="601590"/>
                    <a:pt x="157791" y="589779"/>
                    <a:pt x="57493" y="462906"/>
                  </a:cubicBezTo>
                </a:path>
              </a:pathLst>
            </a:custGeom>
            <a:solidFill>
              <a:srgbClr val="11AADB"/>
            </a:solidFill>
            <a:ln w="9525" cap="flat">
              <a:noFill/>
              <a:prstDash val="solid"/>
              <a:miter/>
            </a:ln>
          </p:spPr>
          <p:txBody>
            <a:bodyPr rtlCol="0" anchor="ctr"/>
            <a:lstStyle/>
            <a:p>
              <a:endParaRPr lang="en-US"/>
            </a:p>
          </p:txBody>
        </p:sp>
        <p:sp>
          <p:nvSpPr>
            <p:cNvPr id="694" name="Freeform: Shape 693">
              <a:extLst>
                <a:ext uri="{FF2B5EF4-FFF2-40B4-BE49-F238E27FC236}">
                  <a16:creationId xmlns:a16="http://schemas.microsoft.com/office/drawing/2014/main" id="{FB1D7EE6-84F0-4B75-A47B-AD398BEA00DF}"/>
                </a:ext>
              </a:extLst>
            </p:cNvPr>
            <p:cNvSpPr/>
            <p:nvPr/>
          </p:nvSpPr>
          <p:spPr>
            <a:xfrm>
              <a:off x="6730707" y="7218846"/>
              <a:ext cx="282893" cy="225462"/>
            </a:xfrm>
            <a:custGeom>
              <a:avLst/>
              <a:gdLst>
                <a:gd name="connsiteX0" fmla="*/ 251746 w 282893"/>
                <a:gd name="connsiteY0" fmla="*/ 98012 h 225462"/>
                <a:gd name="connsiteX1" fmla="*/ 257652 w 282893"/>
                <a:gd name="connsiteY1" fmla="*/ 77248 h 225462"/>
                <a:gd name="connsiteX2" fmla="*/ 211757 w 282893"/>
                <a:gd name="connsiteY2" fmla="*/ 29623 h 225462"/>
                <a:gd name="connsiteX3" fmla="*/ 210027 w 282893"/>
                <a:gd name="connsiteY3" fmla="*/ 29623 h 225462"/>
                <a:gd name="connsiteX4" fmla="*/ 189358 w 282893"/>
                <a:gd name="connsiteY4" fmla="*/ 32576 h 225462"/>
                <a:gd name="connsiteX5" fmla="*/ 141733 w 282893"/>
                <a:gd name="connsiteY5" fmla="*/ 0 h 225462"/>
                <a:gd name="connsiteX6" fmla="*/ 97441 w 282893"/>
                <a:gd name="connsiteY6" fmla="*/ 32576 h 225462"/>
                <a:gd name="connsiteX7" fmla="*/ 76677 w 282893"/>
                <a:gd name="connsiteY7" fmla="*/ 29623 h 225462"/>
                <a:gd name="connsiteX8" fmla="*/ 26575 w 282893"/>
                <a:gd name="connsiteY8" fmla="*/ 77248 h 225462"/>
                <a:gd name="connsiteX9" fmla="*/ 32385 w 282893"/>
                <a:gd name="connsiteY9" fmla="*/ 98012 h 225462"/>
                <a:gd name="connsiteX10" fmla="*/ 0 w 282893"/>
                <a:gd name="connsiteY10" fmla="*/ 148400 h 225462"/>
                <a:gd name="connsiteX11" fmla="*/ 50197 w 282893"/>
                <a:gd name="connsiteY11" fmla="*/ 201644 h 225462"/>
                <a:gd name="connsiteX12" fmla="*/ 88297 w 282893"/>
                <a:gd name="connsiteY12" fmla="*/ 225362 h 225462"/>
                <a:gd name="connsiteX13" fmla="*/ 114871 w 282893"/>
                <a:gd name="connsiteY13" fmla="*/ 216503 h 225462"/>
                <a:gd name="connsiteX14" fmla="*/ 94203 w 282893"/>
                <a:gd name="connsiteY14" fmla="*/ 183928 h 225462"/>
                <a:gd name="connsiteX15" fmla="*/ 97156 w 282893"/>
                <a:gd name="connsiteY15" fmla="*/ 174974 h 225462"/>
                <a:gd name="connsiteX16" fmla="*/ 102966 w 282893"/>
                <a:gd name="connsiteY16" fmla="*/ 174974 h 225462"/>
                <a:gd name="connsiteX17" fmla="*/ 108967 w 282893"/>
                <a:gd name="connsiteY17" fmla="*/ 174974 h 225462"/>
                <a:gd name="connsiteX18" fmla="*/ 132588 w 282893"/>
                <a:gd name="connsiteY18" fmla="*/ 204692 h 225462"/>
                <a:gd name="connsiteX19" fmla="*/ 138494 w 282893"/>
                <a:gd name="connsiteY19" fmla="*/ 204692 h 225462"/>
                <a:gd name="connsiteX20" fmla="*/ 147257 w 282893"/>
                <a:gd name="connsiteY20" fmla="*/ 160211 h 225462"/>
                <a:gd name="connsiteX21" fmla="*/ 153163 w 282893"/>
                <a:gd name="connsiteY21" fmla="*/ 154305 h 225462"/>
                <a:gd name="connsiteX22" fmla="*/ 156210 w 282893"/>
                <a:gd name="connsiteY22" fmla="*/ 154305 h 225462"/>
                <a:gd name="connsiteX23" fmla="*/ 162116 w 282893"/>
                <a:gd name="connsiteY23" fmla="*/ 163259 h 225462"/>
                <a:gd name="connsiteX24" fmla="*/ 159164 w 282893"/>
                <a:gd name="connsiteY24" fmla="*/ 195739 h 225462"/>
                <a:gd name="connsiteX25" fmla="*/ 165069 w 282893"/>
                <a:gd name="connsiteY25" fmla="*/ 195739 h 225462"/>
                <a:gd name="connsiteX26" fmla="*/ 179833 w 282893"/>
                <a:gd name="connsiteY26" fmla="*/ 180975 h 225462"/>
                <a:gd name="connsiteX27" fmla="*/ 185738 w 282893"/>
                <a:gd name="connsiteY27" fmla="*/ 180975 h 225462"/>
                <a:gd name="connsiteX28" fmla="*/ 188691 w 282893"/>
                <a:gd name="connsiteY28" fmla="*/ 189833 h 225462"/>
                <a:gd name="connsiteX29" fmla="*/ 170974 w 282893"/>
                <a:gd name="connsiteY29" fmla="*/ 219551 h 225462"/>
                <a:gd name="connsiteX30" fmla="*/ 194596 w 282893"/>
                <a:gd name="connsiteY30" fmla="*/ 225362 h 225462"/>
                <a:gd name="connsiteX31" fmla="*/ 232696 w 282893"/>
                <a:gd name="connsiteY31" fmla="*/ 201644 h 225462"/>
                <a:gd name="connsiteX32" fmla="*/ 282893 w 282893"/>
                <a:gd name="connsiteY32" fmla="*/ 148400 h 225462"/>
                <a:gd name="connsiteX33" fmla="*/ 251746 w 282893"/>
                <a:gd name="connsiteY33" fmla="*/ 98012 h 225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82893" h="225462">
                  <a:moveTo>
                    <a:pt x="251746" y="98012"/>
                  </a:moveTo>
                  <a:cubicBezTo>
                    <a:pt x="255446" y="91705"/>
                    <a:pt x="257478" y="84559"/>
                    <a:pt x="257652" y="77248"/>
                  </a:cubicBezTo>
                  <a:cubicBezTo>
                    <a:pt x="258130" y="51423"/>
                    <a:pt x="237582" y="30101"/>
                    <a:pt x="211757" y="29623"/>
                  </a:cubicBezTo>
                  <a:cubicBezTo>
                    <a:pt x="211181" y="29612"/>
                    <a:pt x="210603" y="29612"/>
                    <a:pt x="210027" y="29623"/>
                  </a:cubicBezTo>
                  <a:cubicBezTo>
                    <a:pt x="202999" y="28919"/>
                    <a:pt x="195907" y="29933"/>
                    <a:pt x="189358" y="32576"/>
                  </a:cubicBezTo>
                  <a:cubicBezTo>
                    <a:pt x="181494" y="13115"/>
                    <a:pt x="162720" y="275"/>
                    <a:pt x="141733" y="0"/>
                  </a:cubicBezTo>
                  <a:cubicBezTo>
                    <a:pt x="121559" y="380"/>
                    <a:pt x="103814" y="13431"/>
                    <a:pt x="97441" y="32576"/>
                  </a:cubicBezTo>
                  <a:cubicBezTo>
                    <a:pt x="90756" y="30340"/>
                    <a:pt x="83720" y="29339"/>
                    <a:pt x="76677" y="29623"/>
                  </a:cubicBezTo>
                  <a:cubicBezTo>
                    <a:pt x="49788" y="29192"/>
                    <a:pt x="27506" y="50372"/>
                    <a:pt x="26575" y="77248"/>
                  </a:cubicBezTo>
                  <a:cubicBezTo>
                    <a:pt x="26719" y="84550"/>
                    <a:pt x="28719" y="91696"/>
                    <a:pt x="32385" y="98012"/>
                  </a:cubicBezTo>
                  <a:cubicBezTo>
                    <a:pt x="12949" y="107353"/>
                    <a:pt x="424" y="126839"/>
                    <a:pt x="0" y="148400"/>
                  </a:cubicBezTo>
                  <a:cubicBezTo>
                    <a:pt x="551" y="176415"/>
                    <a:pt x="22262" y="199445"/>
                    <a:pt x="50197" y="201644"/>
                  </a:cubicBezTo>
                  <a:cubicBezTo>
                    <a:pt x="56721" y="216711"/>
                    <a:pt x="71898" y="226158"/>
                    <a:pt x="88297" y="225362"/>
                  </a:cubicBezTo>
                  <a:cubicBezTo>
                    <a:pt x="97984" y="226084"/>
                    <a:pt x="107556" y="222894"/>
                    <a:pt x="114871" y="216503"/>
                  </a:cubicBezTo>
                  <a:lnTo>
                    <a:pt x="94203" y="183928"/>
                  </a:lnTo>
                  <a:cubicBezTo>
                    <a:pt x="93814" y="180654"/>
                    <a:pt x="94895" y="177375"/>
                    <a:pt x="97156" y="174974"/>
                  </a:cubicBezTo>
                  <a:lnTo>
                    <a:pt x="102966" y="174974"/>
                  </a:lnTo>
                  <a:cubicBezTo>
                    <a:pt x="105919" y="172021"/>
                    <a:pt x="108967" y="172021"/>
                    <a:pt x="108967" y="174974"/>
                  </a:cubicBezTo>
                  <a:lnTo>
                    <a:pt x="132588" y="204692"/>
                  </a:lnTo>
                  <a:cubicBezTo>
                    <a:pt x="135541" y="207645"/>
                    <a:pt x="138494" y="207645"/>
                    <a:pt x="138494" y="204692"/>
                  </a:cubicBezTo>
                  <a:lnTo>
                    <a:pt x="147257" y="160211"/>
                  </a:lnTo>
                  <a:cubicBezTo>
                    <a:pt x="147486" y="157049"/>
                    <a:pt x="150001" y="154533"/>
                    <a:pt x="153163" y="154305"/>
                  </a:cubicBezTo>
                  <a:lnTo>
                    <a:pt x="156210" y="154305"/>
                  </a:lnTo>
                  <a:cubicBezTo>
                    <a:pt x="162116" y="154305"/>
                    <a:pt x="165069" y="157258"/>
                    <a:pt x="162116" y="163259"/>
                  </a:cubicBezTo>
                  <a:lnTo>
                    <a:pt x="159164" y="195739"/>
                  </a:lnTo>
                  <a:cubicBezTo>
                    <a:pt x="159164" y="198692"/>
                    <a:pt x="162116" y="198692"/>
                    <a:pt x="165069" y="195739"/>
                  </a:cubicBezTo>
                  <a:lnTo>
                    <a:pt x="179833" y="180975"/>
                  </a:lnTo>
                  <a:cubicBezTo>
                    <a:pt x="179833" y="180975"/>
                    <a:pt x="185738" y="178022"/>
                    <a:pt x="185738" y="180975"/>
                  </a:cubicBezTo>
                  <a:cubicBezTo>
                    <a:pt x="188007" y="183332"/>
                    <a:pt x="189091" y="186587"/>
                    <a:pt x="188691" y="189833"/>
                  </a:cubicBezTo>
                  <a:lnTo>
                    <a:pt x="170974" y="219551"/>
                  </a:lnTo>
                  <a:cubicBezTo>
                    <a:pt x="178340" y="223161"/>
                    <a:pt x="186397" y="225143"/>
                    <a:pt x="194596" y="225362"/>
                  </a:cubicBezTo>
                  <a:cubicBezTo>
                    <a:pt x="210988" y="226130"/>
                    <a:pt x="226150" y="216692"/>
                    <a:pt x="232696" y="201644"/>
                  </a:cubicBezTo>
                  <a:cubicBezTo>
                    <a:pt x="260631" y="199445"/>
                    <a:pt x="282343" y="176415"/>
                    <a:pt x="282893" y="148400"/>
                  </a:cubicBezTo>
                  <a:cubicBezTo>
                    <a:pt x="282705" y="127114"/>
                    <a:pt x="270702" y="107697"/>
                    <a:pt x="251746" y="98012"/>
                  </a:cubicBezTo>
                  <a:close/>
                </a:path>
              </a:pathLst>
            </a:custGeom>
            <a:solidFill>
              <a:srgbClr val="FFFFFF"/>
            </a:solidFill>
            <a:ln w="9525" cap="flat">
              <a:noFill/>
              <a:prstDash val="solid"/>
              <a:miter/>
            </a:ln>
          </p:spPr>
          <p:txBody>
            <a:bodyPr rtlCol="0" anchor="ctr"/>
            <a:lstStyle/>
            <a:p>
              <a:endParaRPr lang="en-US"/>
            </a:p>
          </p:txBody>
        </p:sp>
        <p:sp>
          <p:nvSpPr>
            <p:cNvPr id="695" name="Freeform: Shape 694">
              <a:extLst>
                <a:ext uri="{FF2B5EF4-FFF2-40B4-BE49-F238E27FC236}">
                  <a16:creationId xmlns:a16="http://schemas.microsoft.com/office/drawing/2014/main" id="{7435A820-4F0A-4E1E-8E5E-4BB35E8CAEED}"/>
                </a:ext>
              </a:extLst>
            </p:cNvPr>
            <p:cNvSpPr/>
            <p:nvPr/>
          </p:nvSpPr>
          <p:spPr>
            <a:xfrm>
              <a:off x="6827013" y="7373723"/>
              <a:ext cx="93718" cy="172211"/>
            </a:xfrm>
            <a:custGeom>
              <a:avLst/>
              <a:gdLst>
                <a:gd name="connsiteX0" fmla="*/ 75716 w 93718"/>
                <a:gd name="connsiteY0" fmla="*/ 65341 h 172211"/>
                <a:gd name="connsiteX1" fmla="*/ 93242 w 93718"/>
                <a:gd name="connsiteY1" fmla="*/ 35623 h 172211"/>
                <a:gd name="connsiteX2" fmla="*/ 90289 w 93718"/>
                <a:gd name="connsiteY2" fmla="*/ 26670 h 172211"/>
                <a:gd name="connsiteX3" fmla="*/ 84479 w 93718"/>
                <a:gd name="connsiteY3" fmla="*/ 26670 h 172211"/>
                <a:gd name="connsiteX4" fmla="*/ 69715 w 93718"/>
                <a:gd name="connsiteY4" fmla="*/ 41624 h 172211"/>
                <a:gd name="connsiteX5" fmla="*/ 63905 w 93718"/>
                <a:gd name="connsiteY5" fmla="*/ 41624 h 172211"/>
                <a:gd name="connsiteX6" fmla="*/ 66858 w 93718"/>
                <a:gd name="connsiteY6" fmla="*/ 8954 h 172211"/>
                <a:gd name="connsiteX7" fmla="*/ 60952 w 93718"/>
                <a:gd name="connsiteY7" fmla="*/ 0 h 172211"/>
                <a:gd name="connsiteX8" fmla="*/ 58000 w 93718"/>
                <a:gd name="connsiteY8" fmla="*/ 0 h 172211"/>
                <a:gd name="connsiteX9" fmla="*/ 52189 w 93718"/>
                <a:gd name="connsiteY9" fmla="*/ 6001 h 172211"/>
                <a:gd name="connsiteX10" fmla="*/ 43426 w 93718"/>
                <a:gd name="connsiteY10" fmla="*/ 50482 h 172211"/>
                <a:gd name="connsiteX11" fmla="*/ 37521 w 93718"/>
                <a:gd name="connsiteY11" fmla="*/ 50482 h 172211"/>
                <a:gd name="connsiteX12" fmla="*/ 14184 w 93718"/>
                <a:gd name="connsiteY12" fmla="*/ 20764 h 172211"/>
                <a:gd name="connsiteX13" fmla="*/ 8374 w 93718"/>
                <a:gd name="connsiteY13" fmla="*/ 20764 h 172211"/>
                <a:gd name="connsiteX14" fmla="*/ 3040 w 93718"/>
                <a:gd name="connsiteY14" fmla="*/ 20764 h 172211"/>
                <a:gd name="connsiteX15" fmla="*/ 87 w 93718"/>
                <a:gd name="connsiteY15" fmla="*/ 29718 h 172211"/>
                <a:gd name="connsiteX16" fmla="*/ 20566 w 93718"/>
                <a:gd name="connsiteY16" fmla="*/ 62389 h 172211"/>
                <a:gd name="connsiteX17" fmla="*/ 26472 w 93718"/>
                <a:gd name="connsiteY17" fmla="*/ 71342 h 172211"/>
                <a:gd name="connsiteX18" fmla="*/ 29425 w 93718"/>
                <a:gd name="connsiteY18" fmla="*/ 92107 h 172211"/>
                <a:gd name="connsiteX19" fmla="*/ 5993 w 93718"/>
                <a:gd name="connsiteY19" fmla="*/ 163354 h 172211"/>
                <a:gd name="connsiteX20" fmla="*/ 32377 w 93718"/>
                <a:gd name="connsiteY20" fmla="*/ 172212 h 172211"/>
                <a:gd name="connsiteX21" fmla="*/ 67429 w 93718"/>
                <a:gd name="connsiteY21" fmla="*/ 163354 h 172211"/>
                <a:gd name="connsiteX22" fmla="*/ 93718 w 93718"/>
                <a:gd name="connsiteY22" fmla="*/ 163354 h 172211"/>
                <a:gd name="connsiteX23" fmla="*/ 67429 w 93718"/>
                <a:gd name="connsiteY23" fmla="*/ 86106 h 172211"/>
                <a:gd name="connsiteX24" fmla="*/ 73239 w 93718"/>
                <a:gd name="connsiteY24" fmla="*/ 68294 h 17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3718" h="172211">
                  <a:moveTo>
                    <a:pt x="75716" y="65341"/>
                  </a:moveTo>
                  <a:lnTo>
                    <a:pt x="93242" y="35623"/>
                  </a:lnTo>
                  <a:cubicBezTo>
                    <a:pt x="93631" y="32349"/>
                    <a:pt x="92549" y="29071"/>
                    <a:pt x="90289" y="26670"/>
                  </a:cubicBezTo>
                  <a:cubicBezTo>
                    <a:pt x="90289" y="23717"/>
                    <a:pt x="84479" y="26670"/>
                    <a:pt x="84479" y="26670"/>
                  </a:cubicBezTo>
                  <a:lnTo>
                    <a:pt x="69715" y="41624"/>
                  </a:lnTo>
                  <a:cubicBezTo>
                    <a:pt x="66858" y="44482"/>
                    <a:pt x="63905" y="44482"/>
                    <a:pt x="63905" y="41624"/>
                  </a:cubicBezTo>
                  <a:lnTo>
                    <a:pt x="66858" y="8954"/>
                  </a:lnTo>
                  <a:cubicBezTo>
                    <a:pt x="69715" y="2953"/>
                    <a:pt x="66858" y="0"/>
                    <a:pt x="60952" y="0"/>
                  </a:cubicBezTo>
                  <a:lnTo>
                    <a:pt x="58000" y="0"/>
                  </a:lnTo>
                  <a:cubicBezTo>
                    <a:pt x="54841" y="279"/>
                    <a:pt x="52366" y="2835"/>
                    <a:pt x="52189" y="6001"/>
                  </a:cubicBezTo>
                  <a:lnTo>
                    <a:pt x="43426" y="50482"/>
                  </a:lnTo>
                  <a:cubicBezTo>
                    <a:pt x="43426" y="53435"/>
                    <a:pt x="40473" y="53435"/>
                    <a:pt x="37521" y="50482"/>
                  </a:cubicBezTo>
                  <a:lnTo>
                    <a:pt x="14184" y="20764"/>
                  </a:lnTo>
                  <a:cubicBezTo>
                    <a:pt x="14184" y="17812"/>
                    <a:pt x="11231" y="17812"/>
                    <a:pt x="8374" y="20764"/>
                  </a:cubicBezTo>
                  <a:lnTo>
                    <a:pt x="3040" y="20764"/>
                  </a:lnTo>
                  <a:cubicBezTo>
                    <a:pt x="756" y="23151"/>
                    <a:pt x="-329" y="26441"/>
                    <a:pt x="87" y="29718"/>
                  </a:cubicBezTo>
                  <a:lnTo>
                    <a:pt x="20566" y="62389"/>
                  </a:lnTo>
                  <a:lnTo>
                    <a:pt x="26472" y="71342"/>
                  </a:lnTo>
                  <a:cubicBezTo>
                    <a:pt x="30316" y="77546"/>
                    <a:pt x="31387" y="85077"/>
                    <a:pt x="29425" y="92107"/>
                  </a:cubicBezTo>
                  <a:cubicBezTo>
                    <a:pt x="26472" y="118777"/>
                    <a:pt x="23519" y="142494"/>
                    <a:pt x="5993" y="163354"/>
                  </a:cubicBezTo>
                  <a:cubicBezTo>
                    <a:pt x="5993" y="163354"/>
                    <a:pt x="11803" y="172212"/>
                    <a:pt x="32377" y="172212"/>
                  </a:cubicBezTo>
                  <a:cubicBezTo>
                    <a:pt x="46950" y="172212"/>
                    <a:pt x="55714" y="166211"/>
                    <a:pt x="67429" y="163354"/>
                  </a:cubicBezTo>
                  <a:cubicBezTo>
                    <a:pt x="75603" y="158809"/>
                    <a:pt x="85544" y="158809"/>
                    <a:pt x="93718" y="163354"/>
                  </a:cubicBezTo>
                  <a:cubicBezTo>
                    <a:pt x="77667" y="140690"/>
                    <a:pt x="68535" y="113856"/>
                    <a:pt x="67429" y="86106"/>
                  </a:cubicBezTo>
                  <a:cubicBezTo>
                    <a:pt x="67991" y="79805"/>
                    <a:pt x="69977" y="73714"/>
                    <a:pt x="73239" y="68294"/>
                  </a:cubicBezTo>
                  <a:close/>
                </a:path>
              </a:pathLst>
            </a:custGeom>
            <a:solidFill>
              <a:srgbClr val="11AADB"/>
            </a:solidFill>
            <a:ln w="9525" cap="flat">
              <a:noFill/>
              <a:prstDash val="solid"/>
              <a:miter/>
            </a:ln>
          </p:spPr>
          <p:txBody>
            <a:bodyPr rtlCol="0" anchor="ctr"/>
            <a:lstStyle/>
            <a:p>
              <a:endParaRPr lang="en-US"/>
            </a:p>
          </p:txBody>
        </p:sp>
        <p:sp>
          <p:nvSpPr>
            <p:cNvPr id="696" name="Freeform: Shape 695">
              <a:extLst>
                <a:ext uri="{FF2B5EF4-FFF2-40B4-BE49-F238E27FC236}">
                  <a16:creationId xmlns:a16="http://schemas.microsoft.com/office/drawing/2014/main" id="{F2ED0664-9867-4AFF-8F5F-C570C564600D}"/>
                </a:ext>
              </a:extLst>
            </p:cNvPr>
            <p:cNvSpPr/>
            <p:nvPr/>
          </p:nvSpPr>
          <p:spPr>
            <a:xfrm>
              <a:off x="6822448" y="7369836"/>
              <a:ext cx="108856" cy="179718"/>
            </a:xfrm>
            <a:custGeom>
              <a:avLst/>
              <a:gdLst>
                <a:gd name="connsiteX0" fmla="*/ 36181 w 108856"/>
                <a:gd name="connsiteY0" fmla="*/ 179718 h 179718"/>
                <a:gd name="connsiteX1" fmla="*/ 6843 w 108856"/>
                <a:gd name="connsiteY1" fmla="*/ 169146 h 179718"/>
                <a:gd name="connsiteX2" fmla="*/ 5415 w 108856"/>
                <a:gd name="connsiteY2" fmla="*/ 166955 h 179718"/>
                <a:gd name="connsiteX3" fmla="*/ 7129 w 108856"/>
                <a:gd name="connsiteY3" fmla="*/ 164954 h 179718"/>
                <a:gd name="connsiteX4" fmla="*/ 29704 w 108856"/>
                <a:gd name="connsiteY4" fmla="*/ 95612 h 179718"/>
                <a:gd name="connsiteX5" fmla="*/ 29704 w 108856"/>
                <a:gd name="connsiteY5" fmla="*/ 94470 h 179718"/>
                <a:gd name="connsiteX6" fmla="*/ 26846 w 108856"/>
                <a:gd name="connsiteY6" fmla="*/ 76753 h 179718"/>
                <a:gd name="connsiteX7" fmla="*/ 21131 w 108856"/>
                <a:gd name="connsiteY7" fmla="*/ 68180 h 179718"/>
                <a:gd name="connsiteX8" fmla="*/ 81 w 108856"/>
                <a:gd name="connsiteY8" fmla="*/ 34652 h 179718"/>
                <a:gd name="connsiteX9" fmla="*/ 81 w 108856"/>
                <a:gd name="connsiteY9" fmla="*/ 33605 h 179718"/>
                <a:gd name="connsiteX10" fmla="*/ 4081 w 108856"/>
                <a:gd name="connsiteY10" fmla="*/ 22175 h 179718"/>
                <a:gd name="connsiteX11" fmla="*/ 5129 w 108856"/>
                <a:gd name="connsiteY11" fmla="*/ 21127 h 179718"/>
                <a:gd name="connsiteX12" fmla="*/ 11034 w 108856"/>
                <a:gd name="connsiteY12" fmla="*/ 21127 h 179718"/>
                <a:gd name="connsiteX13" fmla="*/ 18464 w 108856"/>
                <a:gd name="connsiteY13" fmla="*/ 19317 h 179718"/>
                <a:gd name="connsiteX14" fmla="*/ 21608 w 108856"/>
                <a:gd name="connsiteY14" fmla="*/ 23318 h 179718"/>
                <a:gd name="connsiteX15" fmla="*/ 44372 w 108856"/>
                <a:gd name="connsiteY15" fmla="*/ 51893 h 179718"/>
                <a:gd name="connsiteX16" fmla="*/ 52849 w 108856"/>
                <a:gd name="connsiteY16" fmla="*/ 8840 h 179718"/>
                <a:gd name="connsiteX17" fmla="*/ 62374 w 108856"/>
                <a:gd name="connsiteY17" fmla="*/ 76 h 179718"/>
                <a:gd name="connsiteX18" fmla="*/ 65327 w 108856"/>
                <a:gd name="connsiteY18" fmla="*/ 77 h 179718"/>
                <a:gd name="connsiteX19" fmla="*/ 74852 w 108856"/>
                <a:gd name="connsiteY19" fmla="*/ 4172 h 179718"/>
                <a:gd name="connsiteX20" fmla="*/ 74852 w 108856"/>
                <a:gd name="connsiteY20" fmla="*/ 13697 h 179718"/>
                <a:gd name="connsiteX21" fmla="*/ 72280 w 108856"/>
                <a:gd name="connsiteY21" fmla="*/ 42272 h 179718"/>
                <a:gd name="connsiteX22" fmla="*/ 87330 w 108856"/>
                <a:gd name="connsiteY22" fmla="*/ 27223 h 179718"/>
                <a:gd name="connsiteX23" fmla="*/ 96093 w 108856"/>
                <a:gd name="connsiteY23" fmla="*/ 26270 h 179718"/>
                <a:gd name="connsiteX24" fmla="*/ 98093 w 108856"/>
                <a:gd name="connsiteY24" fmla="*/ 28747 h 179718"/>
                <a:gd name="connsiteX25" fmla="*/ 101237 w 108856"/>
                <a:gd name="connsiteY25" fmla="*/ 39319 h 179718"/>
                <a:gd name="connsiteX26" fmla="*/ 101237 w 108856"/>
                <a:gd name="connsiteY26" fmla="*/ 40272 h 179718"/>
                <a:gd name="connsiteX27" fmla="*/ 82187 w 108856"/>
                <a:gd name="connsiteY27" fmla="*/ 71514 h 179718"/>
                <a:gd name="connsiteX28" fmla="*/ 79710 w 108856"/>
                <a:gd name="connsiteY28" fmla="*/ 74086 h 179718"/>
                <a:gd name="connsiteX29" fmla="*/ 74471 w 108856"/>
                <a:gd name="connsiteY29" fmla="*/ 89802 h 179718"/>
                <a:gd name="connsiteX30" fmla="*/ 100094 w 108856"/>
                <a:gd name="connsiteY30" fmla="*/ 164954 h 179718"/>
                <a:gd name="connsiteX31" fmla="*/ 108856 w 108856"/>
                <a:gd name="connsiteY31" fmla="*/ 176765 h 179718"/>
                <a:gd name="connsiteX32" fmla="*/ 95617 w 108856"/>
                <a:gd name="connsiteY32" fmla="*/ 170193 h 179718"/>
                <a:gd name="connsiteX33" fmla="*/ 72471 w 108856"/>
                <a:gd name="connsiteY33" fmla="*/ 170193 h 179718"/>
                <a:gd name="connsiteX34" fmla="*/ 61041 w 108856"/>
                <a:gd name="connsiteY34" fmla="*/ 174003 h 179718"/>
                <a:gd name="connsiteX35" fmla="*/ 36181 w 108856"/>
                <a:gd name="connsiteY35" fmla="*/ 179718 h 179718"/>
                <a:gd name="connsiteX36" fmla="*/ 14845 w 108856"/>
                <a:gd name="connsiteY36" fmla="*/ 166955 h 179718"/>
                <a:gd name="connsiteX37" fmla="*/ 36467 w 108856"/>
                <a:gd name="connsiteY37" fmla="*/ 172574 h 179718"/>
                <a:gd name="connsiteX38" fmla="*/ 59136 w 108856"/>
                <a:gd name="connsiteY38" fmla="*/ 167526 h 179718"/>
                <a:gd name="connsiteX39" fmla="*/ 70566 w 108856"/>
                <a:gd name="connsiteY39" fmla="*/ 163811 h 179718"/>
                <a:gd name="connsiteX40" fmla="*/ 89045 w 108856"/>
                <a:gd name="connsiteY40" fmla="*/ 160573 h 179718"/>
                <a:gd name="connsiteX41" fmla="*/ 67994 w 108856"/>
                <a:gd name="connsiteY41" fmla="*/ 90374 h 179718"/>
                <a:gd name="connsiteX42" fmla="*/ 74091 w 108856"/>
                <a:gd name="connsiteY42" fmla="*/ 71324 h 179718"/>
                <a:gd name="connsiteX43" fmla="*/ 74852 w 108856"/>
                <a:gd name="connsiteY43" fmla="*/ 70085 h 179718"/>
                <a:gd name="connsiteX44" fmla="*/ 77424 w 108856"/>
                <a:gd name="connsiteY44" fmla="*/ 67514 h 179718"/>
                <a:gd name="connsiteX45" fmla="*/ 94283 w 108856"/>
                <a:gd name="connsiteY45" fmla="*/ 38939 h 179718"/>
                <a:gd name="connsiteX46" fmla="*/ 92378 w 108856"/>
                <a:gd name="connsiteY46" fmla="*/ 33414 h 179718"/>
                <a:gd name="connsiteX47" fmla="*/ 91045 w 108856"/>
                <a:gd name="connsiteY47" fmla="*/ 33890 h 179718"/>
                <a:gd name="connsiteX48" fmla="*/ 76948 w 108856"/>
                <a:gd name="connsiteY48" fmla="*/ 48368 h 179718"/>
                <a:gd name="connsiteX49" fmla="*/ 68280 w 108856"/>
                <a:gd name="connsiteY49" fmla="*/ 51226 h 179718"/>
                <a:gd name="connsiteX50" fmla="*/ 65042 w 108856"/>
                <a:gd name="connsiteY50" fmla="*/ 45892 h 179718"/>
                <a:gd name="connsiteX51" fmla="*/ 68280 w 108856"/>
                <a:gd name="connsiteY51" fmla="*/ 11602 h 179718"/>
                <a:gd name="connsiteX52" fmla="*/ 69042 w 108856"/>
                <a:gd name="connsiteY52" fmla="*/ 8554 h 179718"/>
                <a:gd name="connsiteX53" fmla="*/ 65613 w 108856"/>
                <a:gd name="connsiteY53" fmla="*/ 7792 h 179718"/>
                <a:gd name="connsiteX54" fmla="*/ 62660 w 108856"/>
                <a:gd name="connsiteY54" fmla="*/ 7792 h 179718"/>
                <a:gd name="connsiteX55" fmla="*/ 60470 w 108856"/>
                <a:gd name="connsiteY55" fmla="*/ 10269 h 179718"/>
                <a:gd name="connsiteX56" fmla="*/ 51516 w 108856"/>
                <a:gd name="connsiteY56" fmla="*/ 55512 h 179718"/>
                <a:gd name="connsiteX57" fmla="*/ 48372 w 108856"/>
                <a:gd name="connsiteY57" fmla="*/ 60084 h 179718"/>
                <a:gd name="connsiteX58" fmla="*/ 39705 w 108856"/>
                <a:gd name="connsiteY58" fmla="*/ 57322 h 179718"/>
                <a:gd name="connsiteX59" fmla="*/ 15988 w 108856"/>
                <a:gd name="connsiteY59" fmla="*/ 27128 h 179718"/>
                <a:gd name="connsiteX60" fmla="*/ 15988 w 108856"/>
                <a:gd name="connsiteY60" fmla="*/ 27128 h 179718"/>
                <a:gd name="connsiteX61" fmla="*/ 14940 w 108856"/>
                <a:gd name="connsiteY61" fmla="*/ 28175 h 179718"/>
                <a:gd name="connsiteX62" fmla="*/ 9225 w 108856"/>
                <a:gd name="connsiteY62" fmla="*/ 28175 h 179718"/>
                <a:gd name="connsiteX63" fmla="*/ 8177 w 108856"/>
                <a:gd name="connsiteY63" fmla="*/ 32557 h 179718"/>
                <a:gd name="connsiteX64" fmla="*/ 33895 w 108856"/>
                <a:gd name="connsiteY64" fmla="*/ 73229 h 179718"/>
                <a:gd name="connsiteX65" fmla="*/ 37324 w 108856"/>
                <a:gd name="connsiteY65" fmla="*/ 96946 h 179718"/>
                <a:gd name="connsiteX66" fmla="*/ 14845 w 108856"/>
                <a:gd name="connsiteY66" fmla="*/ 166955 h 179718"/>
                <a:gd name="connsiteX67" fmla="*/ 44563 w 108856"/>
                <a:gd name="connsiteY67" fmla="*/ 54369 h 179718"/>
                <a:gd name="connsiteX68" fmla="*/ 44563 w 108856"/>
                <a:gd name="connsiteY68" fmla="*/ 54369 h 17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8856" h="179718">
                  <a:moveTo>
                    <a:pt x="36181" y="179718"/>
                  </a:moveTo>
                  <a:cubicBezTo>
                    <a:pt x="14273" y="179718"/>
                    <a:pt x="7606" y="170193"/>
                    <a:pt x="6843" y="169146"/>
                  </a:cubicBezTo>
                  <a:lnTo>
                    <a:pt x="5415" y="166955"/>
                  </a:lnTo>
                  <a:lnTo>
                    <a:pt x="7129" y="164954"/>
                  </a:lnTo>
                  <a:cubicBezTo>
                    <a:pt x="24274" y="144476"/>
                    <a:pt x="26942" y="120758"/>
                    <a:pt x="29704" y="95612"/>
                  </a:cubicBezTo>
                  <a:lnTo>
                    <a:pt x="29704" y="94470"/>
                  </a:lnTo>
                  <a:cubicBezTo>
                    <a:pt x="31119" y="88418"/>
                    <a:pt x="30092" y="82053"/>
                    <a:pt x="26846" y="76753"/>
                  </a:cubicBezTo>
                  <a:lnTo>
                    <a:pt x="21131" y="68180"/>
                  </a:lnTo>
                  <a:lnTo>
                    <a:pt x="81" y="34652"/>
                  </a:lnTo>
                  <a:lnTo>
                    <a:pt x="81" y="33605"/>
                  </a:lnTo>
                  <a:cubicBezTo>
                    <a:pt x="-373" y="29387"/>
                    <a:pt x="1096" y="25189"/>
                    <a:pt x="4081" y="22175"/>
                  </a:cubicBezTo>
                  <a:lnTo>
                    <a:pt x="5129" y="21127"/>
                  </a:lnTo>
                  <a:lnTo>
                    <a:pt x="11034" y="21127"/>
                  </a:lnTo>
                  <a:cubicBezTo>
                    <a:pt x="12965" y="19158"/>
                    <a:pt x="15845" y="18456"/>
                    <a:pt x="18464" y="19317"/>
                  </a:cubicBezTo>
                  <a:cubicBezTo>
                    <a:pt x="20157" y="19987"/>
                    <a:pt x="21358" y="21515"/>
                    <a:pt x="21608" y="23318"/>
                  </a:cubicBezTo>
                  <a:lnTo>
                    <a:pt x="44372" y="51893"/>
                  </a:lnTo>
                  <a:lnTo>
                    <a:pt x="52849" y="8840"/>
                  </a:lnTo>
                  <a:cubicBezTo>
                    <a:pt x="53248" y="3879"/>
                    <a:pt x="57397" y="61"/>
                    <a:pt x="62374" y="76"/>
                  </a:cubicBezTo>
                  <a:lnTo>
                    <a:pt x="65327" y="77"/>
                  </a:lnTo>
                  <a:cubicBezTo>
                    <a:pt x="69008" y="-375"/>
                    <a:pt x="72648" y="1190"/>
                    <a:pt x="74852" y="4172"/>
                  </a:cubicBezTo>
                  <a:cubicBezTo>
                    <a:pt x="76554" y="7119"/>
                    <a:pt x="76554" y="10751"/>
                    <a:pt x="74852" y="13697"/>
                  </a:cubicBezTo>
                  <a:lnTo>
                    <a:pt x="72280" y="42272"/>
                  </a:lnTo>
                  <a:lnTo>
                    <a:pt x="87330" y="27223"/>
                  </a:lnTo>
                  <a:cubicBezTo>
                    <a:pt x="89919" y="25491"/>
                    <a:pt x="93192" y="25136"/>
                    <a:pt x="96093" y="26270"/>
                  </a:cubicBezTo>
                  <a:cubicBezTo>
                    <a:pt x="97029" y="26836"/>
                    <a:pt x="97737" y="27712"/>
                    <a:pt x="98093" y="28747"/>
                  </a:cubicBezTo>
                  <a:cubicBezTo>
                    <a:pt x="100450" y="31742"/>
                    <a:pt x="101574" y="35523"/>
                    <a:pt x="101237" y="39319"/>
                  </a:cubicBezTo>
                  <a:lnTo>
                    <a:pt x="101237" y="40272"/>
                  </a:lnTo>
                  <a:lnTo>
                    <a:pt x="82187" y="71514"/>
                  </a:lnTo>
                  <a:lnTo>
                    <a:pt x="79710" y="74086"/>
                  </a:lnTo>
                  <a:cubicBezTo>
                    <a:pt x="76832" y="78877"/>
                    <a:pt x="75043" y="84243"/>
                    <a:pt x="74471" y="89802"/>
                  </a:cubicBezTo>
                  <a:cubicBezTo>
                    <a:pt x="75640" y="116789"/>
                    <a:pt x="84533" y="142874"/>
                    <a:pt x="100094" y="164954"/>
                  </a:cubicBezTo>
                  <a:lnTo>
                    <a:pt x="108856" y="176765"/>
                  </a:lnTo>
                  <a:lnTo>
                    <a:pt x="95617" y="170193"/>
                  </a:lnTo>
                  <a:cubicBezTo>
                    <a:pt x="88420" y="166191"/>
                    <a:pt x="79667" y="166191"/>
                    <a:pt x="72471" y="170193"/>
                  </a:cubicBezTo>
                  <a:cubicBezTo>
                    <a:pt x="68089" y="171431"/>
                    <a:pt x="64660" y="172670"/>
                    <a:pt x="61041" y="174003"/>
                  </a:cubicBezTo>
                  <a:cubicBezTo>
                    <a:pt x="53185" y="177448"/>
                    <a:pt x="44752" y="179387"/>
                    <a:pt x="36181" y="179718"/>
                  </a:cubicBezTo>
                  <a:close/>
                  <a:moveTo>
                    <a:pt x="14845" y="166955"/>
                  </a:moveTo>
                  <a:cubicBezTo>
                    <a:pt x="21223" y="171189"/>
                    <a:pt x="28834" y="173167"/>
                    <a:pt x="36467" y="172574"/>
                  </a:cubicBezTo>
                  <a:cubicBezTo>
                    <a:pt x="44277" y="172358"/>
                    <a:pt x="51972" y="170644"/>
                    <a:pt x="59136" y="167526"/>
                  </a:cubicBezTo>
                  <a:cubicBezTo>
                    <a:pt x="62869" y="166061"/>
                    <a:pt x="66685" y="164820"/>
                    <a:pt x="70566" y="163811"/>
                  </a:cubicBezTo>
                  <a:cubicBezTo>
                    <a:pt x="76215" y="160765"/>
                    <a:pt x="82697" y="159629"/>
                    <a:pt x="89045" y="160573"/>
                  </a:cubicBezTo>
                  <a:cubicBezTo>
                    <a:pt x="76397" y="139244"/>
                    <a:pt x="69170" y="115142"/>
                    <a:pt x="67994" y="90374"/>
                  </a:cubicBezTo>
                  <a:cubicBezTo>
                    <a:pt x="68492" y="83631"/>
                    <a:pt x="70581" y="77103"/>
                    <a:pt x="74091" y="71324"/>
                  </a:cubicBezTo>
                  <a:lnTo>
                    <a:pt x="74852" y="70085"/>
                  </a:lnTo>
                  <a:lnTo>
                    <a:pt x="77424" y="67514"/>
                  </a:lnTo>
                  <a:lnTo>
                    <a:pt x="94283" y="38939"/>
                  </a:lnTo>
                  <a:cubicBezTo>
                    <a:pt x="94429" y="36914"/>
                    <a:pt x="93741" y="34918"/>
                    <a:pt x="92378" y="33414"/>
                  </a:cubicBezTo>
                  <a:lnTo>
                    <a:pt x="91045" y="33890"/>
                  </a:lnTo>
                  <a:lnTo>
                    <a:pt x="76948" y="48368"/>
                  </a:lnTo>
                  <a:cubicBezTo>
                    <a:pt x="74890" y="50969"/>
                    <a:pt x="71481" y="52093"/>
                    <a:pt x="68280" y="51226"/>
                  </a:cubicBezTo>
                  <a:cubicBezTo>
                    <a:pt x="66185" y="50308"/>
                    <a:pt x="64890" y="48174"/>
                    <a:pt x="65042" y="45892"/>
                  </a:cubicBezTo>
                  <a:lnTo>
                    <a:pt x="68280" y="11602"/>
                  </a:lnTo>
                  <a:cubicBezTo>
                    <a:pt x="69232" y="9697"/>
                    <a:pt x="69137" y="8840"/>
                    <a:pt x="69042" y="8554"/>
                  </a:cubicBezTo>
                  <a:cubicBezTo>
                    <a:pt x="68947" y="8268"/>
                    <a:pt x="67994" y="7792"/>
                    <a:pt x="65613" y="7792"/>
                  </a:cubicBezTo>
                  <a:lnTo>
                    <a:pt x="62660" y="7792"/>
                  </a:lnTo>
                  <a:cubicBezTo>
                    <a:pt x="61478" y="8068"/>
                    <a:pt x="60599" y="9061"/>
                    <a:pt x="60470" y="10269"/>
                  </a:cubicBezTo>
                  <a:lnTo>
                    <a:pt x="51516" y="55512"/>
                  </a:lnTo>
                  <a:cubicBezTo>
                    <a:pt x="51474" y="57527"/>
                    <a:pt x="50239" y="59324"/>
                    <a:pt x="48372" y="60084"/>
                  </a:cubicBezTo>
                  <a:cubicBezTo>
                    <a:pt x="45191" y="61000"/>
                    <a:pt x="41770" y="59910"/>
                    <a:pt x="39705" y="57322"/>
                  </a:cubicBezTo>
                  <a:lnTo>
                    <a:pt x="15988" y="27128"/>
                  </a:lnTo>
                  <a:lnTo>
                    <a:pt x="15988" y="27128"/>
                  </a:lnTo>
                  <a:lnTo>
                    <a:pt x="14940" y="28175"/>
                  </a:lnTo>
                  <a:lnTo>
                    <a:pt x="9225" y="28175"/>
                  </a:lnTo>
                  <a:cubicBezTo>
                    <a:pt x="8412" y="29485"/>
                    <a:pt x="8045" y="31022"/>
                    <a:pt x="8177" y="32557"/>
                  </a:cubicBezTo>
                  <a:lnTo>
                    <a:pt x="33895" y="73229"/>
                  </a:lnTo>
                  <a:cubicBezTo>
                    <a:pt x="38145" y="80364"/>
                    <a:pt x="39379" y="88899"/>
                    <a:pt x="37324" y="96946"/>
                  </a:cubicBezTo>
                  <a:cubicBezTo>
                    <a:pt x="34276" y="120949"/>
                    <a:pt x="31513" y="145619"/>
                    <a:pt x="14845" y="166955"/>
                  </a:cubicBezTo>
                  <a:close/>
                  <a:moveTo>
                    <a:pt x="44563" y="54369"/>
                  </a:moveTo>
                  <a:lnTo>
                    <a:pt x="44563" y="54369"/>
                  </a:lnTo>
                  <a:close/>
                </a:path>
              </a:pathLst>
            </a:custGeom>
            <a:solidFill>
              <a:srgbClr val="FFFFFF"/>
            </a:solidFill>
            <a:ln w="9525" cap="flat">
              <a:noFill/>
              <a:prstDash val="solid"/>
              <a:miter/>
            </a:ln>
          </p:spPr>
          <p:txBody>
            <a:bodyPr rtlCol="0" anchor="ctr"/>
            <a:lstStyle/>
            <a:p>
              <a:endParaRPr lang="en-US"/>
            </a:p>
          </p:txBody>
        </p:sp>
      </p:grpSp>
      <p:sp>
        <p:nvSpPr>
          <p:cNvPr id="734" name="Rectangle 486">
            <a:extLst>
              <a:ext uri="{FF2B5EF4-FFF2-40B4-BE49-F238E27FC236}">
                <a16:creationId xmlns:a16="http://schemas.microsoft.com/office/drawing/2014/main" id="{2ACFC212-2561-43E9-BC87-F6027CB80C09}"/>
              </a:ext>
              <a:ext uri="{C183D7F6-B498-43B3-948B-1728B52AA6E4}">
                <adec:decorative xmlns:adec="http://schemas.microsoft.com/office/drawing/2017/decorative" val="1"/>
              </a:ext>
            </a:extLst>
          </p:cNvPr>
          <p:cNvSpPr>
            <a:spLocks noChangeArrowheads="1"/>
          </p:cNvSpPr>
          <p:nvPr/>
        </p:nvSpPr>
        <p:spPr bwMode="auto">
          <a:xfrm>
            <a:off x="403200" y="5003884"/>
            <a:ext cx="559449"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fr-FR" sz="2400">
                <a:latin typeface="+mj-lt"/>
                <a:cs typeface="Arial" pitchFamily="34" charset="0"/>
              </a:rPr>
              <a:t>CSR</a:t>
            </a:r>
          </a:p>
        </p:txBody>
      </p:sp>
      <p:sp>
        <p:nvSpPr>
          <p:cNvPr id="2" name="Title 1">
            <a:extLst>
              <a:ext uri="{FF2B5EF4-FFF2-40B4-BE49-F238E27FC236}">
                <a16:creationId xmlns:a16="http://schemas.microsoft.com/office/drawing/2014/main" id="{196F5A0A-ECD1-4B47-84DB-21B0BA9D95F6}"/>
              </a:ext>
            </a:extLst>
          </p:cNvPr>
          <p:cNvSpPr>
            <a:spLocks noGrp="1"/>
          </p:cNvSpPr>
          <p:nvPr>
            <p:ph type="title" idx="4294967295"/>
          </p:nvPr>
        </p:nvSpPr>
        <p:spPr>
          <a:xfrm>
            <a:off x="404813" y="0"/>
            <a:ext cx="10947772" cy="360000"/>
          </a:xfrm>
        </p:spPr>
        <p:txBody>
          <a:bodyPr/>
          <a:lstStyle/>
          <a:p>
            <a:r>
              <a:rPr lang="en-US" sz="1400">
                <a:solidFill>
                  <a:schemeClr val="accent1"/>
                </a:solidFill>
              </a:rPr>
              <a:t>Icons 2/5</a:t>
            </a:r>
          </a:p>
        </p:txBody>
      </p:sp>
    </p:spTree>
    <p:extLst>
      <p:ext uri="{BB962C8B-B14F-4D97-AF65-F5344CB8AC3E}">
        <p14:creationId xmlns:p14="http://schemas.microsoft.com/office/powerpoint/2010/main" val="9943581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6BE007-3A9B-414B-AB97-218E80E74FCC}"/>
              </a:ext>
              <a:ext uri="{C183D7F6-B498-43B3-948B-1728B52AA6E4}">
                <adec:decorative xmlns:adec="http://schemas.microsoft.com/office/drawing/2017/decorative" val="1"/>
              </a:ext>
            </a:extLst>
          </p:cNvPr>
          <p:cNvSpPr>
            <a:spLocks noGrp="1"/>
          </p:cNvSpPr>
          <p:nvPr>
            <p:ph type="title"/>
          </p:nvPr>
        </p:nvSpPr>
        <p:spPr>
          <a:xfrm>
            <a:off x="404813" y="0"/>
            <a:ext cx="10947772" cy="360000"/>
          </a:xfrm>
        </p:spPr>
        <p:txBody>
          <a:bodyPr/>
          <a:lstStyle/>
          <a:p>
            <a:r>
              <a:rPr lang="en-US" sz="1400">
                <a:solidFill>
                  <a:schemeClr val="accent1"/>
                </a:solidFill>
              </a:rPr>
              <a:t>Icons 3/5</a:t>
            </a:r>
          </a:p>
        </p:txBody>
      </p:sp>
      <p:grpSp>
        <p:nvGrpSpPr>
          <p:cNvPr id="318" name="Groupe 317">
            <a:extLst>
              <a:ext uri="{FF2B5EF4-FFF2-40B4-BE49-F238E27FC236}">
                <a16:creationId xmlns:a16="http://schemas.microsoft.com/office/drawing/2014/main" id="{B928F315-CC1C-4C22-A778-8B20F8E8459D}"/>
              </a:ext>
              <a:ext uri="{C183D7F6-B498-43B3-948B-1728B52AA6E4}">
                <adec:decorative xmlns:adec="http://schemas.microsoft.com/office/drawing/2017/decorative" val="1"/>
              </a:ext>
            </a:extLst>
          </p:cNvPr>
          <p:cNvGrpSpPr>
            <a:grpSpLocks noChangeAspect="1"/>
          </p:cNvGrpSpPr>
          <p:nvPr/>
        </p:nvGrpSpPr>
        <p:grpSpPr>
          <a:xfrm>
            <a:off x="320733" y="3828093"/>
            <a:ext cx="675511" cy="633600"/>
            <a:chOff x="423863" y="3540125"/>
            <a:chExt cx="869950" cy="815975"/>
          </a:xfrm>
        </p:grpSpPr>
        <p:sp>
          <p:nvSpPr>
            <p:cNvPr id="108" name="Freeform 25">
              <a:extLst>
                <a:ext uri="{FF2B5EF4-FFF2-40B4-BE49-F238E27FC236}">
                  <a16:creationId xmlns:a16="http://schemas.microsoft.com/office/drawing/2014/main" id="{F68DF61D-2ECF-4B64-B76D-B367E3A6435D}"/>
                </a:ext>
              </a:extLst>
            </p:cNvPr>
            <p:cNvSpPr>
              <a:spLocks/>
            </p:cNvSpPr>
            <p:nvPr/>
          </p:nvSpPr>
          <p:spPr bwMode="auto">
            <a:xfrm>
              <a:off x="423863" y="3540125"/>
              <a:ext cx="869950" cy="815975"/>
            </a:xfrm>
            <a:custGeom>
              <a:avLst/>
              <a:gdLst>
                <a:gd name="T0" fmla="*/ 34 w 232"/>
                <a:gd name="T1" fmla="*/ 169 h 217"/>
                <a:gd name="T2" fmla="*/ 56 w 232"/>
                <a:gd name="T3" fmla="*/ 32 h 217"/>
                <a:gd name="T4" fmla="*/ 199 w 232"/>
                <a:gd name="T5" fmla="*/ 52 h 217"/>
                <a:gd name="T6" fmla="*/ 173 w 232"/>
                <a:gd name="T7" fmla="*/ 184 h 217"/>
                <a:gd name="T8" fmla="*/ 34 w 232"/>
                <a:gd name="T9" fmla="*/ 169 h 217"/>
              </a:gdLst>
              <a:ahLst/>
              <a:cxnLst>
                <a:cxn ang="0">
                  <a:pos x="T0" y="T1"/>
                </a:cxn>
                <a:cxn ang="0">
                  <a:pos x="T2" y="T3"/>
                </a:cxn>
                <a:cxn ang="0">
                  <a:pos x="T4" y="T5"/>
                </a:cxn>
                <a:cxn ang="0">
                  <a:pos x="T6" y="T7"/>
                </a:cxn>
                <a:cxn ang="0">
                  <a:pos x="T8" y="T9"/>
                </a:cxn>
              </a:cxnLst>
              <a:rect l="0" t="0" r="r" b="b"/>
              <a:pathLst>
                <a:path w="232" h="217">
                  <a:moveTo>
                    <a:pt x="34" y="169"/>
                  </a:moveTo>
                  <a:cubicBezTo>
                    <a:pt x="0" y="126"/>
                    <a:pt x="10" y="64"/>
                    <a:pt x="56" y="32"/>
                  </a:cubicBezTo>
                  <a:cubicBezTo>
                    <a:pt x="101" y="0"/>
                    <a:pt x="166" y="9"/>
                    <a:pt x="199" y="52"/>
                  </a:cubicBezTo>
                  <a:cubicBezTo>
                    <a:pt x="232" y="96"/>
                    <a:pt x="219" y="152"/>
                    <a:pt x="173" y="184"/>
                  </a:cubicBezTo>
                  <a:cubicBezTo>
                    <a:pt x="127" y="217"/>
                    <a:pt x="67" y="213"/>
                    <a:pt x="34" y="169"/>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7" name="Groupe 316">
              <a:extLst>
                <a:ext uri="{FF2B5EF4-FFF2-40B4-BE49-F238E27FC236}">
                  <a16:creationId xmlns:a16="http://schemas.microsoft.com/office/drawing/2014/main" id="{6F9E62DA-5695-4468-8DD4-EA53C2C40F03}"/>
                </a:ext>
              </a:extLst>
            </p:cNvPr>
            <p:cNvGrpSpPr/>
            <p:nvPr/>
          </p:nvGrpSpPr>
          <p:grpSpPr>
            <a:xfrm>
              <a:off x="655638" y="3759200"/>
              <a:ext cx="401638" cy="379413"/>
              <a:chOff x="655638" y="3759200"/>
              <a:chExt cx="401638" cy="379413"/>
            </a:xfrm>
          </p:grpSpPr>
          <p:sp>
            <p:nvSpPr>
              <p:cNvPr id="215" name="Oval 132">
                <a:extLst>
                  <a:ext uri="{FF2B5EF4-FFF2-40B4-BE49-F238E27FC236}">
                    <a16:creationId xmlns:a16="http://schemas.microsoft.com/office/drawing/2014/main" id="{5B118DC5-2028-42E2-90BD-9A823786CFA4}"/>
                  </a:ext>
                </a:extLst>
              </p:cNvPr>
              <p:cNvSpPr>
                <a:spLocks noChangeArrowheads="1"/>
              </p:cNvSpPr>
              <p:nvPr/>
            </p:nvSpPr>
            <p:spPr bwMode="auto">
              <a:xfrm>
                <a:off x="790576" y="3886200"/>
                <a:ext cx="120650" cy="120650"/>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33">
                <a:extLst>
                  <a:ext uri="{FF2B5EF4-FFF2-40B4-BE49-F238E27FC236}">
                    <a16:creationId xmlns:a16="http://schemas.microsoft.com/office/drawing/2014/main" id="{E232EDA5-471E-49FA-B7D3-7C5E4AD522B6}"/>
                  </a:ext>
                </a:extLst>
              </p:cNvPr>
              <p:cNvSpPr>
                <a:spLocks/>
              </p:cNvSpPr>
              <p:nvPr/>
            </p:nvSpPr>
            <p:spPr bwMode="auto">
              <a:xfrm>
                <a:off x="742951" y="3965575"/>
                <a:ext cx="52388" cy="19050"/>
              </a:xfrm>
              <a:custGeom>
                <a:avLst/>
                <a:gdLst>
                  <a:gd name="T0" fmla="*/ 0 w 33"/>
                  <a:gd name="T1" fmla="*/ 12 h 12"/>
                  <a:gd name="T2" fmla="*/ 33 w 33"/>
                  <a:gd name="T3" fmla="*/ 0 h 12"/>
                  <a:gd name="T4" fmla="*/ 0 w 33"/>
                  <a:gd name="T5" fmla="*/ 12 h 12"/>
                </a:gdLst>
                <a:ahLst/>
                <a:cxnLst>
                  <a:cxn ang="0">
                    <a:pos x="T0" y="T1"/>
                  </a:cxn>
                  <a:cxn ang="0">
                    <a:pos x="T2" y="T3"/>
                  </a:cxn>
                  <a:cxn ang="0">
                    <a:pos x="T4" y="T5"/>
                  </a:cxn>
                </a:cxnLst>
                <a:rect l="0" t="0" r="r" b="b"/>
                <a:pathLst>
                  <a:path w="33" h="12">
                    <a:moveTo>
                      <a:pt x="0" y="12"/>
                    </a:moveTo>
                    <a:lnTo>
                      <a:pt x="33" y="0"/>
                    </a:lnTo>
                    <a:lnTo>
                      <a:pt x="0" y="12"/>
                    </a:lnTo>
                    <a:close/>
                  </a:path>
                </a:pathLst>
              </a:custGeom>
              <a:solidFill>
                <a:srgbClr val="97BF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Line 134">
                <a:extLst>
                  <a:ext uri="{FF2B5EF4-FFF2-40B4-BE49-F238E27FC236}">
                    <a16:creationId xmlns:a16="http://schemas.microsoft.com/office/drawing/2014/main" id="{D7A9088B-AE0C-4FD4-BC6D-F5BE50451091}"/>
                  </a:ext>
                </a:extLst>
              </p:cNvPr>
              <p:cNvSpPr>
                <a:spLocks noChangeShapeType="1"/>
              </p:cNvSpPr>
              <p:nvPr/>
            </p:nvSpPr>
            <p:spPr bwMode="auto">
              <a:xfrm flipV="1">
                <a:off x="742951" y="3965575"/>
                <a:ext cx="52388" cy="1905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35">
                <a:extLst>
                  <a:ext uri="{FF2B5EF4-FFF2-40B4-BE49-F238E27FC236}">
                    <a16:creationId xmlns:a16="http://schemas.microsoft.com/office/drawing/2014/main" id="{6A8B0503-359A-49F9-9B53-1BA5FBA330BB}"/>
                  </a:ext>
                </a:extLst>
              </p:cNvPr>
              <p:cNvSpPr>
                <a:spLocks/>
              </p:cNvSpPr>
              <p:nvPr/>
            </p:nvSpPr>
            <p:spPr bwMode="auto">
              <a:xfrm>
                <a:off x="742951" y="3960812"/>
                <a:ext cx="55563" cy="26988"/>
              </a:xfrm>
              <a:custGeom>
                <a:avLst/>
                <a:gdLst>
                  <a:gd name="T0" fmla="*/ 2 w 35"/>
                  <a:gd name="T1" fmla="*/ 17 h 17"/>
                  <a:gd name="T2" fmla="*/ 0 w 35"/>
                  <a:gd name="T3" fmla="*/ 10 h 17"/>
                  <a:gd name="T4" fmla="*/ 33 w 35"/>
                  <a:gd name="T5" fmla="*/ 0 h 17"/>
                  <a:gd name="T6" fmla="*/ 35 w 35"/>
                  <a:gd name="T7" fmla="*/ 5 h 17"/>
                  <a:gd name="T8" fmla="*/ 2 w 35"/>
                  <a:gd name="T9" fmla="*/ 17 h 17"/>
                </a:gdLst>
                <a:ahLst/>
                <a:cxnLst>
                  <a:cxn ang="0">
                    <a:pos x="T0" y="T1"/>
                  </a:cxn>
                  <a:cxn ang="0">
                    <a:pos x="T2" y="T3"/>
                  </a:cxn>
                  <a:cxn ang="0">
                    <a:pos x="T4" y="T5"/>
                  </a:cxn>
                  <a:cxn ang="0">
                    <a:pos x="T6" y="T7"/>
                  </a:cxn>
                  <a:cxn ang="0">
                    <a:pos x="T8" y="T9"/>
                  </a:cxn>
                </a:cxnLst>
                <a:rect l="0" t="0" r="r" b="b"/>
                <a:pathLst>
                  <a:path w="35" h="17">
                    <a:moveTo>
                      <a:pt x="2" y="17"/>
                    </a:moveTo>
                    <a:lnTo>
                      <a:pt x="0" y="10"/>
                    </a:lnTo>
                    <a:lnTo>
                      <a:pt x="33" y="0"/>
                    </a:lnTo>
                    <a:lnTo>
                      <a:pt x="35" y="5"/>
                    </a:lnTo>
                    <a:lnTo>
                      <a:pt x="2" y="1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36">
                <a:extLst>
                  <a:ext uri="{FF2B5EF4-FFF2-40B4-BE49-F238E27FC236}">
                    <a16:creationId xmlns:a16="http://schemas.microsoft.com/office/drawing/2014/main" id="{F38F4142-8B32-4776-AA92-5F9CD054BEE1}"/>
                  </a:ext>
                </a:extLst>
              </p:cNvPr>
              <p:cNvSpPr>
                <a:spLocks/>
              </p:cNvSpPr>
              <p:nvPr/>
            </p:nvSpPr>
            <p:spPr bwMode="auto">
              <a:xfrm>
                <a:off x="881063" y="3984625"/>
                <a:ext cx="41275" cy="44450"/>
              </a:xfrm>
              <a:custGeom>
                <a:avLst/>
                <a:gdLst>
                  <a:gd name="T0" fmla="*/ 0 w 26"/>
                  <a:gd name="T1" fmla="*/ 0 h 28"/>
                  <a:gd name="T2" fmla="*/ 26 w 26"/>
                  <a:gd name="T3" fmla="*/ 28 h 28"/>
                  <a:gd name="T4" fmla="*/ 0 w 26"/>
                  <a:gd name="T5" fmla="*/ 0 h 28"/>
                </a:gdLst>
                <a:ahLst/>
                <a:cxnLst>
                  <a:cxn ang="0">
                    <a:pos x="T0" y="T1"/>
                  </a:cxn>
                  <a:cxn ang="0">
                    <a:pos x="T2" y="T3"/>
                  </a:cxn>
                  <a:cxn ang="0">
                    <a:pos x="T4" y="T5"/>
                  </a:cxn>
                </a:cxnLst>
                <a:rect l="0" t="0" r="r" b="b"/>
                <a:pathLst>
                  <a:path w="26" h="28">
                    <a:moveTo>
                      <a:pt x="0" y="0"/>
                    </a:moveTo>
                    <a:lnTo>
                      <a:pt x="26" y="28"/>
                    </a:lnTo>
                    <a:lnTo>
                      <a:pt x="0" y="0"/>
                    </a:lnTo>
                    <a:close/>
                  </a:path>
                </a:pathLst>
              </a:custGeom>
              <a:solidFill>
                <a:srgbClr val="97BF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Line 137">
                <a:extLst>
                  <a:ext uri="{FF2B5EF4-FFF2-40B4-BE49-F238E27FC236}">
                    <a16:creationId xmlns:a16="http://schemas.microsoft.com/office/drawing/2014/main" id="{EC87F385-08FD-42DB-9C45-EF1E2AD80C87}"/>
                  </a:ext>
                </a:extLst>
              </p:cNvPr>
              <p:cNvSpPr>
                <a:spLocks noChangeShapeType="1"/>
              </p:cNvSpPr>
              <p:nvPr/>
            </p:nvSpPr>
            <p:spPr bwMode="auto">
              <a:xfrm>
                <a:off x="881063" y="3984625"/>
                <a:ext cx="41275" cy="4445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38">
                <a:extLst>
                  <a:ext uri="{FF2B5EF4-FFF2-40B4-BE49-F238E27FC236}">
                    <a16:creationId xmlns:a16="http://schemas.microsoft.com/office/drawing/2014/main" id="{B0456089-8BF0-4AF7-B372-DE315AB3FEC6}"/>
                  </a:ext>
                </a:extLst>
              </p:cNvPr>
              <p:cNvSpPr>
                <a:spLocks/>
              </p:cNvSpPr>
              <p:nvPr/>
            </p:nvSpPr>
            <p:spPr bwMode="auto">
              <a:xfrm>
                <a:off x="877888" y="3979862"/>
                <a:ext cx="52388" cy="52388"/>
              </a:xfrm>
              <a:custGeom>
                <a:avLst/>
                <a:gdLst>
                  <a:gd name="T0" fmla="*/ 26 w 33"/>
                  <a:gd name="T1" fmla="*/ 33 h 33"/>
                  <a:gd name="T2" fmla="*/ 0 w 33"/>
                  <a:gd name="T3" fmla="*/ 5 h 33"/>
                  <a:gd name="T4" fmla="*/ 4 w 33"/>
                  <a:gd name="T5" fmla="*/ 0 h 33"/>
                  <a:gd name="T6" fmla="*/ 33 w 33"/>
                  <a:gd name="T7" fmla="*/ 26 h 33"/>
                  <a:gd name="T8" fmla="*/ 26 w 33"/>
                  <a:gd name="T9" fmla="*/ 33 h 33"/>
                </a:gdLst>
                <a:ahLst/>
                <a:cxnLst>
                  <a:cxn ang="0">
                    <a:pos x="T0" y="T1"/>
                  </a:cxn>
                  <a:cxn ang="0">
                    <a:pos x="T2" y="T3"/>
                  </a:cxn>
                  <a:cxn ang="0">
                    <a:pos x="T4" y="T5"/>
                  </a:cxn>
                  <a:cxn ang="0">
                    <a:pos x="T6" y="T7"/>
                  </a:cxn>
                  <a:cxn ang="0">
                    <a:pos x="T8" y="T9"/>
                  </a:cxn>
                </a:cxnLst>
                <a:rect l="0" t="0" r="r" b="b"/>
                <a:pathLst>
                  <a:path w="33" h="33">
                    <a:moveTo>
                      <a:pt x="26" y="33"/>
                    </a:moveTo>
                    <a:lnTo>
                      <a:pt x="0" y="5"/>
                    </a:lnTo>
                    <a:lnTo>
                      <a:pt x="4" y="0"/>
                    </a:lnTo>
                    <a:lnTo>
                      <a:pt x="33" y="26"/>
                    </a:lnTo>
                    <a:lnTo>
                      <a:pt x="26" y="3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39">
                <a:extLst>
                  <a:ext uri="{FF2B5EF4-FFF2-40B4-BE49-F238E27FC236}">
                    <a16:creationId xmlns:a16="http://schemas.microsoft.com/office/drawing/2014/main" id="{D7D82BF4-D394-463B-955D-2BFDF9E5E6D5}"/>
                  </a:ext>
                </a:extLst>
              </p:cNvPr>
              <p:cNvSpPr>
                <a:spLocks/>
              </p:cNvSpPr>
              <p:nvPr/>
            </p:nvSpPr>
            <p:spPr bwMode="auto">
              <a:xfrm>
                <a:off x="866776" y="3833812"/>
                <a:ext cx="25400" cy="55563"/>
              </a:xfrm>
              <a:custGeom>
                <a:avLst/>
                <a:gdLst>
                  <a:gd name="T0" fmla="*/ 0 w 16"/>
                  <a:gd name="T1" fmla="*/ 35 h 35"/>
                  <a:gd name="T2" fmla="*/ 16 w 16"/>
                  <a:gd name="T3" fmla="*/ 0 h 35"/>
                  <a:gd name="T4" fmla="*/ 0 w 16"/>
                  <a:gd name="T5" fmla="*/ 35 h 35"/>
                </a:gdLst>
                <a:ahLst/>
                <a:cxnLst>
                  <a:cxn ang="0">
                    <a:pos x="T0" y="T1"/>
                  </a:cxn>
                  <a:cxn ang="0">
                    <a:pos x="T2" y="T3"/>
                  </a:cxn>
                  <a:cxn ang="0">
                    <a:pos x="T4" y="T5"/>
                  </a:cxn>
                </a:cxnLst>
                <a:rect l="0" t="0" r="r" b="b"/>
                <a:pathLst>
                  <a:path w="16" h="35">
                    <a:moveTo>
                      <a:pt x="0" y="35"/>
                    </a:moveTo>
                    <a:lnTo>
                      <a:pt x="16" y="0"/>
                    </a:lnTo>
                    <a:lnTo>
                      <a:pt x="0" y="35"/>
                    </a:lnTo>
                    <a:close/>
                  </a:path>
                </a:pathLst>
              </a:custGeom>
              <a:solidFill>
                <a:srgbClr val="97BF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Line 140">
                <a:extLst>
                  <a:ext uri="{FF2B5EF4-FFF2-40B4-BE49-F238E27FC236}">
                    <a16:creationId xmlns:a16="http://schemas.microsoft.com/office/drawing/2014/main" id="{A1E77907-A593-4983-9B2B-D5DD214B2FBF}"/>
                  </a:ext>
                </a:extLst>
              </p:cNvPr>
              <p:cNvSpPr>
                <a:spLocks noChangeShapeType="1"/>
              </p:cNvSpPr>
              <p:nvPr/>
            </p:nvSpPr>
            <p:spPr bwMode="auto">
              <a:xfrm flipV="1">
                <a:off x="866776" y="3833812"/>
                <a:ext cx="25400" cy="55563"/>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41">
                <a:extLst>
                  <a:ext uri="{FF2B5EF4-FFF2-40B4-BE49-F238E27FC236}">
                    <a16:creationId xmlns:a16="http://schemas.microsoft.com/office/drawing/2014/main" id="{C6B2BD36-2DB6-49C2-8A95-8F69275944EB}"/>
                  </a:ext>
                </a:extLst>
              </p:cNvPr>
              <p:cNvSpPr>
                <a:spLocks/>
              </p:cNvSpPr>
              <p:nvPr/>
            </p:nvSpPr>
            <p:spPr bwMode="auto">
              <a:xfrm>
                <a:off x="862013" y="3833812"/>
                <a:ext cx="38100" cy="55563"/>
              </a:xfrm>
              <a:custGeom>
                <a:avLst/>
                <a:gdLst>
                  <a:gd name="T0" fmla="*/ 7 w 24"/>
                  <a:gd name="T1" fmla="*/ 35 h 35"/>
                  <a:gd name="T2" fmla="*/ 0 w 24"/>
                  <a:gd name="T3" fmla="*/ 33 h 35"/>
                  <a:gd name="T4" fmla="*/ 17 w 24"/>
                  <a:gd name="T5" fmla="*/ 0 h 35"/>
                  <a:gd name="T6" fmla="*/ 24 w 24"/>
                  <a:gd name="T7" fmla="*/ 2 h 35"/>
                  <a:gd name="T8" fmla="*/ 7 w 24"/>
                  <a:gd name="T9" fmla="*/ 35 h 35"/>
                </a:gdLst>
                <a:ahLst/>
                <a:cxnLst>
                  <a:cxn ang="0">
                    <a:pos x="T0" y="T1"/>
                  </a:cxn>
                  <a:cxn ang="0">
                    <a:pos x="T2" y="T3"/>
                  </a:cxn>
                  <a:cxn ang="0">
                    <a:pos x="T4" y="T5"/>
                  </a:cxn>
                  <a:cxn ang="0">
                    <a:pos x="T6" y="T7"/>
                  </a:cxn>
                  <a:cxn ang="0">
                    <a:pos x="T8" y="T9"/>
                  </a:cxn>
                </a:cxnLst>
                <a:rect l="0" t="0" r="r" b="b"/>
                <a:pathLst>
                  <a:path w="24" h="35">
                    <a:moveTo>
                      <a:pt x="7" y="35"/>
                    </a:moveTo>
                    <a:lnTo>
                      <a:pt x="0" y="33"/>
                    </a:lnTo>
                    <a:lnTo>
                      <a:pt x="17" y="0"/>
                    </a:lnTo>
                    <a:lnTo>
                      <a:pt x="24" y="2"/>
                    </a:lnTo>
                    <a:lnTo>
                      <a:pt x="7" y="3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Oval 142">
                <a:extLst>
                  <a:ext uri="{FF2B5EF4-FFF2-40B4-BE49-F238E27FC236}">
                    <a16:creationId xmlns:a16="http://schemas.microsoft.com/office/drawing/2014/main" id="{73686225-4C6B-46AE-A7A2-4B509292772F}"/>
                  </a:ext>
                </a:extLst>
              </p:cNvPr>
              <p:cNvSpPr>
                <a:spLocks noChangeArrowheads="1"/>
              </p:cNvSpPr>
              <p:nvPr/>
            </p:nvSpPr>
            <p:spPr bwMode="auto">
              <a:xfrm>
                <a:off x="911226" y="3990975"/>
                <a:ext cx="146050" cy="14763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Oval 143">
                <a:extLst>
                  <a:ext uri="{FF2B5EF4-FFF2-40B4-BE49-F238E27FC236}">
                    <a16:creationId xmlns:a16="http://schemas.microsoft.com/office/drawing/2014/main" id="{4086681E-FBCE-4DF2-A655-6D5CA07EB7DC}"/>
                  </a:ext>
                </a:extLst>
              </p:cNvPr>
              <p:cNvSpPr>
                <a:spLocks noChangeArrowheads="1"/>
              </p:cNvSpPr>
              <p:nvPr/>
            </p:nvSpPr>
            <p:spPr bwMode="auto">
              <a:xfrm>
                <a:off x="655638" y="3949700"/>
                <a:ext cx="98425" cy="101600"/>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Oval 144">
                <a:extLst>
                  <a:ext uri="{FF2B5EF4-FFF2-40B4-BE49-F238E27FC236}">
                    <a16:creationId xmlns:a16="http://schemas.microsoft.com/office/drawing/2014/main" id="{024E2307-B404-4645-9E97-19CAE1902921}"/>
                  </a:ext>
                </a:extLst>
              </p:cNvPr>
              <p:cNvSpPr>
                <a:spLocks noChangeArrowheads="1"/>
              </p:cNvSpPr>
              <p:nvPr/>
            </p:nvSpPr>
            <p:spPr bwMode="auto">
              <a:xfrm>
                <a:off x="869951" y="3759200"/>
                <a:ext cx="90488" cy="85725"/>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 name="Group 6">
            <a:extLst>
              <a:ext uri="{FF2B5EF4-FFF2-40B4-BE49-F238E27FC236}">
                <a16:creationId xmlns:a16="http://schemas.microsoft.com/office/drawing/2014/main" id="{81520249-C90E-4D6E-822E-BCD586B84F34}"/>
              </a:ext>
              <a:ext uri="{C183D7F6-B498-43B3-948B-1728B52AA6E4}">
                <adec:decorative xmlns:adec="http://schemas.microsoft.com/office/drawing/2017/decorative" val="1"/>
              </a:ext>
            </a:extLst>
          </p:cNvPr>
          <p:cNvGrpSpPr/>
          <p:nvPr/>
        </p:nvGrpSpPr>
        <p:grpSpPr>
          <a:xfrm>
            <a:off x="9576602" y="5099654"/>
            <a:ext cx="679210" cy="633600"/>
            <a:chOff x="9576602" y="5099654"/>
            <a:chExt cx="679210" cy="633600"/>
          </a:xfrm>
        </p:grpSpPr>
        <p:sp>
          <p:nvSpPr>
            <p:cNvPr id="117" name="Freeform 34">
              <a:extLst>
                <a:ext uri="{FF2B5EF4-FFF2-40B4-BE49-F238E27FC236}">
                  <a16:creationId xmlns:a16="http://schemas.microsoft.com/office/drawing/2014/main" id="{0A8193AF-DFA3-455A-8679-F6154634CE6B}"/>
                </a:ext>
              </a:extLst>
            </p:cNvPr>
            <p:cNvSpPr>
              <a:spLocks/>
            </p:cNvSpPr>
            <p:nvPr/>
          </p:nvSpPr>
          <p:spPr bwMode="auto">
            <a:xfrm>
              <a:off x="9576602" y="5099654"/>
              <a:ext cx="679210"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3" name="Groupe 322">
              <a:extLst>
                <a:ext uri="{FF2B5EF4-FFF2-40B4-BE49-F238E27FC236}">
                  <a16:creationId xmlns:a16="http://schemas.microsoft.com/office/drawing/2014/main" id="{83319627-852F-4C85-B91F-60E1CBC6C865}"/>
                </a:ext>
              </a:extLst>
            </p:cNvPr>
            <p:cNvGrpSpPr>
              <a:grpSpLocks noChangeAspect="1"/>
            </p:cNvGrpSpPr>
            <p:nvPr/>
          </p:nvGrpSpPr>
          <p:grpSpPr>
            <a:xfrm>
              <a:off x="9784282" y="5275845"/>
              <a:ext cx="257048" cy="326899"/>
              <a:chOff x="3925888" y="3732212"/>
              <a:chExt cx="292100" cy="371476"/>
            </a:xfrm>
          </p:grpSpPr>
          <p:sp>
            <p:nvSpPr>
              <p:cNvPr id="119" name="Freeform 36">
                <a:extLst>
                  <a:ext uri="{FF2B5EF4-FFF2-40B4-BE49-F238E27FC236}">
                    <a16:creationId xmlns:a16="http://schemas.microsoft.com/office/drawing/2014/main" id="{6D893EB2-A276-4D35-B5FC-793DE2DAC7C8}"/>
                  </a:ext>
                </a:extLst>
              </p:cNvPr>
              <p:cNvSpPr>
                <a:spLocks/>
              </p:cNvSpPr>
              <p:nvPr/>
            </p:nvSpPr>
            <p:spPr bwMode="auto">
              <a:xfrm>
                <a:off x="4198938" y="37877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50">
                <a:extLst>
                  <a:ext uri="{FF2B5EF4-FFF2-40B4-BE49-F238E27FC236}">
                    <a16:creationId xmlns:a16="http://schemas.microsoft.com/office/drawing/2014/main" id="{66993DAD-C2FC-4493-89C5-A15702690256}"/>
                  </a:ext>
                </a:extLst>
              </p:cNvPr>
              <p:cNvSpPr>
                <a:spLocks/>
              </p:cNvSpPr>
              <p:nvPr/>
            </p:nvSpPr>
            <p:spPr bwMode="auto">
              <a:xfrm>
                <a:off x="3929063" y="3968750"/>
                <a:ext cx="79375" cy="134938"/>
              </a:xfrm>
              <a:custGeom>
                <a:avLst/>
                <a:gdLst>
                  <a:gd name="T0" fmla="*/ 11 w 21"/>
                  <a:gd name="T1" fmla="*/ 36 h 36"/>
                  <a:gd name="T2" fmla="*/ 21 w 21"/>
                  <a:gd name="T3" fmla="*/ 25 h 36"/>
                  <a:gd name="T4" fmla="*/ 11 w 21"/>
                  <a:gd name="T5" fmla="*/ 0 h 36"/>
                  <a:gd name="T6" fmla="*/ 0 w 21"/>
                  <a:gd name="T7" fmla="*/ 25 h 36"/>
                  <a:gd name="T8" fmla="*/ 11 w 21"/>
                  <a:gd name="T9" fmla="*/ 36 h 36"/>
                </a:gdLst>
                <a:ahLst/>
                <a:cxnLst>
                  <a:cxn ang="0">
                    <a:pos x="T0" y="T1"/>
                  </a:cxn>
                  <a:cxn ang="0">
                    <a:pos x="T2" y="T3"/>
                  </a:cxn>
                  <a:cxn ang="0">
                    <a:pos x="T4" y="T5"/>
                  </a:cxn>
                  <a:cxn ang="0">
                    <a:pos x="T6" y="T7"/>
                  </a:cxn>
                  <a:cxn ang="0">
                    <a:pos x="T8" y="T9"/>
                  </a:cxn>
                </a:cxnLst>
                <a:rect l="0" t="0" r="r" b="b"/>
                <a:pathLst>
                  <a:path w="21" h="36">
                    <a:moveTo>
                      <a:pt x="11" y="36"/>
                    </a:moveTo>
                    <a:cubicBezTo>
                      <a:pt x="16" y="36"/>
                      <a:pt x="21" y="31"/>
                      <a:pt x="21" y="25"/>
                    </a:cubicBezTo>
                    <a:cubicBezTo>
                      <a:pt x="21" y="16"/>
                      <a:pt x="12" y="10"/>
                      <a:pt x="11" y="0"/>
                    </a:cubicBezTo>
                    <a:cubicBezTo>
                      <a:pt x="9" y="10"/>
                      <a:pt x="0" y="17"/>
                      <a:pt x="0" y="25"/>
                    </a:cubicBezTo>
                    <a:cubicBezTo>
                      <a:pt x="0" y="31"/>
                      <a:pt x="5" y="36"/>
                      <a:pt x="11" y="3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51">
                <a:extLst>
                  <a:ext uri="{FF2B5EF4-FFF2-40B4-BE49-F238E27FC236}">
                    <a16:creationId xmlns:a16="http://schemas.microsoft.com/office/drawing/2014/main" id="{76BB26C3-ED63-4D22-AA66-B76B51FDCD9B}"/>
                  </a:ext>
                </a:extLst>
              </p:cNvPr>
              <p:cNvSpPr>
                <a:spLocks/>
              </p:cNvSpPr>
              <p:nvPr/>
            </p:nvSpPr>
            <p:spPr bwMode="auto">
              <a:xfrm>
                <a:off x="3937001" y="3732212"/>
                <a:ext cx="220663" cy="180975"/>
              </a:xfrm>
              <a:custGeom>
                <a:avLst/>
                <a:gdLst>
                  <a:gd name="T0" fmla="*/ 17 w 59"/>
                  <a:gd name="T1" fmla="*/ 39 h 48"/>
                  <a:gd name="T2" fmla="*/ 17 w 59"/>
                  <a:gd name="T3" fmla="*/ 48 h 48"/>
                  <a:gd name="T4" fmla="*/ 0 w 59"/>
                  <a:gd name="T5" fmla="*/ 48 h 48"/>
                  <a:gd name="T6" fmla="*/ 0 w 59"/>
                  <a:gd name="T7" fmla="*/ 47 h 48"/>
                  <a:gd name="T8" fmla="*/ 0 w 59"/>
                  <a:gd name="T9" fmla="*/ 33 h 48"/>
                  <a:gd name="T10" fmla="*/ 12 w 59"/>
                  <a:gd name="T11" fmla="*/ 21 h 48"/>
                  <a:gd name="T12" fmla="*/ 22 w 59"/>
                  <a:gd name="T13" fmla="*/ 21 h 48"/>
                  <a:gd name="T14" fmla="*/ 24 w 59"/>
                  <a:gd name="T15" fmla="*/ 21 h 48"/>
                  <a:gd name="T16" fmla="*/ 32 w 59"/>
                  <a:gd name="T17" fmla="*/ 16 h 48"/>
                  <a:gd name="T18" fmla="*/ 32 w 59"/>
                  <a:gd name="T19" fmla="*/ 12 h 48"/>
                  <a:gd name="T20" fmla="*/ 32 w 59"/>
                  <a:gd name="T21" fmla="*/ 11 h 48"/>
                  <a:gd name="T22" fmla="*/ 30 w 59"/>
                  <a:gd name="T23" fmla="*/ 10 h 48"/>
                  <a:gd name="T24" fmla="*/ 29 w 59"/>
                  <a:gd name="T25" fmla="*/ 10 h 48"/>
                  <a:gd name="T26" fmla="*/ 24 w 59"/>
                  <a:gd name="T27" fmla="*/ 10 h 48"/>
                  <a:gd name="T28" fmla="*/ 20 w 59"/>
                  <a:gd name="T29" fmla="*/ 7 h 48"/>
                  <a:gd name="T30" fmla="*/ 24 w 59"/>
                  <a:gd name="T31" fmla="*/ 4 h 48"/>
                  <a:gd name="T32" fmla="*/ 29 w 59"/>
                  <a:gd name="T33" fmla="*/ 4 h 48"/>
                  <a:gd name="T34" fmla="*/ 30 w 59"/>
                  <a:gd name="T35" fmla="*/ 3 h 48"/>
                  <a:gd name="T36" fmla="*/ 40 w 59"/>
                  <a:gd name="T37" fmla="*/ 3 h 48"/>
                  <a:gd name="T38" fmla="*/ 41 w 59"/>
                  <a:gd name="T39" fmla="*/ 4 h 48"/>
                  <a:gd name="T40" fmla="*/ 47 w 59"/>
                  <a:gd name="T41" fmla="*/ 4 h 48"/>
                  <a:gd name="T42" fmla="*/ 50 w 59"/>
                  <a:gd name="T43" fmla="*/ 7 h 48"/>
                  <a:gd name="T44" fmla="*/ 47 w 59"/>
                  <a:gd name="T45" fmla="*/ 10 h 48"/>
                  <a:gd name="T46" fmla="*/ 41 w 59"/>
                  <a:gd name="T47" fmla="*/ 10 h 48"/>
                  <a:gd name="T48" fmla="*/ 40 w 59"/>
                  <a:gd name="T49" fmla="*/ 10 h 48"/>
                  <a:gd name="T50" fmla="*/ 39 w 59"/>
                  <a:gd name="T51" fmla="*/ 11 h 48"/>
                  <a:gd name="T52" fmla="*/ 38 w 59"/>
                  <a:gd name="T53" fmla="*/ 13 h 48"/>
                  <a:gd name="T54" fmla="*/ 38 w 59"/>
                  <a:gd name="T55" fmla="*/ 16 h 48"/>
                  <a:gd name="T56" fmla="*/ 47 w 59"/>
                  <a:gd name="T57" fmla="*/ 21 h 48"/>
                  <a:gd name="T58" fmla="*/ 48 w 59"/>
                  <a:gd name="T59" fmla="*/ 21 h 48"/>
                  <a:gd name="T60" fmla="*/ 57 w 59"/>
                  <a:gd name="T61" fmla="*/ 21 h 48"/>
                  <a:gd name="T62" fmla="*/ 59 w 59"/>
                  <a:gd name="T63" fmla="*/ 21 h 48"/>
                  <a:gd name="T64" fmla="*/ 59 w 59"/>
                  <a:gd name="T65" fmla="*/ 39 h 48"/>
                  <a:gd name="T66" fmla="*/ 58 w 59"/>
                  <a:gd name="T67" fmla="*/ 39 h 48"/>
                  <a:gd name="T68" fmla="*/ 48 w 59"/>
                  <a:gd name="T69" fmla="*/ 39 h 48"/>
                  <a:gd name="T70" fmla="*/ 46 w 59"/>
                  <a:gd name="T71" fmla="*/ 40 h 48"/>
                  <a:gd name="T72" fmla="*/ 24 w 59"/>
                  <a:gd name="T73" fmla="*/ 40 h 48"/>
                  <a:gd name="T74" fmla="*/ 22 w 59"/>
                  <a:gd name="T75" fmla="*/ 39 h 48"/>
                  <a:gd name="T76" fmla="*/ 17 w 59"/>
                  <a:gd name="T77"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 h="48">
                    <a:moveTo>
                      <a:pt x="17" y="39"/>
                    </a:moveTo>
                    <a:cubicBezTo>
                      <a:pt x="17" y="42"/>
                      <a:pt x="17" y="45"/>
                      <a:pt x="17" y="48"/>
                    </a:cubicBezTo>
                    <a:cubicBezTo>
                      <a:pt x="11" y="48"/>
                      <a:pt x="6" y="48"/>
                      <a:pt x="0" y="48"/>
                    </a:cubicBezTo>
                    <a:cubicBezTo>
                      <a:pt x="0" y="47"/>
                      <a:pt x="0" y="47"/>
                      <a:pt x="0" y="47"/>
                    </a:cubicBezTo>
                    <a:cubicBezTo>
                      <a:pt x="0" y="42"/>
                      <a:pt x="0" y="38"/>
                      <a:pt x="0" y="33"/>
                    </a:cubicBezTo>
                    <a:cubicBezTo>
                      <a:pt x="0" y="27"/>
                      <a:pt x="5" y="21"/>
                      <a:pt x="12" y="21"/>
                    </a:cubicBezTo>
                    <a:cubicBezTo>
                      <a:pt x="15" y="21"/>
                      <a:pt x="19" y="21"/>
                      <a:pt x="22" y="21"/>
                    </a:cubicBezTo>
                    <a:cubicBezTo>
                      <a:pt x="23" y="21"/>
                      <a:pt x="23" y="21"/>
                      <a:pt x="24" y="21"/>
                    </a:cubicBezTo>
                    <a:cubicBezTo>
                      <a:pt x="26" y="18"/>
                      <a:pt x="29" y="17"/>
                      <a:pt x="32" y="16"/>
                    </a:cubicBezTo>
                    <a:cubicBezTo>
                      <a:pt x="32" y="14"/>
                      <a:pt x="32" y="13"/>
                      <a:pt x="32" y="12"/>
                    </a:cubicBezTo>
                    <a:cubicBezTo>
                      <a:pt x="32" y="12"/>
                      <a:pt x="32" y="12"/>
                      <a:pt x="32" y="11"/>
                    </a:cubicBezTo>
                    <a:cubicBezTo>
                      <a:pt x="31" y="11"/>
                      <a:pt x="31" y="10"/>
                      <a:pt x="30" y="10"/>
                    </a:cubicBezTo>
                    <a:cubicBezTo>
                      <a:pt x="30" y="10"/>
                      <a:pt x="30" y="10"/>
                      <a:pt x="29" y="10"/>
                    </a:cubicBezTo>
                    <a:cubicBezTo>
                      <a:pt x="27" y="10"/>
                      <a:pt x="25" y="10"/>
                      <a:pt x="24" y="10"/>
                    </a:cubicBezTo>
                    <a:cubicBezTo>
                      <a:pt x="22" y="10"/>
                      <a:pt x="20" y="8"/>
                      <a:pt x="20" y="7"/>
                    </a:cubicBezTo>
                    <a:cubicBezTo>
                      <a:pt x="20" y="5"/>
                      <a:pt x="22" y="4"/>
                      <a:pt x="24" y="4"/>
                    </a:cubicBezTo>
                    <a:cubicBezTo>
                      <a:pt x="25" y="4"/>
                      <a:pt x="27" y="4"/>
                      <a:pt x="29" y="4"/>
                    </a:cubicBezTo>
                    <a:cubicBezTo>
                      <a:pt x="30" y="4"/>
                      <a:pt x="30" y="3"/>
                      <a:pt x="30" y="3"/>
                    </a:cubicBezTo>
                    <a:cubicBezTo>
                      <a:pt x="33" y="0"/>
                      <a:pt x="37" y="0"/>
                      <a:pt x="40" y="3"/>
                    </a:cubicBezTo>
                    <a:cubicBezTo>
                      <a:pt x="40" y="4"/>
                      <a:pt x="40" y="4"/>
                      <a:pt x="41" y="4"/>
                    </a:cubicBezTo>
                    <a:cubicBezTo>
                      <a:pt x="43" y="4"/>
                      <a:pt x="45" y="4"/>
                      <a:pt x="47" y="4"/>
                    </a:cubicBezTo>
                    <a:cubicBezTo>
                      <a:pt x="48" y="4"/>
                      <a:pt x="50" y="5"/>
                      <a:pt x="50" y="7"/>
                    </a:cubicBezTo>
                    <a:cubicBezTo>
                      <a:pt x="50" y="8"/>
                      <a:pt x="48" y="10"/>
                      <a:pt x="47" y="10"/>
                    </a:cubicBezTo>
                    <a:cubicBezTo>
                      <a:pt x="45" y="10"/>
                      <a:pt x="43" y="10"/>
                      <a:pt x="41" y="10"/>
                    </a:cubicBezTo>
                    <a:cubicBezTo>
                      <a:pt x="40" y="10"/>
                      <a:pt x="40" y="10"/>
                      <a:pt x="40" y="10"/>
                    </a:cubicBezTo>
                    <a:cubicBezTo>
                      <a:pt x="39" y="10"/>
                      <a:pt x="39" y="11"/>
                      <a:pt x="39" y="11"/>
                    </a:cubicBezTo>
                    <a:cubicBezTo>
                      <a:pt x="38" y="11"/>
                      <a:pt x="38" y="12"/>
                      <a:pt x="38" y="13"/>
                    </a:cubicBezTo>
                    <a:cubicBezTo>
                      <a:pt x="38" y="14"/>
                      <a:pt x="38" y="15"/>
                      <a:pt x="38" y="16"/>
                    </a:cubicBezTo>
                    <a:cubicBezTo>
                      <a:pt x="41" y="17"/>
                      <a:pt x="44" y="18"/>
                      <a:pt x="47" y="21"/>
                    </a:cubicBezTo>
                    <a:cubicBezTo>
                      <a:pt x="47" y="21"/>
                      <a:pt x="47" y="21"/>
                      <a:pt x="48" y="21"/>
                    </a:cubicBezTo>
                    <a:cubicBezTo>
                      <a:pt x="51" y="21"/>
                      <a:pt x="54" y="21"/>
                      <a:pt x="57" y="21"/>
                    </a:cubicBezTo>
                    <a:cubicBezTo>
                      <a:pt x="58" y="21"/>
                      <a:pt x="58" y="21"/>
                      <a:pt x="59" y="21"/>
                    </a:cubicBezTo>
                    <a:cubicBezTo>
                      <a:pt x="59" y="27"/>
                      <a:pt x="59" y="33"/>
                      <a:pt x="59" y="39"/>
                    </a:cubicBezTo>
                    <a:cubicBezTo>
                      <a:pt x="58" y="39"/>
                      <a:pt x="58" y="39"/>
                      <a:pt x="58" y="39"/>
                    </a:cubicBezTo>
                    <a:cubicBezTo>
                      <a:pt x="54" y="39"/>
                      <a:pt x="51" y="39"/>
                      <a:pt x="48" y="39"/>
                    </a:cubicBezTo>
                    <a:cubicBezTo>
                      <a:pt x="47" y="39"/>
                      <a:pt x="47" y="39"/>
                      <a:pt x="46" y="40"/>
                    </a:cubicBezTo>
                    <a:cubicBezTo>
                      <a:pt x="40" y="47"/>
                      <a:pt x="30" y="47"/>
                      <a:pt x="24" y="40"/>
                    </a:cubicBezTo>
                    <a:cubicBezTo>
                      <a:pt x="23" y="39"/>
                      <a:pt x="23" y="39"/>
                      <a:pt x="22" y="39"/>
                    </a:cubicBezTo>
                    <a:cubicBezTo>
                      <a:pt x="21" y="39"/>
                      <a:pt x="19" y="39"/>
                      <a:pt x="17" y="3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52">
                <a:extLst>
                  <a:ext uri="{FF2B5EF4-FFF2-40B4-BE49-F238E27FC236}">
                    <a16:creationId xmlns:a16="http://schemas.microsoft.com/office/drawing/2014/main" id="{8A6A1F31-E389-4E9B-A198-0E861AF4DBD7}"/>
                  </a:ext>
                </a:extLst>
              </p:cNvPr>
              <p:cNvSpPr>
                <a:spLocks/>
              </p:cNvSpPr>
              <p:nvPr/>
            </p:nvSpPr>
            <p:spPr bwMode="auto">
              <a:xfrm>
                <a:off x="3925888" y="3924300"/>
                <a:ext cx="85725" cy="22225"/>
              </a:xfrm>
              <a:custGeom>
                <a:avLst/>
                <a:gdLst>
                  <a:gd name="T0" fmla="*/ 11 w 23"/>
                  <a:gd name="T1" fmla="*/ 6 h 6"/>
                  <a:gd name="T2" fmla="*/ 3 w 23"/>
                  <a:gd name="T3" fmla="*/ 6 h 6"/>
                  <a:gd name="T4" fmla="*/ 0 w 23"/>
                  <a:gd name="T5" fmla="*/ 3 h 6"/>
                  <a:gd name="T6" fmla="*/ 3 w 23"/>
                  <a:gd name="T7" fmla="*/ 0 h 6"/>
                  <a:gd name="T8" fmla="*/ 20 w 23"/>
                  <a:gd name="T9" fmla="*/ 0 h 6"/>
                  <a:gd name="T10" fmla="*/ 23 w 23"/>
                  <a:gd name="T11" fmla="*/ 3 h 6"/>
                  <a:gd name="T12" fmla="*/ 20 w 23"/>
                  <a:gd name="T13" fmla="*/ 6 h 6"/>
                  <a:gd name="T14" fmla="*/ 11 w 2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6">
                    <a:moveTo>
                      <a:pt x="11" y="6"/>
                    </a:moveTo>
                    <a:cubicBezTo>
                      <a:pt x="9" y="6"/>
                      <a:pt x="6" y="6"/>
                      <a:pt x="3" y="6"/>
                    </a:cubicBezTo>
                    <a:cubicBezTo>
                      <a:pt x="1" y="6"/>
                      <a:pt x="0" y="4"/>
                      <a:pt x="0" y="3"/>
                    </a:cubicBezTo>
                    <a:cubicBezTo>
                      <a:pt x="0" y="1"/>
                      <a:pt x="1" y="0"/>
                      <a:pt x="3" y="0"/>
                    </a:cubicBezTo>
                    <a:cubicBezTo>
                      <a:pt x="9" y="0"/>
                      <a:pt x="14" y="0"/>
                      <a:pt x="20" y="0"/>
                    </a:cubicBezTo>
                    <a:cubicBezTo>
                      <a:pt x="22" y="0"/>
                      <a:pt x="23" y="1"/>
                      <a:pt x="23" y="3"/>
                    </a:cubicBezTo>
                    <a:cubicBezTo>
                      <a:pt x="23" y="4"/>
                      <a:pt x="22" y="6"/>
                      <a:pt x="20" y="6"/>
                    </a:cubicBezTo>
                    <a:cubicBezTo>
                      <a:pt x="17" y="6"/>
                      <a:pt x="14" y="6"/>
                      <a:pt x="11" y="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53">
                <a:extLst>
                  <a:ext uri="{FF2B5EF4-FFF2-40B4-BE49-F238E27FC236}">
                    <a16:creationId xmlns:a16="http://schemas.microsoft.com/office/drawing/2014/main" id="{E7F81086-F617-461F-828F-1634DA4F9178}"/>
                  </a:ext>
                </a:extLst>
              </p:cNvPr>
              <p:cNvSpPr>
                <a:spLocks/>
              </p:cNvSpPr>
              <p:nvPr/>
            </p:nvSpPr>
            <p:spPr bwMode="auto">
              <a:xfrm>
                <a:off x="4170363" y="3787775"/>
                <a:ext cx="47625" cy="112713"/>
              </a:xfrm>
              <a:custGeom>
                <a:avLst/>
                <a:gdLst>
                  <a:gd name="T0" fmla="*/ 9 w 13"/>
                  <a:gd name="T1" fmla="*/ 1 h 30"/>
                  <a:gd name="T2" fmla="*/ 8 w 13"/>
                  <a:gd name="T3" fmla="*/ 0 h 30"/>
                  <a:gd name="T4" fmla="*/ 8 w 13"/>
                  <a:gd name="T5" fmla="*/ 0 h 30"/>
                  <a:gd name="T6" fmla="*/ 5 w 13"/>
                  <a:gd name="T7" fmla="*/ 0 h 30"/>
                  <a:gd name="T8" fmla="*/ 0 w 13"/>
                  <a:gd name="T9" fmla="*/ 6 h 30"/>
                  <a:gd name="T10" fmla="*/ 0 w 13"/>
                  <a:gd name="T11" fmla="*/ 24 h 30"/>
                  <a:gd name="T12" fmla="*/ 0 w 13"/>
                  <a:gd name="T13" fmla="*/ 27 h 30"/>
                  <a:gd name="T14" fmla="*/ 4 w 13"/>
                  <a:gd name="T15" fmla="*/ 30 h 30"/>
                  <a:gd name="T16" fmla="*/ 8 w 13"/>
                  <a:gd name="T17" fmla="*/ 30 h 30"/>
                  <a:gd name="T18" fmla="*/ 8 w 13"/>
                  <a:gd name="T19" fmla="*/ 30 h 30"/>
                  <a:gd name="T20" fmla="*/ 10 w 13"/>
                  <a:gd name="T21" fmla="*/ 30 h 30"/>
                  <a:gd name="T22" fmla="*/ 11 w 13"/>
                  <a:gd name="T23" fmla="*/ 23 h 30"/>
                  <a:gd name="T24" fmla="*/ 13 w 13"/>
                  <a:gd name="T25" fmla="*/ 12 h 30"/>
                  <a:gd name="T26" fmla="*/ 9 w 13"/>
                  <a:gd name="T27"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30">
                    <a:moveTo>
                      <a:pt x="9" y="1"/>
                    </a:moveTo>
                    <a:cubicBezTo>
                      <a:pt x="8" y="1"/>
                      <a:pt x="8" y="1"/>
                      <a:pt x="8" y="0"/>
                    </a:cubicBezTo>
                    <a:cubicBezTo>
                      <a:pt x="8" y="0"/>
                      <a:pt x="8" y="0"/>
                      <a:pt x="8" y="0"/>
                    </a:cubicBezTo>
                    <a:cubicBezTo>
                      <a:pt x="7" y="0"/>
                      <a:pt x="6" y="0"/>
                      <a:pt x="5" y="0"/>
                    </a:cubicBezTo>
                    <a:cubicBezTo>
                      <a:pt x="2" y="1"/>
                      <a:pt x="0" y="3"/>
                      <a:pt x="0" y="6"/>
                    </a:cubicBezTo>
                    <a:cubicBezTo>
                      <a:pt x="0" y="12"/>
                      <a:pt x="0" y="18"/>
                      <a:pt x="0" y="24"/>
                    </a:cubicBezTo>
                    <a:cubicBezTo>
                      <a:pt x="0" y="25"/>
                      <a:pt x="0" y="26"/>
                      <a:pt x="0" y="27"/>
                    </a:cubicBezTo>
                    <a:cubicBezTo>
                      <a:pt x="1" y="28"/>
                      <a:pt x="2" y="29"/>
                      <a:pt x="4" y="30"/>
                    </a:cubicBezTo>
                    <a:cubicBezTo>
                      <a:pt x="6" y="30"/>
                      <a:pt x="7" y="30"/>
                      <a:pt x="8" y="30"/>
                    </a:cubicBezTo>
                    <a:cubicBezTo>
                      <a:pt x="8" y="30"/>
                      <a:pt x="8" y="30"/>
                      <a:pt x="8" y="30"/>
                    </a:cubicBezTo>
                    <a:cubicBezTo>
                      <a:pt x="9" y="30"/>
                      <a:pt x="9" y="30"/>
                      <a:pt x="10" y="30"/>
                    </a:cubicBezTo>
                    <a:cubicBezTo>
                      <a:pt x="9" y="28"/>
                      <a:pt x="10" y="26"/>
                      <a:pt x="11" y="23"/>
                    </a:cubicBezTo>
                    <a:cubicBezTo>
                      <a:pt x="11" y="20"/>
                      <a:pt x="12" y="17"/>
                      <a:pt x="13" y="12"/>
                    </a:cubicBezTo>
                    <a:cubicBezTo>
                      <a:pt x="13" y="5"/>
                      <a:pt x="11" y="2"/>
                      <a:pt x="9" y="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4" name="Groupe 33">
            <a:extLst>
              <a:ext uri="{FF2B5EF4-FFF2-40B4-BE49-F238E27FC236}">
                <a16:creationId xmlns:a16="http://schemas.microsoft.com/office/drawing/2014/main" id="{3DC96091-DAFE-43F1-A139-34A143E957EE}"/>
              </a:ext>
              <a:ext uri="{C183D7F6-B498-43B3-948B-1728B52AA6E4}">
                <adec:decorative xmlns:adec="http://schemas.microsoft.com/office/drawing/2017/decorative" val="1"/>
              </a:ext>
            </a:extLst>
          </p:cNvPr>
          <p:cNvGrpSpPr>
            <a:grpSpLocks noChangeAspect="1"/>
          </p:cNvGrpSpPr>
          <p:nvPr/>
        </p:nvGrpSpPr>
        <p:grpSpPr>
          <a:xfrm>
            <a:off x="6278672" y="3828093"/>
            <a:ext cx="663358" cy="633600"/>
            <a:chOff x="7268659" y="4188125"/>
            <a:chExt cx="753816" cy="720000"/>
          </a:xfrm>
        </p:grpSpPr>
        <p:sp>
          <p:nvSpPr>
            <p:cNvPr id="509" name="Freeform 257">
              <a:extLst>
                <a:ext uri="{FF2B5EF4-FFF2-40B4-BE49-F238E27FC236}">
                  <a16:creationId xmlns:a16="http://schemas.microsoft.com/office/drawing/2014/main" id="{3ABB666F-B3B5-4542-A087-7B1F4BA9246E}"/>
                </a:ext>
              </a:extLst>
            </p:cNvPr>
            <p:cNvSpPr>
              <a:spLocks/>
            </p:cNvSpPr>
            <p:nvPr/>
          </p:nvSpPr>
          <p:spPr bwMode="auto">
            <a:xfrm>
              <a:off x="7268659" y="4188125"/>
              <a:ext cx="753816" cy="720000"/>
            </a:xfrm>
            <a:custGeom>
              <a:avLst/>
              <a:gdLst>
                <a:gd name="T0" fmla="*/ 167 w 226"/>
                <a:gd name="T1" fmla="*/ 184 h 216"/>
                <a:gd name="T2" fmla="*/ 30 w 226"/>
                <a:gd name="T3" fmla="*/ 173 h 216"/>
                <a:gd name="T4" fmla="*/ 28 w 226"/>
                <a:gd name="T5" fmla="*/ 169 h 216"/>
                <a:gd name="T6" fmla="*/ 12 w 226"/>
                <a:gd name="T7" fmla="*/ 138 h 216"/>
                <a:gd name="T8" fmla="*/ 50 w 226"/>
                <a:gd name="T9" fmla="*/ 32 h 216"/>
                <a:gd name="T10" fmla="*/ 193 w 226"/>
                <a:gd name="T11" fmla="*/ 52 h 216"/>
                <a:gd name="T12" fmla="*/ 167 w 226"/>
                <a:gd name="T13" fmla="*/ 184 h 216"/>
              </a:gdLst>
              <a:ahLst/>
              <a:cxnLst>
                <a:cxn ang="0">
                  <a:pos x="T0" y="T1"/>
                </a:cxn>
                <a:cxn ang="0">
                  <a:pos x="T2" y="T3"/>
                </a:cxn>
                <a:cxn ang="0">
                  <a:pos x="T4" y="T5"/>
                </a:cxn>
                <a:cxn ang="0">
                  <a:pos x="T6" y="T7"/>
                </a:cxn>
                <a:cxn ang="0">
                  <a:pos x="T8" y="T9"/>
                </a:cxn>
                <a:cxn ang="0">
                  <a:pos x="T10" y="T11"/>
                </a:cxn>
                <a:cxn ang="0">
                  <a:pos x="T12" y="T13"/>
                </a:cxn>
              </a:cxnLst>
              <a:rect l="0" t="0" r="r" b="b"/>
              <a:pathLst>
                <a:path w="226" h="216">
                  <a:moveTo>
                    <a:pt x="167" y="184"/>
                  </a:moveTo>
                  <a:cubicBezTo>
                    <a:pt x="123" y="216"/>
                    <a:pt x="64" y="213"/>
                    <a:pt x="30" y="173"/>
                  </a:cubicBezTo>
                  <a:cubicBezTo>
                    <a:pt x="29" y="172"/>
                    <a:pt x="29" y="171"/>
                    <a:pt x="28" y="169"/>
                  </a:cubicBezTo>
                  <a:cubicBezTo>
                    <a:pt x="20" y="160"/>
                    <a:pt x="15" y="149"/>
                    <a:pt x="12" y="138"/>
                  </a:cubicBezTo>
                  <a:cubicBezTo>
                    <a:pt x="0" y="100"/>
                    <a:pt x="14" y="57"/>
                    <a:pt x="50" y="32"/>
                  </a:cubicBezTo>
                  <a:cubicBezTo>
                    <a:pt x="96" y="0"/>
                    <a:pt x="160" y="9"/>
                    <a:pt x="193" y="52"/>
                  </a:cubicBezTo>
                  <a:cubicBezTo>
                    <a:pt x="226" y="96"/>
                    <a:pt x="213" y="152"/>
                    <a:pt x="167" y="184"/>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3" name="Groupe 32">
              <a:extLst>
                <a:ext uri="{FF2B5EF4-FFF2-40B4-BE49-F238E27FC236}">
                  <a16:creationId xmlns:a16="http://schemas.microsoft.com/office/drawing/2014/main" id="{56104050-4D40-414B-A376-EE51BF220869}"/>
                </a:ext>
              </a:extLst>
            </p:cNvPr>
            <p:cNvGrpSpPr/>
            <p:nvPr/>
          </p:nvGrpSpPr>
          <p:grpSpPr>
            <a:xfrm>
              <a:off x="7439936" y="4351073"/>
              <a:ext cx="396000" cy="371176"/>
              <a:chOff x="7427904" y="4400885"/>
              <a:chExt cx="396000" cy="297300"/>
            </a:xfrm>
          </p:grpSpPr>
          <p:sp>
            <p:nvSpPr>
              <p:cNvPr id="513" name="Freeform 284">
                <a:extLst>
                  <a:ext uri="{FF2B5EF4-FFF2-40B4-BE49-F238E27FC236}">
                    <a16:creationId xmlns:a16="http://schemas.microsoft.com/office/drawing/2014/main" id="{7A552B7D-06CD-4D89-913B-E337A9B7F4E2}"/>
                  </a:ext>
                </a:extLst>
              </p:cNvPr>
              <p:cNvSpPr>
                <a:spLocks/>
              </p:cNvSpPr>
              <p:nvPr/>
            </p:nvSpPr>
            <p:spPr bwMode="auto">
              <a:xfrm>
                <a:off x="7558913" y="4400885"/>
                <a:ext cx="133856" cy="140900"/>
              </a:xfrm>
              <a:custGeom>
                <a:avLst/>
                <a:gdLst>
                  <a:gd name="T0" fmla="*/ 30 w 40"/>
                  <a:gd name="T1" fmla="*/ 0 h 42"/>
                  <a:gd name="T2" fmla="*/ 10 w 40"/>
                  <a:gd name="T3" fmla="*/ 0 h 42"/>
                  <a:gd name="T4" fmla="*/ 0 w 40"/>
                  <a:gd name="T5" fmla="*/ 10 h 42"/>
                  <a:gd name="T6" fmla="*/ 0 w 40"/>
                  <a:gd name="T7" fmla="*/ 42 h 42"/>
                  <a:gd name="T8" fmla="*/ 15 w 40"/>
                  <a:gd name="T9" fmla="*/ 42 h 42"/>
                  <a:gd name="T10" fmla="*/ 15 w 40"/>
                  <a:gd name="T11" fmla="*/ 38 h 42"/>
                  <a:gd name="T12" fmla="*/ 4 w 40"/>
                  <a:gd name="T13" fmla="*/ 38 h 42"/>
                  <a:gd name="T14" fmla="*/ 4 w 40"/>
                  <a:gd name="T15" fmla="*/ 10 h 42"/>
                  <a:gd name="T16" fmla="*/ 10 w 40"/>
                  <a:gd name="T17" fmla="*/ 4 h 42"/>
                  <a:gd name="T18" fmla="*/ 30 w 40"/>
                  <a:gd name="T19" fmla="*/ 4 h 42"/>
                  <a:gd name="T20" fmla="*/ 36 w 40"/>
                  <a:gd name="T21" fmla="*/ 10 h 42"/>
                  <a:gd name="T22" fmla="*/ 36 w 40"/>
                  <a:gd name="T23" fmla="*/ 38 h 42"/>
                  <a:gd name="T24" fmla="*/ 24 w 40"/>
                  <a:gd name="T25" fmla="*/ 38 h 42"/>
                  <a:gd name="T26" fmla="*/ 24 w 40"/>
                  <a:gd name="T27" fmla="*/ 42 h 42"/>
                  <a:gd name="T28" fmla="*/ 40 w 40"/>
                  <a:gd name="T29" fmla="*/ 42 h 42"/>
                  <a:gd name="T30" fmla="*/ 40 w 40"/>
                  <a:gd name="T31" fmla="*/ 10 h 42"/>
                  <a:gd name="T32" fmla="*/ 30 w 40"/>
                  <a:gd name="T3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2">
                    <a:moveTo>
                      <a:pt x="30" y="0"/>
                    </a:moveTo>
                    <a:cubicBezTo>
                      <a:pt x="10" y="0"/>
                      <a:pt x="10" y="0"/>
                      <a:pt x="10" y="0"/>
                    </a:cubicBezTo>
                    <a:cubicBezTo>
                      <a:pt x="4" y="0"/>
                      <a:pt x="0" y="4"/>
                      <a:pt x="0" y="10"/>
                    </a:cubicBezTo>
                    <a:cubicBezTo>
                      <a:pt x="0" y="42"/>
                      <a:pt x="0" y="42"/>
                      <a:pt x="0" y="42"/>
                    </a:cubicBezTo>
                    <a:cubicBezTo>
                      <a:pt x="15" y="42"/>
                      <a:pt x="15" y="42"/>
                      <a:pt x="15" y="42"/>
                    </a:cubicBezTo>
                    <a:cubicBezTo>
                      <a:pt x="15" y="38"/>
                      <a:pt x="15" y="38"/>
                      <a:pt x="15" y="38"/>
                    </a:cubicBezTo>
                    <a:cubicBezTo>
                      <a:pt x="4" y="38"/>
                      <a:pt x="4" y="38"/>
                      <a:pt x="4" y="38"/>
                    </a:cubicBezTo>
                    <a:cubicBezTo>
                      <a:pt x="4" y="10"/>
                      <a:pt x="4" y="10"/>
                      <a:pt x="4" y="10"/>
                    </a:cubicBezTo>
                    <a:cubicBezTo>
                      <a:pt x="4" y="7"/>
                      <a:pt x="6" y="4"/>
                      <a:pt x="10" y="4"/>
                    </a:cubicBezTo>
                    <a:cubicBezTo>
                      <a:pt x="30" y="4"/>
                      <a:pt x="30" y="4"/>
                      <a:pt x="30" y="4"/>
                    </a:cubicBezTo>
                    <a:cubicBezTo>
                      <a:pt x="33" y="4"/>
                      <a:pt x="36" y="7"/>
                      <a:pt x="36" y="10"/>
                    </a:cubicBezTo>
                    <a:cubicBezTo>
                      <a:pt x="36" y="38"/>
                      <a:pt x="36" y="38"/>
                      <a:pt x="36" y="38"/>
                    </a:cubicBezTo>
                    <a:cubicBezTo>
                      <a:pt x="24" y="38"/>
                      <a:pt x="24" y="38"/>
                      <a:pt x="24" y="38"/>
                    </a:cubicBezTo>
                    <a:cubicBezTo>
                      <a:pt x="24" y="42"/>
                      <a:pt x="24" y="42"/>
                      <a:pt x="24" y="42"/>
                    </a:cubicBezTo>
                    <a:cubicBezTo>
                      <a:pt x="40" y="42"/>
                      <a:pt x="40" y="42"/>
                      <a:pt x="40" y="42"/>
                    </a:cubicBezTo>
                    <a:cubicBezTo>
                      <a:pt x="40" y="10"/>
                      <a:pt x="40" y="10"/>
                      <a:pt x="40" y="10"/>
                    </a:cubicBezTo>
                    <a:cubicBezTo>
                      <a:pt x="40" y="4"/>
                      <a:pt x="35" y="0"/>
                      <a:pt x="30"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285">
                <a:extLst>
                  <a:ext uri="{FF2B5EF4-FFF2-40B4-BE49-F238E27FC236}">
                    <a16:creationId xmlns:a16="http://schemas.microsoft.com/office/drawing/2014/main" id="{374E58CD-57CE-46EC-8D9D-5A70633BA105}"/>
                  </a:ext>
                </a:extLst>
              </p:cNvPr>
              <p:cNvSpPr>
                <a:spLocks noEditPoints="1"/>
              </p:cNvSpPr>
              <p:nvPr/>
            </p:nvSpPr>
            <p:spPr bwMode="auto">
              <a:xfrm>
                <a:off x="7427904" y="4454427"/>
                <a:ext cx="396000" cy="243758"/>
              </a:xfrm>
              <a:custGeom>
                <a:avLst/>
                <a:gdLst>
                  <a:gd name="T0" fmla="*/ 64 w 87"/>
                  <a:gd name="T1" fmla="*/ 0 h 73"/>
                  <a:gd name="T2" fmla="*/ 60 w 87"/>
                  <a:gd name="T3" fmla="*/ 0 h 73"/>
                  <a:gd name="T4" fmla="*/ 28 w 87"/>
                  <a:gd name="T5" fmla="*/ 3 h 73"/>
                  <a:gd name="T6" fmla="*/ 24 w 87"/>
                  <a:gd name="T7" fmla="*/ 3 h 73"/>
                  <a:gd name="T8" fmla="*/ 0 w 87"/>
                  <a:gd name="T9" fmla="*/ 4 h 73"/>
                  <a:gd name="T10" fmla="*/ 0 w 87"/>
                  <a:gd name="T11" fmla="*/ 70 h 73"/>
                  <a:gd name="T12" fmla="*/ 87 w 87"/>
                  <a:gd name="T13" fmla="*/ 70 h 73"/>
                  <a:gd name="T14" fmla="*/ 87 w 87"/>
                  <a:gd name="T15" fmla="*/ 4 h 73"/>
                  <a:gd name="T16" fmla="*/ 64 w 87"/>
                  <a:gd name="T17" fmla="*/ 0 h 73"/>
                  <a:gd name="T18" fmla="*/ 58 w 87"/>
                  <a:gd name="T19" fmla="*/ 39 h 73"/>
                  <a:gd name="T20" fmla="*/ 48 w 87"/>
                  <a:gd name="T21" fmla="*/ 39 h 73"/>
                  <a:gd name="T22" fmla="*/ 48 w 87"/>
                  <a:gd name="T23" fmla="*/ 59 h 73"/>
                  <a:gd name="T24" fmla="*/ 39 w 87"/>
                  <a:gd name="T25" fmla="*/ 59 h 73"/>
                  <a:gd name="T26" fmla="*/ 39 w 87"/>
                  <a:gd name="T27" fmla="*/ 39 h 73"/>
                  <a:gd name="T28" fmla="*/ 29 w 87"/>
                  <a:gd name="T29" fmla="*/ 39 h 73"/>
                  <a:gd name="T30" fmla="*/ 29 w 87"/>
                  <a:gd name="T31" fmla="*/ 28 h 73"/>
                  <a:gd name="T32" fmla="*/ 39 w 87"/>
                  <a:gd name="T33" fmla="*/ 28 h 73"/>
                  <a:gd name="T34" fmla="*/ 39 w 87"/>
                  <a:gd name="T35" fmla="*/ 18 h 73"/>
                  <a:gd name="T36" fmla="*/ 48 w 87"/>
                  <a:gd name="T37" fmla="*/ 18 h 73"/>
                  <a:gd name="T38" fmla="*/ 48 w 87"/>
                  <a:gd name="T39" fmla="*/ 28 h 73"/>
                  <a:gd name="T40" fmla="*/ 58 w 87"/>
                  <a:gd name="T41" fmla="*/ 28 h 73"/>
                  <a:gd name="T42" fmla="*/ 58 w 87"/>
                  <a:gd name="T43" fmla="*/ 3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73">
                    <a:moveTo>
                      <a:pt x="64" y="0"/>
                    </a:moveTo>
                    <a:cubicBezTo>
                      <a:pt x="62" y="0"/>
                      <a:pt x="61" y="0"/>
                      <a:pt x="60" y="0"/>
                    </a:cubicBezTo>
                    <a:cubicBezTo>
                      <a:pt x="49" y="1"/>
                      <a:pt x="38" y="2"/>
                      <a:pt x="28" y="3"/>
                    </a:cubicBezTo>
                    <a:cubicBezTo>
                      <a:pt x="26" y="3"/>
                      <a:pt x="25" y="3"/>
                      <a:pt x="24" y="3"/>
                    </a:cubicBezTo>
                    <a:cubicBezTo>
                      <a:pt x="11" y="4"/>
                      <a:pt x="1" y="5"/>
                      <a:pt x="0" y="4"/>
                    </a:cubicBezTo>
                    <a:cubicBezTo>
                      <a:pt x="0" y="6"/>
                      <a:pt x="0" y="70"/>
                      <a:pt x="0" y="70"/>
                    </a:cubicBezTo>
                    <a:cubicBezTo>
                      <a:pt x="12" y="73"/>
                      <a:pt x="81" y="72"/>
                      <a:pt x="87" y="70"/>
                    </a:cubicBezTo>
                    <a:cubicBezTo>
                      <a:pt x="87" y="70"/>
                      <a:pt x="87" y="15"/>
                      <a:pt x="87" y="4"/>
                    </a:cubicBezTo>
                    <a:cubicBezTo>
                      <a:pt x="87" y="1"/>
                      <a:pt x="77" y="0"/>
                      <a:pt x="64" y="0"/>
                    </a:cubicBezTo>
                    <a:close/>
                    <a:moveTo>
                      <a:pt x="58" y="39"/>
                    </a:moveTo>
                    <a:cubicBezTo>
                      <a:pt x="48" y="39"/>
                      <a:pt x="48" y="39"/>
                      <a:pt x="48" y="39"/>
                    </a:cubicBezTo>
                    <a:cubicBezTo>
                      <a:pt x="48" y="59"/>
                      <a:pt x="48" y="59"/>
                      <a:pt x="48" y="59"/>
                    </a:cubicBezTo>
                    <a:cubicBezTo>
                      <a:pt x="39" y="59"/>
                      <a:pt x="39" y="59"/>
                      <a:pt x="39" y="59"/>
                    </a:cubicBezTo>
                    <a:cubicBezTo>
                      <a:pt x="39" y="39"/>
                      <a:pt x="39" y="39"/>
                      <a:pt x="39" y="39"/>
                    </a:cubicBezTo>
                    <a:cubicBezTo>
                      <a:pt x="29" y="39"/>
                      <a:pt x="29" y="39"/>
                      <a:pt x="29" y="39"/>
                    </a:cubicBezTo>
                    <a:cubicBezTo>
                      <a:pt x="29" y="28"/>
                      <a:pt x="29" y="28"/>
                      <a:pt x="29" y="28"/>
                    </a:cubicBezTo>
                    <a:cubicBezTo>
                      <a:pt x="39" y="28"/>
                      <a:pt x="39" y="28"/>
                      <a:pt x="39" y="28"/>
                    </a:cubicBezTo>
                    <a:cubicBezTo>
                      <a:pt x="39" y="18"/>
                      <a:pt x="39" y="18"/>
                      <a:pt x="39" y="18"/>
                    </a:cubicBezTo>
                    <a:cubicBezTo>
                      <a:pt x="48" y="18"/>
                      <a:pt x="48" y="18"/>
                      <a:pt x="48" y="18"/>
                    </a:cubicBezTo>
                    <a:cubicBezTo>
                      <a:pt x="48" y="28"/>
                      <a:pt x="48" y="28"/>
                      <a:pt x="48" y="28"/>
                    </a:cubicBezTo>
                    <a:cubicBezTo>
                      <a:pt x="58" y="28"/>
                      <a:pt x="58" y="28"/>
                      <a:pt x="58" y="28"/>
                    </a:cubicBezTo>
                    <a:lnTo>
                      <a:pt x="58" y="39"/>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 name="Groupe 1">
            <a:extLst>
              <a:ext uri="{FF2B5EF4-FFF2-40B4-BE49-F238E27FC236}">
                <a16:creationId xmlns:a16="http://schemas.microsoft.com/office/drawing/2014/main" id="{283F5BC6-AA75-45A3-9586-663FC9386000}"/>
              </a:ext>
              <a:ext uri="{C183D7F6-B498-43B3-948B-1728B52AA6E4}">
                <adec:decorative xmlns:adec="http://schemas.microsoft.com/office/drawing/2017/decorative" val="1"/>
              </a:ext>
            </a:extLst>
          </p:cNvPr>
          <p:cNvGrpSpPr>
            <a:grpSpLocks noChangeAspect="1"/>
          </p:cNvGrpSpPr>
          <p:nvPr/>
        </p:nvGrpSpPr>
        <p:grpSpPr>
          <a:xfrm>
            <a:off x="2024849" y="3828093"/>
            <a:ext cx="678938" cy="633600"/>
            <a:chOff x="7270422" y="673417"/>
            <a:chExt cx="950913" cy="887412"/>
          </a:xfrm>
        </p:grpSpPr>
        <p:sp>
          <p:nvSpPr>
            <p:cNvPr id="209" name="Freeform 211">
              <a:extLst>
                <a:ext uri="{FF2B5EF4-FFF2-40B4-BE49-F238E27FC236}">
                  <a16:creationId xmlns:a16="http://schemas.microsoft.com/office/drawing/2014/main" id="{8873DD99-F079-4DFA-8764-85E4C66F0447}"/>
                </a:ext>
              </a:extLst>
            </p:cNvPr>
            <p:cNvSpPr>
              <a:spLocks noChangeAspect="1"/>
            </p:cNvSpPr>
            <p:nvPr/>
          </p:nvSpPr>
          <p:spPr bwMode="auto">
            <a:xfrm>
              <a:off x="7270422" y="673417"/>
              <a:ext cx="950913" cy="887412"/>
            </a:xfrm>
            <a:custGeom>
              <a:avLst/>
              <a:gdLst>
                <a:gd name="T0" fmla="*/ 30 w 253"/>
                <a:gd name="T1" fmla="*/ 172 h 236"/>
                <a:gd name="T2" fmla="*/ 74 w 253"/>
                <a:gd name="T3" fmla="*/ 28 h 236"/>
                <a:gd name="T4" fmla="*/ 224 w 253"/>
                <a:gd name="T5" fmla="*/ 71 h 236"/>
                <a:gd name="T6" fmla="*/ 176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4" y="20"/>
                    <a:pt x="224" y="71"/>
                  </a:cubicBezTo>
                  <a:cubicBezTo>
                    <a:pt x="253" y="122"/>
                    <a:pt x="230" y="181"/>
                    <a:pt x="176" y="208"/>
                  </a:cubicBezTo>
                  <a:cubicBezTo>
                    <a:pt x="123" y="236"/>
                    <a:pt x="59" y="223"/>
                    <a:pt x="30" y="172"/>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0" name="Freeform 212">
              <a:extLst>
                <a:ext uri="{FF2B5EF4-FFF2-40B4-BE49-F238E27FC236}">
                  <a16:creationId xmlns:a16="http://schemas.microsoft.com/office/drawing/2014/main" id="{10A5CE96-78EC-4140-BC86-05B6D4A9B485}"/>
                </a:ext>
              </a:extLst>
            </p:cNvPr>
            <p:cNvSpPr>
              <a:spLocks noChangeAspect="1"/>
            </p:cNvSpPr>
            <p:nvPr/>
          </p:nvSpPr>
          <p:spPr bwMode="auto">
            <a:xfrm>
              <a:off x="7649834" y="868679"/>
              <a:ext cx="195263" cy="504825"/>
            </a:xfrm>
            <a:custGeom>
              <a:avLst/>
              <a:gdLst>
                <a:gd name="T0" fmla="*/ 34 w 52"/>
                <a:gd name="T1" fmla="*/ 134 h 134"/>
                <a:gd name="T2" fmla="*/ 30 w 52"/>
                <a:gd name="T3" fmla="*/ 133 h 134"/>
                <a:gd name="T4" fmla="*/ 30 w 52"/>
                <a:gd name="T5" fmla="*/ 126 h 134"/>
                <a:gd name="T6" fmla="*/ 33 w 52"/>
                <a:gd name="T7" fmla="*/ 98 h 134"/>
                <a:gd name="T8" fmla="*/ 17 w 52"/>
                <a:gd name="T9" fmla="*/ 64 h 134"/>
                <a:gd name="T10" fmla="*/ 3 w 52"/>
                <a:gd name="T11" fmla="*/ 30 h 134"/>
                <a:gd name="T12" fmla="*/ 11 w 52"/>
                <a:gd name="T13" fmla="*/ 2 h 134"/>
                <a:gd name="T14" fmla="*/ 18 w 52"/>
                <a:gd name="T15" fmla="*/ 2 h 134"/>
                <a:gd name="T16" fmla="*/ 18 w 52"/>
                <a:gd name="T17" fmla="*/ 9 h 134"/>
                <a:gd name="T18" fmla="*/ 13 w 52"/>
                <a:gd name="T19" fmla="*/ 27 h 134"/>
                <a:gd name="T20" fmla="*/ 13 w 52"/>
                <a:gd name="T21" fmla="*/ 28 h 134"/>
                <a:gd name="T22" fmla="*/ 26 w 52"/>
                <a:gd name="T23" fmla="*/ 60 h 134"/>
                <a:gd name="T24" fmla="*/ 42 w 52"/>
                <a:gd name="T25" fmla="*/ 94 h 134"/>
                <a:gd name="T26" fmla="*/ 37 w 52"/>
                <a:gd name="T27" fmla="*/ 133 h 134"/>
                <a:gd name="T28" fmla="*/ 34 w 52"/>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134">
                  <a:moveTo>
                    <a:pt x="34" y="134"/>
                  </a:moveTo>
                  <a:cubicBezTo>
                    <a:pt x="32" y="134"/>
                    <a:pt x="31" y="134"/>
                    <a:pt x="30" y="133"/>
                  </a:cubicBezTo>
                  <a:cubicBezTo>
                    <a:pt x="28" y="131"/>
                    <a:pt x="28" y="127"/>
                    <a:pt x="30" y="126"/>
                  </a:cubicBezTo>
                  <a:cubicBezTo>
                    <a:pt x="31" y="125"/>
                    <a:pt x="40" y="116"/>
                    <a:pt x="33" y="98"/>
                  </a:cubicBezTo>
                  <a:cubicBezTo>
                    <a:pt x="28" y="84"/>
                    <a:pt x="22" y="74"/>
                    <a:pt x="17" y="64"/>
                  </a:cubicBezTo>
                  <a:cubicBezTo>
                    <a:pt x="11" y="52"/>
                    <a:pt x="5" y="41"/>
                    <a:pt x="3" y="30"/>
                  </a:cubicBezTo>
                  <a:cubicBezTo>
                    <a:pt x="0" y="15"/>
                    <a:pt x="10" y="3"/>
                    <a:pt x="11" y="2"/>
                  </a:cubicBezTo>
                  <a:cubicBezTo>
                    <a:pt x="12" y="0"/>
                    <a:pt x="16" y="0"/>
                    <a:pt x="18" y="2"/>
                  </a:cubicBezTo>
                  <a:cubicBezTo>
                    <a:pt x="20" y="3"/>
                    <a:pt x="20" y="7"/>
                    <a:pt x="18" y="9"/>
                  </a:cubicBezTo>
                  <a:cubicBezTo>
                    <a:pt x="18" y="9"/>
                    <a:pt x="11" y="18"/>
                    <a:pt x="13" y="27"/>
                  </a:cubicBezTo>
                  <a:cubicBezTo>
                    <a:pt x="13" y="28"/>
                    <a:pt x="13" y="28"/>
                    <a:pt x="13" y="28"/>
                  </a:cubicBezTo>
                  <a:cubicBezTo>
                    <a:pt x="15" y="38"/>
                    <a:pt x="19" y="48"/>
                    <a:pt x="26" y="60"/>
                  </a:cubicBezTo>
                  <a:cubicBezTo>
                    <a:pt x="31" y="69"/>
                    <a:pt x="37" y="80"/>
                    <a:pt x="42" y="94"/>
                  </a:cubicBezTo>
                  <a:cubicBezTo>
                    <a:pt x="52" y="120"/>
                    <a:pt x="38" y="133"/>
                    <a:pt x="37" y="133"/>
                  </a:cubicBezTo>
                  <a:cubicBezTo>
                    <a:pt x="36" y="134"/>
                    <a:pt x="35" y="134"/>
                    <a:pt x="34" y="13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1" name="Freeform 213">
              <a:extLst>
                <a:ext uri="{FF2B5EF4-FFF2-40B4-BE49-F238E27FC236}">
                  <a16:creationId xmlns:a16="http://schemas.microsoft.com/office/drawing/2014/main" id="{43B4EA75-F8A7-4963-A195-4053D095CBEE}"/>
                </a:ext>
              </a:extLst>
            </p:cNvPr>
            <p:cNvSpPr>
              <a:spLocks noChangeAspect="1"/>
            </p:cNvSpPr>
            <p:nvPr/>
          </p:nvSpPr>
          <p:spPr bwMode="auto">
            <a:xfrm>
              <a:off x="7732384" y="903604"/>
              <a:ext cx="134938" cy="55562"/>
            </a:xfrm>
            <a:custGeom>
              <a:avLst/>
              <a:gdLst>
                <a:gd name="T0" fmla="*/ 31 w 36"/>
                <a:gd name="T1" fmla="*/ 15 h 15"/>
                <a:gd name="T2" fmla="*/ 30 w 36"/>
                <a:gd name="T3" fmla="*/ 15 h 15"/>
                <a:gd name="T4" fmla="*/ 5 w 36"/>
                <a:gd name="T5" fmla="*/ 11 h 15"/>
                <a:gd name="T6" fmla="*/ 1 w 36"/>
                <a:gd name="T7" fmla="*/ 5 h 15"/>
                <a:gd name="T8" fmla="*/ 7 w 36"/>
                <a:gd name="T9" fmla="*/ 1 h 15"/>
                <a:gd name="T10" fmla="*/ 32 w 36"/>
                <a:gd name="T11" fmla="*/ 6 h 15"/>
                <a:gd name="T12" fmla="*/ 36 w 36"/>
                <a:gd name="T13" fmla="*/ 12 h 15"/>
                <a:gd name="T14" fmla="*/ 31 w 3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5">
                  <a:moveTo>
                    <a:pt x="31" y="15"/>
                  </a:moveTo>
                  <a:cubicBezTo>
                    <a:pt x="30" y="15"/>
                    <a:pt x="30" y="15"/>
                    <a:pt x="30" y="15"/>
                  </a:cubicBezTo>
                  <a:cubicBezTo>
                    <a:pt x="5" y="11"/>
                    <a:pt x="5" y="11"/>
                    <a:pt x="5" y="11"/>
                  </a:cubicBezTo>
                  <a:cubicBezTo>
                    <a:pt x="2" y="10"/>
                    <a:pt x="0" y="7"/>
                    <a:pt x="1" y="5"/>
                  </a:cubicBezTo>
                  <a:cubicBezTo>
                    <a:pt x="1" y="2"/>
                    <a:pt x="4" y="0"/>
                    <a:pt x="7" y="1"/>
                  </a:cubicBezTo>
                  <a:cubicBezTo>
                    <a:pt x="32" y="6"/>
                    <a:pt x="32" y="6"/>
                    <a:pt x="32" y="6"/>
                  </a:cubicBezTo>
                  <a:cubicBezTo>
                    <a:pt x="34" y="6"/>
                    <a:pt x="36" y="9"/>
                    <a:pt x="36" y="12"/>
                  </a:cubicBezTo>
                  <a:cubicBezTo>
                    <a:pt x="35" y="14"/>
                    <a:pt x="33" y="15"/>
                    <a:pt x="31" y="1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2" name="Freeform 214">
              <a:extLst>
                <a:ext uri="{FF2B5EF4-FFF2-40B4-BE49-F238E27FC236}">
                  <a16:creationId xmlns:a16="http://schemas.microsoft.com/office/drawing/2014/main" id="{06A46B7B-5088-4C1D-9BB0-57B19B7D86DA}"/>
                </a:ext>
              </a:extLst>
            </p:cNvPr>
            <p:cNvSpPr>
              <a:spLocks noChangeAspect="1"/>
            </p:cNvSpPr>
            <p:nvPr/>
          </p:nvSpPr>
          <p:spPr bwMode="auto">
            <a:xfrm>
              <a:off x="7713334" y="951229"/>
              <a:ext cx="161925" cy="71437"/>
            </a:xfrm>
            <a:custGeom>
              <a:avLst/>
              <a:gdLst>
                <a:gd name="T0" fmla="*/ 38 w 43"/>
                <a:gd name="T1" fmla="*/ 19 h 19"/>
                <a:gd name="T2" fmla="*/ 36 w 43"/>
                <a:gd name="T3" fmla="*/ 19 h 19"/>
                <a:gd name="T4" fmla="*/ 5 w 43"/>
                <a:gd name="T5" fmla="*/ 10 h 19"/>
                <a:gd name="T6" fmla="*/ 1 w 43"/>
                <a:gd name="T7" fmla="*/ 4 h 19"/>
                <a:gd name="T8" fmla="*/ 7 w 43"/>
                <a:gd name="T9" fmla="*/ 1 h 19"/>
                <a:gd name="T10" fmla="*/ 39 w 43"/>
                <a:gd name="T11" fmla="*/ 9 h 19"/>
                <a:gd name="T12" fmla="*/ 42 w 43"/>
                <a:gd name="T13" fmla="*/ 16 h 19"/>
                <a:gd name="T14" fmla="*/ 38 w 4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9">
                  <a:moveTo>
                    <a:pt x="38" y="19"/>
                  </a:moveTo>
                  <a:cubicBezTo>
                    <a:pt x="37" y="19"/>
                    <a:pt x="37" y="19"/>
                    <a:pt x="36" y="19"/>
                  </a:cubicBezTo>
                  <a:cubicBezTo>
                    <a:pt x="5" y="10"/>
                    <a:pt x="5" y="10"/>
                    <a:pt x="5" y="10"/>
                  </a:cubicBezTo>
                  <a:cubicBezTo>
                    <a:pt x="2" y="10"/>
                    <a:pt x="0" y="7"/>
                    <a:pt x="1" y="4"/>
                  </a:cubicBezTo>
                  <a:cubicBezTo>
                    <a:pt x="2" y="1"/>
                    <a:pt x="5" y="0"/>
                    <a:pt x="7" y="1"/>
                  </a:cubicBezTo>
                  <a:cubicBezTo>
                    <a:pt x="39" y="9"/>
                    <a:pt x="39" y="9"/>
                    <a:pt x="39" y="9"/>
                  </a:cubicBezTo>
                  <a:cubicBezTo>
                    <a:pt x="42" y="10"/>
                    <a:pt x="43" y="13"/>
                    <a:pt x="42" y="16"/>
                  </a:cubicBezTo>
                  <a:cubicBezTo>
                    <a:pt x="42" y="18"/>
                    <a:pt x="40" y="19"/>
                    <a:pt x="38" y="1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3" name="Freeform 215">
              <a:extLst>
                <a:ext uri="{FF2B5EF4-FFF2-40B4-BE49-F238E27FC236}">
                  <a16:creationId xmlns:a16="http://schemas.microsoft.com/office/drawing/2014/main" id="{D2B21110-61CA-4B7F-8429-7E7EA778CB9F}"/>
                </a:ext>
              </a:extLst>
            </p:cNvPr>
            <p:cNvSpPr>
              <a:spLocks noChangeAspect="1"/>
            </p:cNvSpPr>
            <p:nvPr/>
          </p:nvSpPr>
          <p:spPr bwMode="auto">
            <a:xfrm>
              <a:off x="7732384" y="1000442"/>
              <a:ext cx="98425" cy="68262"/>
            </a:xfrm>
            <a:custGeom>
              <a:avLst/>
              <a:gdLst>
                <a:gd name="T0" fmla="*/ 21 w 26"/>
                <a:gd name="T1" fmla="*/ 18 h 18"/>
                <a:gd name="T2" fmla="*/ 19 w 26"/>
                <a:gd name="T3" fmla="*/ 17 h 18"/>
                <a:gd name="T4" fmla="*/ 3 w 26"/>
                <a:gd name="T5" fmla="*/ 11 h 18"/>
                <a:gd name="T6" fmla="*/ 1 w 26"/>
                <a:gd name="T7" fmla="*/ 4 h 18"/>
                <a:gd name="T8" fmla="*/ 8 w 26"/>
                <a:gd name="T9" fmla="*/ 1 h 18"/>
                <a:gd name="T10" fmla="*/ 23 w 26"/>
                <a:gd name="T11" fmla="*/ 8 h 18"/>
                <a:gd name="T12" fmla="*/ 25 w 26"/>
                <a:gd name="T13" fmla="*/ 15 h 18"/>
                <a:gd name="T14" fmla="*/ 21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1" y="18"/>
                  </a:moveTo>
                  <a:cubicBezTo>
                    <a:pt x="20" y="18"/>
                    <a:pt x="19" y="18"/>
                    <a:pt x="19" y="17"/>
                  </a:cubicBezTo>
                  <a:cubicBezTo>
                    <a:pt x="3" y="11"/>
                    <a:pt x="3" y="11"/>
                    <a:pt x="3" y="11"/>
                  </a:cubicBezTo>
                  <a:cubicBezTo>
                    <a:pt x="1" y="9"/>
                    <a:pt x="0" y="6"/>
                    <a:pt x="1" y="4"/>
                  </a:cubicBezTo>
                  <a:cubicBezTo>
                    <a:pt x="2" y="1"/>
                    <a:pt x="5" y="0"/>
                    <a:pt x="8" y="1"/>
                  </a:cubicBezTo>
                  <a:cubicBezTo>
                    <a:pt x="23" y="8"/>
                    <a:pt x="23" y="8"/>
                    <a:pt x="23" y="8"/>
                  </a:cubicBezTo>
                  <a:cubicBezTo>
                    <a:pt x="25" y="9"/>
                    <a:pt x="26" y="12"/>
                    <a:pt x="25" y="15"/>
                  </a:cubicBezTo>
                  <a:cubicBezTo>
                    <a:pt x="24" y="17"/>
                    <a:pt x="22" y="18"/>
                    <a:pt x="21" y="1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4" name="Freeform 216">
              <a:extLst>
                <a:ext uri="{FF2B5EF4-FFF2-40B4-BE49-F238E27FC236}">
                  <a16:creationId xmlns:a16="http://schemas.microsoft.com/office/drawing/2014/main" id="{50575F26-B7BB-408E-9AA0-8E959FB76FA0}"/>
                </a:ext>
              </a:extLst>
            </p:cNvPr>
            <p:cNvSpPr>
              <a:spLocks noChangeAspect="1"/>
            </p:cNvSpPr>
            <p:nvPr/>
          </p:nvSpPr>
          <p:spPr bwMode="auto">
            <a:xfrm>
              <a:off x="7638722" y="1181417"/>
              <a:ext cx="104775" cy="60325"/>
            </a:xfrm>
            <a:custGeom>
              <a:avLst/>
              <a:gdLst>
                <a:gd name="T0" fmla="*/ 22 w 28"/>
                <a:gd name="T1" fmla="*/ 16 h 16"/>
                <a:gd name="T2" fmla="*/ 21 w 28"/>
                <a:gd name="T3" fmla="*/ 15 h 16"/>
                <a:gd name="T4" fmla="*/ 4 w 28"/>
                <a:gd name="T5" fmla="*/ 10 h 16"/>
                <a:gd name="T6" fmla="*/ 1 w 28"/>
                <a:gd name="T7" fmla="*/ 4 h 16"/>
                <a:gd name="T8" fmla="*/ 7 w 28"/>
                <a:gd name="T9" fmla="*/ 1 h 16"/>
                <a:gd name="T10" fmla="*/ 24 w 28"/>
                <a:gd name="T11" fmla="*/ 6 h 16"/>
                <a:gd name="T12" fmla="*/ 27 w 28"/>
                <a:gd name="T13" fmla="*/ 12 h 16"/>
                <a:gd name="T14" fmla="*/ 22 w 28"/>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22" y="16"/>
                  </a:moveTo>
                  <a:cubicBezTo>
                    <a:pt x="22" y="16"/>
                    <a:pt x="22" y="16"/>
                    <a:pt x="21" y="15"/>
                  </a:cubicBezTo>
                  <a:cubicBezTo>
                    <a:pt x="4" y="10"/>
                    <a:pt x="4" y="10"/>
                    <a:pt x="4" y="10"/>
                  </a:cubicBezTo>
                  <a:cubicBezTo>
                    <a:pt x="1" y="9"/>
                    <a:pt x="0" y="7"/>
                    <a:pt x="1" y="4"/>
                  </a:cubicBezTo>
                  <a:cubicBezTo>
                    <a:pt x="2" y="1"/>
                    <a:pt x="4" y="0"/>
                    <a:pt x="7" y="1"/>
                  </a:cubicBezTo>
                  <a:cubicBezTo>
                    <a:pt x="24" y="6"/>
                    <a:pt x="24" y="6"/>
                    <a:pt x="24" y="6"/>
                  </a:cubicBezTo>
                  <a:cubicBezTo>
                    <a:pt x="27" y="7"/>
                    <a:pt x="28" y="9"/>
                    <a:pt x="27" y="12"/>
                  </a:cubicBezTo>
                  <a:cubicBezTo>
                    <a:pt x="27" y="14"/>
                    <a:pt x="25" y="16"/>
                    <a:pt x="22" y="1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7" name="Freeform 217">
              <a:extLst>
                <a:ext uri="{FF2B5EF4-FFF2-40B4-BE49-F238E27FC236}">
                  <a16:creationId xmlns:a16="http://schemas.microsoft.com/office/drawing/2014/main" id="{2814F200-2AF4-40E7-8AA8-8E11BCDAE2D8}"/>
                </a:ext>
              </a:extLst>
            </p:cNvPr>
            <p:cNvSpPr>
              <a:spLocks noChangeAspect="1"/>
            </p:cNvSpPr>
            <p:nvPr/>
          </p:nvSpPr>
          <p:spPr bwMode="auto">
            <a:xfrm>
              <a:off x="7589509" y="1225867"/>
              <a:ext cx="173038" cy="68262"/>
            </a:xfrm>
            <a:custGeom>
              <a:avLst/>
              <a:gdLst>
                <a:gd name="T0" fmla="*/ 40 w 46"/>
                <a:gd name="T1" fmla="*/ 18 h 18"/>
                <a:gd name="T2" fmla="*/ 39 w 46"/>
                <a:gd name="T3" fmla="*/ 18 h 18"/>
                <a:gd name="T4" fmla="*/ 4 w 46"/>
                <a:gd name="T5" fmla="*/ 10 h 18"/>
                <a:gd name="T6" fmla="*/ 1 w 46"/>
                <a:gd name="T7" fmla="*/ 4 h 18"/>
                <a:gd name="T8" fmla="*/ 7 w 46"/>
                <a:gd name="T9" fmla="*/ 0 h 18"/>
                <a:gd name="T10" fmla="*/ 41 w 46"/>
                <a:gd name="T11" fmla="*/ 8 h 18"/>
                <a:gd name="T12" fmla="*/ 45 w 46"/>
                <a:gd name="T13" fmla="*/ 14 h 18"/>
                <a:gd name="T14" fmla="*/ 40 w 4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18">
                  <a:moveTo>
                    <a:pt x="40" y="18"/>
                  </a:moveTo>
                  <a:cubicBezTo>
                    <a:pt x="40" y="18"/>
                    <a:pt x="40" y="18"/>
                    <a:pt x="39" y="18"/>
                  </a:cubicBezTo>
                  <a:cubicBezTo>
                    <a:pt x="4" y="10"/>
                    <a:pt x="4" y="10"/>
                    <a:pt x="4" y="10"/>
                  </a:cubicBezTo>
                  <a:cubicBezTo>
                    <a:pt x="2" y="10"/>
                    <a:pt x="0" y="7"/>
                    <a:pt x="1" y="4"/>
                  </a:cubicBezTo>
                  <a:cubicBezTo>
                    <a:pt x="1" y="2"/>
                    <a:pt x="4" y="0"/>
                    <a:pt x="7" y="0"/>
                  </a:cubicBezTo>
                  <a:cubicBezTo>
                    <a:pt x="41" y="8"/>
                    <a:pt x="41" y="8"/>
                    <a:pt x="41" y="8"/>
                  </a:cubicBezTo>
                  <a:cubicBezTo>
                    <a:pt x="44" y="9"/>
                    <a:pt x="46" y="11"/>
                    <a:pt x="45" y="14"/>
                  </a:cubicBezTo>
                  <a:cubicBezTo>
                    <a:pt x="45" y="17"/>
                    <a:pt x="43" y="18"/>
                    <a:pt x="40" y="1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8" name="Freeform 218">
              <a:extLst>
                <a:ext uri="{FF2B5EF4-FFF2-40B4-BE49-F238E27FC236}">
                  <a16:creationId xmlns:a16="http://schemas.microsoft.com/office/drawing/2014/main" id="{36E814BC-EA46-4D22-90C2-E443B1640BE2}"/>
                </a:ext>
              </a:extLst>
            </p:cNvPr>
            <p:cNvSpPr>
              <a:spLocks noChangeAspect="1"/>
            </p:cNvSpPr>
            <p:nvPr/>
          </p:nvSpPr>
          <p:spPr bwMode="auto">
            <a:xfrm>
              <a:off x="7600622" y="1283017"/>
              <a:ext cx="139700" cy="60325"/>
            </a:xfrm>
            <a:custGeom>
              <a:avLst/>
              <a:gdLst>
                <a:gd name="T0" fmla="*/ 32 w 37"/>
                <a:gd name="T1" fmla="*/ 16 h 16"/>
                <a:gd name="T2" fmla="*/ 30 w 37"/>
                <a:gd name="T3" fmla="*/ 16 h 16"/>
                <a:gd name="T4" fmla="*/ 4 w 37"/>
                <a:gd name="T5" fmla="*/ 10 h 16"/>
                <a:gd name="T6" fmla="*/ 1 w 37"/>
                <a:gd name="T7" fmla="*/ 4 h 16"/>
                <a:gd name="T8" fmla="*/ 7 w 37"/>
                <a:gd name="T9" fmla="*/ 1 h 16"/>
                <a:gd name="T10" fmla="*/ 33 w 37"/>
                <a:gd name="T11" fmla="*/ 7 h 16"/>
                <a:gd name="T12" fmla="*/ 36 w 37"/>
                <a:gd name="T13" fmla="*/ 13 h 16"/>
                <a:gd name="T14" fmla="*/ 32 w 3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6">
                  <a:moveTo>
                    <a:pt x="32" y="16"/>
                  </a:moveTo>
                  <a:cubicBezTo>
                    <a:pt x="31" y="16"/>
                    <a:pt x="31" y="16"/>
                    <a:pt x="30" y="16"/>
                  </a:cubicBezTo>
                  <a:cubicBezTo>
                    <a:pt x="4" y="10"/>
                    <a:pt x="4" y="10"/>
                    <a:pt x="4" y="10"/>
                  </a:cubicBezTo>
                  <a:cubicBezTo>
                    <a:pt x="2" y="10"/>
                    <a:pt x="0" y="7"/>
                    <a:pt x="1" y="4"/>
                  </a:cubicBezTo>
                  <a:cubicBezTo>
                    <a:pt x="1" y="2"/>
                    <a:pt x="4" y="0"/>
                    <a:pt x="7" y="1"/>
                  </a:cubicBezTo>
                  <a:cubicBezTo>
                    <a:pt x="33" y="7"/>
                    <a:pt x="33" y="7"/>
                    <a:pt x="33" y="7"/>
                  </a:cubicBezTo>
                  <a:cubicBezTo>
                    <a:pt x="35" y="7"/>
                    <a:pt x="37" y="10"/>
                    <a:pt x="36" y="13"/>
                  </a:cubicBezTo>
                  <a:cubicBezTo>
                    <a:pt x="36" y="15"/>
                    <a:pt x="34" y="16"/>
                    <a:pt x="32" y="1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9" name="Freeform 219">
              <a:extLst>
                <a:ext uri="{FF2B5EF4-FFF2-40B4-BE49-F238E27FC236}">
                  <a16:creationId xmlns:a16="http://schemas.microsoft.com/office/drawing/2014/main" id="{C9D87E53-004C-4AEF-9837-18FCB72E2F84}"/>
                </a:ext>
              </a:extLst>
            </p:cNvPr>
            <p:cNvSpPr>
              <a:spLocks noChangeAspect="1"/>
            </p:cNvSpPr>
            <p:nvPr/>
          </p:nvSpPr>
          <p:spPr bwMode="auto">
            <a:xfrm>
              <a:off x="7522834" y="1117917"/>
              <a:ext cx="187325" cy="233362"/>
            </a:xfrm>
            <a:custGeom>
              <a:avLst/>
              <a:gdLst>
                <a:gd name="T0" fmla="*/ 13 w 50"/>
                <a:gd name="T1" fmla="*/ 62 h 62"/>
                <a:gd name="T2" fmla="*/ 8 w 50"/>
                <a:gd name="T3" fmla="*/ 58 h 62"/>
                <a:gd name="T4" fmla="*/ 10 w 50"/>
                <a:gd name="T5" fmla="*/ 19 h 62"/>
                <a:gd name="T6" fmla="*/ 44 w 50"/>
                <a:gd name="T7" fmla="*/ 1 h 62"/>
                <a:gd name="T8" fmla="*/ 50 w 50"/>
                <a:gd name="T9" fmla="*/ 5 h 62"/>
                <a:gd name="T10" fmla="*/ 46 w 50"/>
                <a:gd name="T11" fmla="*/ 10 h 62"/>
                <a:gd name="T12" fmla="*/ 46 w 50"/>
                <a:gd name="T13" fmla="*/ 10 h 62"/>
                <a:gd name="T14" fmla="*/ 18 w 50"/>
                <a:gd name="T15" fmla="*/ 25 h 62"/>
                <a:gd name="T16" fmla="*/ 17 w 50"/>
                <a:gd name="T17" fmla="*/ 55 h 62"/>
                <a:gd name="T18" fmla="*/ 14 w 50"/>
                <a:gd name="T19" fmla="*/ 61 h 62"/>
                <a:gd name="T20" fmla="*/ 13 w 50"/>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62">
                  <a:moveTo>
                    <a:pt x="13" y="62"/>
                  </a:moveTo>
                  <a:cubicBezTo>
                    <a:pt x="11" y="62"/>
                    <a:pt x="9" y="60"/>
                    <a:pt x="8" y="58"/>
                  </a:cubicBezTo>
                  <a:cubicBezTo>
                    <a:pt x="8" y="57"/>
                    <a:pt x="0" y="34"/>
                    <a:pt x="10" y="19"/>
                  </a:cubicBezTo>
                  <a:cubicBezTo>
                    <a:pt x="20" y="5"/>
                    <a:pt x="43" y="1"/>
                    <a:pt x="44" y="1"/>
                  </a:cubicBezTo>
                  <a:cubicBezTo>
                    <a:pt x="47" y="0"/>
                    <a:pt x="50" y="2"/>
                    <a:pt x="50" y="5"/>
                  </a:cubicBezTo>
                  <a:cubicBezTo>
                    <a:pt x="50" y="7"/>
                    <a:pt x="49" y="10"/>
                    <a:pt x="46" y="10"/>
                  </a:cubicBezTo>
                  <a:cubicBezTo>
                    <a:pt x="46" y="10"/>
                    <a:pt x="46" y="10"/>
                    <a:pt x="46" y="10"/>
                  </a:cubicBezTo>
                  <a:cubicBezTo>
                    <a:pt x="46" y="10"/>
                    <a:pt x="26" y="14"/>
                    <a:pt x="18" y="25"/>
                  </a:cubicBezTo>
                  <a:cubicBezTo>
                    <a:pt x="12" y="34"/>
                    <a:pt x="16" y="49"/>
                    <a:pt x="17" y="55"/>
                  </a:cubicBezTo>
                  <a:cubicBezTo>
                    <a:pt x="18" y="57"/>
                    <a:pt x="17" y="60"/>
                    <a:pt x="14" y="61"/>
                  </a:cubicBezTo>
                  <a:cubicBezTo>
                    <a:pt x="14" y="61"/>
                    <a:pt x="14" y="62"/>
                    <a:pt x="1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40" name="Freeform 220">
              <a:extLst>
                <a:ext uri="{FF2B5EF4-FFF2-40B4-BE49-F238E27FC236}">
                  <a16:creationId xmlns:a16="http://schemas.microsoft.com/office/drawing/2014/main" id="{DB878C44-F45C-483A-8D83-2A4D17ACF438}"/>
                </a:ext>
              </a:extLst>
            </p:cNvPr>
            <p:cNvSpPr>
              <a:spLocks noChangeAspect="1"/>
            </p:cNvSpPr>
            <p:nvPr/>
          </p:nvSpPr>
          <p:spPr bwMode="auto">
            <a:xfrm>
              <a:off x="7770484" y="895667"/>
              <a:ext cx="195263" cy="233362"/>
            </a:xfrm>
            <a:custGeom>
              <a:avLst/>
              <a:gdLst>
                <a:gd name="T0" fmla="*/ 5 w 52"/>
                <a:gd name="T1" fmla="*/ 62 h 62"/>
                <a:gd name="T2" fmla="*/ 0 w 52"/>
                <a:gd name="T3" fmla="*/ 57 h 62"/>
                <a:gd name="T4" fmla="*/ 4 w 52"/>
                <a:gd name="T5" fmla="*/ 52 h 62"/>
                <a:gd name="T6" fmla="*/ 32 w 52"/>
                <a:gd name="T7" fmla="*/ 37 h 62"/>
                <a:gd name="T8" fmla="*/ 32 w 52"/>
                <a:gd name="T9" fmla="*/ 8 h 62"/>
                <a:gd name="T10" fmla="*/ 35 w 52"/>
                <a:gd name="T11" fmla="*/ 1 h 62"/>
                <a:gd name="T12" fmla="*/ 41 w 52"/>
                <a:gd name="T13" fmla="*/ 3 h 62"/>
                <a:gd name="T14" fmla="*/ 40 w 52"/>
                <a:gd name="T15" fmla="*/ 42 h 62"/>
                <a:gd name="T16" fmla="*/ 5 w 52"/>
                <a:gd name="T17" fmla="*/ 62 h 62"/>
                <a:gd name="T18" fmla="*/ 5 w 5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62">
                  <a:moveTo>
                    <a:pt x="5" y="62"/>
                  </a:moveTo>
                  <a:cubicBezTo>
                    <a:pt x="2" y="62"/>
                    <a:pt x="0" y="60"/>
                    <a:pt x="0" y="57"/>
                  </a:cubicBezTo>
                  <a:cubicBezTo>
                    <a:pt x="0" y="54"/>
                    <a:pt x="2" y="52"/>
                    <a:pt x="4" y="52"/>
                  </a:cubicBezTo>
                  <a:cubicBezTo>
                    <a:pt x="5" y="52"/>
                    <a:pt x="22" y="51"/>
                    <a:pt x="32" y="37"/>
                  </a:cubicBezTo>
                  <a:cubicBezTo>
                    <a:pt x="41" y="23"/>
                    <a:pt x="32" y="8"/>
                    <a:pt x="32" y="8"/>
                  </a:cubicBezTo>
                  <a:cubicBezTo>
                    <a:pt x="31" y="6"/>
                    <a:pt x="32" y="3"/>
                    <a:pt x="35" y="1"/>
                  </a:cubicBezTo>
                  <a:cubicBezTo>
                    <a:pt x="37" y="0"/>
                    <a:pt x="40" y="1"/>
                    <a:pt x="41" y="3"/>
                  </a:cubicBezTo>
                  <a:cubicBezTo>
                    <a:pt x="42" y="4"/>
                    <a:pt x="52" y="24"/>
                    <a:pt x="40" y="42"/>
                  </a:cubicBezTo>
                  <a:cubicBezTo>
                    <a:pt x="28" y="61"/>
                    <a:pt x="6" y="62"/>
                    <a:pt x="5" y="62"/>
                  </a:cubicBezTo>
                  <a:cubicBezTo>
                    <a:pt x="5" y="62"/>
                    <a:pt x="5" y="62"/>
                    <a:pt x="5"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39" name="Group 38">
            <a:extLst>
              <a:ext uri="{FF2B5EF4-FFF2-40B4-BE49-F238E27FC236}">
                <a16:creationId xmlns:a16="http://schemas.microsoft.com/office/drawing/2014/main" id="{894D92CE-6194-457D-BF2D-9ED2CD8E6363}"/>
              </a:ext>
              <a:ext uri="{C183D7F6-B498-43B3-948B-1728B52AA6E4}">
                <adec:decorative xmlns:adec="http://schemas.microsoft.com/office/drawing/2017/decorative" val="1"/>
              </a:ext>
            </a:extLst>
          </p:cNvPr>
          <p:cNvGrpSpPr/>
          <p:nvPr/>
        </p:nvGrpSpPr>
        <p:grpSpPr>
          <a:xfrm>
            <a:off x="7969151" y="2634235"/>
            <a:ext cx="669090" cy="633600"/>
            <a:chOff x="8799550" y="2359253"/>
            <a:chExt cx="669090" cy="633600"/>
          </a:xfrm>
        </p:grpSpPr>
        <p:sp>
          <p:nvSpPr>
            <p:cNvPr id="275" name="Freeform 39">
              <a:extLst>
                <a:ext uri="{FF2B5EF4-FFF2-40B4-BE49-F238E27FC236}">
                  <a16:creationId xmlns:a16="http://schemas.microsoft.com/office/drawing/2014/main" id="{B1571054-B88A-4149-9DBE-8BD92EE286CD}"/>
                </a:ext>
              </a:extLst>
            </p:cNvPr>
            <p:cNvSpPr>
              <a:spLocks/>
            </p:cNvSpPr>
            <p:nvPr/>
          </p:nvSpPr>
          <p:spPr bwMode="auto">
            <a:xfrm>
              <a:off x="8799550" y="2359253"/>
              <a:ext cx="669090" cy="633600"/>
            </a:xfrm>
            <a:custGeom>
              <a:avLst/>
              <a:gdLst>
                <a:gd name="T0" fmla="*/ 43 w 301"/>
                <a:gd name="T1" fmla="*/ 220 h 282"/>
                <a:gd name="T2" fmla="*/ 72 w 301"/>
                <a:gd name="T3" fmla="*/ 42 h 282"/>
                <a:gd name="T4" fmla="*/ 258 w 301"/>
                <a:gd name="T5" fmla="*/ 68 h 282"/>
                <a:gd name="T6" fmla="*/ 224 w 301"/>
                <a:gd name="T7" fmla="*/ 240 h 282"/>
                <a:gd name="T8" fmla="*/ 43 w 301"/>
                <a:gd name="T9" fmla="*/ 220 h 282"/>
              </a:gdLst>
              <a:ahLst/>
              <a:cxnLst>
                <a:cxn ang="0">
                  <a:pos x="T0" y="T1"/>
                </a:cxn>
                <a:cxn ang="0">
                  <a:pos x="T2" y="T3"/>
                </a:cxn>
                <a:cxn ang="0">
                  <a:pos x="T4" y="T5"/>
                </a:cxn>
                <a:cxn ang="0">
                  <a:pos x="T6" y="T7"/>
                </a:cxn>
                <a:cxn ang="0">
                  <a:pos x="T8" y="T9"/>
                </a:cxn>
              </a:cxnLst>
              <a:rect l="0" t="0" r="r" b="b"/>
              <a:pathLst>
                <a:path w="301" h="282">
                  <a:moveTo>
                    <a:pt x="43" y="220"/>
                  </a:moveTo>
                  <a:cubicBezTo>
                    <a:pt x="0" y="164"/>
                    <a:pt x="13" y="84"/>
                    <a:pt x="72" y="42"/>
                  </a:cubicBezTo>
                  <a:cubicBezTo>
                    <a:pt x="131" y="0"/>
                    <a:pt x="215" y="12"/>
                    <a:pt x="258" y="68"/>
                  </a:cubicBezTo>
                  <a:cubicBezTo>
                    <a:pt x="301" y="125"/>
                    <a:pt x="284" y="198"/>
                    <a:pt x="224" y="240"/>
                  </a:cubicBezTo>
                  <a:cubicBezTo>
                    <a:pt x="165" y="282"/>
                    <a:pt x="86" y="277"/>
                    <a:pt x="43" y="22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6" name="Groupe 275">
              <a:extLst>
                <a:ext uri="{FF2B5EF4-FFF2-40B4-BE49-F238E27FC236}">
                  <a16:creationId xmlns:a16="http://schemas.microsoft.com/office/drawing/2014/main" id="{12670077-67B5-4F07-A862-98C5E8B9263C}"/>
                </a:ext>
              </a:extLst>
            </p:cNvPr>
            <p:cNvGrpSpPr>
              <a:grpSpLocks noChangeAspect="1"/>
            </p:cNvGrpSpPr>
            <p:nvPr/>
          </p:nvGrpSpPr>
          <p:grpSpPr>
            <a:xfrm>
              <a:off x="8975290" y="2468380"/>
              <a:ext cx="288000" cy="432000"/>
              <a:chOff x="10285412" y="649288"/>
              <a:chExt cx="452438" cy="723899"/>
            </a:xfrm>
          </p:grpSpPr>
          <p:sp>
            <p:nvSpPr>
              <p:cNvPr id="277" name="Freeform 40">
                <a:extLst>
                  <a:ext uri="{FF2B5EF4-FFF2-40B4-BE49-F238E27FC236}">
                    <a16:creationId xmlns:a16="http://schemas.microsoft.com/office/drawing/2014/main" id="{A95F4F2A-D07B-4021-97E0-D075466593EA}"/>
                  </a:ext>
                </a:extLst>
              </p:cNvPr>
              <p:cNvSpPr>
                <a:spLocks noEditPoints="1"/>
              </p:cNvSpPr>
              <p:nvPr/>
            </p:nvSpPr>
            <p:spPr bwMode="auto">
              <a:xfrm>
                <a:off x="10298113" y="649288"/>
                <a:ext cx="427038" cy="552450"/>
              </a:xfrm>
              <a:custGeom>
                <a:avLst/>
                <a:gdLst>
                  <a:gd name="T0" fmla="*/ 32 w 126"/>
                  <a:gd name="T1" fmla="*/ 138 h 162"/>
                  <a:gd name="T2" fmla="*/ 17 w 126"/>
                  <a:gd name="T3" fmla="*/ 138 h 162"/>
                  <a:gd name="T4" fmla="*/ 25 w 126"/>
                  <a:gd name="T5" fmla="*/ 88 h 162"/>
                  <a:gd name="T6" fmla="*/ 38 w 126"/>
                  <a:gd name="T7" fmla="*/ 49 h 162"/>
                  <a:gd name="T8" fmla="*/ 96 w 126"/>
                  <a:gd name="T9" fmla="*/ 56 h 162"/>
                  <a:gd name="T10" fmla="*/ 95 w 126"/>
                  <a:gd name="T11" fmla="*/ 95 h 162"/>
                  <a:gd name="T12" fmla="*/ 25 w 126"/>
                  <a:gd name="T13" fmla="*/ 88 h 162"/>
                  <a:gd name="T14" fmla="*/ 79 w 126"/>
                  <a:gd name="T15" fmla="*/ 15 h 162"/>
                  <a:gd name="T16" fmla="*/ 47 w 126"/>
                  <a:gd name="T17" fmla="*/ 22 h 162"/>
                  <a:gd name="T18" fmla="*/ 44 w 126"/>
                  <a:gd name="T19" fmla="*/ 32 h 162"/>
                  <a:gd name="T20" fmla="*/ 80 w 126"/>
                  <a:gd name="T21" fmla="*/ 30 h 162"/>
                  <a:gd name="T22" fmla="*/ 82 w 126"/>
                  <a:gd name="T23" fmla="*/ 40 h 162"/>
                  <a:gd name="T24" fmla="*/ 46 w 126"/>
                  <a:gd name="T25" fmla="*/ 41 h 162"/>
                  <a:gd name="T26" fmla="*/ 44 w 126"/>
                  <a:gd name="T27" fmla="*/ 32 h 162"/>
                  <a:gd name="T28" fmla="*/ 102 w 126"/>
                  <a:gd name="T29" fmla="*/ 146 h 162"/>
                  <a:gd name="T30" fmla="*/ 102 w 126"/>
                  <a:gd name="T31" fmla="*/ 131 h 162"/>
                  <a:gd name="T32" fmla="*/ 84 w 126"/>
                  <a:gd name="T33" fmla="*/ 146 h 162"/>
                  <a:gd name="T34" fmla="*/ 84 w 126"/>
                  <a:gd name="T35" fmla="*/ 132 h 162"/>
                  <a:gd name="T36" fmla="*/ 84 w 126"/>
                  <a:gd name="T37" fmla="*/ 146 h 162"/>
                  <a:gd name="T38" fmla="*/ 36 w 126"/>
                  <a:gd name="T39" fmla="*/ 139 h 162"/>
                  <a:gd name="T40" fmla="*/ 49 w 126"/>
                  <a:gd name="T41" fmla="*/ 139 h 162"/>
                  <a:gd name="T42" fmla="*/ 17 w 126"/>
                  <a:gd name="T43" fmla="*/ 159 h 162"/>
                  <a:gd name="T44" fmla="*/ 125 w 126"/>
                  <a:gd name="T45" fmla="*/ 141 h 162"/>
                  <a:gd name="T46" fmla="*/ 90 w 126"/>
                  <a:gd name="T47" fmla="*/ 22 h 162"/>
                  <a:gd name="T48" fmla="*/ 84 w 126"/>
                  <a:gd name="T49" fmla="*/ 15 h 162"/>
                  <a:gd name="T50" fmla="*/ 93 w 126"/>
                  <a:gd name="T51" fmla="*/ 0 h 162"/>
                  <a:gd name="T52" fmla="*/ 88 w 126"/>
                  <a:gd name="T53" fmla="*/ 10 h 162"/>
                  <a:gd name="T54" fmla="*/ 38 w 126"/>
                  <a:gd name="T55" fmla="*/ 0 h 162"/>
                  <a:gd name="T56" fmla="*/ 33 w 126"/>
                  <a:gd name="T57" fmla="*/ 15 h 162"/>
                  <a:gd name="T58" fmla="*/ 42 w 126"/>
                  <a:gd name="T59" fmla="*/ 22 h 162"/>
                  <a:gd name="T60" fmla="*/ 16 w 126"/>
                  <a:gd name="T61" fmla="*/ 40 h 162"/>
                  <a:gd name="T62" fmla="*/ 17 w 126"/>
                  <a:gd name="T63" fmla="*/ 15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6" h="162">
                    <a:moveTo>
                      <a:pt x="24" y="131"/>
                    </a:moveTo>
                    <a:cubicBezTo>
                      <a:pt x="28" y="131"/>
                      <a:pt x="32" y="134"/>
                      <a:pt x="32" y="138"/>
                    </a:cubicBezTo>
                    <a:cubicBezTo>
                      <a:pt x="32" y="142"/>
                      <a:pt x="28" y="146"/>
                      <a:pt x="24" y="146"/>
                    </a:cubicBezTo>
                    <a:cubicBezTo>
                      <a:pt x="20" y="146"/>
                      <a:pt x="17" y="142"/>
                      <a:pt x="17" y="138"/>
                    </a:cubicBezTo>
                    <a:cubicBezTo>
                      <a:pt x="17" y="134"/>
                      <a:pt x="20" y="131"/>
                      <a:pt x="24" y="131"/>
                    </a:cubicBezTo>
                    <a:moveTo>
                      <a:pt x="25" y="88"/>
                    </a:moveTo>
                    <a:cubicBezTo>
                      <a:pt x="30" y="56"/>
                      <a:pt x="30" y="56"/>
                      <a:pt x="30" y="56"/>
                    </a:cubicBezTo>
                    <a:cubicBezTo>
                      <a:pt x="30" y="52"/>
                      <a:pt x="34" y="49"/>
                      <a:pt x="38" y="49"/>
                    </a:cubicBezTo>
                    <a:cubicBezTo>
                      <a:pt x="88" y="49"/>
                      <a:pt x="88" y="49"/>
                      <a:pt x="88" y="49"/>
                    </a:cubicBezTo>
                    <a:cubicBezTo>
                      <a:pt x="92" y="49"/>
                      <a:pt x="96" y="52"/>
                      <a:pt x="96" y="56"/>
                    </a:cubicBezTo>
                    <a:cubicBezTo>
                      <a:pt x="101" y="88"/>
                      <a:pt x="101" y="88"/>
                      <a:pt x="101" y="88"/>
                    </a:cubicBezTo>
                    <a:cubicBezTo>
                      <a:pt x="101" y="92"/>
                      <a:pt x="99" y="95"/>
                      <a:pt x="95" y="95"/>
                    </a:cubicBezTo>
                    <a:cubicBezTo>
                      <a:pt x="31" y="95"/>
                      <a:pt x="31" y="95"/>
                      <a:pt x="31" y="95"/>
                    </a:cubicBezTo>
                    <a:cubicBezTo>
                      <a:pt x="27" y="95"/>
                      <a:pt x="25" y="92"/>
                      <a:pt x="25" y="88"/>
                    </a:cubicBezTo>
                    <a:moveTo>
                      <a:pt x="47" y="15"/>
                    </a:moveTo>
                    <a:cubicBezTo>
                      <a:pt x="79" y="15"/>
                      <a:pt x="79" y="15"/>
                      <a:pt x="79" y="15"/>
                    </a:cubicBezTo>
                    <a:cubicBezTo>
                      <a:pt x="79" y="22"/>
                      <a:pt x="79" y="22"/>
                      <a:pt x="79" y="22"/>
                    </a:cubicBezTo>
                    <a:cubicBezTo>
                      <a:pt x="47" y="22"/>
                      <a:pt x="47" y="22"/>
                      <a:pt x="47" y="22"/>
                    </a:cubicBezTo>
                    <a:lnTo>
                      <a:pt x="47" y="15"/>
                    </a:lnTo>
                    <a:close/>
                    <a:moveTo>
                      <a:pt x="44" y="32"/>
                    </a:moveTo>
                    <a:cubicBezTo>
                      <a:pt x="44" y="31"/>
                      <a:pt x="45" y="30"/>
                      <a:pt x="46" y="30"/>
                    </a:cubicBezTo>
                    <a:cubicBezTo>
                      <a:pt x="80" y="30"/>
                      <a:pt x="80" y="30"/>
                      <a:pt x="80" y="30"/>
                    </a:cubicBezTo>
                    <a:cubicBezTo>
                      <a:pt x="81" y="30"/>
                      <a:pt x="82" y="31"/>
                      <a:pt x="82" y="32"/>
                    </a:cubicBezTo>
                    <a:cubicBezTo>
                      <a:pt x="82" y="40"/>
                      <a:pt x="82" y="40"/>
                      <a:pt x="82" y="40"/>
                    </a:cubicBezTo>
                    <a:cubicBezTo>
                      <a:pt x="82" y="41"/>
                      <a:pt x="81" y="41"/>
                      <a:pt x="80" y="41"/>
                    </a:cubicBezTo>
                    <a:cubicBezTo>
                      <a:pt x="46" y="41"/>
                      <a:pt x="46" y="41"/>
                      <a:pt x="46" y="41"/>
                    </a:cubicBezTo>
                    <a:cubicBezTo>
                      <a:pt x="45" y="41"/>
                      <a:pt x="44" y="41"/>
                      <a:pt x="44" y="40"/>
                    </a:cubicBezTo>
                    <a:lnTo>
                      <a:pt x="44" y="32"/>
                    </a:lnTo>
                    <a:close/>
                    <a:moveTo>
                      <a:pt x="109" y="138"/>
                    </a:moveTo>
                    <a:cubicBezTo>
                      <a:pt x="109" y="142"/>
                      <a:pt x="106" y="146"/>
                      <a:pt x="102" y="146"/>
                    </a:cubicBezTo>
                    <a:cubicBezTo>
                      <a:pt x="98" y="146"/>
                      <a:pt x="94" y="142"/>
                      <a:pt x="94" y="138"/>
                    </a:cubicBezTo>
                    <a:cubicBezTo>
                      <a:pt x="94" y="134"/>
                      <a:pt x="98" y="131"/>
                      <a:pt x="102" y="131"/>
                    </a:cubicBezTo>
                    <a:cubicBezTo>
                      <a:pt x="106" y="131"/>
                      <a:pt x="109" y="134"/>
                      <a:pt x="109" y="138"/>
                    </a:cubicBezTo>
                    <a:moveTo>
                      <a:pt x="84" y="146"/>
                    </a:moveTo>
                    <a:cubicBezTo>
                      <a:pt x="80" y="146"/>
                      <a:pt x="77" y="143"/>
                      <a:pt x="77" y="139"/>
                    </a:cubicBezTo>
                    <a:cubicBezTo>
                      <a:pt x="77" y="135"/>
                      <a:pt x="80" y="132"/>
                      <a:pt x="84" y="132"/>
                    </a:cubicBezTo>
                    <a:cubicBezTo>
                      <a:pt x="87" y="132"/>
                      <a:pt x="90" y="135"/>
                      <a:pt x="90" y="139"/>
                    </a:cubicBezTo>
                    <a:cubicBezTo>
                      <a:pt x="90" y="143"/>
                      <a:pt x="87" y="146"/>
                      <a:pt x="84" y="146"/>
                    </a:cubicBezTo>
                    <a:moveTo>
                      <a:pt x="42" y="146"/>
                    </a:moveTo>
                    <a:cubicBezTo>
                      <a:pt x="39" y="146"/>
                      <a:pt x="36" y="143"/>
                      <a:pt x="36" y="139"/>
                    </a:cubicBezTo>
                    <a:cubicBezTo>
                      <a:pt x="36" y="135"/>
                      <a:pt x="39" y="132"/>
                      <a:pt x="42" y="132"/>
                    </a:cubicBezTo>
                    <a:cubicBezTo>
                      <a:pt x="46" y="132"/>
                      <a:pt x="49" y="135"/>
                      <a:pt x="49" y="139"/>
                    </a:cubicBezTo>
                    <a:cubicBezTo>
                      <a:pt x="49" y="143"/>
                      <a:pt x="46" y="146"/>
                      <a:pt x="42" y="146"/>
                    </a:cubicBezTo>
                    <a:moveTo>
                      <a:pt x="17" y="159"/>
                    </a:moveTo>
                    <a:cubicBezTo>
                      <a:pt x="24" y="151"/>
                      <a:pt x="82" y="162"/>
                      <a:pt x="109" y="159"/>
                    </a:cubicBezTo>
                    <a:cubicBezTo>
                      <a:pt x="120" y="158"/>
                      <a:pt x="126" y="151"/>
                      <a:pt x="125" y="141"/>
                    </a:cubicBezTo>
                    <a:cubicBezTo>
                      <a:pt x="110" y="40"/>
                      <a:pt x="110" y="40"/>
                      <a:pt x="110" y="40"/>
                    </a:cubicBezTo>
                    <a:cubicBezTo>
                      <a:pt x="109" y="30"/>
                      <a:pt x="100" y="22"/>
                      <a:pt x="90" y="22"/>
                    </a:cubicBezTo>
                    <a:cubicBezTo>
                      <a:pt x="84" y="22"/>
                      <a:pt x="84" y="22"/>
                      <a:pt x="84" y="22"/>
                    </a:cubicBezTo>
                    <a:cubicBezTo>
                      <a:pt x="84" y="15"/>
                      <a:pt x="84" y="15"/>
                      <a:pt x="84" y="15"/>
                    </a:cubicBezTo>
                    <a:cubicBezTo>
                      <a:pt x="93" y="15"/>
                      <a:pt x="93" y="15"/>
                      <a:pt x="93" y="15"/>
                    </a:cubicBezTo>
                    <a:cubicBezTo>
                      <a:pt x="93" y="0"/>
                      <a:pt x="93" y="0"/>
                      <a:pt x="93" y="0"/>
                    </a:cubicBezTo>
                    <a:cubicBezTo>
                      <a:pt x="88" y="0"/>
                      <a:pt x="88" y="0"/>
                      <a:pt x="88" y="0"/>
                    </a:cubicBezTo>
                    <a:cubicBezTo>
                      <a:pt x="88" y="10"/>
                      <a:pt x="88" y="10"/>
                      <a:pt x="88" y="10"/>
                    </a:cubicBezTo>
                    <a:cubicBezTo>
                      <a:pt x="38" y="10"/>
                      <a:pt x="38" y="10"/>
                      <a:pt x="38" y="10"/>
                    </a:cubicBezTo>
                    <a:cubicBezTo>
                      <a:pt x="38" y="0"/>
                      <a:pt x="38" y="0"/>
                      <a:pt x="38" y="0"/>
                    </a:cubicBezTo>
                    <a:cubicBezTo>
                      <a:pt x="33" y="0"/>
                      <a:pt x="33" y="0"/>
                      <a:pt x="33" y="0"/>
                    </a:cubicBezTo>
                    <a:cubicBezTo>
                      <a:pt x="33" y="15"/>
                      <a:pt x="33" y="15"/>
                      <a:pt x="33" y="15"/>
                    </a:cubicBezTo>
                    <a:cubicBezTo>
                      <a:pt x="42" y="15"/>
                      <a:pt x="42" y="15"/>
                      <a:pt x="42" y="15"/>
                    </a:cubicBezTo>
                    <a:cubicBezTo>
                      <a:pt x="42" y="22"/>
                      <a:pt x="42" y="22"/>
                      <a:pt x="42" y="22"/>
                    </a:cubicBezTo>
                    <a:cubicBezTo>
                      <a:pt x="36" y="22"/>
                      <a:pt x="36" y="22"/>
                      <a:pt x="36" y="22"/>
                    </a:cubicBezTo>
                    <a:cubicBezTo>
                      <a:pt x="26" y="22"/>
                      <a:pt x="17" y="30"/>
                      <a:pt x="16" y="40"/>
                    </a:cubicBezTo>
                    <a:cubicBezTo>
                      <a:pt x="2" y="141"/>
                      <a:pt x="2" y="141"/>
                      <a:pt x="2" y="141"/>
                    </a:cubicBezTo>
                    <a:cubicBezTo>
                      <a:pt x="0" y="151"/>
                      <a:pt x="7" y="159"/>
                      <a:pt x="17" y="15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41">
                <a:extLst>
                  <a:ext uri="{FF2B5EF4-FFF2-40B4-BE49-F238E27FC236}">
                    <a16:creationId xmlns:a16="http://schemas.microsoft.com/office/drawing/2014/main" id="{B6CD57FA-B27E-4688-9801-1910AE758A40}"/>
                  </a:ext>
                </a:extLst>
              </p:cNvPr>
              <p:cNvSpPr>
                <a:spLocks noEditPoints="1"/>
              </p:cNvSpPr>
              <p:nvPr/>
            </p:nvSpPr>
            <p:spPr bwMode="auto">
              <a:xfrm>
                <a:off x="10285412" y="1201738"/>
                <a:ext cx="452438" cy="171449"/>
              </a:xfrm>
              <a:custGeom>
                <a:avLst/>
                <a:gdLst>
                  <a:gd name="T0" fmla="*/ 22 w 134"/>
                  <a:gd name="T1" fmla="*/ 28 h 50"/>
                  <a:gd name="T2" fmla="*/ 29 w 134"/>
                  <a:gd name="T3" fmla="*/ 15 h 50"/>
                  <a:gd name="T4" fmla="*/ 105 w 134"/>
                  <a:gd name="T5" fmla="*/ 15 h 50"/>
                  <a:gd name="T6" fmla="*/ 112 w 134"/>
                  <a:gd name="T7" fmla="*/ 28 h 50"/>
                  <a:gd name="T8" fmla="*/ 22 w 134"/>
                  <a:gd name="T9" fmla="*/ 28 h 50"/>
                  <a:gd name="T10" fmla="*/ 133 w 134"/>
                  <a:gd name="T11" fmla="*/ 42 h 50"/>
                  <a:gd name="T12" fmla="*/ 108 w 134"/>
                  <a:gd name="T13" fmla="*/ 0 h 50"/>
                  <a:gd name="T14" fmla="*/ 96 w 134"/>
                  <a:gd name="T15" fmla="*/ 0 h 50"/>
                  <a:gd name="T16" fmla="*/ 101 w 134"/>
                  <a:gd name="T17" fmla="*/ 9 h 50"/>
                  <a:gd name="T18" fmla="*/ 33 w 134"/>
                  <a:gd name="T19" fmla="*/ 9 h 50"/>
                  <a:gd name="T20" fmla="*/ 38 w 134"/>
                  <a:gd name="T21" fmla="*/ 0 h 50"/>
                  <a:gd name="T22" fmla="*/ 26 w 134"/>
                  <a:gd name="T23" fmla="*/ 0 h 50"/>
                  <a:gd name="T24" fmla="*/ 1 w 134"/>
                  <a:gd name="T25" fmla="*/ 42 h 50"/>
                  <a:gd name="T26" fmla="*/ 3 w 134"/>
                  <a:gd name="T27" fmla="*/ 49 h 50"/>
                  <a:gd name="T28" fmla="*/ 6 w 134"/>
                  <a:gd name="T29" fmla="*/ 50 h 50"/>
                  <a:gd name="T30" fmla="*/ 11 w 134"/>
                  <a:gd name="T31" fmla="*/ 47 h 50"/>
                  <a:gd name="T32" fmla="*/ 18 w 134"/>
                  <a:gd name="T33" fmla="*/ 35 h 50"/>
                  <a:gd name="T34" fmla="*/ 116 w 134"/>
                  <a:gd name="T35" fmla="*/ 35 h 50"/>
                  <a:gd name="T36" fmla="*/ 123 w 134"/>
                  <a:gd name="T37" fmla="*/ 47 h 50"/>
                  <a:gd name="T38" fmla="*/ 128 w 134"/>
                  <a:gd name="T39" fmla="*/ 50 h 50"/>
                  <a:gd name="T40" fmla="*/ 131 w 134"/>
                  <a:gd name="T41" fmla="*/ 49 h 50"/>
                  <a:gd name="T42" fmla="*/ 133 w 134"/>
                  <a:gd name="T43"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4" h="50">
                    <a:moveTo>
                      <a:pt x="22" y="28"/>
                    </a:moveTo>
                    <a:cubicBezTo>
                      <a:pt x="29" y="15"/>
                      <a:pt x="29" y="15"/>
                      <a:pt x="29" y="15"/>
                    </a:cubicBezTo>
                    <a:cubicBezTo>
                      <a:pt x="105" y="15"/>
                      <a:pt x="105" y="15"/>
                      <a:pt x="105" y="15"/>
                    </a:cubicBezTo>
                    <a:cubicBezTo>
                      <a:pt x="112" y="28"/>
                      <a:pt x="112" y="28"/>
                      <a:pt x="112" y="28"/>
                    </a:cubicBezTo>
                    <a:lnTo>
                      <a:pt x="22" y="28"/>
                    </a:lnTo>
                    <a:close/>
                    <a:moveTo>
                      <a:pt x="133" y="42"/>
                    </a:moveTo>
                    <a:cubicBezTo>
                      <a:pt x="108" y="0"/>
                      <a:pt x="108" y="0"/>
                      <a:pt x="108" y="0"/>
                    </a:cubicBezTo>
                    <a:cubicBezTo>
                      <a:pt x="96" y="0"/>
                      <a:pt x="96" y="0"/>
                      <a:pt x="96" y="0"/>
                    </a:cubicBezTo>
                    <a:cubicBezTo>
                      <a:pt x="101" y="9"/>
                      <a:pt x="101" y="9"/>
                      <a:pt x="101" y="9"/>
                    </a:cubicBezTo>
                    <a:cubicBezTo>
                      <a:pt x="33" y="9"/>
                      <a:pt x="33" y="9"/>
                      <a:pt x="33" y="9"/>
                    </a:cubicBezTo>
                    <a:cubicBezTo>
                      <a:pt x="38" y="0"/>
                      <a:pt x="38" y="0"/>
                      <a:pt x="38" y="0"/>
                    </a:cubicBezTo>
                    <a:cubicBezTo>
                      <a:pt x="26" y="0"/>
                      <a:pt x="26" y="0"/>
                      <a:pt x="26" y="0"/>
                    </a:cubicBezTo>
                    <a:cubicBezTo>
                      <a:pt x="1" y="42"/>
                      <a:pt x="1" y="42"/>
                      <a:pt x="1" y="42"/>
                    </a:cubicBezTo>
                    <a:cubicBezTo>
                      <a:pt x="0" y="45"/>
                      <a:pt x="1" y="48"/>
                      <a:pt x="3" y="49"/>
                    </a:cubicBezTo>
                    <a:cubicBezTo>
                      <a:pt x="4" y="50"/>
                      <a:pt x="5" y="50"/>
                      <a:pt x="6" y="50"/>
                    </a:cubicBezTo>
                    <a:cubicBezTo>
                      <a:pt x="8" y="50"/>
                      <a:pt x="10" y="49"/>
                      <a:pt x="11" y="47"/>
                    </a:cubicBezTo>
                    <a:cubicBezTo>
                      <a:pt x="18" y="35"/>
                      <a:pt x="18" y="35"/>
                      <a:pt x="18" y="35"/>
                    </a:cubicBezTo>
                    <a:cubicBezTo>
                      <a:pt x="116" y="35"/>
                      <a:pt x="116" y="35"/>
                      <a:pt x="116" y="35"/>
                    </a:cubicBezTo>
                    <a:cubicBezTo>
                      <a:pt x="123" y="47"/>
                      <a:pt x="123" y="47"/>
                      <a:pt x="123" y="47"/>
                    </a:cubicBezTo>
                    <a:cubicBezTo>
                      <a:pt x="124" y="49"/>
                      <a:pt x="126" y="50"/>
                      <a:pt x="128" y="50"/>
                    </a:cubicBezTo>
                    <a:cubicBezTo>
                      <a:pt x="129" y="50"/>
                      <a:pt x="130" y="50"/>
                      <a:pt x="131" y="49"/>
                    </a:cubicBezTo>
                    <a:cubicBezTo>
                      <a:pt x="133" y="48"/>
                      <a:pt x="134" y="45"/>
                      <a:pt x="133" y="4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31" name="Group 30">
            <a:extLst>
              <a:ext uri="{FF2B5EF4-FFF2-40B4-BE49-F238E27FC236}">
                <a16:creationId xmlns:a16="http://schemas.microsoft.com/office/drawing/2014/main" id="{B24833B5-A34D-4182-9A56-EEF5E3D4009D}"/>
              </a:ext>
              <a:ext uri="{C183D7F6-B498-43B3-948B-1728B52AA6E4}">
                <adec:decorative xmlns:adec="http://schemas.microsoft.com/office/drawing/2017/decorative" val="1"/>
              </a:ext>
            </a:extLst>
          </p:cNvPr>
          <p:cNvGrpSpPr/>
          <p:nvPr/>
        </p:nvGrpSpPr>
        <p:grpSpPr>
          <a:xfrm>
            <a:off x="1177194" y="1451343"/>
            <a:ext cx="677854" cy="633600"/>
            <a:chOff x="1199456" y="1140321"/>
            <a:chExt cx="677854" cy="633600"/>
          </a:xfrm>
        </p:grpSpPr>
        <p:sp>
          <p:nvSpPr>
            <p:cNvPr id="292" name="Freeform 127">
              <a:extLst>
                <a:ext uri="{FF2B5EF4-FFF2-40B4-BE49-F238E27FC236}">
                  <a16:creationId xmlns:a16="http://schemas.microsoft.com/office/drawing/2014/main" id="{6CBAFDFE-127A-4C17-976B-15AF3BB2D954}"/>
                </a:ext>
              </a:extLst>
            </p:cNvPr>
            <p:cNvSpPr>
              <a:spLocks/>
            </p:cNvSpPr>
            <p:nvPr/>
          </p:nvSpPr>
          <p:spPr bwMode="auto">
            <a:xfrm>
              <a:off x="1199456" y="1140321"/>
              <a:ext cx="677854" cy="633600"/>
            </a:xfrm>
            <a:custGeom>
              <a:avLst/>
              <a:gdLst>
                <a:gd name="T0" fmla="*/ 42 w 295"/>
                <a:gd name="T1" fmla="*/ 215 h 275"/>
                <a:gd name="T2" fmla="*/ 71 w 295"/>
                <a:gd name="T3" fmla="*/ 41 h 275"/>
                <a:gd name="T4" fmla="*/ 252 w 295"/>
                <a:gd name="T5" fmla="*/ 67 h 275"/>
                <a:gd name="T6" fmla="*/ 219 w 295"/>
                <a:gd name="T7" fmla="*/ 234 h 275"/>
                <a:gd name="T8" fmla="*/ 42 w 295"/>
                <a:gd name="T9" fmla="*/ 215 h 275"/>
              </a:gdLst>
              <a:ahLst/>
              <a:cxnLst>
                <a:cxn ang="0">
                  <a:pos x="T0" y="T1"/>
                </a:cxn>
                <a:cxn ang="0">
                  <a:pos x="T2" y="T3"/>
                </a:cxn>
                <a:cxn ang="0">
                  <a:pos x="T4" y="T5"/>
                </a:cxn>
                <a:cxn ang="0">
                  <a:pos x="T6" y="T7"/>
                </a:cxn>
                <a:cxn ang="0">
                  <a:pos x="T8" y="T9"/>
                </a:cxn>
              </a:cxnLst>
              <a:rect l="0" t="0" r="r" b="b"/>
              <a:pathLst>
                <a:path w="295" h="275">
                  <a:moveTo>
                    <a:pt x="42" y="215"/>
                  </a:moveTo>
                  <a:cubicBezTo>
                    <a:pt x="0" y="160"/>
                    <a:pt x="13" y="82"/>
                    <a:pt x="71" y="41"/>
                  </a:cubicBezTo>
                  <a:cubicBezTo>
                    <a:pt x="129" y="0"/>
                    <a:pt x="210" y="12"/>
                    <a:pt x="252" y="67"/>
                  </a:cubicBezTo>
                  <a:cubicBezTo>
                    <a:pt x="295" y="122"/>
                    <a:pt x="277" y="193"/>
                    <a:pt x="219" y="234"/>
                  </a:cubicBezTo>
                  <a:cubicBezTo>
                    <a:pt x="161" y="275"/>
                    <a:pt x="85" y="271"/>
                    <a:pt x="42" y="215"/>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 name="Freeform 128">
              <a:extLst>
                <a:ext uri="{FF2B5EF4-FFF2-40B4-BE49-F238E27FC236}">
                  <a16:creationId xmlns:a16="http://schemas.microsoft.com/office/drawing/2014/main" id="{DA2DD7C6-3EF2-497A-9D0A-23ADC8B6442B}"/>
                </a:ext>
              </a:extLst>
            </p:cNvPr>
            <p:cNvSpPr>
              <a:spLocks/>
            </p:cNvSpPr>
            <p:nvPr/>
          </p:nvSpPr>
          <p:spPr bwMode="auto">
            <a:xfrm>
              <a:off x="1408857" y="1375067"/>
              <a:ext cx="269523" cy="287542"/>
            </a:xfrm>
            <a:custGeom>
              <a:avLst/>
              <a:gdLst>
                <a:gd name="T0" fmla="*/ 79 w 107"/>
                <a:gd name="T1" fmla="*/ 50 h 107"/>
                <a:gd name="T2" fmla="*/ 79 w 107"/>
                <a:gd name="T3" fmla="*/ 35 h 107"/>
                <a:gd name="T4" fmla="*/ 53 w 107"/>
                <a:gd name="T5" fmla="*/ 50 h 107"/>
                <a:gd name="T6" fmla="*/ 52 w 107"/>
                <a:gd name="T7" fmla="*/ 50 h 107"/>
                <a:gd name="T8" fmla="*/ 52 w 107"/>
                <a:gd name="T9" fmla="*/ 35 h 107"/>
                <a:gd name="T10" fmla="*/ 27 w 107"/>
                <a:gd name="T11" fmla="*/ 49 h 107"/>
                <a:gd name="T12" fmla="*/ 24 w 107"/>
                <a:gd name="T13" fmla="*/ 0 h 107"/>
                <a:gd name="T14" fmla="*/ 7 w 107"/>
                <a:gd name="T15" fmla="*/ 0 h 107"/>
                <a:gd name="T16" fmla="*/ 2 w 107"/>
                <a:gd name="T17" fmla="*/ 96 h 107"/>
                <a:gd name="T18" fmla="*/ 102 w 107"/>
                <a:gd name="T19" fmla="*/ 96 h 107"/>
                <a:gd name="T20" fmla="*/ 106 w 107"/>
                <a:gd name="T21" fmla="*/ 35 h 107"/>
                <a:gd name="T22" fmla="*/ 80 w 107"/>
                <a:gd name="T23" fmla="*/ 50 h 107"/>
                <a:gd name="T24" fmla="*/ 79 w 107"/>
                <a:gd name="T25" fmla="*/ 5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07">
                  <a:moveTo>
                    <a:pt x="79" y="50"/>
                  </a:moveTo>
                  <a:cubicBezTo>
                    <a:pt x="79" y="35"/>
                    <a:pt x="79" y="35"/>
                    <a:pt x="79" y="35"/>
                  </a:cubicBezTo>
                  <a:cubicBezTo>
                    <a:pt x="53" y="50"/>
                    <a:pt x="53" y="50"/>
                    <a:pt x="53" y="50"/>
                  </a:cubicBezTo>
                  <a:cubicBezTo>
                    <a:pt x="52" y="50"/>
                    <a:pt x="52" y="50"/>
                    <a:pt x="52" y="50"/>
                  </a:cubicBezTo>
                  <a:cubicBezTo>
                    <a:pt x="52" y="35"/>
                    <a:pt x="52" y="35"/>
                    <a:pt x="52" y="35"/>
                  </a:cubicBezTo>
                  <a:cubicBezTo>
                    <a:pt x="27" y="49"/>
                    <a:pt x="27" y="49"/>
                    <a:pt x="27" y="49"/>
                  </a:cubicBezTo>
                  <a:cubicBezTo>
                    <a:pt x="24" y="0"/>
                    <a:pt x="24" y="0"/>
                    <a:pt x="24" y="0"/>
                  </a:cubicBezTo>
                  <a:cubicBezTo>
                    <a:pt x="7" y="0"/>
                    <a:pt x="7" y="0"/>
                    <a:pt x="7" y="0"/>
                  </a:cubicBezTo>
                  <a:cubicBezTo>
                    <a:pt x="7" y="0"/>
                    <a:pt x="0" y="98"/>
                    <a:pt x="2" y="96"/>
                  </a:cubicBezTo>
                  <a:cubicBezTo>
                    <a:pt x="5" y="91"/>
                    <a:pt x="94" y="107"/>
                    <a:pt x="102" y="96"/>
                  </a:cubicBezTo>
                  <a:cubicBezTo>
                    <a:pt x="107" y="88"/>
                    <a:pt x="106" y="35"/>
                    <a:pt x="106" y="35"/>
                  </a:cubicBezTo>
                  <a:cubicBezTo>
                    <a:pt x="80" y="50"/>
                    <a:pt x="80" y="50"/>
                    <a:pt x="80" y="50"/>
                  </a:cubicBezTo>
                  <a:lnTo>
                    <a:pt x="79" y="5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9" name="Group 18">
              <a:extLst>
                <a:ext uri="{FF2B5EF4-FFF2-40B4-BE49-F238E27FC236}">
                  <a16:creationId xmlns:a16="http://schemas.microsoft.com/office/drawing/2014/main" id="{100B7E18-7CCC-4EF2-94C2-4DD4EEE5586B}"/>
                </a:ext>
              </a:extLst>
            </p:cNvPr>
            <p:cNvGrpSpPr/>
            <p:nvPr/>
          </p:nvGrpSpPr>
          <p:grpSpPr>
            <a:xfrm>
              <a:off x="1483658" y="1527665"/>
              <a:ext cx="180475" cy="22701"/>
              <a:chOff x="1483658" y="1527665"/>
              <a:chExt cx="180475" cy="22701"/>
            </a:xfrm>
          </p:grpSpPr>
          <p:sp>
            <p:nvSpPr>
              <p:cNvPr id="295" name="Rectangle 129">
                <a:extLst>
                  <a:ext uri="{FF2B5EF4-FFF2-40B4-BE49-F238E27FC236}">
                    <a16:creationId xmlns:a16="http://schemas.microsoft.com/office/drawing/2014/main" id="{924C680B-ED1F-4BD8-BCAE-5C4C579DAE42}"/>
                  </a:ext>
                </a:extLst>
              </p:cNvPr>
              <p:cNvSpPr>
                <a:spLocks noChangeArrowheads="1"/>
              </p:cNvSpPr>
              <p:nvPr/>
            </p:nvSpPr>
            <p:spPr bwMode="auto">
              <a:xfrm>
                <a:off x="1483658" y="1527665"/>
                <a:ext cx="48681" cy="22701"/>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Rectangle 130">
                <a:extLst>
                  <a:ext uri="{FF2B5EF4-FFF2-40B4-BE49-F238E27FC236}">
                    <a16:creationId xmlns:a16="http://schemas.microsoft.com/office/drawing/2014/main" id="{163FDD78-BF63-4D5B-A62B-68178FFABFBF}"/>
                  </a:ext>
                </a:extLst>
              </p:cNvPr>
              <p:cNvSpPr>
                <a:spLocks noChangeArrowheads="1"/>
              </p:cNvSpPr>
              <p:nvPr/>
            </p:nvSpPr>
            <p:spPr bwMode="auto">
              <a:xfrm>
                <a:off x="1547774" y="1527665"/>
                <a:ext cx="49867" cy="22701"/>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Rectangle 131">
                <a:extLst>
                  <a:ext uri="{FF2B5EF4-FFF2-40B4-BE49-F238E27FC236}">
                    <a16:creationId xmlns:a16="http://schemas.microsoft.com/office/drawing/2014/main" id="{4752F77C-C659-41AB-8DD4-A087BB4AE5DC}"/>
                  </a:ext>
                </a:extLst>
              </p:cNvPr>
              <p:cNvSpPr>
                <a:spLocks noChangeArrowheads="1"/>
              </p:cNvSpPr>
              <p:nvPr/>
            </p:nvSpPr>
            <p:spPr bwMode="auto">
              <a:xfrm>
                <a:off x="1613078" y="1527665"/>
                <a:ext cx="51055" cy="22701"/>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8" name="Freeform 132">
              <a:extLst>
                <a:ext uri="{FF2B5EF4-FFF2-40B4-BE49-F238E27FC236}">
                  <a16:creationId xmlns:a16="http://schemas.microsoft.com/office/drawing/2014/main" id="{E3E983FC-0F9F-421F-8837-D80BABFD5002}"/>
                </a:ext>
              </a:extLst>
            </p:cNvPr>
            <p:cNvSpPr>
              <a:spLocks/>
            </p:cNvSpPr>
            <p:nvPr/>
          </p:nvSpPr>
          <p:spPr bwMode="auto">
            <a:xfrm>
              <a:off x="1423105" y="1266609"/>
              <a:ext cx="131793" cy="102154"/>
            </a:xfrm>
            <a:custGeom>
              <a:avLst/>
              <a:gdLst>
                <a:gd name="T0" fmla="*/ 44 w 52"/>
                <a:gd name="T1" fmla="*/ 7 h 38"/>
                <a:gd name="T2" fmla="*/ 43 w 52"/>
                <a:gd name="T3" fmla="*/ 8 h 38"/>
                <a:gd name="T4" fmla="*/ 34 w 52"/>
                <a:gd name="T5" fmla="*/ 0 h 38"/>
                <a:gd name="T6" fmla="*/ 25 w 52"/>
                <a:gd name="T7" fmla="*/ 5 h 38"/>
                <a:gd name="T8" fmla="*/ 21 w 52"/>
                <a:gd name="T9" fmla="*/ 4 h 38"/>
                <a:gd name="T10" fmla="*/ 17 w 52"/>
                <a:gd name="T11" fmla="*/ 5 h 38"/>
                <a:gd name="T12" fmla="*/ 13 w 52"/>
                <a:gd name="T13" fmla="*/ 3 h 38"/>
                <a:gd name="T14" fmla="*/ 4 w 52"/>
                <a:gd name="T15" fmla="*/ 12 h 38"/>
                <a:gd name="T16" fmla="*/ 4 w 52"/>
                <a:gd name="T17" fmla="*/ 13 h 38"/>
                <a:gd name="T18" fmla="*/ 0 w 52"/>
                <a:gd name="T19" fmla="*/ 20 h 38"/>
                <a:gd name="T20" fmla="*/ 5 w 52"/>
                <a:gd name="T21" fmla="*/ 27 h 38"/>
                <a:gd name="T22" fmla="*/ 4 w 52"/>
                <a:gd name="T23" fmla="*/ 31 h 38"/>
                <a:gd name="T24" fmla="*/ 11 w 52"/>
                <a:gd name="T25" fmla="*/ 38 h 38"/>
                <a:gd name="T26" fmla="*/ 19 w 52"/>
                <a:gd name="T27" fmla="*/ 31 h 38"/>
                <a:gd name="T28" fmla="*/ 19 w 52"/>
                <a:gd name="T29" fmla="*/ 30 h 38"/>
                <a:gd name="T30" fmla="*/ 21 w 52"/>
                <a:gd name="T31" fmla="*/ 30 h 38"/>
                <a:gd name="T32" fmla="*/ 34 w 52"/>
                <a:gd name="T33" fmla="*/ 20 h 38"/>
                <a:gd name="T34" fmla="*/ 34 w 52"/>
                <a:gd name="T35" fmla="*/ 20 h 38"/>
                <a:gd name="T36" fmla="*/ 37 w 52"/>
                <a:gd name="T37" fmla="*/ 19 h 38"/>
                <a:gd name="T38" fmla="*/ 44 w 52"/>
                <a:gd name="T39" fmla="*/ 23 h 38"/>
                <a:gd name="T40" fmla="*/ 52 w 52"/>
                <a:gd name="T41" fmla="*/ 15 h 38"/>
                <a:gd name="T42" fmla="*/ 44 w 52"/>
                <a:gd name="T4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38">
                  <a:moveTo>
                    <a:pt x="44" y="7"/>
                  </a:moveTo>
                  <a:cubicBezTo>
                    <a:pt x="43" y="8"/>
                    <a:pt x="43" y="8"/>
                    <a:pt x="43" y="8"/>
                  </a:cubicBezTo>
                  <a:cubicBezTo>
                    <a:pt x="42" y="3"/>
                    <a:pt x="38" y="0"/>
                    <a:pt x="34" y="0"/>
                  </a:cubicBezTo>
                  <a:cubicBezTo>
                    <a:pt x="30" y="0"/>
                    <a:pt x="27" y="2"/>
                    <a:pt x="25" y="5"/>
                  </a:cubicBezTo>
                  <a:cubicBezTo>
                    <a:pt x="24" y="4"/>
                    <a:pt x="23" y="4"/>
                    <a:pt x="21" y="4"/>
                  </a:cubicBezTo>
                  <a:cubicBezTo>
                    <a:pt x="20" y="4"/>
                    <a:pt x="19" y="4"/>
                    <a:pt x="17" y="5"/>
                  </a:cubicBezTo>
                  <a:cubicBezTo>
                    <a:pt x="16" y="4"/>
                    <a:pt x="14" y="3"/>
                    <a:pt x="13" y="3"/>
                  </a:cubicBezTo>
                  <a:cubicBezTo>
                    <a:pt x="8" y="3"/>
                    <a:pt x="4" y="7"/>
                    <a:pt x="4" y="12"/>
                  </a:cubicBezTo>
                  <a:cubicBezTo>
                    <a:pt x="4" y="13"/>
                    <a:pt x="4" y="13"/>
                    <a:pt x="4" y="13"/>
                  </a:cubicBezTo>
                  <a:cubicBezTo>
                    <a:pt x="2" y="14"/>
                    <a:pt x="0" y="17"/>
                    <a:pt x="0" y="20"/>
                  </a:cubicBezTo>
                  <a:cubicBezTo>
                    <a:pt x="0" y="23"/>
                    <a:pt x="2" y="26"/>
                    <a:pt x="5" y="27"/>
                  </a:cubicBezTo>
                  <a:cubicBezTo>
                    <a:pt x="4" y="28"/>
                    <a:pt x="4" y="29"/>
                    <a:pt x="4" y="31"/>
                  </a:cubicBezTo>
                  <a:cubicBezTo>
                    <a:pt x="4" y="35"/>
                    <a:pt x="7" y="38"/>
                    <a:pt x="11" y="38"/>
                  </a:cubicBezTo>
                  <a:cubicBezTo>
                    <a:pt x="15" y="38"/>
                    <a:pt x="19" y="35"/>
                    <a:pt x="19" y="31"/>
                  </a:cubicBezTo>
                  <a:cubicBezTo>
                    <a:pt x="19" y="30"/>
                    <a:pt x="19" y="30"/>
                    <a:pt x="19" y="30"/>
                  </a:cubicBezTo>
                  <a:cubicBezTo>
                    <a:pt x="19" y="30"/>
                    <a:pt x="20" y="30"/>
                    <a:pt x="21" y="30"/>
                  </a:cubicBezTo>
                  <a:cubicBezTo>
                    <a:pt x="27" y="30"/>
                    <a:pt x="32" y="26"/>
                    <a:pt x="34" y="20"/>
                  </a:cubicBezTo>
                  <a:cubicBezTo>
                    <a:pt x="34" y="20"/>
                    <a:pt x="34" y="20"/>
                    <a:pt x="34" y="20"/>
                  </a:cubicBezTo>
                  <a:cubicBezTo>
                    <a:pt x="35" y="20"/>
                    <a:pt x="36" y="20"/>
                    <a:pt x="37" y="19"/>
                  </a:cubicBezTo>
                  <a:cubicBezTo>
                    <a:pt x="38" y="22"/>
                    <a:pt x="41" y="23"/>
                    <a:pt x="44" y="23"/>
                  </a:cubicBezTo>
                  <a:cubicBezTo>
                    <a:pt x="48" y="23"/>
                    <a:pt x="52" y="20"/>
                    <a:pt x="52" y="15"/>
                  </a:cubicBezTo>
                  <a:cubicBezTo>
                    <a:pt x="52" y="11"/>
                    <a:pt x="48" y="7"/>
                    <a:pt x="44" y="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 name="Group 19">
              <a:extLst>
                <a:ext uri="{FF2B5EF4-FFF2-40B4-BE49-F238E27FC236}">
                  <a16:creationId xmlns:a16="http://schemas.microsoft.com/office/drawing/2014/main" id="{E63C9ACD-EC09-492F-B97A-024511B16648}"/>
                </a:ext>
              </a:extLst>
            </p:cNvPr>
            <p:cNvGrpSpPr/>
            <p:nvPr/>
          </p:nvGrpSpPr>
          <p:grpSpPr>
            <a:xfrm>
              <a:off x="1527590" y="1349844"/>
              <a:ext cx="154352" cy="105936"/>
              <a:chOff x="1527590" y="1349844"/>
              <a:chExt cx="154352" cy="105936"/>
            </a:xfrm>
          </p:grpSpPr>
          <p:sp>
            <p:nvSpPr>
              <p:cNvPr id="302" name="Freeform 136">
                <a:extLst>
                  <a:ext uri="{FF2B5EF4-FFF2-40B4-BE49-F238E27FC236}">
                    <a16:creationId xmlns:a16="http://schemas.microsoft.com/office/drawing/2014/main" id="{643AC84F-039A-4032-9EC7-F29A2CA22B08}"/>
                  </a:ext>
                </a:extLst>
              </p:cNvPr>
              <p:cNvSpPr>
                <a:spLocks/>
              </p:cNvSpPr>
              <p:nvPr/>
            </p:nvSpPr>
            <p:spPr bwMode="auto">
              <a:xfrm>
                <a:off x="1527590" y="1349844"/>
                <a:ext cx="154352" cy="56752"/>
              </a:xfrm>
              <a:custGeom>
                <a:avLst/>
                <a:gdLst>
                  <a:gd name="T0" fmla="*/ 0 w 61"/>
                  <a:gd name="T1" fmla="*/ 17 h 21"/>
                  <a:gd name="T2" fmla="*/ 0 w 61"/>
                  <a:gd name="T3" fmla="*/ 20 h 21"/>
                  <a:gd name="T4" fmla="*/ 4 w 61"/>
                  <a:gd name="T5" fmla="*/ 20 h 21"/>
                  <a:gd name="T6" fmla="*/ 57 w 61"/>
                  <a:gd name="T7" fmla="*/ 19 h 21"/>
                  <a:gd name="T8" fmla="*/ 59 w 61"/>
                  <a:gd name="T9" fmla="*/ 20 h 21"/>
                  <a:gd name="T10" fmla="*/ 60 w 61"/>
                  <a:gd name="T11" fmla="*/ 19 h 21"/>
                  <a:gd name="T12" fmla="*/ 60 w 61"/>
                  <a:gd name="T13" fmla="*/ 16 h 21"/>
                  <a:gd name="T14" fmla="*/ 0 w 61"/>
                  <a:gd name="T15" fmla="*/ 1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1">
                    <a:moveTo>
                      <a:pt x="0" y="17"/>
                    </a:moveTo>
                    <a:cubicBezTo>
                      <a:pt x="0" y="17"/>
                      <a:pt x="0" y="19"/>
                      <a:pt x="0" y="20"/>
                    </a:cubicBezTo>
                    <a:cubicBezTo>
                      <a:pt x="1" y="21"/>
                      <a:pt x="3" y="21"/>
                      <a:pt x="4" y="20"/>
                    </a:cubicBezTo>
                    <a:cubicBezTo>
                      <a:pt x="18" y="5"/>
                      <a:pt x="42" y="5"/>
                      <a:pt x="57" y="19"/>
                    </a:cubicBezTo>
                    <a:cubicBezTo>
                      <a:pt x="58" y="20"/>
                      <a:pt x="58" y="20"/>
                      <a:pt x="59" y="20"/>
                    </a:cubicBezTo>
                    <a:cubicBezTo>
                      <a:pt x="59" y="20"/>
                      <a:pt x="60" y="20"/>
                      <a:pt x="60" y="19"/>
                    </a:cubicBezTo>
                    <a:cubicBezTo>
                      <a:pt x="61" y="18"/>
                      <a:pt x="61" y="17"/>
                      <a:pt x="60" y="16"/>
                    </a:cubicBezTo>
                    <a:cubicBezTo>
                      <a:pt x="44" y="0"/>
                      <a:pt x="17" y="0"/>
                      <a:pt x="0" y="1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37">
                <a:extLst>
                  <a:ext uri="{FF2B5EF4-FFF2-40B4-BE49-F238E27FC236}">
                    <a16:creationId xmlns:a16="http://schemas.microsoft.com/office/drawing/2014/main" id="{27C0F231-15A9-42DA-8D8B-72DC16ABC598}"/>
                  </a:ext>
                </a:extLst>
              </p:cNvPr>
              <p:cNvSpPr>
                <a:spLocks/>
              </p:cNvSpPr>
              <p:nvPr/>
            </p:nvSpPr>
            <p:spPr bwMode="auto">
              <a:xfrm>
                <a:off x="1547774" y="1385157"/>
                <a:ext cx="113983" cy="42879"/>
              </a:xfrm>
              <a:custGeom>
                <a:avLst/>
                <a:gdLst>
                  <a:gd name="T0" fmla="*/ 1 w 45"/>
                  <a:gd name="T1" fmla="*/ 12 h 16"/>
                  <a:gd name="T2" fmla="*/ 1 w 45"/>
                  <a:gd name="T3" fmla="*/ 15 h 16"/>
                  <a:gd name="T4" fmla="*/ 4 w 45"/>
                  <a:gd name="T5" fmla="*/ 15 h 16"/>
                  <a:gd name="T6" fmla="*/ 41 w 45"/>
                  <a:gd name="T7" fmla="*/ 15 h 16"/>
                  <a:gd name="T8" fmla="*/ 42 w 45"/>
                  <a:gd name="T9" fmla="*/ 16 h 16"/>
                  <a:gd name="T10" fmla="*/ 44 w 45"/>
                  <a:gd name="T11" fmla="*/ 15 h 16"/>
                  <a:gd name="T12" fmla="*/ 44 w 45"/>
                  <a:gd name="T13" fmla="*/ 12 h 16"/>
                  <a:gd name="T14" fmla="*/ 1 w 45"/>
                  <a:gd name="T15" fmla="*/ 1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6">
                    <a:moveTo>
                      <a:pt x="1" y="12"/>
                    </a:moveTo>
                    <a:cubicBezTo>
                      <a:pt x="0" y="13"/>
                      <a:pt x="0" y="14"/>
                      <a:pt x="1" y="15"/>
                    </a:cubicBezTo>
                    <a:cubicBezTo>
                      <a:pt x="2" y="16"/>
                      <a:pt x="3" y="16"/>
                      <a:pt x="4" y="15"/>
                    </a:cubicBezTo>
                    <a:cubicBezTo>
                      <a:pt x="14" y="5"/>
                      <a:pt x="31" y="5"/>
                      <a:pt x="41" y="15"/>
                    </a:cubicBezTo>
                    <a:cubicBezTo>
                      <a:pt x="41" y="15"/>
                      <a:pt x="42" y="16"/>
                      <a:pt x="42" y="16"/>
                    </a:cubicBezTo>
                    <a:cubicBezTo>
                      <a:pt x="43" y="16"/>
                      <a:pt x="44" y="15"/>
                      <a:pt x="44" y="15"/>
                    </a:cubicBezTo>
                    <a:cubicBezTo>
                      <a:pt x="45" y="14"/>
                      <a:pt x="45" y="13"/>
                      <a:pt x="44" y="12"/>
                    </a:cubicBezTo>
                    <a:cubicBezTo>
                      <a:pt x="32" y="0"/>
                      <a:pt x="13" y="0"/>
                      <a:pt x="1" y="12"/>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38">
                <a:extLst>
                  <a:ext uri="{FF2B5EF4-FFF2-40B4-BE49-F238E27FC236}">
                    <a16:creationId xmlns:a16="http://schemas.microsoft.com/office/drawing/2014/main" id="{C45D007A-33AD-4103-A1D5-ADDB9BB4A7DB}"/>
                  </a:ext>
                </a:extLst>
              </p:cNvPr>
              <p:cNvSpPr>
                <a:spLocks/>
              </p:cNvSpPr>
              <p:nvPr/>
            </p:nvSpPr>
            <p:spPr bwMode="auto">
              <a:xfrm>
                <a:off x="1572708" y="1428035"/>
                <a:ext cx="62929" cy="27745"/>
              </a:xfrm>
              <a:custGeom>
                <a:avLst/>
                <a:gdLst>
                  <a:gd name="T0" fmla="*/ 1 w 25"/>
                  <a:gd name="T1" fmla="*/ 6 h 10"/>
                  <a:gd name="T2" fmla="*/ 1 w 25"/>
                  <a:gd name="T3" fmla="*/ 9 h 10"/>
                  <a:gd name="T4" fmla="*/ 4 w 25"/>
                  <a:gd name="T5" fmla="*/ 9 h 10"/>
                  <a:gd name="T6" fmla="*/ 21 w 25"/>
                  <a:gd name="T7" fmla="*/ 9 h 10"/>
                  <a:gd name="T8" fmla="*/ 22 w 25"/>
                  <a:gd name="T9" fmla="*/ 10 h 10"/>
                  <a:gd name="T10" fmla="*/ 24 w 25"/>
                  <a:gd name="T11" fmla="*/ 9 h 10"/>
                  <a:gd name="T12" fmla="*/ 24 w 25"/>
                  <a:gd name="T13" fmla="*/ 6 h 10"/>
                  <a:gd name="T14" fmla="*/ 1 w 2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0">
                    <a:moveTo>
                      <a:pt x="1" y="6"/>
                    </a:moveTo>
                    <a:cubicBezTo>
                      <a:pt x="0" y="7"/>
                      <a:pt x="0" y="8"/>
                      <a:pt x="1" y="9"/>
                    </a:cubicBezTo>
                    <a:cubicBezTo>
                      <a:pt x="2" y="10"/>
                      <a:pt x="4" y="10"/>
                      <a:pt x="4" y="9"/>
                    </a:cubicBezTo>
                    <a:cubicBezTo>
                      <a:pt x="9" y="5"/>
                      <a:pt x="16" y="5"/>
                      <a:pt x="21" y="9"/>
                    </a:cubicBezTo>
                    <a:cubicBezTo>
                      <a:pt x="21" y="10"/>
                      <a:pt x="22" y="10"/>
                      <a:pt x="22" y="10"/>
                    </a:cubicBezTo>
                    <a:cubicBezTo>
                      <a:pt x="23" y="10"/>
                      <a:pt x="23" y="10"/>
                      <a:pt x="24" y="9"/>
                    </a:cubicBezTo>
                    <a:cubicBezTo>
                      <a:pt x="25" y="8"/>
                      <a:pt x="25" y="7"/>
                      <a:pt x="24" y="6"/>
                    </a:cubicBezTo>
                    <a:cubicBezTo>
                      <a:pt x="18" y="0"/>
                      <a:pt x="7" y="0"/>
                      <a:pt x="1" y="6"/>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2" name="Groupe 31">
            <a:extLst>
              <a:ext uri="{FF2B5EF4-FFF2-40B4-BE49-F238E27FC236}">
                <a16:creationId xmlns:a16="http://schemas.microsoft.com/office/drawing/2014/main" id="{43861438-91AB-4E76-8D39-A85E75CEABAC}"/>
              </a:ext>
              <a:ext uri="{C183D7F6-B498-43B3-948B-1728B52AA6E4}">
                <adec:decorative xmlns:adec="http://schemas.microsoft.com/office/drawing/2017/decorative" val="1"/>
              </a:ext>
            </a:extLst>
          </p:cNvPr>
          <p:cNvGrpSpPr>
            <a:grpSpLocks noChangeAspect="1"/>
          </p:cNvGrpSpPr>
          <p:nvPr/>
        </p:nvGrpSpPr>
        <p:grpSpPr>
          <a:xfrm>
            <a:off x="1079358" y="5099656"/>
            <a:ext cx="671636" cy="633600"/>
            <a:chOff x="2020777" y="5517000"/>
            <a:chExt cx="763223" cy="720000"/>
          </a:xfrm>
        </p:grpSpPr>
        <p:sp>
          <p:nvSpPr>
            <p:cNvPr id="337" name="Freeform 31">
              <a:extLst>
                <a:ext uri="{FF2B5EF4-FFF2-40B4-BE49-F238E27FC236}">
                  <a16:creationId xmlns:a16="http://schemas.microsoft.com/office/drawing/2014/main" id="{9B1D4C5B-E255-4710-9772-031A254C2D52}"/>
                </a:ext>
              </a:extLst>
            </p:cNvPr>
            <p:cNvSpPr>
              <a:spLocks noChangeAspect="1"/>
            </p:cNvSpPr>
            <p:nvPr/>
          </p:nvSpPr>
          <p:spPr bwMode="auto">
            <a:xfrm>
              <a:off x="2020777" y="5517000"/>
              <a:ext cx="763223" cy="720000"/>
            </a:xfrm>
            <a:custGeom>
              <a:avLst/>
              <a:gdLst>
                <a:gd name="T0" fmla="*/ 45 w 315"/>
                <a:gd name="T1" fmla="*/ 230 h 294"/>
                <a:gd name="T2" fmla="*/ 75 w 315"/>
                <a:gd name="T3" fmla="*/ 44 h 294"/>
                <a:gd name="T4" fmla="*/ 269 w 315"/>
                <a:gd name="T5" fmla="*/ 71 h 294"/>
                <a:gd name="T6" fmla="*/ 234 w 315"/>
                <a:gd name="T7" fmla="*/ 250 h 294"/>
                <a:gd name="T8" fmla="*/ 45 w 315"/>
                <a:gd name="T9" fmla="*/ 230 h 294"/>
              </a:gdLst>
              <a:ahLst/>
              <a:cxnLst>
                <a:cxn ang="0">
                  <a:pos x="T0" y="T1"/>
                </a:cxn>
                <a:cxn ang="0">
                  <a:pos x="T2" y="T3"/>
                </a:cxn>
                <a:cxn ang="0">
                  <a:pos x="T4" y="T5"/>
                </a:cxn>
                <a:cxn ang="0">
                  <a:pos x="T6" y="T7"/>
                </a:cxn>
                <a:cxn ang="0">
                  <a:pos x="T8" y="T9"/>
                </a:cxn>
              </a:cxnLst>
              <a:rect l="0" t="0" r="r" b="b"/>
              <a:pathLst>
                <a:path w="315" h="294">
                  <a:moveTo>
                    <a:pt x="45" y="230"/>
                  </a:moveTo>
                  <a:cubicBezTo>
                    <a:pt x="0" y="171"/>
                    <a:pt x="14" y="88"/>
                    <a:pt x="75" y="44"/>
                  </a:cubicBezTo>
                  <a:cubicBezTo>
                    <a:pt x="137" y="0"/>
                    <a:pt x="224" y="13"/>
                    <a:pt x="269" y="71"/>
                  </a:cubicBezTo>
                  <a:cubicBezTo>
                    <a:pt x="315" y="130"/>
                    <a:pt x="296" y="207"/>
                    <a:pt x="234" y="250"/>
                  </a:cubicBezTo>
                  <a:cubicBezTo>
                    <a:pt x="172" y="294"/>
                    <a:pt x="91" y="289"/>
                    <a:pt x="45" y="230"/>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9" name="Groupe 28">
              <a:extLst>
                <a:ext uri="{FF2B5EF4-FFF2-40B4-BE49-F238E27FC236}">
                  <a16:creationId xmlns:a16="http://schemas.microsoft.com/office/drawing/2014/main" id="{2578B8B0-200F-45A6-AC36-16205D6D44E1}"/>
                </a:ext>
              </a:extLst>
            </p:cNvPr>
            <p:cNvGrpSpPr/>
            <p:nvPr/>
          </p:nvGrpSpPr>
          <p:grpSpPr>
            <a:xfrm>
              <a:off x="2211936" y="5858269"/>
              <a:ext cx="274123" cy="318484"/>
              <a:chOff x="2111159" y="5858269"/>
              <a:chExt cx="274123" cy="318484"/>
            </a:xfrm>
          </p:grpSpPr>
          <p:sp>
            <p:nvSpPr>
              <p:cNvPr id="341" name="Freeform 33">
                <a:extLst>
                  <a:ext uri="{FF2B5EF4-FFF2-40B4-BE49-F238E27FC236}">
                    <a16:creationId xmlns:a16="http://schemas.microsoft.com/office/drawing/2014/main" id="{22DD0ED4-8944-4503-8862-380DEF746427}"/>
                  </a:ext>
                </a:extLst>
              </p:cNvPr>
              <p:cNvSpPr>
                <a:spLocks/>
              </p:cNvSpPr>
              <p:nvPr/>
            </p:nvSpPr>
            <p:spPr bwMode="auto">
              <a:xfrm>
                <a:off x="2133908" y="5924241"/>
                <a:ext cx="210427" cy="191090"/>
              </a:xfrm>
              <a:custGeom>
                <a:avLst/>
                <a:gdLst>
                  <a:gd name="T0" fmla="*/ 0 w 87"/>
                  <a:gd name="T1" fmla="*/ 28 h 78"/>
                  <a:gd name="T2" fmla="*/ 7 w 87"/>
                  <a:gd name="T3" fmla="*/ 53 h 78"/>
                  <a:gd name="T4" fmla="*/ 41 w 87"/>
                  <a:gd name="T5" fmla="*/ 78 h 78"/>
                  <a:gd name="T6" fmla="*/ 66 w 87"/>
                  <a:gd name="T7" fmla="*/ 77 h 78"/>
                  <a:gd name="T8" fmla="*/ 87 w 87"/>
                  <a:gd name="T9" fmla="*/ 49 h 78"/>
                  <a:gd name="T10" fmla="*/ 21 w 87"/>
                  <a:gd name="T11" fmla="*/ 0 h 78"/>
                  <a:gd name="T12" fmla="*/ 0 w 87"/>
                  <a:gd name="T13" fmla="*/ 28 h 78"/>
                </a:gdLst>
                <a:ahLst/>
                <a:cxnLst>
                  <a:cxn ang="0">
                    <a:pos x="T0" y="T1"/>
                  </a:cxn>
                  <a:cxn ang="0">
                    <a:pos x="T2" y="T3"/>
                  </a:cxn>
                  <a:cxn ang="0">
                    <a:pos x="T4" y="T5"/>
                  </a:cxn>
                  <a:cxn ang="0">
                    <a:pos x="T6" y="T7"/>
                  </a:cxn>
                  <a:cxn ang="0">
                    <a:pos x="T8" y="T9"/>
                  </a:cxn>
                  <a:cxn ang="0">
                    <a:pos x="T10" y="T11"/>
                  </a:cxn>
                  <a:cxn ang="0">
                    <a:pos x="T12" y="T13"/>
                  </a:cxn>
                </a:cxnLst>
                <a:rect l="0" t="0" r="r" b="b"/>
                <a:pathLst>
                  <a:path w="87" h="78">
                    <a:moveTo>
                      <a:pt x="0" y="28"/>
                    </a:moveTo>
                    <a:cubicBezTo>
                      <a:pt x="0" y="28"/>
                      <a:pt x="5" y="45"/>
                      <a:pt x="7" y="53"/>
                    </a:cubicBezTo>
                    <a:cubicBezTo>
                      <a:pt x="20" y="56"/>
                      <a:pt x="31" y="75"/>
                      <a:pt x="41" y="78"/>
                    </a:cubicBezTo>
                    <a:cubicBezTo>
                      <a:pt x="48" y="78"/>
                      <a:pt x="66" y="77"/>
                      <a:pt x="66" y="77"/>
                    </a:cubicBezTo>
                    <a:cubicBezTo>
                      <a:pt x="87" y="49"/>
                      <a:pt x="87" y="49"/>
                      <a:pt x="87" y="49"/>
                    </a:cubicBezTo>
                    <a:cubicBezTo>
                      <a:pt x="21" y="0"/>
                      <a:pt x="21" y="0"/>
                      <a:pt x="21" y="0"/>
                    </a:cubicBezTo>
                    <a:lnTo>
                      <a:pt x="0" y="2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34">
                <a:extLst>
                  <a:ext uri="{FF2B5EF4-FFF2-40B4-BE49-F238E27FC236}">
                    <a16:creationId xmlns:a16="http://schemas.microsoft.com/office/drawing/2014/main" id="{C7555E68-2E0A-498E-94BE-D1EF40B87A8C}"/>
                  </a:ext>
                </a:extLst>
              </p:cNvPr>
              <p:cNvSpPr>
                <a:spLocks/>
              </p:cNvSpPr>
              <p:nvPr/>
            </p:nvSpPr>
            <p:spPr bwMode="auto">
              <a:xfrm>
                <a:off x="2206704" y="5858269"/>
                <a:ext cx="71659" cy="85308"/>
              </a:xfrm>
              <a:custGeom>
                <a:avLst/>
                <a:gdLst>
                  <a:gd name="T0" fmla="*/ 63 w 63"/>
                  <a:gd name="T1" fmla="*/ 15 h 75"/>
                  <a:gd name="T2" fmla="*/ 59 w 63"/>
                  <a:gd name="T3" fmla="*/ 0 h 75"/>
                  <a:gd name="T4" fmla="*/ 42 w 63"/>
                  <a:gd name="T5" fmla="*/ 0 h 75"/>
                  <a:gd name="T6" fmla="*/ 0 w 63"/>
                  <a:gd name="T7" fmla="*/ 60 h 75"/>
                  <a:gd name="T8" fmla="*/ 21 w 63"/>
                  <a:gd name="T9" fmla="*/ 75 h 75"/>
                  <a:gd name="T10" fmla="*/ 63 w 63"/>
                  <a:gd name="T11" fmla="*/ 15 h 75"/>
                </a:gdLst>
                <a:ahLst/>
                <a:cxnLst>
                  <a:cxn ang="0">
                    <a:pos x="T0" y="T1"/>
                  </a:cxn>
                  <a:cxn ang="0">
                    <a:pos x="T2" y="T3"/>
                  </a:cxn>
                  <a:cxn ang="0">
                    <a:pos x="T4" y="T5"/>
                  </a:cxn>
                  <a:cxn ang="0">
                    <a:pos x="T6" y="T7"/>
                  </a:cxn>
                  <a:cxn ang="0">
                    <a:pos x="T8" y="T9"/>
                  </a:cxn>
                  <a:cxn ang="0">
                    <a:pos x="T10" y="T11"/>
                  </a:cxn>
                </a:cxnLst>
                <a:rect l="0" t="0" r="r" b="b"/>
                <a:pathLst>
                  <a:path w="63" h="75">
                    <a:moveTo>
                      <a:pt x="63" y="15"/>
                    </a:moveTo>
                    <a:lnTo>
                      <a:pt x="59" y="0"/>
                    </a:lnTo>
                    <a:lnTo>
                      <a:pt x="42" y="0"/>
                    </a:lnTo>
                    <a:lnTo>
                      <a:pt x="0" y="60"/>
                    </a:lnTo>
                    <a:lnTo>
                      <a:pt x="21" y="75"/>
                    </a:lnTo>
                    <a:lnTo>
                      <a:pt x="63" y="1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35">
                <a:extLst>
                  <a:ext uri="{FF2B5EF4-FFF2-40B4-BE49-F238E27FC236}">
                    <a16:creationId xmlns:a16="http://schemas.microsoft.com/office/drawing/2014/main" id="{A2462033-20BF-45B7-BD4E-A920999A862F}"/>
                  </a:ext>
                </a:extLst>
              </p:cNvPr>
              <p:cNvSpPr>
                <a:spLocks/>
              </p:cNvSpPr>
              <p:nvPr/>
            </p:nvSpPr>
            <p:spPr bwMode="auto">
              <a:xfrm>
                <a:off x="2314761" y="5939028"/>
                <a:ext cx="70521" cy="83033"/>
              </a:xfrm>
              <a:custGeom>
                <a:avLst/>
                <a:gdLst>
                  <a:gd name="T0" fmla="*/ 43 w 62"/>
                  <a:gd name="T1" fmla="*/ 0 h 73"/>
                  <a:gd name="T2" fmla="*/ 0 w 62"/>
                  <a:gd name="T3" fmla="*/ 58 h 73"/>
                  <a:gd name="T4" fmla="*/ 20 w 62"/>
                  <a:gd name="T5" fmla="*/ 73 h 73"/>
                  <a:gd name="T6" fmla="*/ 62 w 62"/>
                  <a:gd name="T7" fmla="*/ 15 h 73"/>
                  <a:gd name="T8" fmla="*/ 58 w 62"/>
                  <a:gd name="T9" fmla="*/ 0 h 73"/>
                  <a:gd name="T10" fmla="*/ 43 w 62"/>
                  <a:gd name="T11" fmla="*/ 0 h 73"/>
                </a:gdLst>
                <a:ahLst/>
                <a:cxnLst>
                  <a:cxn ang="0">
                    <a:pos x="T0" y="T1"/>
                  </a:cxn>
                  <a:cxn ang="0">
                    <a:pos x="T2" y="T3"/>
                  </a:cxn>
                  <a:cxn ang="0">
                    <a:pos x="T4" y="T5"/>
                  </a:cxn>
                  <a:cxn ang="0">
                    <a:pos x="T6" y="T7"/>
                  </a:cxn>
                  <a:cxn ang="0">
                    <a:pos x="T8" y="T9"/>
                  </a:cxn>
                  <a:cxn ang="0">
                    <a:pos x="T10" y="T11"/>
                  </a:cxn>
                </a:cxnLst>
                <a:rect l="0" t="0" r="r" b="b"/>
                <a:pathLst>
                  <a:path w="62" h="73">
                    <a:moveTo>
                      <a:pt x="43" y="0"/>
                    </a:moveTo>
                    <a:lnTo>
                      <a:pt x="0" y="58"/>
                    </a:lnTo>
                    <a:lnTo>
                      <a:pt x="20" y="73"/>
                    </a:lnTo>
                    <a:lnTo>
                      <a:pt x="62" y="15"/>
                    </a:lnTo>
                    <a:lnTo>
                      <a:pt x="58" y="0"/>
                    </a:lnTo>
                    <a:lnTo>
                      <a:pt x="4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36">
                <a:extLst>
                  <a:ext uri="{FF2B5EF4-FFF2-40B4-BE49-F238E27FC236}">
                    <a16:creationId xmlns:a16="http://schemas.microsoft.com/office/drawing/2014/main" id="{36660FB2-823B-4941-90F0-835A7DE0E97A}"/>
                  </a:ext>
                </a:extLst>
              </p:cNvPr>
              <p:cNvSpPr>
                <a:spLocks/>
              </p:cNvSpPr>
              <p:nvPr/>
            </p:nvSpPr>
            <p:spPr bwMode="auto">
              <a:xfrm>
                <a:off x="2111159" y="6064146"/>
                <a:ext cx="106920" cy="112607"/>
              </a:xfrm>
              <a:custGeom>
                <a:avLst/>
                <a:gdLst>
                  <a:gd name="T0" fmla="*/ 16 w 44"/>
                  <a:gd name="T1" fmla="*/ 2 h 46"/>
                  <a:gd name="T2" fmla="*/ 12 w 44"/>
                  <a:gd name="T3" fmla="*/ 10 h 46"/>
                  <a:gd name="T4" fmla="*/ 15 w 44"/>
                  <a:gd name="T5" fmla="*/ 12 h 46"/>
                  <a:gd name="T6" fmla="*/ 11 w 44"/>
                  <a:gd name="T7" fmla="*/ 17 h 46"/>
                  <a:gd name="T8" fmla="*/ 8 w 44"/>
                  <a:gd name="T9" fmla="*/ 15 h 46"/>
                  <a:gd name="T10" fmla="*/ 6 w 44"/>
                  <a:gd name="T11" fmla="*/ 18 h 46"/>
                  <a:gd name="T12" fmla="*/ 6 w 44"/>
                  <a:gd name="T13" fmla="*/ 19 h 46"/>
                  <a:gd name="T14" fmla="*/ 10 w 44"/>
                  <a:gd name="T15" fmla="*/ 22 h 46"/>
                  <a:gd name="T16" fmla="*/ 6 w 44"/>
                  <a:gd name="T17" fmla="*/ 27 h 46"/>
                  <a:gd name="T18" fmla="*/ 3 w 44"/>
                  <a:gd name="T19" fmla="*/ 25 h 46"/>
                  <a:gd name="T20" fmla="*/ 0 w 44"/>
                  <a:gd name="T21" fmla="*/ 28 h 46"/>
                  <a:gd name="T22" fmla="*/ 0 w 44"/>
                  <a:gd name="T23" fmla="*/ 29 h 46"/>
                  <a:gd name="T24" fmla="*/ 4 w 44"/>
                  <a:gd name="T25" fmla="*/ 32 h 46"/>
                  <a:gd name="T26" fmla="*/ 2 w 44"/>
                  <a:gd name="T27" fmla="*/ 34 h 46"/>
                  <a:gd name="T28" fmla="*/ 17 w 44"/>
                  <a:gd name="T29" fmla="*/ 45 h 46"/>
                  <a:gd name="T30" fmla="*/ 19 w 44"/>
                  <a:gd name="T31" fmla="*/ 43 h 46"/>
                  <a:gd name="T32" fmla="*/ 23 w 44"/>
                  <a:gd name="T33" fmla="*/ 45 h 46"/>
                  <a:gd name="T34" fmla="*/ 23 w 44"/>
                  <a:gd name="T35" fmla="*/ 46 h 46"/>
                  <a:gd name="T36" fmla="*/ 26 w 44"/>
                  <a:gd name="T37" fmla="*/ 42 h 46"/>
                  <a:gd name="T38" fmla="*/ 23 w 44"/>
                  <a:gd name="T39" fmla="*/ 40 h 46"/>
                  <a:gd name="T40" fmla="*/ 27 w 44"/>
                  <a:gd name="T41" fmla="*/ 35 h 46"/>
                  <a:gd name="T42" fmla="*/ 31 w 44"/>
                  <a:gd name="T43" fmla="*/ 37 h 46"/>
                  <a:gd name="T44" fmla="*/ 31 w 44"/>
                  <a:gd name="T45" fmla="*/ 37 h 46"/>
                  <a:gd name="T46" fmla="*/ 34 w 44"/>
                  <a:gd name="T47" fmla="*/ 34 h 46"/>
                  <a:gd name="T48" fmla="*/ 31 w 44"/>
                  <a:gd name="T49" fmla="*/ 32 h 46"/>
                  <a:gd name="T50" fmla="*/ 35 w 44"/>
                  <a:gd name="T51" fmla="*/ 27 h 46"/>
                  <a:gd name="T52" fmla="*/ 38 w 44"/>
                  <a:gd name="T53" fmla="*/ 29 h 46"/>
                  <a:gd name="T54" fmla="*/ 44 w 44"/>
                  <a:gd name="T55" fmla="*/ 23 h 46"/>
                  <a:gd name="T56" fmla="*/ 16 w 44"/>
                  <a:gd name="T57"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46">
                    <a:moveTo>
                      <a:pt x="16" y="2"/>
                    </a:moveTo>
                    <a:cubicBezTo>
                      <a:pt x="14" y="5"/>
                      <a:pt x="12" y="10"/>
                      <a:pt x="12" y="10"/>
                    </a:cubicBezTo>
                    <a:cubicBezTo>
                      <a:pt x="15" y="12"/>
                      <a:pt x="15" y="12"/>
                      <a:pt x="15" y="12"/>
                    </a:cubicBezTo>
                    <a:cubicBezTo>
                      <a:pt x="11" y="17"/>
                      <a:pt x="11" y="17"/>
                      <a:pt x="11" y="17"/>
                    </a:cubicBezTo>
                    <a:cubicBezTo>
                      <a:pt x="8" y="15"/>
                      <a:pt x="8" y="15"/>
                      <a:pt x="8" y="15"/>
                    </a:cubicBezTo>
                    <a:cubicBezTo>
                      <a:pt x="6" y="18"/>
                      <a:pt x="6" y="18"/>
                      <a:pt x="6" y="18"/>
                    </a:cubicBezTo>
                    <a:cubicBezTo>
                      <a:pt x="6" y="19"/>
                      <a:pt x="6" y="19"/>
                      <a:pt x="6" y="19"/>
                    </a:cubicBezTo>
                    <a:cubicBezTo>
                      <a:pt x="10" y="22"/>
                      <a:pt x="10" y="22"/>
                      <a:pt x="10" y="22"/>
                    </a:cubicBezTo>
                    <a:cubicBezTo>
                      <a:pt x="6" y="27"/>
                      <a:pt x="6" y="27"/>
                      <a:pt x="6" y="27"/>
                    </a:cubicBezTo>
                    <a:cubicBezTo>
                      <a:pt x="3" y="25"/>
                      <a:pt x="3" y="25"/>
                      <a:pt x="3" y="25"/>
                    </a:cubicBezTo>
                    <a:cubicBezTo>
                      <a:pt x="0" y="28"/>
                      <a:pt x="0" y="28"/>
                      <a:pt x="0" y="28"/>
                    </a:cubicBezTo>
                    <a:cubicBezTo>
                      <a:pt x="0" y="29"/>
                      <a:pt x="0" y="29"/>
                      <a:pt x="0" y="29"/>
                    </a:cubicBezTo>
                    <a:cubicBezTo>
                      <a:pt x="4" y="32"/>
                      <a:pt x="4" y="32"/>
                      <a:pt x="4" y="32"/>
                    </a:cubicBezTo>
                    <a:cubicBezTo>
                      <a:pt x="2" y="34"/>
                      <a:pt x="2" y="34"/>
                      <a:pt x="2" y="34"/>
                    </a:cubicBezTo>
                    <a:cubicBezTo>
                      <a:pt x="17" y="45"/>
                      <a:pt x="17" y="45"/>
                      <a:pt x="17" y="45"/>
                    </a:cubicBezTo>
                    <a:cubicBezTo>
                      <a:pt x="19" y="43"/>
                      <a:pt x="19" y="43"/>
                      <a:pt x="19" y="43"/>
                    </a:cubicBezTo>
                    <a:cubicBezTo>
                      <a:pt x="23" y="45"/>
                      <a:pt x="23" y="45"/>
                      <a:pt x="23" y="45"/>
                    </a:cubicBezTo>
                    <a:cubicBezTo>
                      <a:pt x="23" y="46"/>
                      <a:pt x="23" y="46"/>
                      <a:pt x="23" y="46"/>
                    </a:cubicBezTo>
                    <a:cubicBezTo>
                      <a:pt x="26" y="42"/>
                      <a:pt x="26" y="42"/>
                      <a:pt x="26" y="42"/>
                    </a:cubicBezTo>
                    <a:cubicBezTo>
                      <a:pt x="23" y="40"/>
                      <a:pt x="23" y="40"/>
                      <a:pt x="23" y="40"/>
                    </a:cubicBezTo>
                    <a:cubicBezTo>
                      <a:pt x="27" y="35"/>
                      <a:pt x="27" y="35"/>
                      <a:pt x="27" y="35"/>
                    </a:cubicBezTo>
                    <a:cubicBezTo>
                      <a:pt x="31" y="37"/>
                      <a:pt x="31" y="37"/>
                      <a:pt x="31" y="37"/>
                    </a:cubicBezTo>
                    <a:cubicBezTo>
                      <a:pt x="31" y="37"/>
                      <a:pt x="31" y="37"/>
                      <a:pt x="31" y="37"/>
                    </a:cubicBezTo>
                    <a:cubicBezTo>
                      <a:pt x="34" y="34"/>
                      <a:pt x="34" y="34"/>
                      <a:pt x="34" y="34"/>
                    </a:cubicBezTo>
                    <a:cubicBezTo>
                      <a:pt x="31" y="32"/>
                      <a:pt x="31" y="32"/>
                      <a:pt x="31" y="32"/>
                    </a:cubicBezTo>
                    <a:cubicBezTo>
                      <a:pt x="35" y="27"/>
                      <a:pt x="35" y="27"/>
                      <a:pt x="35" y="27"/>
                    </a:cubicBezTo>
                    <a:cubicBezTo>
                      <a:pt x="38" y="29"/>
                      <a:pt x="38" y="29"/>
                      <a:pt x="38" y="29"/>
                    </a:cubicBezTo>
                    <a:cubicBezTo>
                      <a:pt x="38" y="29"/>
                      <a:pt x="43" y="24"/>
                      <a:pt x="44" y="23"/>
                    </a:cubicBezTo>
                    <a:cubicBezTo>
                      <a:pt x="34" y="18"/>
                      <a:pt x="25" y="0"/>
                      <a:pt x="16" y="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e 29">
              <a:extLst>
                <a:ext uri="{FF2B5EF4-FFF2-40B4-BE49-F238E27FC236}">
                  <a16:creationId xmlns:a16="http://schemas.microsoft.com/office/drawing/2014/main" id="{DC88CFE6-CB69-486B-B43D-2B8AFCB902EF}"/>
                </a:ext>
              </a:extLst>
            </p:cNvPr>
            <p:cNvGrpSpPr/>
            <p:nvPr/>
          </p:nvGrpSpPr>
          <p:grpSpPr>
            <a:xfrm>
              <a:off x="2399506" y="5628329"/>
              <a:ext cx="233175" cy="252512"/>
              <a:chOff x="2290875" y="5652393"/>
              <a:chExt cx="233175" cy="252512"/>
            </a:xfrm>
            <a:solidFill>
              <a:srgbClr val="C8FF16"/>
            </a:solidFill>
          </p:grpSpPr>
          <p:sp>
            <p:nvSpPr>
              <p:cNvPr id="345" name="Freeform 37">
                <a:extLst>
                  <a:ext uri="{FF2B5EF4-FFF2-40B4-BE49-F238E27FC236}">
                    <a16:creationId xmlns:a16="http://schemas.microsoft.com/office/drawing/2014/main" id="{A883CFEC-2E90-4562-BE03-269B99EC8D2F}"/>
                  </a:ext>
                </a:extLst>
              </p:cNvPr>
              <p:cNvSpPr>
                <a:spLocks/>
              </p:cNvSpPr>
              <p:nvPr/>
            </p:nvSpPr>
            <p:spPr bwMode="auto">
              <a:xfrm>
                <a:off x="2290875" y="5713815"/>
                <a:ext cx="208152" cy="191090"/>
              </a:xfrm>
              <a:custGeom>
                <a:avLst/>
                <a:gdLst>
                  <a:gd name="T0" fmla="*/ 86 w 86"/>
                  <a:gd name="T1" fmla="*/ 49 h 78"/>
                  <a:gd name="T2" fmla="*/ 80 w 86"/>
                  <a:gd name="T3" fmla="*/ 25 h 78"/>
                  <a:gd name="T4" fmla="*/ 46 w 86"/>
                  <a:gd name="T5" fmla="*/ 0 h 78"/>
                  <a:gd name="T6" fmla="*/ 21 w 86"/>
                  <a:gd name="T7" fmla="*/ 1 h 78"/>
                  <a:gd name="T8" fmla="*/ 0 w 86"/>
                  <a:gd name="T9" fmla="*/ 29 h 78"/>
                  <a:gd name="T10" fmla="*/ 65 w 86"/>
                  <a:gd name="T11" fmla="*/ 78 h 78"/>
                  <a:gd name="T12" fmla="*/ 86 w 86"/>
                  <a:gd name="T13" fmla="*/ 49 h 78"/>
                </a:gdLst>
                <a:ahLst/>
                <a:cxnLst>
                  <a:cxn ang="0">
                    <a:pos x="T0" y="T1"/>
                  </a:cxn>
                  <a:cxn ang="0">
                    <a:pos x="T2" y="T3"/>
                  </a:cxn>
                  <a:cxn ang="0">
                    <a:pos x="T4" y="T5"/>
                  </a:cxn>
                  <a:cxn ang="0">
                    <a:pos x="T6" y="T7"/>
                  </a:cxn>
                  <a:cxn ang="0">
                    <a:pos x="T8" y="T9"/>
                  </a:cxn>
                  <a:cxn ang="0">
                    <a:pos x="T10" y="T11"/>
                  </a:cxn>
                  <a:cxn ang="0">
                    <a:pos x="T12" y="T13"/>
                  </a:cxn>
                </a:cxnLst>
                <a:rect l="0" t="0" r="r" b="b"/>
                <a:pathLst>
                  <a:path w="86" h="78">
                    <a:moveTo>
                      <a:pt x="86" y="49"/>
                    </a:moveTo>
                    <a:cubicBezTo>
                      <a:pt x="86" y="49"/>
                      <a:pt x="82" y="33"/>
                      <a:pt x="80" y="25"/>
                    </a:cubicBezTo>
                    <a:cubicBezTo>
                      <a:pt x="67" y="22"/>
                      <a:pt x="56" y="3"/>
                      <a:pt x="46" y="0"/>
                    </a:cubicBezTo>
                    <a:cubicBezTo>
                      <a:pt x="39" y="0"/>
                      <a:pt x="21" y="1"/>
                      <a:pt x="21" y="1"/>
                    </a:cubicBezTo>
                    <a:cubicBezTo>
                      <a:pt x="0" y="29"/>
                      <a:pt x="0" y="29"/>
                      <a:pt x="0" y="29"/>
                    </a:cubicBezTo>
                    <a:cubicBezTo>
                      <a:pt x="65" y="78"/>
                      <a:pt x="65" y="78"/>
                      <a:pt x="65" y="78"/>
                    </a:cubicBezTo>
                    <a:lnTo>
                      <a:pt x="86" y="49"/>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38">
                <a:extLst>
                  <a:ext uri="{FF2B5EF4-FFF2-40B4-BE49-F238E27FC236}">
                    <a16:creationId xmlns:a16="http://schemas.microsoft.com/office/drawing/2014/main" id="{77EFDC5D-46A0-4F42-970F-9B024CC00483}"/>
                  </a:ext>
                </a:extLst>
              </p:cNvPr>
              <p:cNvSpPr>
                <a:spLocks/>
              </p:cNvSpPr>
              <p:nvPr/>
            </p:nvSpPr>
            <p:spPr bwMode="auto">
              <a:xfrm>
                <a:off x="2417130" y="5652393"/>
                <a:ext cx="106920" cy="112607"/>
              </a:xfrm>
              <a:custGeom>
                <a:avLst/>
                <a:gdLst>
                  <a:gd name="T0" fmla="*/ 28 w 44"/>
                  <a:gd name="T1" fmla="*/ 44 h 46"/>
                  <a:gd name="T2" fmla="*/ 32 w 44"/>
                  <a:gd name="T3" fmla="*/ 36 h 46"/>
                  <a:gd name="T4" fmla="*/ 29 w 44"/>
                  <a:gd name="T5" fmla="*/ 34 h 46"/>
                  <a:gd name="T6" fmla="*/ 33 w 44"/>
                  <a:gd name="T7" fmla="*/ 29 h 46"/>
                  <a:gd name="T8" fmla="*/ 36 w 44"/>
                  <a:gd name="T9" fmla="*/ 31 h 46"/>
                  <a:gd name="T10" fmla="*/ 37 w 44"/>
                  <a:gd name="T11" fmla="*/ 28 h 46"/>
                  <a:gd name="T12" fmla="*/ 38 w 44"/>
                  <a:gd name="T13" fmla="*/ 27 h 46"/>
                  <a:gd name="T14" fmla="*/ 34 w 44"/>
                  <a:gd name="T15" fmla="*/ 24 h 46"/>
                  <a:gd name="T16" fmla="*/ 38 w 44"/>
                  <a:gd name="T17" fmla="*/ 19 h 46"/>
                  <a:gd name="T18" fmla="*/ 41 w 44"/>
                  <a:gd name="T19" fmla="*/ 21 h 46"/>
                  <a:gd name="T20" fmla="*/ 44 w 44"/>
                  <a:gd name="T21" fmla="*/ 17 h 46"/>
                  <a:gd name="T22" fmla="*/ 43 w 44"/>
                  <a:gd name="T23" fmla="*/ 17 h 46"/>
                  <a:gd name="T24" fmla="*/ 39 w 44"/>
                  <a:gd name="T25" fmla="*/ 14 h 46"/>
                  <a:gd name="T26" fmla="*/ 42 w 44"/>
                  <a:gd name="T27" fmla="*/ 12 h 46"/>
                  <a:gd name="T28" fmla="*/ 27 w 44"/>
                  <a:gd name="T29" fmla="*/ 1 h 46"/>
                  <a:gd name="T30" fmla="*/ 25 w 44"/>
                  <a:gd name="T31" fmla="*/ 3 h 46"/>
                  <a:gd name="T32" fmla="*/ 21 w 44"/>
                  <a:gd name="T33" fmla="*/ 1 h 46"/>
                  <a:gd name="T34" fmla="*/ 20 w 44"/>
                  <a:gd name="T35" fmla="*/ 0 h 46"/>
                  <a:gd name="T36" fmla="*/ 18 w 44"/>
                  <a:gd name="T37" fmla="*/ 4 h 46"/>
                  <a:gd name="T38" fmla="*/ 21 w 44"/>
                  <a:gd name="T39" fmla="*/ 6 h 46"/>
                  <a:gd name="T40" fmla="*/ 17 w 44"/>
                  <a:gd name="T41" fmla="*/ 11 h 46"/>
                  <a:gd name="T42" fmla="*/ 13 w 44"/>
                  <a:gd name="T43" fmla="*/ 9 h 46"/>
                  <a:gd name="T44" fmla="*/ 13 w 44"/>
                  <a:gd name="T45" fmla="*/ 9 h 46"/>
                  <a:gd name="T46" fmla="*/ 10 w 44"/>
                  <a:gd name="T47" fmla="*/ 12 h 46"/>
                  <a:gd name="T48" fmla="*/ 13 w 44"/>
                  <a:gd name="T49" fmla="*/ 14 h 46"/>
                  <a:gd name="T50" fmla="*/ 9 w 44"/>
                  <a:gd name="T51" fmla="*/ 19 h 46"/>
                  <a:gd name="T52" fmla="*/ 6 w 44"/>
                  <a:gd name="T53" fmla="*/ 17 h 46"/>
                  <a:gd name="T54" fmla="*/ 0 w 44"/>
                  <a:gd name="T55" fmla="*/ 23 h 46"/>
                  <a:gd name="T56" fmla="*/ 28 w 44"/>
                  <a:gd name="T57"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46">
                    <a:moveTo>
                      <a:pt x="28" y="44"/>
                    </a:moveTo>
                    <a:cubicBezTo>
                      <a:pt x="29" y="41"/>
                      <a:pt x="32" y="36"/>
                      <a:pt x="32" y="36"/>
                    </a:cubicBezTo>
                    <a:cubicBezTo>
                      <a:pt x="29" y="34"/>
                      <a:pt x="29" y="34"/>
                      <a:pt x="29" y="34"/>
                    </a:cubicBezTo>
                    <a:cubicBezTo>
                      <a:pt x="33" y="29"/>
                      <a:pt x="33" y="29"/>
                      <a:pt x="33" y="29"/>
                    </a:cubicBezTo>
                    <a:cubicBezTo>
                      <a:pt x="36" y="31"/>
                      <a:pt x="36" y="31"/>
                      <a:pt x="36" y="31"/>
                    </a:cubicBezTo>
                    <a:cubicBezTo>
                      <a:pt x="37" y="28"/>
                      <a:pt x="37" y="28"/>
                      <a:pt x="37" y="28"/>
                    </a:cubicBezTo>
                    <a:cubicBezTo>
                      <a:pt x="38" y="27"/>
                      <a:pt x="38" y="27"/>
                      <a:pt x="38" y="27"/>
                    </a:cubicBezTo>
                    <a:cubicBezTo>
                      <a:pt x="34" y="24"/>
                      <a:pt x="34" y="24"/>
                      <a:pt x="34" y="24"/>
                    </a:cubicBezTo>
                    <a:cubicBezTo>
                      <a:pt x="38" y="19"/>
                      <a:pt x="38" y="19"/>
                      <a:pt x="38" y="19"/>
                    </a:cubicBezTo>
                    <a:cubicBezTo>
                      <a:pt x="41" y="21"/>
                      <a:pt x="41" y="21"/>
                      <a:pt x="41" y="21"/>
                    </a:cubicBezTo>
                    <a:cubicBezTo>
                      <a:pt x="44" y="17"/>
                      <a:pt x="44" y="17"/>
                      <a:pt x="44" y="17"/>
                    </a:cubicBezTo>
                    <a:cubicBezTo>
                      <a:pt x="43" y="17"/>
                      <a:pt x="43" y="17"/>
                      <a:pt x="43" y="17"/>
                    </a:cubicBezTo>
                    <a:cubicBezTo>
                      <a:pt x="39" y="14"/>
                      <a:pt x="39" y="14"/>
                      <a:pt x="39" y="14"/>
                    </a:cubicBezTo>
                    <a:cubicBezTo>
                      <a:pt x="42" y="12"/>
                      <a:pt x="42" y="12"/>
                      <a:pt x="42" y="12"/>
                    </a:cubicBezTo>
                    <a:cubicBezTo>
                      <a:pt x="27" y="1"/>
                      <a:pt x="27" y="1"/>
                      <a:pt x="27" y="1"/>
                    </a:cubicBezTo>
                    <a:cubicBezTo>
                      <a:pt x="25" y="3"/>
                      <a:pt x="25" y="3"/>
                      <a:pt x="25" y="3"/>
                    </a:cubicBezTo>
                    <a:cubicBezTo>
                      <a:pt x="21" y="1"/>
                      <a:pt x="21" y="1"/>
                      <a:pt x="21" y="1"/>
                    </a:cubicBezTo>
                    <a:cubicBezTo>
                      <a:pt x="20" y="0"/>
                      <a:pt x="20" y="0"/>
                      <a:pt x="20" y="0"/>
                    </a:cubicBezTo>
                    <a:cubicBezTo>
                      <a:pt x="18" y="4"/>
                      <a:pt x="18" y="4"/>
                      <a:pt x="18" y="4"/>
                    </a:cubicBezTo>
                    <a:cubicBezTo>
                      <a:pt x="21" y="6"/>
                      <a:pt x="21" y="6"/>
                      <a:pt x="21" y="6"/>
                    </a:cubicBezTo>
                    <a:cubicBezTo>
                      <a:pt x="17" y="11"/>
                      <a:pt x="17" y="11"/>
                      <a:pt x="17" y="11"/>
                    </a:cubicBezTo>
                    <a:cubicBezTo>
                      <a:pt x="13" y="9"/>
                      <a:pt x="13" y="9"/>
                      <a:pt x="13" y="9"/>
                    </a:cubicBezTo>
                    <a:cubicBezTo>
                      <a:pt x="13" y="9"/>
                      <a:pt x="13" y="9"/>
                      <a:pt x="13" y="9"/>
                    </a:cubicBezTo>
                    <a:cubicBezTo>
                      <a:pt x="10" y="12"/>
                      <a:pt x="10" y="12"/>
                      <a:pt x="10" y="12"/>
                    </a:cubicBezTo>
                    <a:cubicBezTo>
                      <a:pt x="13" y="14"/>
                      <a:pt x="13" y="14"/>
                      <a:pt x="13" y="14"/>
                    </a:cubicBezTo>
                    <a:cubicBezTo>
                      <a:pt x="9" y="19"/>
                      <a:pt x="9" y="19"/>
                      <a:pt x="9" y="19"/>
                    </a:cubicBezTo>
                    <a:cubicBezTo>
                      <a:pt x="6" y="17"/>
                      <a:pt x="6" y="17"/>
                      <a:pt x="6" y="17"/>
                    </a:cubicBezTo>
                    <a:cubicBezTo>
                      <a:pt x="6" y="17"/>
                      <a:pt x="1" y="22"/>
                      <a:pt x="0" y="23"/>
                    </a:cubicBezTo>
                    <a:cubicBezTo>
                      <a:pt x="10" y="28"/>
                      <a:pt x="19" y="46"/>
                      <a:pt x="28" y="4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0" name="Groupe 359">
            <a:extLst>
              <a:ext uri="{FF2B5EF4-FFF2-40B4-BE49-F238E27FC236}">
                <a16:creationId xmlns:a16="http://schemas.microsoft.com/office/drawing/2014/main" id="{BA811CB4-98C3-4472-826B-8FC3237DF29E}"/>
              </a:ext>
              <a:ext uri="{C183D7F6-B498-43B3-948B-1728B52AA6E4}">
                <adec:decorative xmlns:adec="http://schemas.microsoft.com/office/drawing/2017/decorative" val="1"/>
              </a:ext>
            </a:extLst>
          </p:cNvPr>
          <p:cNvGrpSpPr>
            <a:grpSpLocks noChangeAspect="1"/>
          </p:cNvGrpSpPr>
          <p:nvPr/>
        </p:nvGrpSpPr>
        <p:grpSpPr>
          <a:xfrm>
            <a:off x="1849768" y="5099656"/>
            <a:ext cx="677481" cy="633600"/>
            <a:chOff x="1244600" y="3930650"/>
            <a:chExt cx="1004888" cy="939800"/>
          </a:xfrm>
        </p:grpSpPr>
        <p:sp>
          <p:nvSpPr>
            <p:cNvPr id="361" name="Freeform 148">
              <a:extLst>
                <a:ext uri="{FF2B5EF4-FFF2-40B4-BE49-F238E27FC236}">
                  <a16:creationId xmlns:a16="http://schemas.microsoft.com/office/drawing/2014/main" id="{B1EA5C7B-4C5F-4A87-ABBE-2BE01829670A}"/>
                </a:ext>
              </a:extLst>
            </p:cNvPr>
            <p:cNvSpPr>
              <a:spLocks/>
            </p:cNvSpPr>
            <p:nvPr/>
          </p:nvSpPr>
          <p:spPr bwMode="auto">
            <a:xfrm>
              <a:off x="1244600" y="3930650"/>
              <a:ext cx="1004888" cy="939800"/>
            </a:xfrm>
            <a:custGeom>
              <a:avLst/>
              <a:gdLst>
                <a:gd name="T0" fmla="*/ 43 w 297"/>
                <a:gd name="T1" fmla="*/ 217 h 277"/>
                <a:gd name="T2" fmla="*/ 71 w 297"/>
                <a:gd name="T3" fmla="*/ 41 h 277"/>
                <a:gd name="T4" fmla="*/ 254 w 297"/>
                <a:gd name="T5" fmla="*/ 67 h 277"/>
                <a:gd name="T6" fmla="*/ 221 w 297"/>
                <a:gd name="T7" fmla="*/ 236 h 277"/>
                <a:gd name="T8" fmla="*/ 43 w 297"/>
                <a:gd name="T9" fmla="*/ 217 h 277"/>
              </a:gdLst>
              <a:ahLst/>
              <a:cxnLst>
                <a:cxn ang="0">
                  <a:pos x="T0" y="T1"/>
                </a:cxn>
                <a:cxn ang="0">
                  <a:pos x="T2" y="T3"/>
                </a:cxn>
                <a:cxn ang="0">
                  <a:pos x="T4" y="T5"/>
                </a:cxn>
                <a:cxn ang="0">
                  <a:pos x="T6" y="T7"/>
                </a:cxn>
                <a:cxn ang="0">
                  <a:pos x="T8" y="T9"/>
                </a:cxn>
              </a:cxnLst>
              <a:rect l="0" t="0" r="r" b="b"/>
              <a:pathLst>
                <a:path w="297" h="277">
                  <a:moveTo>
                    <a:pt x="43" y="217"/>
                  </a:moveTo>
                  <a:cubicBezTo>
                    <a:pt x="0" y="161"/>
                    <a:pt x="13" y="83"/>
                    <a:pt x="71" y="41"/>
                  </a:cubicBezTo>
                  <a:cubicBezTo>
                    <a:pt x="130" y="0"/>
                    <a:pt x="212" y="12"/>
                    <a:pt x="254" y="67"/>
                  </a:cubicBezTo>
                  <a:cubicBezTo>
                    <a:pt x="297" y="123"/>
                    <a:pt x="279" y="195"/>
                    <a:pt x="221" y="236"/>
                  </a:cubicBezTo>
                  <a:cubicBezTo>
                    <a:pt x="163" y="277"/>
                    <a:pt x="86" y="272"/>
                    <a:pt x="43" y="217"/>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62" name="Groupe 361">
              <a:extLst>
                <a:ext uri="{FF2B5EF4-FFF2-40B4-BE49-F238E27FC236}">
                  <a16:creationId xmlns:a16="http://schemas.microsoft.com/office/drawing/2014/main" id="{B4F2BBB2-3C00-4D2F-ABDC-9694994CD81A}"/>
                </a:ext>
              </a:extLst>
            </p:cNvPr>
            <p:cNvGrpSpPr/>
            <p:nvPr/>
          </p:nvGrpSpPr>
          <p:grpSpPr>
            <a:xfrm>
              <a:off x="1493838" y="4171950"/>
              <a:ext cx="504825" cy="501651"/>
              <a:chOff x="1493838" y="4171950"/>
              <a:chExt cx="504825" cy="501651"/>
            </a:xfrm>
          </p:grpSpPr>
          <p:sp>
            <p:nvSpPr>
              <p:cNvPr id="397" name="Freeform 149">
                <a:extLst>
                  <a:ext uri="{FF2B5EF4-FFF2-40B4-BE49-F238E27FC236}">
                    <a16:creationId xmlns:a16="http://schemas.microsoft.com/office/drawing/2014/main" id="{C0599D4C-3C68-4919-9380-2D19E8FE89A7}"/>
                  </a:ext>
                </a:extLst>
              </p:cNvPr>
              <p:cNvSpPr>
                <a:spLocks/>
              </p:cNvSpPr>
              <p:nvPr/>
            </p:nvSpPr>
            <p:spPr bwMode="auto">
              <a:xfrm>
                <a:off x="1625600" y="4171950"/>
                <a:ext cx="34925" cy="115888"/>
              </a:xfrm>
              <a:custGeom>
                <a:avLst/>
                <a:gdLst>
                  <a:gd name="T0" fmla="*/ 5 w 10"/>
                  <a:gd name="T1" fmla="*/ 34 h 34"/>
                  <a:gd name="T2" fmla="*/ 5 w 10"/>
                  <a:gd name="T3" fmla="*/ 34 h 34"/>
                  <a:gd name="T4" fmla="*/ 0 w 10"/>
                  <a:gd name="T5" fmla="*/ 29 h 34"/>
                  <a:gd name="T6" fmla="*/ 0 w 10"/>
                  <a:gd name="T7" fmla="*/ 5 h 34"/>
                  <a:gd name="T8" fmla="*/ 5 w 10"/>
                  <a:gd name="T9" fmla="*/ 0 h 34"/>
                  <a:gd name="T10" fmla="*/ 5 w 10"/>
                  <a:gd name="T11" fmla="*/ 0 h 34"/>
                  <a:gd name="T12" fmla="*/ 10 w 10"/>
                  <a:gd name="T13" fmla="*/ 5 h 34"/>
                  <a:gd name="T14" fmla="*/ 10 w 10"/>
                  <a:gd name="T15" fmla="*/ 29 h 34"/>
                  <a:gd name="T16" fmla="*/ 5 w 10"/>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4">
                    <a:moveTo>
                      <a:pt x="5" y="34"/>
                    </a:moveTo>
                    <a:cubicBezTo>
                      <a:pt x="5" y="34"/>
                      <a:pt x="5" y="34"/>
                      <a:pt x="5" y="34"/>
                    </a:cubicBezTo>
                    <a:cubicBezTo>
                      <a:pt x="2" y="34"/>
                      <a:pt x="0" y="31"/>
                      <a:pt x="0" y="29"/>
                    </a:cubicBezTo>
                    <a:cubicBezTo>
                      <a:pt x="0" y="5"/>
                      <a:pt x="0" y="5"/>
                      <a:pt x="0" y="5"/>
                    </a:cubicBezTo>
                    <a:cubicBezTo>
                      <a:pt x="0" y="2"/>
                      <a:pt x="2" y="0"/>
                      <a:pt x="5" y="0"/>
                    </a:cubicBezTo>
                    <a:cubicBezTo>
                      <a:pt x="5" y="0"/>
                      <a:pt x="5" y="0"/>
                      <a:pt x="5" y="0"/>
                    </a:cubicBezTo>
                    <a:cubicBezTo>
                      <a:pt x="8" y="0"/>
                      <a:pt x="10" y="2"/>
                      <a:pt x="10" y="5"/>
                    </a:cubicBezTo>
                    <a:cubicBezTo>
                      <a:pt x="10" y="29"/>
                      <a:pt x="10" y="29"/>
                      <a:pt x="10" y="29"/>
                    </a:cubicBezTo>
                    <a:cubicBezTo>
                      <a:pt x="10" y="31"/>
                      <a:pt x="8" y="34"/>
                      <a:pt x="5" y="3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50">
                <a:extLst>
                  <a:ext uri="{FF2B5EF4-FFF2-40B4-BE49-F238E27FC236}">
                    <a16:creationId xmlns:a16="http://schemas.microsoft.com/office/drawing/2014/main" id="{6BD3A49E-6C3D-4864-B69F-7299B47404A1}"/>
                  </a:ext>
                </a:extLst>
              </p:cNvPr>
              <p:cNvSpPr>
                <a:spLocks/>
              </p:cNvSpPr>
              <p:nvPr/>
            </p:nvSpPr>
            <p:spPr bwMode="auto">
              <a:xfrm>
                <a:off x="1751013" y="4171950"/>
                <a:ext cx="34925" cy="115888"/>
              </a:xfrm>
              <a:custGeom>
                <a:avLst/>
                <a:gdLst>
                  <a:gd name="T0" fmla="*/ 6 w 10"/>
                  <a:gd name="T1" fmla="*/ 34 h 34"/>
                  <a:gd name="T2" fmla="*/ 5 w 10"/>
                  <a:gd name="T3" fmla="*/ 34 h 34"/>
                  <a:gd name="T4" fmla="*/ 0 w 10"/>
                  <a:gd name="T5" fmla="*/ 29 h 34"/>
                  <a:gd name="T6" fmla="*/ 0 w 10"/>
                  <a:gd name="T7" fmla="*/ 5 h 34"/>
                  <a:gd name="T8" fmla="*/ 5 w 10"/>
                  <a:gd name="T9" fmla="*/ 0 h 34"/>
                  <a:gd name="T10" fmla="*/ 6 w 10"/>
                  <a:gd name="T11" fmla="*/ 0 h 34"/>
                  <a:gd name="T12" fmla="*/ 10 w 10"/>
                  <a:gd name="T13" fmla="*/ 5 h 34"/>
                  <a:gd name="T14" fmla="*/ 10 w 10"/>
                  <a:gd name="T15" fmla="*/ 29 h 34"/>
                  <a:gd name="T16" fmla="*/ 6 w 10"/>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4">
                    <a:moveTo>
                      <a:pt x="6" y="34"/>
                    </a:moveTo>
                    <a:cubicBezTo>
                      <a:pt x="5" y="34"/>
                      <a:pt x="5" y="34"/>
                      <a:pt x="5" y="34"/>
                    </a:cubicBezTo>
                    <a:cubicBezTo>
                      <a:pt x="3" y="34"/>
                      <a:pt x="0" y="31"/>
                      <a:pt x="0" y="29"/>
                    </a:cubicBezTo>
                    <a:cubicBezTo>
                      <a:pt x="0" y="5"/>
                      <a:pt x="0" y="5"/>
                      <a:pt x="0" y="5"/>
                    </a:cubicBezTo>
                    <a:cubicBezTo>
                      <a:pt x="0" y="2"/>
                      <a:pt x="3" y="0"/>
                      <a:pt x="5" y="0"/>
                    </a:cubicBezTo>
                    <a:cubicBezTo>
                      <a:pt x="6" y="0"/>
                      <a:pt x="6" y="0"/>
                      <a:pt x="6" y="0"/>
                    </a:cubicBezTo>
                    <a:cubicBezTo>
                      <a:pt x="8" y="0"/>
                      <a:pt x="10" y="2"/>
                      <a:pt x="10" y="5"/>
                    </a:cubicBezTo>
                    <a:cubicBezTo>
                      <a:pt x="10" y="29"/>
                      <a:pt x="10" y="29"/>
                      <a:pt x="10" y="29"/>
                    </a:cubicBezTo>
                    <a:cubicBezTo>
                      <a:pt x="10" y="31"/>
                      <a:pt x="8" y="34"/>
                      <a:pt x="6" y="3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151">
                <a:extLst>
                  <a:ext uri="{FF2B5EF4-FFF2-40B4-BE49-F238E27FC236}">
                    <a16:creationId xmlns:a16="http://schemas.microsoft.com/office/drawing/2014/main" id="{0C880BE4-4EFA-4502-8724-82CDB01261EE}"/>
                  </a:ext>
                </a:extLst>
              </p:cNvPr>
              <p:cNvSpPr>
                <a:spLocks/>
              </p:cNvSpPr>
              <p:nvPr/>
            </p:nvSpPr>
            <p:spPr bwMode="auto">
              <a:xfrm>
                <a:off x="1589088" y="4264025"/>
                <a:ext cx="236538" cy="26988"/>
              </a:xfrm>
              <a:custGeom>
                <a:avLst/>
                <a:gdLst>
                  <a:gd name="T0" fmla="*/ 66 w 70"/>
                  <a:gd name="T1" fmla="*/ 8 h 8"/>
                  <a:gd name="T2" fmla="*/ 4 w 70"/>
                  <a:gd name="T3" fmla="*/ 8 h 8"/>
                  <a:gd name="T4" fmla="*/ 0 w 70"/>
                  <a:gd name="T5" fmla="*/ 4 h 8"/>
                  <a:gd name="T6" fmla="*/ 0 w 70"/>
                  <a:gd name="T7" fmla="*/ 4 h 8"/>
                  <a:gd name="T8" fmla="*/ 4 w 70"/>
                  <a:gd name="T9" fmla="*/ 0 h 8"/>
                  <a:gd name="T10" fmla="*/ 66 w 70"/>
                  <a:gd name="T11" fmla="*/ 0 h 8"/>
                  <a:gd name="T12" fmla="*/ 70 w 70"/>
                  <a:gd name="T13" fmla="*/ 4 h 8"/>
                  <a:gd name="T14" fmla="*/ 70 w 70"/>
                  <a:gd name="T15" fmla="*/ 4 h 8"/>
                  <a:gd name="T16" fmla="*/ 66 w 70"/>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8">
                    <a:moveTo>
                      <a:pt x="66" y="8"/>
                    </a:moveTo>
                    <a:cubicBezTo>
                      <a:pt x="4" y="8"/>
                      <a:pt x="4" y="8"/>
                      <a:pt x="4" y="8"/>
                    </a:cubicBezTo>
                    <a:cubicBezTo>
                      <a:pt x="2" y="8"/>
                      <a:pt x="0" y="6"/>
                      <a:pt x="0" y="4"/>
                    </a:cubicBezTo>
                    <a:cubicBezTo>
                      <a:pt x="0" y="4"/>
                      <a:pt x="0" y="4"/>
                      <a:pt x="0" y="4"/>
                    </a:cubicBezTo>
                    <a:cubicBezTo>
                      <a:pt x="0" y="1"/>
                      <a:pt x="2" y="0"/>
                      <a:pt x="4" y="0"/>
                    </a:cubicBezTo>
                    <a:cubicBezTo>
                      <a:pt x="66" y="0"/>
                      <a:pt x="66" y="0"/>
                      <a:pt x="66" y="0"/>
                    </a:cubicBezTo>
                    <a:cubicBezTo>
                      <a:pt x="68" y="0"/>
                      <a:pt x="70" y="1"/>
                      <a:pt x="70" y="4"/>
                    </a:cubicBezTo>
                    <a:cubicBezTo>
                      <a:pt x="70" y="4"/>
                      <a:pt x="70" y="4"/>
                      <a:pt x="70" y="4"/>
                    </a:cubicBezTo>
                    <a:cubicBezTo>
                      <a:pt x="70" y="6"/>
                      <a:pt x="68" y="8"/>
                      <a:pt x="66" y="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152">
                <a:extLst>
                  <a:ext uri="{FF2B5EF4-FFF2-40B4-BE49-F238E27FC236}">
                    <a16:creationId xmlns:a16="http://schemas.microsoft.com/office/drawing/2014/main" id="{17E6499F-00EE-43FF-A048-413C83172B28}"/>
                  </a:ext>
                </a:extLst>
              </p:cNvPr>
              <p:cNvSpPr>
                <a:spLocks/>
              </p:cNvSpPr>
              <p:nvPr/>
            </p:nvSpPr>
            <p:spPr bwMode="auto">
              <a:xfrm>
                <a:off x="1606550" y="4279900"/>
                <a:ext cx="209550" cy="112713"/>
              </a:xfrm>
              <a:custGeom>
                <a:avLst/>
                <a:gdLst>
                  <a:gd name="T0" fmla="*/ 132 w 132"/>
                  <a:gd name="T1" fmla="*/ 41 h 71"/>
                  <a:gd name="T2" fmla="*/ 96 w 132"/>
                  <a:gd name="T3" fmla="*/ 71 h 71"/>
                  <a:gd name="T4" fmla="*/ 32 w 132"/>
                  <a:gd name="T5" fmla="*/ 71 h 71"/>
                  <a:gd name="T6" fmla="*/ 0 w 132"/>
                  <a:gd name="T7" fmla="*/ 41 h 71"/>
                  <a:gd name="T8" fmla="*/ 0 w 132"/>
                  <a:gd name="T9" fmla="*/ 0 h 71"/>
                  <a:gd name="T10" fmla="*/ 132 w 132"/>
                  <a:gd name="T11" fmla="*/ 0 h 71"/>
                  <a:gd name="T12" fmla="*/ 132 w 132"/>
                  <a:gd name="T13" fmla="*/ 41 h 71"/>
                </a:gdLst>
                <a:ahLst/>
                <a:cxnLst>
                  <a:cxn ang="0">
                    <a:pos x="T0" y="T1"/>
                  </a:cxn>
                  <a:cxn ang="0">
                    <a:pos x="T2" y="T3"/>
                  </a:cxn>
                  <a:cxn ang="0">
                    <a:pos x="T4" y="T5"/>
                  </a:cxn>
                  <a:cxn ang="0">
                    <a:pos x="T6" y="T7"/>
                  </a:cxn>
                  <a:cxn ang="0">
                    <a:pos x="T8" y="T9"/>
                  </a:cxn>
                  <a:cxn ang="0">
                    <a:pos x="T10" y="T11"/>
                  </a:cxn>
                  <a:cxn ang="0">
                    <a:pos x="T12" y="T13"/>
                  </a:cxn>
                </a:cxnLst>
                <a:rect l="0" t="0" r="r" b="b"/>
                <a:pathLst>
                  <a:path w="132" h="71">
                    <a:moveTo>
                      <a:pt x="132" y="41"/>
                    </a:moveTo>
                    <a:lnTo>
                      <a:pt x="96" y="71"/>
                    </a:lnTo>
                    <a:lnTo>
                      <a:pt x="32" y="71"/>
                    </a:lnTo>
                    <a:lnTo>
                      <a:pt x="0" y="41"/>
                    </a:lnTo>
                    <a:lnTo>
                      <a:pt x="0" y="0"/>
                    </a:lnTo>
                    <a:lnTo>
                      <a:pt x="132" y="0"/>
                    </a:lnTo>
                    <a:lnTo>
                      <a:pt x="132"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Rectangle 153">
                <a:extLst>
                  <a:ext uri="{FF2B5EF4-FFF2-40B4-BE49-F238E27FC236}">
                    <a16:creationId xmlns:a16="http://schemas.microsoft.com/office/drawing/2014/main" id="{FA76DE78-190D-48FA-8638-D0034933AC8D}"/>
                  </a:ext>
                </a:extLst>
              </p:cNvPr>
              <p:cNvSpPr>
                <a:spLocks noChangeArrowheads="1"/>
              </p:cNvSpPr>
              <p:nvPr/>
            </p:nvSpPr>
            <p:spPr bwMode="auto">
              <a:xfrm>
                <a:off x="1654175" y="4392613"/>
                <a:ext cx="107950" cy="269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154">
                <a:extLst>
                  <a:ext uri="{FF2B5EF4-FFF2-40B4-BE49-F238E27FC236}">
                    <a16:creationId xmlns:a16="http://schemas.microsoft.com/office/drawing/2014/main" id="{B4D1ED85-5395-408B-B374-F5A8174FA1E5}"/>
                  </a:ext>
                </a:extLst>
              </p:cNvPr>
              <p:cNvSpPr>
                <a:spLocks/>
              </p:cNvSpPr>
              <p:nvPr/>
            </p:nvSpPr>
            <p:spPr bwMode="auto">
              <a:xfrm>
                <a:off x="1670050" y="4357688"/>
                <a:ext cx="88900" cy="315913"/>
              </a:xfrm>
              <a:custGeom>
                <a:avLst/>
                <a:gdLst>
                  <a:gd name="T0" fmla="*/ 23 w 26"/>
                  <a:gd name="T1" fmla="*/ 93 h 93"/>
                  <a:gd name="T2" fmla="*/ 13 w 26"/>
                  <a:gd name="T3" fmla="*/ 92 h 93"/>
                  <a:gd name="T4" fmla="*/ 10 w 26"/>
                  <a:gd name="T5" fmla="*/ 62 h 93"/>
                  <a:gd name="T6" fmla="*/ 5 w 26"/>
                  <a:gd name="T7" fmla="*/ 40 h 93"/>
                  <a:gd name="T8" fmla="*/ 12 w 26"/>
                  <a:gd name="T9" fmla="*/ 0 h 93"/>
                  <a:gd name="T10" fmla="*/ 19 w 26"/>
                  <a:gd name="T11" fmla="*/ 8 h 93"/>
                  <a:gd name="T12" fmla="*/ 19 w 26"/>
                  <a:gd name="T13" fmla="*/ 8 h 93"/>
                  <a:gd name="T14" fmla="*/ 15 w 26"/>
                  <a:gd name="T15" fmla="*/ 38 h 93"/>
                  <a:gd name="T16" fmla="*/ 20 w 26"/>
                  <a:gd name="T17" fmla="*/ 59 h 93"/>
                  <a:gd name="T18" fmla="*/ 23 w 26"/>
                  <a:gd name="T1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3">
                    <a:moveTo>
                      <a:pt x="23" y="93"/>
                    </a:moveTo>
                    <a:cubicBezTo>
                      <a:pt x="13" y="92"/>
                      <a:pt x="13" y="92"/>
                      <a:pt x="13" y="92"/>
                    </a:cubicBezTo>
                    <a:cubicBezTo>
                      <a:pt x="15" y="76"/>
                      <a:pt x="13" y="71"/>
                      <a:pt x="10" y="62"/>
                    </a:cubicBezTo>
                    <a:cubicBezTo>
                      <a:pt x="9" y="57"/>
                      <a:pt x="6" y="50"/>
                      <a:pt x="5" y="40"/>
                    </a:cubicBezTo>
                    <a:cubicBezTo>
                      <a:pt x="0" y="11"/>
                      <a:pt x="11" y="1"/>
                      <a:pt x="12" y="0"/>
                    </a:cubicBezTo>
                    <a:cubicBezTo>
                      <a:pt x="19" y="8"/>
                      <a:pt x="19" y="8"/>
                      <a:pt x="19" y="8"/>
                    </a:cubicBezTo>
                    <a:cubicBezTo>
                      <a:pt x="19" y="8"/>
                      <a:pt x="19" y="8"/>
                      <a:pt x="19" y="8"/>
                    </a:cubicBezTo>
                    <a:cubicBezTo>
                      <a:pt x="19" y="8"/>
                      <a:pt x="11" y="15"/>
                      <a:pt x="15" y="38"/>
                    </a:cubicBezTo>
                    <a:cubicBezTo>
                      <a:pt x="16" y="48"/>
                      <a:pt x="18" y="54"/>
                      <a:pt x="20" y="59"/>
                    </a:cubicBezTo>
                    <a:cubicBezTo>
                      <a:pt x="23" y="68"/>
                      <a:pt x="26" y="75"/>
                      <a:pt x="23" y="9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155">
                <a:extLst>
                  <a:ext uri="{FF2B5EF4-FFF2-40B4-BE49-F238E27FC236}">
                    <a16:creationId xmlns:a16="http://schemas.microsoft.com/office/drawing/2014/main" id="{6AE8F026-66F0-4BA0-85E9-6358B023AF7A}"/>
                  </a:ext>
                </a:extLst>
              </p:cNvPr>
              <p:cNvSpPr>
                <a:spLocks/>
              </p:cNvSpPr>
              <p:nvPr/>
            </p:nvSpPr>
            <p:spPr bwMode="auto">
              <a:xfrm>
                <a:off x="1738313" y="4338638"/>
                <a:ext cx="260350" cy="307975"/>
              </a:xfrm>
              <a:custGeom>
                <a:avLst/>
                <a:gdLst>
                  <a:gd name="T0" fmla="*/ 3 w 77"/>
                  <a:gd name="T1" fmla="*/ 83 h 91"/>
                  <a:gd name="T2" fmla="*/ 4 w 77"/>
                  <a:gd name="T3" fmla="*/ 51 h 91"/>
                  <a:gd name="T4" fmla="*/ 34 w 77"/>
                  <a:gd name="T5" fmla="*/ 23 h 91"/>
                  <a:gd name="T6" fmla="*/ 61 w 77"/>
                  <a:gd name="T7" fmla="*/ 0 h 91"/>
                  <a:gd name="T8" fmla="*/ 76 w 77"/>
                  <a:gd name="T9" fmla="*/ 25 h 91"/>
                  <a:gd name="T10" fmla="*/ 42 w 77"/>
                  <a:gd name="T11" fmla="*/ 80 h 91"/>
                  <a:gd name="T12" fmla="*/ 11 w 77"/>
                  <a:gd name="T13" fmla="*/ 87 h 91"/>
                  <a:gd name="T14" fmla="*/ 51 w 77"/>
                  <a:gd name="T15" fmla="*/ 30 h 91"/>
                  <a:gd name="T16" fmla="*/ 3 w 77"/>
                  <a:gd name="T17" fmla="*/ 8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91">
                    <a:moveTo>
                      <a:pt x="3" y="83"/>
                    </a:moveTo>
                    <a:cubicBezTo>
                      <a:pt x="3" y="83"/>
                      <a:pt x="0" y="63"/>
                      <a:pt x="4" y="51"/>
                    </a:cubicBezTo>
                    <a:cubicBezTo>
                      <a:pt x="8" y="40"/>
                      <a:pt x="20" y="29"/>
                      <a:pt x="34" y="23"/>
                    </a:cubicBezTo>
                    <a:cubicBezTo>
                      <a:pt x="49" y="16"/>
                      <a:pt x="60" y="8"/>
                      <a:pt x="61" y="0"/>
                    </a:cubicBezTo>
                    <a:cubicBezTo>
                      <a:pt x="61" y="0"/>
                      <a:pt x="77" y="7"/>
                      <a:pt x="76" y="25"/>
                    </a:cubicBezTo>
                    <a:cubicBezTo>
                      <a:pt x="75" y="47"/>
                      <a:pt x="59" y="69"/>
                      <a:pt x="42" y="80"/>
                    </a:cubicBezTo>
                    <a:cubicBezTo>
                      <a:pt x="25" y="91"/>
                      <a:pt x="11" y="87"/>
                      <a:pt x="11" y="87"/>
                    </a:cubicBezTo>
                    <a:cubicBezTo>
                      <a:pt x="11" y="87"/>
                      <a:pt x="30" y="47"/>
                      <a:pt x="51" y="30"/>
                    </a:cubicBezTo>
                    <a:cubicBezTo>
                      <a:pt x="51" y="30"/>
                      <a:pt x="14" y="47"/>
                      <a:pt x="3"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156">
                <a:extLst>
                  <a:ext uri="{FF2B5EF4-FFF2-40B4-BE49-F238E27FC236}">
                    <a16:creationId xmlns:a16="http://schemas.microsoft.com/office/drawing/2014/main" id="{16CBB4EE-53DA-4117-9F4F-2CF6BA3A3C9D}"/>
                  </a:ext>
                </a:extLst>
              </p:cNvPr>
              <p:cNvSpPr>
                <a:spLocks/>
              </p:cNvSpPr>
              <p:nvPr/>
            </p:nvSpPr>
            <p:spPr bwMode="auto">
              <a:xfrm>
                <a:off x="1493838" y="4443413"/>
                <a:ext cx="227013" cy="190500"/>
              </a:xfrm>
              <a:custGeom>
                <a:avLst/>
                <a:gdLst>
                  <a:gd name="T0" fmla="*/ 67 w 67"/>
                  <a:gd name="T1" fmla="*/ 46 h 56"/>
                  <a:gd name="T2" fmla="*/ 60 w 67"/>
                  <a:gd name="T3" fmla="*/ 24 h 56"/>
                  <a:gd name="T4" fmla="*/ 33 w 67"/>
                  <a:gd name="T5" fmla="*/ 10 h 56"/>
                  <a:gd name="T6" fmla="*/ 10 w 67"/>
                  <a:gd name="T7" fmla="*/ 0 h 56"/>
                  <a:gd name="T8" fmla="*/ 4 w 67"/>
                  <a:gd name="T9" fmla="*/ 21 h 56"/>
                  <a:gd name="T10" fmla="*/ 39 w 67"/>
                  <a:gd name="T11" fmla="*/ 52 h 56"/>
                  <a:gd name="T12" fmla="*/ 63 w 67"/>
                  <a:gd name="T13" fmla="*/ 50 h 56"/>
                  <a:gd name="T14" fmla="*/ 23 w 67"/>
                  <a:gd name="T15" fmla="*/ 19 h 56"/>
                  <a:gd name="T16" fmla="*/ 67 w 67"/>
                  <a:gd name="T17"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6">
                    <a:moveTo>
                      <a:pt x="67" y="46"/>
                    </a:moveTo>
                    <a:cubicBezTo>
                      <a:pt x="67" y="46"/>
                      <a:pt x="65" y="31"/>
                      <a:pt x="60" y="24"/>
                    </a:cubicBezTo>
                    <a:cubicBezTo>
                      <a:pt x="55" y="17"/>
                      <a:pt x="44" y="12"/>
                      <a:pt x="33" y="10"/>
                    </a:cubicBezTo>
                    <a:cubicBezTo>
                      <a:pt x="22" y="9"/>
                      <a:pt x="12" y="5"/>
                      <a:pt x="10" y="0"/>
                    </a:cubicBezTo>
                    <a:cubicBezTo>
                      <a:pt x="10" y="0"/>
                      <a:pt x="0" y="8"/>
                      <a:pt x="4" y="21"/>
                    </a:cubicBezTo>
                    <a:cubicBezTo>
                      <a:pt x="9" y="36"/>
                      <a:pt x="25" y="48"/>
                      <a:pt x="39" y="52"/>
                    </a:cubicBezTo>
                    <a:cubicBezTo>
                      <a:pt x="53" y="56"/>
                      <a:pt x="63" y="50"/>
                      <a:pt x="63" y="50"/>
                    </a:cubicBezTo>
                    <a:cubicBezTo>
                      <a:pt x="63" y="50"/>
                      <a:pt x="41" y="26"/>
                      <a:pt x="23" y="19"/>
                    </a:cubicBezTo>
                    <a:cubicBezTo>
                      <a:pt x="23" y="19"/>
                      <a:pt x="53" y="24"/>
                      <a:pt x="67" y="46"/>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76" name="Groupe 575">
            <a:extLst>
              <a:ext uri="{FF2B5EF4-FFF2-40B4-BE49-F238E27FC236}">
                <a16:creationId xmlns:a16="http://schemas.microsoft.com/office/drawing/2014/main" id="{A864B37D-6C7C-41A6-8FE4-85E89DE7BC96}"/>
              </a:ext>
              <a:ext uri="{C183D7F6-B498-43B3-948B-1728B52AA6E4}">
                <adec:decorative xmlns:adec="http://schemas.microsoft.com/office/drawing/2017/decorative" val="1"/>
              </a:ext>
            </a:extLst>
          </p:cNvPr>
          <p:cNvGrpSpPr>
            <a:grpSpLocks noChangeAspect="1"/>
          </p:cNvGrpSpPr>
          <p:nvPr/>
        </p:nvGrpSpPr>
        <p:grpSpPr>
          <a:xfrm>
            <a:off x="3748191" y="1451343"/>
            <a:ext cx="657021" cy="633600"/>
            <a:chOff x="10083801" y="1787526"/>
            <a:chExt cx="846138" cy="815975"/>
          </a:xfrm>
        </p:grpSpPr>
        <p:sp>
          <p:nvSpPr>
            <p:cNvPr id="577" name="Freeform 188">
              <a:extLst>
                <a:ext uri="{FF2B5EF4-FFF2-40B4-BE49-F238E27FC236}">
                  <a16:creationId xmlns:a16="http://schemas.microsoft.com/office/drawing/2014/main" id="{B474F468-07A4-4579-BFE7-02B5F9B51BAA}"/>
                </a:ext>
              </a:extLst>
            </p:cNvPr>
            <p:cNvSpPr>
              <a:spLocks/>
            </p:cNvSpPr>
            <p:nvPr/>
          </p:nvSpPr>
          <p:spPr bwMode="auto">
            <a:xfrm>
              <a:off x="10083801" y="1787526"/>
              <a:ext cx="846138" cy="815975"/>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78" name="Groupe 577">
              <a:extLst>
                <a:ext uri="{FF2B5EF4-FFF2-40B4-BE49-F238E27FC236}">
                  <a16:creationId xmlns:a16="http://schemas.microsoft.com/office/drawing/2014/main" id="{E7D8F715-E913-4347-B762-F4489B487AD3}"/>
                </a:ext>
              </a:extLst>
            </p:cNvPr>
            <p:cNvGrpSpPr/>
            <p:nvPr/>
          </p:nvGrpSpPr>
          <p:grpSpPr>
            <a:xfrm>
              <a:off x="10304463" y="1963738"/>
              <a:ext cx="431801" cy="430213"/>
              <a:chOff x="10304463" y="1963738"/>
              <a:chExt cx="431801" cy="430213"/>
            </a:xfrm>
          </p:grpSpPr>
          <p:sp>
            <p:nvSpPr>
              <p:cNvPr id="579" name="Freeform 189">
                <a:extLst>
                  <a:ext uri="{FF2B5EF4-FFF2-40B4-BE49-F238E27FC236}">
                    <a16:creationId xmlns:a16="http://schemas.microsoft.com/office/drawing/2014/main" id="{94D9071C-CF54-48EF-B29E-446E1123D721}"/>
                  </a:ext>
                </a:extLst>
              </p:cNvPr>
              <p:cNvSpPr>
                <a:spLocks noEditPoints="1"/>
              </p:cNvSpPr>
              <p:nvPr/>
            </p:nvSpPr>
            <p:spPr bwMode="auto">
              <a:xfrm>
                <a:off x="10394951" y="2054226"/>
                <a:ext cx="341313" cy="339725"/>
              </a:xfrm>
              <a:custGeom>
                <a:avLst/>
                <a:gdLst>
                  <a:gd name="T0" fmla="*/ 95 w 101"/>
                  <a:gd name="T1" fmla="*/ 73 h 100"/>
                  <a:gd name="T2" fmla="*/ 82 w 101"/>
                  <a:gd name="T3" fmla="*/ 69 h 100"/>
                  <a:gd name="T4" fmla="*/ 43 w 101"/>
                  <a:gd name="T5" fmla="*/ 30 h 100"/>
                  <a:gd name="T6" fmla="*/ 38 w 101"/>
                  <a:gd name="T7" fmla="*/ 7 h 100"/>
                  <a:gd name="T8" fmla="*/ 20 w 101"/>
                  <a:gd name="T9" fmla="*/ 1 h 100"/>
                  <a:gd name="T10" fmla="*/ 19 w 101"/>
                  <a:gd name="T11" fmla="*/ 4 h 100"/>
                  <a:gd name="T12" fmla="*/ 30 w 101"/>
                  <a:gd name="T13" fmla="*/ 16 h 100"/>
                  <a:gd name="T14" fmla="*/ 31 w 101"/>
                  <a:gd name="T15" fmla="*/ 18 h 100"/>
                  <a:gd name="T16" fmla="*/ 28 w 101"/>
                  <a:gd name="T17" fmla="*/ 26 h 100"/>
                  <a:gd name="T18" fmla="*/ 27 w 101"/>
                  <a:gd name="T19" fmla="*/ 28 h 100"/>
                  <a:gd name="T20" fmla="*/ 18 w 101"/>
                  <a:gd name="T21" fmla="*/ 30 h 100"/>
                  <a:gd name="T22" fmla="*/ 16 w 101"/>
                  <a:gd name="T23" fmla="*/ 30 h 100"/>
                  <a:gd name="T24" fmla="*/ 5 w 101"/>
                  <a:gd name="T25" fmla="*/ 18 h 100"/>
                  <a:gd name="T26" fmla="*/ 1 w 101"/>
                  <a:gd name="T27" fmla="*/ 20 h 100"/>
                  <a:gd name="T28" fmla="*/ 7 w 101"/>
                  <a:gd name="T29" fmla="*/ 37 h 100"/>
                  <a:gd name="T30" fmla="*/ 31 w 101"/>
                  <a:gd name="T31" fmla="*/ 42 h 100"/>
                  <a:gd name="T32" fmla="*/ 69 w 101"/>
                  <a:gd name="T33" fmla="*/ 81 h 100"/>
                  <a:gd name="T34" fmla="*/ 73 w 101"/>
                  <a:gd name="T35" fmla="*/ 94 h 100"/>
                  <a:gd name="T36" fmla="*/ 95 w 101"/>
                  <a:gd name="T37" fmla="*/ 94 h 100"/>
                  <a:gd name="T38" fmla="*/ 95 w 101"/>
                  <a:gd name="T39" fmla="*/ 73 h 100"/>
                  <a:gd name="T40" fmla="*/ 84 w 101"/>
                  <a:gd name="T41" fmla="*/ 91 h 100"/>
                  <a:gd name="T42" fmla="*/ 76 w 101"/>
                  <a:gd name="T43" fmla="*/ 83 h 100"/>
                  <a:gd name="T44" fmla="*/ 84 w 101"/>
                  <a:gd name="T45" fmla="*/ 76 h 100"/>
                  <a:gd name="T46" fmla="*/ 92 w 101"/>
                  <a:gd name="T47" fmla="*/ 83 h 100"/>
                  <a:gd name="T48" fmla="*/ 84 w 101"/>
                  <a:gd name="T49" fmla="*/ 9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1" h="100">
                    <a:moveTo>
                      <a:pt x="95" y="73"/>
                    </a:moveTo>
                    <a:cubicBezTo>
                      <a:pt x="91" y="69"/>
                      <a:pt x="86" y="68"/>
                      <a:pt x="82" y="69"/>
                    </a:cubicBezTo>
                    <a:cubicBezTo>
                      <a:pt x="43" y="30"/>
                      <a:pt x="43" y="30"/>
                      <a:pt x="43" y="30"/>
                    </a:cubicBezTo>
                    <a:cubicBezTo>
                      <a:pt x="46" y="22"/>
                      <a:pt x="44" y="13"/>
                      <a:pt x="38" y="7"/>
                    </a:cubicBezTo>
                    <a:cubicBezTo>
                      <a:pt x="33" y="2"/>
                      <a:pt x="27" y="0"/>
                      <a:pt x="20" y="1"/>
                    </a:cubicBezTo>
                    <a:cubicBezTo>
                      <a:pt x="18" y="1"/>
                      <a:pt x="17" y="3"/>
                      <a:pt x="19" y="4"/>
                    </a:cubicBezTo>
                    <a:cubicBezTo>
                      <a:pt x="30" y="16"/>
                      <a:pt x="30" y="16"/>
                      <a:pt x="30" y="16"/>
                    </a:cubicBezTo>
                    <a:cubicBezTo>
                      <a:pt x="31" y="16"/>
                      <a:pt x="31" y="17"/>
                      <a:pt x="31" y="18"/>
                    </a:cubicBezTo>
                    <a:cubicBezTo>
                      <a:pt x="28" y="26"/>
                      <a:pt x="28" y="26"/>
                      <a:pt x="28" y="26"/>
                    </a:cubicBezTo>
                    <a:cubicBezTo>
                      <a:pt x="28" y="28"/>
                      <a:pt x="28" y="28"/>
                      <a:pt x="27" y="28"/>
                    </a:cubicBezTo>
                    <a:cubicBezTo>
                      <a:pt x="18" y="30"/>
                      <a:pt x="18" y="30"/>
                      <a:pt x="18" y="30"/>
                    </a:cubicBezTo>
                    <a:cubicBezTo>
                      <a:pt x="17" y="31"/>
                      <a:pt x="17" y="30"/>
                      <a:pt x="16" y="30"/>
                    </a:cubicBezTo>
                    <a:cubicBezTo>
                      <a:pt x="5" y="18"/>
                      <a:pt x="5" y="18"/>
                      <a:pt x="5" y="18"/>
                    </a:cubicBezTo>
                    <a:cubicBezTo>
                      <a:pt x="4" y="17"/>
                      <a:pt x="1" y="18"/>
                      <a:pt x="1" y="20"/>
                    </a:cubicBezTo>
                    <a:cubicBezTo>
                      <a:pt x="0" y="26"/>
                      <a:pt x="2" y="32"/>
                      <a:pt x="7" y="37"/>
                    </a:cubicBezTo>
                    <a:cubicBezTo>
                      <a:pt x="13" y="44"/>
                      <a:pt x="23" y="45"/>
                      <a:pt x="31" y="42"/>
                    </a:cubicBezTo>
                    <a:cubicBezTo>
                      <a:pt x="69" y="81"/>
                      <a:pt x="69" y="81"/>
                      <a:pt x="69" y="81"/>
                    </a:cubicBezTo>
                    <a:cubicBezTo>
                      <a:pt x="68" y="86"/>
                      <a:pt x="70" y="91"/>
                      <a:pt x="73" y="94"/>
                    </a:cubicBezTo>
                    <a:cubicBezTo>
                      <a:pt x="79" y="100"/>
                      <a:pt x="89" y="100"/>
                      <a:pt x="95" y="94"/>
                    </a:cubicBezTo>
                    <a:cubicBezTo>
                      <a:pt x="101" y="88"/>
                      <a:pt x="101" y="79"/>
                      <a:pt x="95" y="73"/>
                    </a:cubicBezTo>
                    <a:close/>
                    <a:moveTo>
                      <a:pt x="84" y="91"/>
                    </a:moveTo>
                    <a:cubicBezTo>
                      <a:pt x="80" y="91"/>
                      <a:pt x="76" y="88"/>
                      <a:pt x="76" y="83"/>
                    </a:cubicBezTo>
                    <a:cubicBezTo>
                      <a:pt x="76" y="79"/>
                      <a:pt x="80" y="76"/>
                      <a:pt x="84" y="76"/>
                    </a:cubicBezTo>
                    <a:cubicBezTo>
                      <a:pt x="88" y="76"/>
                      <a:pt x="92" y="79"/>
                      <a:pt x="92" y="83"/>
                    </a:cubicBezTo>
                    <a:cubicBezTo>
                      <a:pt x="92" y="88"/>
                      <a:pt x="88" y="91"/>
                      <a:pt x="84" y="9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90">
                <a:extLst>
                  <a:ext uri="{FF2B5EF4-FFF2-40B4-BE49-F238E27FC236}">
                    <a16:creationId xmlns:a16="http://schemas.microsoft.com/office/drawing/2014/main" id="{9881D530-8750-49C3-B9D9-335FD1E2A701}"/>
                  </a:ext>
                </a:extLst>
              </p:cNvPr>
              <p:cNvSpPr>
                <a:spLocks/>
              </p:cNvSpPr>
              <p:nvPr/>
            </p:nvSpPr>
            <p:spPr bwMode="auto">
              <a:xfrm>
                <a:off x="10304463" y="1963738"/>
                <a:ext cx="334963" cy="331788"/>
              </a:xfrm>
              <a:custGeom>
                <a:avLst/>
                <a:gdLst>
                  <a:gd name="T0" fmla="*/ 58 w 99"/>
                  <a:gd name="T1" fmla="*/ 80 h 98"/>
                  <a:gd name="T2" fmla="*/ 27 w 99"/>
                  <a:gd name="T3" fmla="*/ 72 h 98"/>
                  <a:gd name="T4" fmla="*/ 27 w 99"/>
                  <a:gd name="T5" fmla="*/ 27 h 98"/>
                  <a:gd name="T6" fmla="*/ 72 w 99"/>
                  <a:gd name="T7" fmla="*/ 27 h 98"/>
                  <a:gd name="T8" fmla="*/ 80 w 99"/>
                  <a:gd name="T9" fmla="*/ 58 h 98"/>
                  <a:gd name="T10" fmla="*/ 90 w 99"/>
                  <a:gd name="T11" fmla="*/ 67 h 98"/>
                  <a:gd name="T12" fmla="*/ 96 w 99"/>
                  <a:gd name="T13" fmla="*/ 67 h 98"/>
                  <a:gd name="T14" fmla="*/ 99 w 99"/>
                  <a:gd name="T15" fmla="*/ 57 h 98"/>
                  <a:gd name="T16" fmla="*/ 92 w 99"/>
                  <a:gd name="T17" fmla="*/ 53 h 98"/>
                  <a:gd name="T18" fmla="*/ 92 w 99"/>
                  <a:gd name="T19" fmla="*/ 53 h 98"/>
                  <a:gd name="T20" fmla="*/ 92 w 99"/>
                  <a:gd name="T21" fmla="*/ 49 h 98"/>
                  <a:gd name="T22" fmla="*/ 92 w 99"/>
                  <a:gd name="T23" fmla="*/ 46 h 98"/>
                  <a:gd name="T24" fmla="*/ 99 w 99"/>
                  <a:gd name="T25" fmla="*/ 41 h 98"/>
                  <a:gd name="T26" fmla="*/ 96 w 99"/>
                  <a:gd name="T27" fmla="*/ 32 h 98"/>
                  <a:gd name="T28" fmla="*/ 88 w 99"/>
                  <a:gd name="T29" fmla="*/ 31 h 98"/>
                  <a:gd name="T30" fmla="*/ 85 w 99"/>
                  <a:gd name="T31" fmla="*/ 25 h 98"/>
                  <a:gd name="T32" fmla="*/ 88 w 99"/>
                  <a:gd name="T33" fmla="*/ 18 h 98"/>
                  <a:gd name="T34" fmla="*/ 81 w 99"/>
                  <a:gd name="T35" fmla="*/ 11 h 98"/>
                  <a:gd name="T36" fmla="*/ 74 w 99"/>
                  <a:gd name="T37" fmla="*/ 14 h 98"/>
                  <a:gd name="T38" fmla="*/ 68 w 99"/>
                  <a:gd name="T39" fmla="*/ 11 h 98"/>
                  <a:gd name="T40" fmla="*/ 67 w 99"/>
                  <a:gd name="T41" fmla="*/ 2 h 98"/>
                  <a:gd name="T42" fmla="*/ 58 w 99"/>
                  <a:gd name="T43" fmla="*/ 0 h 98"/>
                  <a:gd name="T44" fmla="*/ 53 w 99"/>
                  <a:gd name="T45" fmla="*/ 7 h 98"/>
                  <a:gd name="T46" fmla="*/ 53 w 99"/>
                  <a:gd name="T47" fmla="*/ 7 h 98"/>
                  <a:gd name="T48" fmla="*/ 50 w 99"/>
                  <a:gd name="T49" fmla="*/ 6 h 98"/>
                  <a:gd name="T50" fmla="*/ 46 w 99"/>
                  <a:gd name="T51" fmla="*/ 7 h 98"/>
                  <a:gd name="T52" fmla="*/ 46 w 99"/>
                  <a:gd name="T53" fmla="*/ 7 h 98"/>
                  <a:gd name="T54" fmla="*/ 42 w 99"/>
                  <a:gd name="T55" fmla="*/ 0 h 98"/>
                  <a:gd name="T56" fmla="*/ 32 w 99"/>
                  <a:gd name="T57" fmla="*/ 2 h 98"/>
                  <a:gd name="T58" fmla="*/ 31 w 99"/>
                  <a:gd name="T59" fmla="*/ 11 h 98"/>
                  <a:gd name="T60" fmla="*/ 25 w 99"/>
                  <a:gd name="T61" fmla="*/ 14 h 98"/>
                  <a:gd name="T62" fmla="*/ 18 w 99"/>
                  <a:gd name="T63" fmla="*/ 11 h 98"/>
                  <a:gd name="T64" fmla="*/ 11 w 99"/>
                  <a:gd name="T65" fmla="*/ 18 h 98"/>
                  <a:gd name="T66" fmla="*/ 14 w 99"/>
                  <a:gd name="T67" fmla="*/ 25 h 98"/>
                  <a:gd name="T68" fmla="*/ 11 w 99"/>
                  <a:gd name="T69" fmla="*/ 31 h 98"/>
                  <a:gd name="T70" fmla="*/ 3 w 99"/>
                  <a:gd name="T71" fmla="*/ 32 h 98"/>
                  <a:gd name="T72" fmla="*/ 0 w 99"/>
                  <a:gd name="T73" fmla="*/ 41 h 98"/>
                  <a:gd name="T74" fmla="*/ 7 w 99"/>
                  <a:gd name="T75" fmla="*/ 46 h 98"/>
                  <a:gd name="T76" fmla="*/ 7 w 99"/>
                  <a:gd name="T77" fmla="*/ 49 h 98"/>
                  <a:gd name="T78" fmla="*/ 7 w 99"/>
                  <a:gd name="T79" fmla="*/ 53 h 98"/>
                  <a:gd name="T80" fmla="*/ 7 w 99"/>
                  <a:gd name="T81" fmla="*/ 53 h 98"/>
                  <a:gd name="T82" fmla="*/ 0 w 99"/>
                  <a:gd name="T83" fmla="*/ 57 h 98"/>
                  <a:gd name="T84" fmla="*/ 3 w 99"/>
                  <a:gd name="T85" fmla="*/ 67 h 98"/>
                  <a:gd name="T86" fmla="*/ 11 w 99"/>
                  <a:gd name="T87" fmla="*/ 68 h 98"/>
                  <a:gd name="T88" fmla="*/ 14 w 99"/>
                  <a:gd name="T89" fmla="*/ 73 h 98"/>
                  <a:gd name="T90" fmla="*/ 11 w 99"/>
                  <a:gd name="T91" fmla="*/ 81 h 98"/>
                  <a:gd name="T92" fmla="*/ 18 w 99"/>
                  <a:gd name="T93" fmla="*/ 88 h 98"/>
                  <a:gd name="T94" fmla="*/ 25 w 99"/>
                  <a:gd name="T95" fmla="*/ 84 h 98"/>
                  <a:gd name="T96" fmla="*/ 31 w 99"/>
                  <a:gd name="T97" fmla="*/ 88 h 98"/>
                  <a:gd name="T98" fmla="*/ 32 w 99"/>
                  <a:gd name="T99" fmla="*/ 96 h 98"/>
                  <a:gd name="T100" fmla="*/ 42 w 99"/>
                  <a:gd name="T101" fmla="*/ 98 h 98"/>
                  <a:gd name="T102" fmla="*/ 46 w 99"/>
                  <a:gd name="T103" fmla="*/ 92 h 98"/>
                  <a:gd name="T104" fmla="*/ 50 w 99"/>
                  <a:gd name="T105" fmla="*/ 92 h 98"/>
                  <a:gd name="T106" fmla="*/ 53 w 99"/>
                  <a:gd name="T107" fmla="*/ 92 h 98"/>
                  <a:gd name="T108" fmla="*/ 58 w 99"/>
                  <a:gd name="T109" fmla="*/ 98 h 98"/>
                  <a:gd name="T110" fmla="*/ 67 w 99"/>
                  <a:gd name="T111" fmla="*/ 96 h 98"/>
                  <a:gd name="T112" fmla="*/ 68 w 99"/>
                  <a:gd name="T113" fmla="*/ 90 h 98"/>
                  <a:gd name="T114" fmla="*/ 58 w 99"/>
                  <a:gd name="T115" fmla="*/ 80 h 98"/>
                  <a:gd name="T116" fmla="*/ 58 w 99"/>
                  <a:gd name="T117" fmla="*/ 8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9" h="98">
                    <a:moveTo>
                      <a:pt x="58" y="80"/>
                    </a:moveTo>
                    <a:cubicBezTo>
                      <a:pt x="47" y="82"/>
                      <a:pt x="36" y="80"/>
                      <a:pt x="27" y="72"/>
                    </a:cubicBezTo>
                    <a:cubicBezTo>
                      <a:pt x="15" y="59"/>
                      <a:pt x="15" y="39"/>
                      <a:pt x="27" y="27"/>
                    </a:cubicBezTo>
                    <a:cubicBezTo>
                      <a:pt x="39" y="15"/>
                      <a:pt x="60" y="15"/>
                      <a:pt x="72" y="27"/>
                    </a:cubicBezTo>
                    <a:cubicBezTo>
                      <a:pt x="81" y="35"/>
                      <a:pt x="83" y="47"/>
                      <a:pt x="80" y="58"/>
                    </a:cubicBezTo>
                    <a:cubicBezTo>
                      <a:pt x="90" y="67"/>
                      <a:pt x="90" y="67"/>
                      <a:pt x="90" y="67"/>
                    </a:cubicBezTo>
                    <a:cubicBezTo>
                      <a:pt x="96" y="67"/>
                      <a:pt x="96" y="67"/>
                      <a:pt x="96" y="67"/>
                    </a:cubicBezTo>
                    <a:cubicBezTo>
                      <a:pt x="99" y="57"/>
                      <a:pt x="99" y="57"/>
                      <a:pt x="99" y="57"/>
                    </a:cubicBezTo>
                    <a:cubicBezTo>
                      <a:pt x="92" y="53"/>
                      <a:pt x="92" y="53"/>
                      <a:pt x="92" y="53"/>
                    </a:cubicBezTo>
                    <a:cubicBezTo>
                      <a:pt x="92" y="53"/>
                      <a:pt x="92" y="53"/>
                      <a:pt x="92" y="53"/>
                    </a:cubicBezTo>
                    <a:cubicBezTo>
                      <a:pt x="92" y="51"/>
                      <a:pt x="92" y="50"/>
                      <a:pt x="92" y="49"/>
                    </a:cubicBezTo>
                    <a:cubicBezTo>
                      <a:pt x="92" y="48"/>
                      <a:pt x="92" y="47"/>
                      <a:pt x="92" y="46"/>
                    </a:cubicBezTo>
                    <a:cubicBezTo>
                      <a:pt x="99" y="41"/>
                      <a:pt x="99" y="41"/>
                      <a:pt x="99" y="41"/>
                    </a:cubicBezTo>
                    <a:cubicBezTo>
                      <a:pt x="96" y="32"/>
                      <a:pt x="96" y="32"/>
                      <a:pt x="96" y="32"/>
                    </a:cubicBezTo>
                    <a:cubicBezTo>
                      <a:pt x="88" y="31"/>
                      <a:pt x="88" y="31"/>
                      <a:pt x="88" y="31"/>
                    </a:cubicBezTo>
                    <a:cubicBezTo>
                      <a:pt x="87" y="29"/>
                      <a:pt x="86" y="27"/>
                      <a:pt x="85" y="25"/>
                    </a:cubicBezTo>
                    <a:cubicBezTo>
                      <a:pt x="88" y="18"/>
                      <a:pt x="88" y="18"/>
                      <a:pt x="88" y="18"/>
                    </a:cubicBezTo>
                    <a:cubicBezTo>
                      <a:pt x="81" y="11"/>
                      <a:pt x="81" y="11"/>
                      <a:pt x="81" y="11"/>
                    </a:cubicBezTo>
                    <a:cubicBezTo>
                      <a:pt x="74" y="14"/>
                      <a:pt x="74" y="14"/>
                      <a:pt x="74" y="14"/>
                    </a:cubicBezTo>
                    <a:cubicBezTo>
                      <a:pt x="72" y="13"/>
                      <a:pt x="70" y="12"/>
                      <a:pt x="68" y="11"/>
                    </a:cubicBezTo>
                    <a:cubicBezTo>
                      <a:pt x="67" y="2"/>
                      <a:pt x="67" y="2"/>
                      <a:pt x="67" y="2"/>
                    </a:cubicBezTo>
                    <a:cubicBezTo>
                      <a:pt x="58" y="0"/>
                      <a:pt x="58" y="0"/>
                      <a:pt x="58" y="0"/>
                    </a:cubicBezTo>
                    <a:cubicBezTo>
                      <a:pt x="53" y="7"/>
                      <a:pt x="53" y="7"/>
                      <a:pt x="53" y="7"/>
                    </a:cubicBezTo>
                    <a:cubicBezTo>
                      <a:pt x="53" y="7"/>
                      <a:pt x="53" y="7"/>
                      <a:pt x="53" y="7"/>
                    </a:cubicBezTo>
                    <a:cubicBezTo>
                      <a:pt x="52" y="6"/>
                      <a:pt x="51" y="6"/>
                      <a:pt x="50" y="6"/>
                    </a:cubicBezTo>
                    <a:cubicBezTo>
                      <a:pt x="48" y="6"/>
                      <a:pt x="47" y="6"/>
                      <a:pt x="46" y="7"/>
                    </a:cubicBezTo>
                    <a:cubicBezTo>
                      <a:pt x="46" y="7"/>
                      <a:pt x="46" y="7"/>
                      <a:pt x="46" y="7"/>
                    </a:cubicBezTo>
                    <a:cubicBezTo>
                      <a:pt x="42" y="0"/>
                      <a:pt x="42" y="0"/>
                      <a:pt x="42" y="0"/>
                    </a:cubicBezTo>
                    <a:cubicBezTo>
                      <a:pt x="32" y="2"/>
                      <a:pt x="32" y="2"/>
                      <a:pt x="32" y="2"/>
                    </a:cubicBezTo>
                    <a:cubicBezTo>
                      <a:pt x="31" y="11"/>
                      <a:pt x="31" y="11"/>
                      <a:pt x="31" y="11"/>
                    </a:cubicBezTo>
                    <a:cubicBezTo>
                      <a:pt x="29" y="12"/>
                      <a:pt x="27" y="13"/>
                      <a:pt x="25" y="14"/>
                    </a:cubicBezTo>
                    <a:cubicBezTo>
                      <a:pt x="18" y="11"/>
                      <a:pt x="18" y="11"/>
                      <a:pt x="18" y="11"/>
                    </a:cubicBezTo>
                    <a:cubicBezTo>
                      <a:pt x="11" y="18"/>
                      <a:pt x="11" y="18"/>
                      <a:pt x="11" y="18"/>
                    </a:cubicBezTo>
                    <a:cubicBezTo>
                      <a:pt x="14" y="25"/>
                      <a:pt x="14" y="25"/>
                      <a:pt x="14" y="25"/>
                    </a:cubicBezTo>
                    <a:cubicBezTo>
                      <a:pt x="13" y="27"/>
                      <a:pt x="12" y="29"/>
                      <a:pt x="11" y="31"/>
                    </a:cubicBezTo>
                    <a:cubicBezTo>
                      <a:pt x="3" y="32"/>
                      <a:pt x="3" y="32"/>
                      <a:pt x="3" y="32"/>
                    </a:cubicBezTo>
                    <a:cubicBezTo>
                      <a:pt x="0" y="41"/>
                      <a:pt x="0" y="41"/>
                      <a:pt x="0" y="41"/>
                    </a:cubicBezTo>
                    <a:cubicBezTo>
                      <a:pt x="7" y="46"/>
                      <a:pt x="7" y="46"/>
                      <a:pt x="7" y="46"/>
                    </a:cubicBezTo>
                    <a:cubicBezTo>
                      <a:pt x="7" y="47"/>
                      <a:pt x="7" y="48"/>
                      <a:pt x="7" y="49"/>
                    </a:cubicBezTo>
                    <a:cubicBezTo>
                      <a:pt x="7" y="50"/>
                      <a:pt x="7" y="51"/>
                      <a:pt x="7" y="53"/>
                    </a:cubicBezTo>
                    <a:cubicBezTo>
                      <a:pt x="7" y="53"/>
                      <a:pt x="7" y="53"/>
                      <a:pt x="7" y="53"/>
                    </a:cubicBezTo>
                    <a:cubicBezTo>
                      <a:pt x="0" y="57"/>
                      <a:pt x="0" y="57"/>
                      <a:pt x="0" y="57"/>
                    </a:cubicBezTo>
                    <a:cubicBezTo>
                      <a:pt x="3" y="67"/>
                      <a:pt x="3" y="67"/>
                      <a:pt x="3" y="67"/>
                    </a:cubicBezTo>
                    <a:cubicBezTo>
                      <a:pt x="11" y="68"/>
                      <a:pt x="11" y="68"/>
                      <a:pt x="11" y="68"/>
                    </a:cubicBezTo>
                    <a:cubicBezTo>
                      <a:pt x="12" y="69"/>
                      <a:pt x="13" y="72"/>
                      <a:pt x="14" y="73"/>
                    </a:cubicBezTo>
                    <a:cubicBezTo>
                      <a:pt x="11" y="81"/>
                      <a:pt x="11" y="81"/>
                      <a:pt x="11" y="81"/>
                    </a:cubicBezTo>
                    <a:cubicBezTo>
                      <a:pt x="18" y="88"/>
                      <a:pt x="18" y="88"/>
                      <a:pt x="18" y="88"/>
                    </a:cubicBezTo>
                    <a:cubicBezTo>
                      <a:pt x="25" y="84"/>
                      <a:pt x="25" y="84"/>
                      <a:pt x="25" y="84"/>
                    </a:cubicBezTo>
                    <a:cubicBezTo>
                      <a:pt x="27" y="86"/>
                      <a:pt x="29" y="87"/>
                      <a:pt x="31" y="88"/>
                    </a:cubicBezTo>
                    <a:cubicBezTo>
                      <a:pt x="32" y="96"/>
                      <a:pt x="32" y="96"/>
                      <a:pt x="32" y="96"/>
                    </a:cubicBezTo>
                    <a:cubicBezTo>
                      <a:pt x="42" y="98"/>
                      <a:pt x="42" y="98"/>
                      <a:pt x="42" y="98"/>
                    </a:cubicBezTo>
                    <a:cubicBezTo>
                      <a:pt x="46" y="92"/>
                      <a:pt x="46" y="92"/>
                      <a:pt x="46" y="92"/>
                    </a:cubicBezTo>
                    <a:cubicBezTo>
                      <a:pt x="47" y="92"/>
                      <a:pt x="48" y="92"/>
                      <a:pt x="50" y="92"/>
                    </a:cubicBezTo>
                    <a:cubicBezTo>
                      <a:pt x="51" y="92"/>
                      <a:pt x="52" y="92"/>
                      <a:pt x="53" y="92"/>
                    </a:cubicBezTo>
                    <a:cubicBezTo>
                      <a:pt x="58" y="98"/>
                      <a:pt x="58" y="98"/>
                      <a:pt x="58" y="98"/>
                    </a:cubicBezTo>
                    <a:cubicBezTo>
                      <a:pt x="67" y="96"/>
                      <a:pt x="67" y="96"/>
                      <a:pt x="67" y="96"/>
                    </a:cubicBezTo>
                    <a:cubicBezTo>
                      <a:pt x="68" y="90"/>
                      <a:pt x="68" y="90"/>
                      <a:pt x="68" y="90"/>
                    </a:cubicBezTo>
                    <a:cubicBezTo>
                      <a:pt x="58" y="80"/>
                      <a:pt x="58" y="80"/>
                      <a:pt x="58" y="80"/>
                    </a:cubicBezTo>
                    <a:cubicBezTo>
                      <a:pt x="58" y="80"/>
                      <a:pt x="58" y="80"/>
                      <a:pt x="58" y="8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07" name="Groupe 606">
            <a:extLst>
              <a:ext uri="{FF2B5EF4-FFF2-40B4-BE49-F238E27FC236}">
                <a16:creationId xmlns:a16="http://schemas.microsoft.com/office/drawing/2014/main" id="{B6B29C1F-B4BD-4457-92A6-A153EFF27C51}"/>
              </a:ext>
              <a:ext uri="{C183D7F6-B498-43B3-948B-1728B52AA6E4}">
                <adec:decorative xmlns:adec="http://schemas.microsoft.com/office/drawing/2017/decorative" val="1"/>
              </a:ext>
            </a:extLst>
          </p:cNvPr>
          <p:cNvGrpSpPr>
            <a:grpSpLocks noChangeAspect="1"/>
          </p:cNvGrpSpPr>
          <p:nvPr/>
        </p:nvGrpSpPr>
        <p:grpSpPr>
          <a:xfrm>
            <a:off x="8811372" y="2634235"/>
            <a:ext cx="673749" cy="633600"/>
            <a:chOff x="4067175" y="5487987"/>
            <a:chExt cx="852488" cy="801688"/>
          </a:xfrm>
        </p:grpSpPr>
        <p:sp>
          <p:nvSpPr>
            <p:cNvPr id="608" name="Freeform 369">
              <a:extLst>
                <a:ext uri="{FF2B5EF4-FFF2-40B4-BE49-F238E27FC236}">
                  <a16:creationId xmlns:a16="http://schemas.microsoft.com/office/drawing/2014/main" id="{DE019BFA-FE52-469B-AE8A-ACA2A79E1B48}"/>
                </a:ext>
              </a:extLst>
            </p:cNvPr>
            <p:cNvSpPr>
              <a:spLocks/>
            </p:cNvSpPr>
            <p:nvPr/>
          </p:nvSpPr>
          <p:spPr bwMode="auto">
            <a:xfrm>
              <a:off x="4067175" y="5487987"/>
              <a:ext cx="852488" cy="801688"/>
            </a:xfrm>
            <a:custGeom>
              <a:avLst/>
              <a:gdLst>
                <a:gd name="T0" fmla="*/ 36 w 252"/>
                <a:gd name="T1" fmla="*/ 184 h 235"/>
                <a:gd name="T2" fmla="*/ 61 w 252"/>
                <a:gd name="T3" fmla="*/ 34 h 235"/>
                <a:gd name="T4" fmla="*/ 217 w 252"/>
                <a:gd name="T5" fmla="*/ 56 h 235"/>
                <a:gd name="T6" fmla="*/ 188 w 252"/>
                <a:gd name="T7" fmla="*/ 199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6"/>
                    <a:pt x="11" y="70"/>
                    <a:pt x="61" y="34"/>
                  </a:cubicBezTo>
                  <a:cubicBezTo>
                    <a:pt x="110" y="0"/>
                    <a:pt x="180" y="9"/>
                    <a:pt x="217" y="56"/>
                  </a:cubicBezTo>
                  <a:cubicBezTo>
                    <a:pt x="252" y="104"/>
                    <a:pt x="237" y="164"/>
                    <a:pt x="188" y="199"/>
                  </a:cubicBezTo>
                  <a:cubicBezTo>
                    <a:pt x="138" y="235"/>
                    <a:pt x="73" y="231"/>
                    <a:pt x="36" y="184"/>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9" name="Groupe 608">
              <a:extLst>
                <a:ext uri="{FF2B5EF4-FFF2-40B4-BE49-F238E27FC236}">
                  <a16:creationId xmlns:a16="http://schemas.microsoft.com/office/drawing/2014/main" id="{31E2FDD8-73A6-40BB-8685-846F655EB6C8}"/>
                </a:ext>
              </a:extLst>
            </p:cNvPr>
            <p:cNvGrpSpPr/>
            <p:nvPr/>
          </p:nvGrpSpPr>
          <p:grpSpPr>
            <a:xfrm>
              <a:off x="4246563" y="5681663"/>
              <a:ext cx="439737" cy="427038"/>
              <a:chOff x="4246563" y="5681663"/>
              <a:chExt cx="439737" cy="427038"/>
            </a:xfrm>
          </p:grpSpPr>
          <p:sp>
            <p:nvSpPr>
              <p:cNvPr id="610" name="Freeform 370">
                <a:extLst>
                  <a:ext uri="{FF2B5EF4-FFF2-40B4-BE49-F238E27FC236}">
                    <a16:creationId xmlns:a16="http://schemas.microsoft.com/office/drawing/2014/main" id="{D48B7CE1-A91C-4858-BD35-688F131416AC}"/>
                  </a:ext>
                </a:extLst>
              </p:cNvPr>
              <p:cNvSpPr>
                <a:spLocks/>
              </p:cNvSpPr>
              <p:nvPr/>
            </p:nvSpPr>
            <p:spPr bwMode="auto">
              <a:xfrm>
                <a:off x="4540250" y="5846763"/>
                <a:ext cx="98425" cy="261938"/>
              </a:xfrm>
              <a:custGeom>
                <a:avLst/>
                <a:gdLst>
                  <a:gd name="T0" fmla="*/ 28 w 29"/>
                  <a:gd name="T1" fmla="*/ 50 h 77"/>
                  <a:gd name="T2" fmla="*/ 24 w 29"/>
                  <a:gd name="T3" fmla="*/ 1 h 77"/>
                  <a:gd name="T4" fmla="*/ 23 w 29"/>
                  <a:gd name="T5" fmla="*/ 0 h 77"/>
                  <a:gd name="T6" fmla="*/ 22 w 29"/>
                  <a:gd name="T7" fmla="*/ 0 h 77"/>
                  <a:gd name="T8" fmla="*/ 0 w 29"/>
                  <a:gd name="T9" fmla="*/ 24 h 77"/>
                  <a:gd name="T10" fmla="*/ 0 w 29"/>
                  <a:gd name="T11" fmla="*/ 25 h 77"/>
                  <a:gd name="T12" fmla="*/ 10 w 29"/>
                  <a:gd name="T13" fmla="*/ 65 h 77"/>
                  <a:gd name="T14" fmla="*/ 11 w 29"/>
                  <a:gd name="T15" fmla="*/ 71 h 77"/>
                  <a:gd name="T16" fmla="*/ 12 w 29"/>
                  <a:gd name="T17" fmla="*/ 77 h 77"/>
                  <a:gd name="T18" fmla="*/ 14 w 29"/>
                  <a:gd name="T19" fmla="*/ 75 h 77"/>
                  <a:gd name="T20" fmla="*/ 24 w 29"/>
                  <a:gd name="T21" fmla="*/ 64 h 77"/>
                  <a:gd name="T22" fmla="*/ 28 w 29"/>
                  <a:gd name="T23" fmla="*/ 5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77">
                    <a:moveTo>
                      <a:pt x="28" y="50"/>
                    </a:moveTo>
                    <a:cubicBezTo>
                      <a:pt x="24" y="1"/>
                      <a:pt x="24" y="1"/>
                      <a:pt x="24" y="1"/>
                    </a:cubicBezTo>
                    <a:cubicBezTo>
                      <a:pt x="24" y="0"/>
                      <a:pt x="23" y="0"/>
                      <a:pt x="23" y="0"/>
                    </a:cubicBezTo>
                    <a:cubicBezTo>
                      <a:pt x="23" y="0"/>
                      <a:pt x="23" y="0"/>
                      <a:pt x="22" y="0"/>
                    </a:cubicBezTo>
                    <a:cubicBezTo>
                      <a:pt x="0" y="24"/>
                      <a:pt x="0" y="24"/>
                      <a:pt x="0" y="24"/>
                    </a:cubicBezTo>
                    <a:cubicBezTo>
                      <a:pt x="0" y="24"/>
                      <a:pt x="0" y="24"/>
                      <a:pt x="0" y="25"/>
                    </a:cubicBezTo>
                    <a:cubicBezTo>
                      <a:pt x="10" y="65"/>
                      <a:pt x="10" y="65"/>
                      <a:pt x="10" y="65"/>
                    </a:cubicBezTo>
                    <a:cubicBezTo>
                      <a:pt x="10" y="65"/>
                      <a:pt x="11" y="68"/>
                      <a:pt x="11" y="71"/>
                    </a:cubicBezTo>
                    <a:cubicBezTo>
                      <a:pt x="12" y="74"/>
                      <a:pt x="12" y="77"/>
                      <a:pt x="12" y="77"/>
                    </a:cubicBezTo>
                    <a:cubicBezTo>
                      <a:pt x="12" y="77"/>
                      <a:pt x="13" y="76"/>
                      <a:pt x="14" y="75"/>
                    </a:cubicBezTo>
                    <a:cubicBezTo>
                      <a:pt x="24" y="64"/>
                      <a:pt x="24" y="64"/>
                      <a:pt x="24" y="64"/>
                    </a:cubicBezTo>
                    <a:cubicBezTo>
                      <a:pt x="25" y="63"/>
                      <a:pt x="29" y="60"/>
                      <a:pt x="28" y="5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371">
                <a:extLst>
                  <a:ext uri="{FF2B5EF4-FFF2-40B4-BE49-F238E27FC236}">
                    <a16:creationId xmlns:a16="http://schemas.microsoft.com/office/drawing/2014/main" id="{35CEA90B-CB51-48A5-A04A-C81EFB4D718C}"/>
                  </a:ext>
                </a:extLst>
              </p:cNvPr>
              <p:cNvSpPr>
                <a:spLocks/>
              </p:cNvSpPr>
              <p:nvPr/>
            </p:nvSpPr>
            <p:spPr bwMode="auto">
              <a:xfrm>
                <a:off x="4286250" y="5681663"/>
                <a:ext cx="400050" cy="414338"/>
              </a:xfrm>
              <a:custGeom>
                <a:avLst/>
                <a:gdLst>
                  <a:gd name="T0" fmla="*/ 115 w 118"/>
                  <a:gd name="T1" fmla="*/ 3 h 121"/>
                  <a:gd name="T2" fmla="*/ 105 w 118"/>
                  <a:gd name="T3" fmla="*/ 0 h 121"/>
                  <a:gd name="T4" fmla="*/ 91 w 118"/>
                  <a:gd name="T5" fmla="*/ 4 h 121"/>
                  <a:gd name="T6" fmla="*/ 25 w 118"/>
                  <a:gd name="T7" fmla="*/ 75 h 121"/>
                  <a:gd name="T8" fmla="*/ 5 w 118"/>
                  <a:gd name="T9" fmla="*/ 74 h 121"/>
                  <a:gd name="T10" fmla="*/ 5 w 118"/>
                  <a:gd name="T11" fmla="*/ 74 h 121"/>
                  <a:gd name="T12" fmla="*/ 0 w 118"/>
                  <a:gd name="T13" fmla="*/ 83 h 121"/>
                  <a:gd name="T14" fmla="*/ 0 w 118"/>
                  <a:gd name="T15" fmla="*/ 83 h 121"/>
                  <a:gd name="T16" fmla="*/ 0 w 118"/>
                  <a:gd name="T17" fmla="*/ 84 h 121"/>
                  <a:gd name="T18" fmla="*/ 26 w 118"/>
                  <a:gd name="T19" fmla="*/ 95 h 121"/>
                  <a:gd name="T20" fmla="*/ 34 w 118"/>
                  <a:gd name="T21" fmla="*/ 121 h 121"/>
                  <a:gd name="T22" fmla="*/ 34 w 118"/>
                  <a:gd name="T23" fmla="*/ 121 h 121"/>
                  <a:gd name="T24" fmla="*/ 34 w 118"/>
                  <a:gd name="T25" fmla="*/ 121 h 121"/>
                  <a:gd name="T26" fmla="*/ 35 w 118"/>
                  <a:gd name="T27" fmla="*/ 121 h 121"/>
                  <a:gd name="T28" fmla="*/ 46 w 118"/>
                  <a:gd name="T29" fmla="*/ 116 h 121"/>
                  <a:gd name="T30" fmla="*/ 46 w 118"/>
                  <a:gd name="T31" fmla="*/ 116 h 121"/>
                  <a:gd name="T32" fmla="*/ 45 w 118"/>
                  <a:gd name="T33" fmla="*/ 96 h 121"/>
                  <a:gd name="T34" fmla="*/ 114 w 118"/>
                  <a:gd name="T35" fmla="*/ 27 h 121"/>
                  <a:gd name="T36" fmla="*/ 118 w 118"/>
                  <a:gd name="T37" fmla="*/ 15 h 121"/>
                  <a:gd name="T38" fmla="*/ 115 w 118"/>
                  <a:gd name="T39" fmla="*/ 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21">
                    <a:moveTo>
                      <a:pt x="115" y="3"/>
                    </a:moveTo>
                    <a:cubicBezTo>
                      <a:pt x="112" y="1"/>
                      <a:pt x="108" y="0"/>
                      <a:pt x="105" y="0"/>
                    </a:cubicBezTo>
                    <a:cubicBezTo>
                      <a:pt x="99" y="0"/>
                      <a:pt x="94" y="2"/>
                      <a:pt x="91" y="4"/>
                    </a:cubicBezTo>
                    <a:cubicBezTo>
                      <a:pt x="87" y="8"/>
                      <a:pt x="34" y="66"/>
                      <a:pt x="25" y="75"/>
                    </a:cubicBezTo>
                    <a:cubicBezTo>
                      <a:pt x="5" y="74"/>
                      <a:pt x="5" y="74"/>
                      <a:pt x="5" y="74"/>
                    </a:cubicBezTo>
                    <a:cubicBezTo>
                      <a:pt x="5" y="74"/>
                      <a:pt x="5" y="74"/>
                      <a:pt x="5" y="74"/>
                    </a:cubicBezTo>
                    <a:cubicBezTo>
                      <a:pt x="0" y="83"/>
                      <a:pt x="0" y="83"/>
                      <a:pt x="0" y="83"/>
                    </a:cubicBezTo>
                    <a:cubicBezTo>
                      <a:pt x="0" y="83"/>
                      <a:pt x="0" y="83"/>
                      <a:pt x="0" y="83"/>
                    </a:cubicBezTo>
                    <a:cubicBezTo>
                      <a:pt x="0" y="84"/>
                      <a:pt x="0" y="84"/>
                      <a:pt x="0" y="84"/>
                    </a:cubicBezTo>
                    <a:cubicBezTo>
                      <a:pt x="26" y="95"/>
                      <a:pt x="26" y="95"/>
                      <a:pt x="26" y="95"/>
                    </a:cubicBezTo>
                    <a:cubicBezTo>
                      <a:pt x="34" y="121"/>
                      <a:pt x="34" y="121"/>
                      <a:pt x="34" y="121"/>
                    </a:cubicBezTo>
                    <a:cubicBezTo>
                      <a:pt x="34" y="121"/>
                      <a:pt x="34" y="121"/>
                      <a:pt x="34" y="121"/>
                    </a:cubicBezTo>
                    <a:cubicBezTo>
                      <a:pt x="34" y="121"/>
                      <a:pt x="34" y="121"/>
                      <a:pt x="34" y="121"/>
                    </a:cubicBezTo>
                    <a:cubicBezTo>
                      <a:pt x="35" y="121"/>
                      <a:pt x="35" y="121"/>
                      <a:pt x="35" y="121"/>
                    </a:cubicBezTo>
                    <a:cubicBezTo>
                      <a:pt x="46" y="116"/>
                      <a:pt x="46" y="116"/>
                      <a:pt x="46" y="116"/>
                    </a:cubicBezTo>
                    <a:cubicBezTo>
                      <a:pt x="46" y="116"/>
                      <a:pt x="46" y="116"/>
                      <a:pt x="46" y="116"/>
                    </a:cubicBezTo>
                    <a:cubicBezTo>
                      <a:pt x="45" y="96"/>
                      <a:pt x="45" y="96"/>
                      <a:pt x="45" y="96"/>
                    </a:cubicBezTo>
                    <a:cubicBezTo>
                      <a:pt x="54" y="86"/>
                      <a:pt x="110" y="31"/>
                      <a:pt x="114" y="27"/>
                    </a:cubicBezTo>
                    <a:cubicBezTo>
                      <a:pt x="116" y="25"/>
                      <a:pt x="118" y="20"/>
                      <a:pt x="118" y="15"/>
                    </a:cubicBezTo>
                    <a:cubicBezTo>
                      <a:pt x="118" y="11"/>
                      <a:pt x="117" y="6"/>
                      <a:pt x="115" y="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372">
                <a:extLst>
                  <a:ext uri="{FF2B5EF4-FFF2-40B4-BE49-F238E27FC236}">
                    <a16:creationId xmlns:a16="http://schemas.microsoft.com/office/drawing/2014/main" id="{E9E41CD0-EBA6-4A1A-B228-C3DB6BC27B73}"/>
                  </a:ext>
                </a:extLst>
              </p:cNvPr>
              <p:cNvSpPr>
                <a:spLocks/>
              </p:cNvSpPr>
              <p:nvPr/>
            </p:nvSpPr>
            <p:spPr bwMode="auto">
              <a:xfrm>
                <a:off x="4246563" y="5743575"/>
                <a:ext cx="269875" cy="103188"/>
              </a:xfrm>
              <a:custGeom>
                <a:avLst/>
                <a:gdLst>
                  <a:gd name="T0" fmla="*/ 28 w 80"/>
                  <a:gd name="T1" fmla="*/ 1 h 30"/>
                  <a:gd name="T2" fmla="*/ 80 w 80"/>
                  <a:gd name="T3" fmla="*/ 5 h 30"/>
                  <a:gd name="T4" fmla="*/ 80 w 80"/>
                  <a:gd name="T5" fmla="*/ 6 h 30"/>
                  <a:gd name="T6" fmla="*/ 80 w 80"/>
                  <a:gd name="T7" fmla="*/ 6 h 30"/>
                  <a:gd name="T8" fmla="*/ 56 w 80"/>
                  <a:gd name="T9" fmla="*/ 29 h 30"/>
                  <a:gd name="T10" fmla="*/ 55 w 80"/>
                  <a:gd name="T11" fmla="*/ 30 h 30"/>
                  <a:gd name="T12" fmla="*/ 13 w 80"/>
                  <a:gd name="T13" fmla="*/ 20 h 30"/>
                  <a:gd name="T14" fmla="*/ 7 w 80"/>
                  <a:gd name="T15" fmla="*/ 18 h 30"/>
                  <a:gd name="T16" fmla="*/ 0 w 80"/>
                  <a:gd name="T17" fmla="*/ 18 h 30"/>
                  <a:gd name="T18" fmla="*/ 2 w 80"/>
                  <a:gd name="T19" fmla="*/ 16 h 30"/>
                  <a:gd name="T20" fmla="*/ 14 w 80"/>
                  <a:gd name="T21" fmla="*/ 4 h 30"/>
                  <a:gd name="T22" fmla="*/ 28 w 80"/>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30">
                    <a:moveTo>
                      <a:pt x="28" y="1"/>
                    </a:moveTo>
                    <a:cubicBezTo>
                      <a:pt x="80" y="5"/>
                      <a:pt x="80" y="5"/>
                      <a:pt x="80" y="5"/>
                    </a:cubicBezTo>
                    <a:cubicBezTo>
                      <a:pt x="80" y="5"/>
                      <a:pt x="80" y="5"/>
                      <a:pt x="80" y="6"/>
                    </a:cubicBezTo>
                    <a:cubicBezTo>
                      <a:pt x="80" y="6"/>
                      <a:pt x="80" y="6"/>
                      <a:pt x="80" y="6"/>
                    </a:cubicBezTo>
                    <a:cubicBezTo>
                      <a:pt x="56" y="29"/>
                      <a:pt x="56" y="29"/>
                      <a:pt x="56" y="29"/>
                    </a:cubicBezTo>
                    <a:cubicBezTo>
                      <a:pt x="56" y="30"/>
                      <a:pt x="55" y="30"/>
                      <a:pt x="55" y="30"/>
                    </a:cubicBezTo>
                    <a:cubicBezTo>
                      <a:pt x="13" y="20"/>
                      <a:pt x="13" y="20"/>
                      <a:pt x="13" y="20"/>
                    </a:cubicBezTo>
                    <a:cubicBezTo>
                      <a:pt x="13" y="20"/>
                      <a:pt x="9" y="19"/>
                      <a:pt x="7" y="18"/>
                    </a:cubicBezTo>
                    <a:cubicBezTo>
                      <a:pt x="3" y="18"/>
                      <a:pt x="0" y="18"/>
                      <a:pt x="0" y="18"/>
                    </a:cubicBezTo>
                    <a:cubicBezTo>
                      <a:pt x="0" y="17"/>
                      <a:pt x="1" y="16"/>
                      <a:pt x="2" y="16"/>
                    </a:cubicBezTo>
                    <a:cubicBezTo>
                      <a:pt x="14" y="4"/>
                      <a:pt x="14" y="4"/>
                      <a:pt x="14" y="4"/>
                    </a:cubicBezTo>
                    <a:cubicBezTo>
                      <a:pt x="14" y="4"/>
                      <a:pt x="18" y="0"/>
                      <a:pt x="28"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a:extLst>
              <a:ext uri="{FF2B5EF4-FFF2-40B4-BE49-F238E27FC236}">
                <a16:creationId xmlns:a16="http://schemas.microsoft.com/office/drawing/2014/main" id="{9BA6A6F2-0FD7-4F9F-9613-206F67C0A31C}"/>
              </a:ext>
              <a:ext uri="{C183D7F6-B498-43B3-948B-1728B52AA6E4}">
                <adec:decorative xmlns:adec="http://schemas.microsoft.com/office/drawing/2017/decorative" val="1"/>
              </a:ext>
            </a:extLst>
          </p:cNvPr>
          <p:cNvGrpSpPr/>
          <p:nvPr/>
        </p:nvGrpSpPr>
        <p:grpSpPr>
          <a:xfrm>
            <a:off x="320733" y="1451343"/>
            <a:ext cx="680204" cy="633600"/>
            <a:chOff x="432445" y="1140321"/>
            <a:chExt cx="680204" cy="633600"/>
          </a:xfrm>
        </p:grpSpPr>
        <p:sp>
          <p:nvSpPr>
            <p:cNvPr id="627" name="Freeform 229">
              <a:extLst>
                <a:ext uri="{FF2B5EF4-FFF2-40B4-BE49-F238E27FC236}">
                  <a16:creationId xmlns:a16="http://schemas.microsoft.com/office/drawing/2014/main" id="{EB0E34A2-6FBE-497E-8749-69484E698FA3}"/>
                </a:ext>
              </a:extLst>
            </p:cNvPr>
            <p:cNvSpPr>
              <a:spLocks/>
            </p:cNvSpPr>
            <p:nvPr/>
          </p:nvSpPr>
          <p:spPr bwMode="auto">
            <a:xfrm>
              <a:off x="432445" y="1140321"/>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Freeform 230">
              <a:extLst>
                <a:ext uri="{FF2B5EF4-FFF2-40B4-BE49-F238E27FC236}">
                  <a16:creationId xmlns:a16="http://schemas.microsoft.com/office/drawing/2014/main" id="{F2831858-DDFD-4C71-B293-C91734B377F0}"/>
                </a:ext>
              </a:extLst>
            </p:cNvPr>
            <p:cNvSpPr>
              <a:spLocks/>
            </p:cNvSpPr>
            <p:nvPr/>
          </p:nvSpPr>
          <p:spPr bwMode="auto">
            <a:xfrm>
              <a:off x="587793" y="1311204"/>
              <a:ext cx="372836" cy="294053"/>
            </a:xfrm>
            <a:custGeom>
              <a:avLst/>
              <a:gdLst>
                <a:gd name="T0" fmla="*/ 141 w 142"/>
                <a:gd name="T1" fmla="*/ 98 h 112"/>
                <a:gd name="T2" fmla="*/ 136 w 142"/>
                <a:gd name="T3" fmla="*/ 81 h 112"/>
                <a:gd name="T4" fmla="*/ 136 w 142"/>
                <a:gd name="T5" fmla="*/ 5 h 112"/>
                <a:gd name="T6" fmla="*/ 138 w 142"/>
                <a:gd name="T7" fmla="*/ 5 h 112"/>
                <a:gd name="T8" fmla="*/ 133 w 142"/>
                <a:gd name="T9" fmla="*/ 0 h 112"/>
                <a:gd name="T10" fmla="*/ 117 w 142"/>
                <a:gd name="T11" fmla="*/ 0 h 112"/>
                <a:gd name="T12" fmla="*/ 113 w 142"/>
                <a:gd name="T13" fmla="*/ 5 h 112"/>
                <a:gd name="T14" fmla="*/ 114 w 142"/>
                <a:gd name="T15" fmla="*/ 5 h 112"/>
                <a:gd name="T16" fmla="*/ 114 w 142"/>
                <a:gd name="T17" fmla="*/ 15 h 112"/>
                <a:gd name="T18" fmla="*/ 114 w 142"/>
                <a:gd name="T19" fmla="*/ 16 h 112"/>
                <a:gd name="T20" fmla="*/ 114 w 142"/>
                <a:gd name="T21" fmla="*/ 38 h 112"/>
                <a:gd name="T22" fmla="*/ 113 w 142"/>
                <a:gd name="T23" fmla="*/ 38 h 112"/>
                <a:gd name="T24" fmla="*/ 79 w 142"/>
                <a:gd name="T25" fmla="*/ 16 h 112"/>
                <a:gd name="T26" fmla="*/ 77 w 142"/>
                <a:gd name="T27" fmla="*/ 16 h 112"/>
                <a:gd name="T28" fmla="*/ 77 w 142"/>
                <a:gd name="T29" fmla="*/ 38 h 112"/>
                <a:gd name="T30" fmla="*/ 76 w 142"/>
                <a:gd name="T31" fmla="*/ 38 h 112"/>
                <a:gd name="T32" fmla="*/ 42 w 142"/>
                <a:gd name="T33" fmla="*/ 16 h 112"/>
                <a:gd name="T34" fmla="*/ 41 w 142"/>
                <a:gd name="T35" fmla="*/ 16 h 112"/>
                <a:gd name="T36" fmla="*/ 41 w 142"/>
                <a:gd name="T37" fmla="*/ 38 h 112"/>
                <a:gd name="T38" fmla="*/ 39 w 142"/>
                <a:gd name="T39" fmla="*/ 38 h 112"/>
                <a:gd name="T40" fmla="*/ 5 w 142"/>
                <a:gd name="T41" fmla="*/ 16 h 112"/>
                <a:gd name="T42" fmla="*/ 4 w 142"/>
                <a:gd name="T43" fmla="*/ 16 h 112"/>
                <a:gd name="T44" fmla="*/ 4 w 142"/>
                <a:gd name="T45" fmla="*/ 104 h 112"/>
                <a:gd name="T46" fmla="*/ 0 w 142"/>
                <a:gd name="T47" fmla="*/ 108 h 112"/>
                <a:gd name="T48" fmla="*/ 0 w 142"/>
                <a:gd name="T49" fmla="*/ 109 h 112"/>
                <a:gd name="T50" fmla="*/ 0 w 142"/>
                <a:gd name="T51" fmla="*/ 112 h 112"/>
                <a:gd name="T52" fmla="*/ 84 w 142"/>
                <a:gd name="T53" fmla="*/ 112 h 112"/>
                <a:gd name="T54" fmla="*/ 88 w 142"/>
                <a:gd name="T55" fmla="*/ 112 h 112"/>
                <a:gd name="T56" fmla="*/ 91 w 142"/>
                <a:gd name="T57" fmla="*/ 112 h 112"/>
                <a:gd name="T58" fmla="*/ 94 w 142"/>
                <a:gd name="T59" fmla="*/ 112 h 112"/>
                <a:gd name="T60" fmla="*/ 94 w 142"/>
                <a:gd name="T61" fmla="*/ 112 h 112"/>
                <a:gd name="T62" fmla="*/ 102 w 142"/>
                <a:gd name="T63" fmla="*/ 112 h 112"/>
                <a:gd name="T64" fmla="*/ 103 w 142"/>
                <a:gd name="T65" fmla="*/ 112 h 112"/>
                <a:gd name="T66" fmla="*/ 106 w 142"/>
                <a:gd name="T67" fmla="*/ 111 h 112"/>
                <a:gd name="T68" fmla="*/ 116 w 142"/>
                <a:gd name="T69" fmla="*/ 111 h 112"/>
                <a:gd name="T70" fmla="*/ 123 w 142"/>
                <a:gd name="T71" fmla="*/ 111 h 112"/>
                <a:gd name="T72" fmla="*/ 124 w 142"/>
                <a:gd name="T73" fmla="*/ 111 h 112"/>
                <a:gd name="T74" fmla="*/ 132 w 142"/>
                <a:gd name="T75" fmla="*/ 111 h 112"/>
                <a:gd name="T76" fmla="*/ 140 w 142"/>
                <a:gd name="T77" fmla="*/ 112 h 112"/>
                <a:gd name="T78" fmla="*/ 140 w 142"/>
                <a:gd name="T79" fmla="*/ 112 h 112"/>
                <a:gd name="T80" fmla="*/ 141 w 142"/>
                <a:gd name="T81" fmla="*/ 112 h 112"/>
                <a:gd name="T82" fmla="*/ 141 w 142"/>
                <a:gd name="T83"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112">
                  <a:moveTo>
                    <a:pt x="141" y="98"/>
                  </a:moveTo>
                  <a:cubicBezTo>
                    <a:pt x="140" y="92"/>
                    <a:pt x="139" y="86"/>
                    <a:pt x="136" y="81"/>
                  </a:cubicBezTo>
                  <a:cubicBezTo>
                    <a:pt x="136" y="5"/>
                    <a:pt x="136" y="5"/>
                    <a:pt x="136" y="5"/>
                  </a:cubicBezTo>
                  <a:cubicBezTo>
                    <a:pt x="138" y="5"/>
                    <a:pt x="138" y="5"/>
                    <a:pt x="138" y="5"/>
                  </a:cubicBezTo>
                  <a:cubicBezTo>
                    <a:pt x="138" y="2"/>
                    <a:pt x="136" y="0"/>
                    <a:pt x="133" y="0"/>
                  </a:cubicBezTo>
                  <a:cubicBezTo>
                    <a:pt x="117" y="0"/>
                    <a:pt x="117" y="0"/>
                    <a:pt x="117" y="0"/>
                  </a:cubicBezTo>
                  <a:cubicBezTo>
                    <a:pt x="115" y="0"/>
                    <a:pt x="113" y="2"/>
                    <a:pt x="113" y="5"/>
                  </a:cubicBezTo>
                  <a:cubicBezTo>
                    <a:pt x="114" y="5"/>
                    <a:pt x="114" y="5"/>
                    <a:pt x="114" y="5"/>
                  </a:cubicBezTo>
                  <a:cubicBezTo>
                    <a:pt x="114" y="15"/>
                    <a:pt x="114" y="15"/>
                    <a:pt x="114" y="15"/>
                  </a:cubicBezTo>
                  <a:cubicBezTo>
                    <a:pt x="114" y="16"/>
                    <a:pt x="114" y="16"/>
                    <a:pt x="114" y="16"/>
                  </a:cubicBezTo>
                  <a:cubicBezTo>
                    <a:pt x="114" y="38"/>
                    <a:pt x="114" y="38"/>
                    <a:pt x="114" y="38"/>
                  </a:cubicBezTo>
                  <a:cubicBezTo>
                    <a:pt x="114" y="38"/>
                    <a:pt x="114" y="39"/>
                    <a:pt x="113" y="38"/>
                  </a:cubicBezTo>
                  <a:cubicBezTo>
                    <a:pt x="79" y="16"/>
                    <a:pt x="79" y="16"/>
                    <a:pt x="79" y="16"/>
                  </a:cubicBezTo>
                  <a:cubicBezTo>
                    <a:pt x="78" y="15"/>
                    <a:pt x="77" y="16"/>
                    <a:pt x="77" y="16"/>
                  </a:cubicBezTo>
                  <a:cubicBezTo>
                    <a:pt x="77" y="38"/>
                    <a:pt x="77" y="38"/>
                    <a:pt x="77" y="38"/>
                  </a:cubicBezTo>
                  <a:cubicBezTo>
                    <a:pt x="77" y="38"/>
                    <a:pt x="77" y="39"/>
                    <a:pt x="76" y="38"/>
                  </a:cubicBezTo>
                  <a:cubicBezTo>
                    <a:pt x="42" y="16"/>
                    <a:pt x="42" y="16"/>
                    <a:pt x="42" y="16"/>
                  </a:cubicBezTo>
                  <a:cubicBezTo>
                    <a:pt x="41" y="15"/>
                    <a:pt x="41" y="16"/>
                    <a:pt x="41" y="16"/>
                  </a:cubicBezTo>
                  <a:cubicBezTo>
                    <a:pt x="41" y="38"/>
                    <a:pt x="41" y="38"/>
                    <a:pt x="41" y="38"/>
                  </a:cubicBezTo>
                  <a:cubicBezTo>
                    <a:pt x="41" y="38"/>
                    <a:pt x="40" y="39"/>
                    <a:pt x="39" y="38"/>
                  </a:cubicBezTo>
                  <a:cubicBezTo>
                    <a:pt x="5" y="16"/>
                    <a:pt x="5" y="16"/>
                    <a:pt x="5" y="16"/>
                  </a:cubicBezTo>
                  <a:cubicBezTo>
                    <a:pt x="4" y="15"/>
                    <a:pt x="4" y="16"/>
                    <a:pt x="4" y="16"/>
                  </a:cubicBezTo>
                  <a:cubicBezTo>
                    <a:pt x="4" y="104"/>
                    <a:pt x="4" y="104"/>
                    <a:pt x="4" y="104"/>
                  </a:cubicBezTo>
                  <a:cubicBezTo>
                    <a:pt x="0" y="108"/>
                    <a:pt x="0" y="108"/>
                    <a:pt x="0" y="108"/>
                  </a:cubicBezTo>
                  <a:cubicBezTo>
                    <a:pt x="0" y="108"/>
                    <a:pt x="0" y="109"/>
                    <a:pt x="0" y="109"/>
                  </a:cubicBezTo>
                  <a:cubicBezTo>
                    <a:pt x="0" y="112"/>
                    <a:pt x="0" y="112"/>
                    <a:pt x="0" y="112"/>
                  </a:cubicBezTo>
                  <a:cubicBezTo>
                    <a:pt x="84" y="112"/>
                    <a:pt x="84" y="112"/>
                    <a:pt x="84" y="112"/>
                  </a:cubicBezTo>
                  <a:cubicBezTo>
                    <a:pt x="88" y="112"/>
                    <a:pt x="88" y="112"/>
                    <a:pt x="88" y="112"/>
                  </a:cubicBezTo>
                  <a:cubicBezTo>
                    <a:pt x="89" y="112"/>
                    <a:pt x="90" y="112"/>
                    <a:pt x="91" y="112"/>
                  </a:cubicBezTo>
                  <a:cubicBezTo>
                    <a:pt x="94" y="112"/>
                    <a:pt x="94" y="112"/>
                    <a:pt x="94" y="112"/>
                  </a:cubicBezTo>
                  <a:cubicBezTo>
                    <a:pt x="94" y="112"/>
                    <a:pt x="94" y="112"/>
                    <a:pt x="94" y="112"/>
                  </a:cubicBezTo>
                  <a:cubicBezTo>
                    <a:pt x="97" y="112"/>
                    <a:pt x="99" y="112"/>
                    <a:pt x="102" y="112"/>
                  </a:cubicBezTo>
                  <a:cubicBezTo>
                    <a:pt x="103" y="112"/>
                    <a:pt x="103" y="112"/>
                    <a:pt x="103" y="112"/>
                  </a:cubicBezTo>
                  <a:cubicBezTo>
                    <a:pt x="105" y="111"/>
                    <a:pt x="106" y="111"/>
                    <a:pt x="106" y="111"/>
                  </a:cubicBezTo>
                  <a:cubicBezTo>
                    <a:pt x="116" y="111"/>
                    <a:pt x="116" y="111"/>
                    <a:pt x="116" y="111"/>
                  </a:cubicBezTo>
                  <a:cubicBezTo>
                    <a:pt x="123" y="111"/>
                    <a:pt x="123" y="111"/>
                    <a:pt x="123" y="111"/>
                  </a:cubicBezTo>
                  <a:cubicBezTo>
                    <a:pt x="123" y="111"/>
                    <a:pt x="124" y="111"/>
                    <a:pt x="124" y="111"/>
                  </a:cubicBezTo>
                  <a:cubicBezTo>
                    <a:pt x="132" y="111"/>
                    <a:pt x="132" y="111"/>
                    <a:pt x="132" y="111"/>
                  </a:cubicBezTo>
                  <a:cubicBezTo>
                    <a:pt x="140" y="112"/>
                    <a:pt x="140" y="112"/>
                    <a:pt x="140" y="112"/>
                  </a:cubicBezTo>
                  <a:cubicBezTo>
                    <a:pt x="140" y="112"/>
                    <a:pt x="140" y="112"/>
                    <a:pt x="140" y="112"/>
                  </a:cubicBezTo>
                  <a:cubicBezTo>
                    <a:pt x="141" y="112"/>
                    <a:pt x="141" y="112"/>
                    <a:pt x="141" y="112"/>
                  </a:cubicBezTo>
                  <a:cubicBezTo>
                    <a:pt x="142" y="107"/>
                    <a:pt x="142" y="103"/>
                    <a:pt x="141" y="9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Group 14">
              <a:extLst>
                <a:ext uri="{FF2B5EF4-FFF2-40B4-BE49-F238E27FC236}">
                  <a16:creationId xmlns:a16="http://schemas.microsoft.com/office/drawing/2014/main" id="{8541A3EC-E5E1-4F7C-AE02-878F851D5491}"/>
                </a:ext>
              </a:extLst>
            </p:cNvPr>
            <p:cNvGrpSpPr/>
            <p:nvPr/>
          </p:nvGrpSpPr>
          <p:grpSpPr>
            <a:xfrm>
              <a:off x="637726" y="1451018"/>
              <a:ext cx="265202" cy="117621"/>
              <a:chOff x="637726" y="1451018"/>
              <a:chExt cx="265202" cy="117621"/>
            </a:xfrm>
          </p:grpSpPr>
          <p:sp>
            <p:nvSpPr>
              <p:cNvPr id="630" name="Freeform 231">
                <a:extLst>
                  <a:ext uri="{FF2B5EF4-FFF2-40B4-BE49-F238E27FC236}">
                    <a16:creationId xmlns:a16="http://schemas.microsoft.com/office/drawing/2014/main" id="{079ADF90-B5E3-463A-9FDA-1EDFAA4A5262}"/>
                  </a:ext>
                </a:extLst>
              </p:cNvPr>
              <p:cNvSpPr>
                <a:spLocks/>
              </p:cNvSpPr>
              <p:nvPr/>
            </p:nvSpPr>
            <p:spPr bwMode="auto">
              <a:xfrm>
                <a:off x="834131" y="1451018"/>
                <a:ext cx="68797" cy="49934"/>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232">
                <a:extLst>
                  <a:ext uri="{FF2B5EF4-FFF2-40B4-BE49-F238E27FC236}">
                    <a16:creationId xmlns:a16="http://schemas.microsoft.com/office/drawing/2014/main" id="{97A7C91B-A30D-42F6-9788-534226BA0545}"/>
                  </a:ext>
                </a:extLst>
              </p:cNvPr>
              <p:cNvSpPr>
                <a:spLocks/>
              </p:cNvSpPr>
              <p:nvPr/>
            </p:nvSpPr>
            <p:spPr bwMode="auto">
              <a:xfrm>
                <a:off x="834131" y="1518705"/>
                <a:ext cx="68797" cy="49934"/>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233">
                <a:extLst>
                  <a:ext uri="{FF2B5EF4-FFF2-40B4-BE49-F238E27FC236}">
                    <a16:creationId xmlns:a16="http://schemas.microsoft.com/office/drawing/2014/main" id="{3A114B1D-E6B3-41C8-8137-E511071824F4}"/>
                  </a:ext>
                </a:extLst>
              </p:cNvPr>
              <p:cNvSpPr>
                <a:spLocks/>
              </p:cNvSpPr>
              <p:nvPr/>
            </p:nvSpPr>
            <p:spPr bwMode="auto">
              <a:xfrm>
                <a:off x="734264" y="1451018"/>
                <a:ext cx="68797" cy="49934"/>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234">
                <a:extLst>
                  <a:ext uri="{FF2B5EF4-FFF2-40B4-BE49-F238E27FC236}">
                    <a16:creationId xmlns:a16="http://schemas.microsoft.com/office/drawing/2014/main" id="{DC24E3DF-3F2C-43C5-B371-9C54914298EA}"/>
                  </a:ext>
                </a:extLst>
              </p:cNvPr>
              <p:cNvSpPr>
                <a:spLocks/>
              </p:cNvSpPr>
              <p:nvPr/>
            </p:nvSpPr>
            <p:spPr bwMode="auto">
              <a:xfrm>
                <a:off x="734264" y="1518705"/>
                <a:ext cx="68797" cy="49934"/>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235">
                <a:extLst>
                  <a:ext uri="{FF2B5EF4-FFF2-40B4-BE49-F238E27FC236}">
                    <a16:creationId xmlns:a16="http://schemas.microsoft.com/office/drawing/2014/main" id="{2F36430C-A566-402A-9038-24700C63F3DE}"/>
                  </a:ext>
                </a:extLst>
              </p:cNvPr>
              <p:cNvSpPr>
                <a:spLocks/>
              </p:cNvSpPr>
              <p:nvPr/>
            </p:nvSpPr>
            <p:spPr bwMode="auto">
              <a:xfrm>
                <a:off x="637726" y="1451018"/>
                <a:ext cx="65468" cy="49934"/>
              </a:xfrm>
              <a:custGeom>
                <a:avLst/>
                <a:gdLst>
                  <a:gd name="T0" fmla="*/ 0 w 59"/>
                  <a:gd name="T1" fmla="*/ 0 h 45"/>
                  <a:gd name="T2" fmla="*/ 0 w 59"/>
                  <a:gd name="T3" fmla="*/ 45 h 45"/>
                  <a:gd name="T4" fmla="*/ 59 w 59"/>
                  <a:gd name="T5" fmla="*/ 45 h 45"/>
                  <a:gd name="T6" fmla="*/ 59 w 59"/>
                  <a:gd name="T7" fmla="*/ 0 h 45"/>
                  <a:gd name="T8" fmla="*/ 0 w 59"/>
                  <a:gd name="T9" fmla="*/ 0 h 45"/>
                  <a:gd name="T10" fmla="*/ 0 w 59"/>
                  <a:gd name="T11" fmla="*/ 0 h 45"/>
                </a:gdLst>
                <a:ahLst/>
                <a:cxnLst>
                  <a:cxn ang="0">
                    <a:pos x="T0" y="T1"/>
                  </a:cxn>
                  <a:cxn ang="0">
                    <a:pos x="T2" y="T3"/>
                  </a:cxn>
                  <a:cxn ang="0">
                    <a:pos x="T4" y="T5"/>
                  </a:cxn>
                  <a:cxn ang="0">
                    <a:pos x="T6" y="T7"/>
                  </a:cxn>
                  <a:cxn ang="0">
                    <a:pos x="T8" y="T9"/>
                  </a:cxn>
                  <a:cxn ang="0">
                    <a:pos x="T10" y="T11"/>
                  </a:cxn>
                </a:cxnLst>
                <a:rect l="0" t="0" r="r" b="b"/>
                <a:pathLst>
                  <a:path w="59" h="45">
                    <a:moveTo>
                      <a:pt x="0" y="0"/>
                    </a:moveTo>
                    <a:lnTo>
                      <a:pt x="0" y="45"/>
                    </a:lnTo>
                    <a:lnTo>
                      <a:pt x="59" y="45"/>
                    </a:lnTo>
                    <a:lnTo>
                      <a:pt x="59" y="0"/>
                    </a:lnTo>
                    <a:lnTo>
                      <a:pt x="0" y="0"/>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Rectangle 236">
                <a:extLst>
                  <a:ext uri="{FF2B5EF4-FFF2-40B4-BE49-F238E27FC236}">
                    <a16:creationId xmlns:a16="http://schemas.microsoft.com/office/drawing/2014/main" id="{A72D31A1-1DFA-4BE3-8F0E-DA5992424823}"/>
                  </a:ext>
                </a:extLst>
              </p:cNvPr>
              <p:cNvSpPr>
                <a:spLocks noChangeArrowheads="1"/>
              </p:cNvSpPr>
              <p:nvPr/>
            </p:nvSpPr>
            <p:spPr bwMode="auto">
              <a:xfrm>
                <a:off x="637726" y="1518705"/>
                <a:ext cx="65468" cy="49934"/>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69" name="Groupe 668">
            <a:extLst>
              <a:ext uri="{FF2B5EF4-FFF2-40B4-BE49-F238E27FC236}">
                <a16:creationId xmlns:a16="http://schemas.microsoft.com/office/drawing/2014/main" id="{BF2AA122-4E91-4CE1-AF9C-ADDAAA1804BF}"/>
              </a:ext>
              <a:ext uri="{C183D7F6-B498-43B3-948B-1728B52AA6E4}">
                <adec:decorative xmlns:adec="http://schemas.microsoft.com/office/drawing/2017/decorative" val="1"/>
              </a:ext>
            </a:extLst>
          </p:cNvPr>
          <p:cNvGrpSpPr>
            <a:grpSpLocks noChangeAspect="1"/>
          </p:cNvGrpSpPr>
          <p:nvPr/>
        </p:nvGrpSpPr>
        <p:grpSpPr>
          <a:xfrm>
            <a:off x="6271458" y="1451343"/>
            <a:ext cx="659851" cy="633600"/>
            <a:chOff x="1968500" y="2359025"/>
            <a:chExt cx="877888" cy="842962"/>
          </a:xfrm>
        </p:grpSpPr>
        <p:sp>
          <p:nvSpPr>
            <p:cNvPr id="670" name="Freeform 109">
              <a:extLst>
                <a:ext uri="{FF2B5EF4-FFF2-40B4-BE49-F238E27FC236}">
                  <a16:creationId xmlns:a16="http://schemas.microsoft.com/office/drawing/2014/main" id="{82BF945B-A0D8-4A38-9170-5BADA12955D0}"/>
                </a:ext>
              </a:extLst>
            </p:cNvPr>
            <p:cNvSpPr>
              <a:spLocks/>
            </p:cNvSpPr>
            <p:nvPr/>
          </p:nvSpPr>
          <p:spPr bwMode="auto">
            <a:xfrm>
              <a:off x="1968500"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1" name="Groupe 670">
              <a:extLst>
                <a:ext uri="{FF2B5EF4-FFF2-40B4-BE49-F238E27FC236}">
                  <a16:creationId xmlns:a16="http://schemas.microsoft.com/office/drawing/2014/main" id="{48F243D2-6559-4AC8-9989-4AED44671B40}"/>
                </a:ext>
              </a:extLst>
            </p:cNvPr>
            <p:cNvGrpSpPr/>
            <p:nvPr/>
          </p:nvGrpSpPr>
          <p:grpSpPr>
            <a:xfrm>
              <a:off x="2152650" y="2565400"/>
              <a:ext cx="517525" cy="485774"/>
              <a:chOff x="2152650" y="2565400"/>
              <a:chExt cx="517525" cy="485774"/>
            </a:xfrm>
          </p:grpSpPr>
          <p:sp>
            <p:nvSpPr>
              <p:cNvPr id="672" name="Freeform 110">
                <a:extLst>
                  <a:ext uri="{FF2B5EF4-FFF2-40B4-BE49-F238E27FC236}">
                    <a16:creationId xmlns:a16="http://schemas.microsoft.com/office/drawing/2014/main" id="{9D77CC8C-FF4D-47CA-AF11-34DCC610A434}"/>
                  </a:ext>
                </a:extLst>
              </p:cNvPr>
              <p:cNvSpPr>
                <a:spLocks/>
              </p:cNvSpPr>
              <p:nvPr/>
            </p:nvSpPr>
            <p:spPr bwMode="auto">
              <a:xfrm>
                <a:off x="2152650" y="2922587"/>
                <a:ext cx="517525" cy="128587"/>
              </a:xfrm>
              <a:custGeom>
                <a:avLst/>
                <a:gdLst>
                  <a:gd name="T0" fmla="*/ 0 w 138"/>
                  <a:gd name="T1" fmla="*/ 0 h 34"/>
                  <a:gd name="T2" fmla="*/ 69 w 138"/>
                  <a:gd name="T3" fmla="*/ 34 h 34"/>
                  <a:gd name="T4" fmla="*/ 138 w 138"/>
                  <a:gd name="T5" fmla="*/ 0 h 34"/>
                  <a:gd name="T6" fmla="*/ 0 w 138"/>
                  <a:gd name="T7" fmla="*/ 0 h 34"/>
                  <a:gd name="T8" fmla="*/ 0 w 138"/>
                  <a:gd name="T9" fmla="*/ 0 h 34"/>
                </a:gdLst>
                <a:ahLst/>
                <a:cxnLst>
                  <a:cxn ang="0">
                    <a:pos x="T0" y="T1"/>
                  </a:cxn>
                  <a:cxn ang="0">
                    <a:pos x="T2" y="T3"/>
                  </a:cxn>
                  <a:cxn ang="0">
                    <a:pos x="T4" y="T5"/>
                  </a:cxn>
                  <a:cxn ang="0">
                    <a:pos x="T6" y="T7"/>
                  </a:cxn>
                  <a:cxn ang="0">
                    <a:pos x="T8" y="T9"/>
                  </a:cxn>
                </a:cxnLst>
                <a:rect l="0" t="0" r="r" b="b"/>
                <a:pathLst>
                  <a:path w="138" h="34">
                    <a:moveTo>
                      <a:pt x="0" y="0"/>
                    </a:moveTo>
                    <a:cubicBezTo>
                      <a:pt x="16" y="21"/>
                      <a:pt x="41" y="34"/>
                      <a:pt x="69" y="34"/>
                    </a:cubicBezTo>
                    <a:cubicBezTo>
                      <a:pt x="97" y="34"/>
                      <a:pt x="122" y="21"/>
                      <a:pt x="138"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11">
                <a:extLst>
                  <a:ext uri="{FF2B5EF4-FFF2-40B4-BE49-F238E27FC236}">
                    <a16:creationId xmlns:a16="http://schemas.microsoft.com/office/drawing/2014/main" id="{49B02D51-0034-4412-8CEB-B71D7EA5F199}"/>
                  </a:ext>
                </a:extLst>
              </p:cNvPr>
              <p:cNvSpPr>
                <a:spLocks/>
              </p:cNvSpPr>
              <p:nvPr/>
            </p:nvSpPr>
            <p:spPr bwMode="auto">
              <a:xfrm>
                <a:off x="2328863" y="2584450"/>
                <a:ext cx="165100" cy="79375"/>
              </a:xfrm>
              <a:custGeom>
                <a:avLst/>
                <a:gdLst>
                  <a:gd name="T0" fmla="*/ 40 w 44"/>
                  <a:gd name="T1" fmla="*/ 11 h 21"/>
                  <a:gd name="T2" fmla="*/ 44 w 44"/>
                  <a:gd name="T3" fmla="*/ 21 h 21"/>
                  <a:gd name="T4" fmla="*/ 0 w 44"/>
                  <a:gd name="T5" fmla="*/ 17 h 21"/>
                  <a:gd name="T6" fmla="*/ 2 w 44"/>
                  <a:gd name="T7" fmla="*/ 11 h 21"/>
                  <a:gd name="T8" fmla="*/ 0 w 44"/>
                  <a:gd name="T9" fmla="*/ 4 h 21"/>
                  <a:gd name="T10" fmla="*/ 44 w 44"/>
                  <a:gd name="T11" fmla="*/ 0 h 21"/>
                  <a:gd name="T12" fmla="*/ 40 w 44"/>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44" h="21">
                    <a:moveTo>
                      <a:pt x="40" y="11"/>
                    </a:moveTo>
                    <a:cubicBezTo>
                      <a:pt x="40" y="15"/>
                      <a:pt x="41" y="18"/>
                      <a:pt x="44" y="21"/>
                    </a:cubicBezTo>
                    <a:cubicBezTo>
                      <a:pt x="0" y="17"/>
                      <a:pt x="0" y="17"/>
                      <a:pt x="0" y="17"/>
                    </a:cubicBezTo>
                    <a:cubicBezTo>
                      <a:pt x="1" y="15"/>
                      <a:pt x="2" y="13"/>
                      <a:pt x="2" y="11"/>
                    </a:cubicBezTo>
                    <a:cubicBezTo>
                      <a:pt x="2" y="8"/>
                      <a:pt x="1" y="6"/>
                      <a:pt x="0" y="4"/>
                    </a:cubicBezTo>
                    <a:cubicBezTo>
                      <a:pt x="44" y="0"/>
                      <a:pt x="44" y="0"/>
                      <a:pt x="44" y="0"/>
                    </a:cubicBezTo>
                    <a:cubicBezTo>
                      <a:pt x="42" y="3"/>
                      <a:pt x="40" y="7"/>
                      <a:pt x="40" y="1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12">
                <a:extLst>
                  <a:ext uri="{FF2B5EF4-FFF2-40B4-BE49-F238E27FC236}">
                    <a16:creationId xmlns:a16="http://schemas.microsoft.com/office/drawing/2014/main" id="{7CE067E0-399C-48F3-9626-2679488901CE}"/>
                  </a:ext>
                </a:extLst>
              </p:cNvPr>
              <p:cNvSpPr>
                <a:spLocks/>
              </p:cNvSpPr>
              <p:nvPr/>
            </p:nvSpPr>
            <p:spPr bwMode="auto">
              <a:xfrm>
                <a:off x="2441575" y="2892425"/>
                <a:ext cx="182563" cy="30162"/>
              </a:xfrm>
              <a:custGeom>
                <a:avLst/>
                <a:gdLst>
                  <a:gd name="T0" fmla="*/ 0 w 49"/>
                  <a:gd name="T1" fmla="*/ 4 h 8"/>
                  <a:gd name="T2" fmla="*/ 0 w 49"/>
                  <a:gd name="T3" fmla="*/ 8 h 8"/>
                  <a:gd name="T4" fmla="*/ 49 w 49"/>
                  <a:gd name="T5" fmla="*/ 8 h 8"/>
                  <a:gd name="T6" fmla="*/ 49 w 49"/>
                  <a:gd name="T7" fmla="*/ 4 h 8"/>
                  <a:gd name="T8" fmla="*/ 45 w 49"/>
                  <a:gd name="T9" fmla="*/ 0 h 8"/>
                  <a:gd name="T10" fmla="*/ 4 w 49"/>
                  <a:gd name="T11" fmla="*/ 0 h 8"/>
                  <a:gd name="T12" fmla="*/ 0 w 49"/>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0" y="4"/>
                    </a:moveTo>
                    <a:cubicBezTo>
                      <a:pt x="0" y="8"/>
                      <a:pt x="0" y="8"/>
                      <a:pt x="0" y="8"/>
                    </a:cubicBezTo>
                    <a:cubicBezTo>
                      <a:pt x="49" y="8"/>
                      <a:pt x="49" y="8"/>
                      <a:pt x="49" y="8"/>
                    </a:cubicBezTo>
                    <a:cubicBezTo>
                      <a:pt x="49" y="4"/>
                      <a:pt x="49" y="4"/>
                      <a:pt x="49" y="4"/>
                    </a:cubicBezTo>
                    <a:cubicBezTo>
                      <a:pt x="49" y="2"/>
                      <a:pt x="47" y="0"/>
                      <a:pt x="45" y="0"/>
                    </a:cubicBezTo>
                    <a:cubicBezTo>
                      <a:pt x="4" y="0"/>
                      <a:pt x="4" y="0"/>
                      <a:pt x="4" y="0"/>
                    </a:cubicBezTo>
                    <a:cubicBezTo>
                      <a:pt x="2" y="0"/>
                      <a:pt x="0" y="2"/>
                      <a:pt x="0"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13">
                <a:extLst>
                  <a:ext uri="{FF2B5EF4-FFF2-40B4-BE49-F238E27FC236}">
                    <a16:creationId xmlns:a16="http://schemas.microsoft.com/office/drawing/2014/main" id="{64004540-B6C5-4CE8-B296-4A04CCD332DF}"/>
                  </a:ext>
                </a:extLst>
              </p:cNvPr>
              <p:cNvSpPr>
                <a:spLocks/>
              </p:cNvSpPr>
              <p:nvPr/>
            </p:nvSpPr>
            <p:spPr bwMode="auto">
              <a:xfrm>
                <a:off x="2474913" y="2671763"/>
                <a:ext cx="120650" cy="220662"/>
              </a:xfrm>
              <a:custGeom>
                <a:avLst/>
                <a:gdLst>
                  <a:gd name="T0" fmla="*/ 32 w 32"/>
                  <a:gd name="T1" fmla="*/ 59 h 59"/>
                  <a:gd name="T2" fmla="*/ 0 w 32"/>
                  <a:gd name="T3" fmla="*/ 59 h 59"/>
                  <a:gd name="T4" fmla="*/ 7 w 32"/>
                  <a:gd name="T5" fmla="*/ 0 h 59"/>
                  <a:gd name="T6" fmla="*/ 16 w 32"/>
                  <a:gd name="T7" fmla="*/ 3 h 59"/>
                  <a:gd name="T8" fmla="*/ 24 w 32"/>
                  <a:gd name="T9" fmla="*/ 0 h 59"/>
                  <a:gd name="T10" fmla="*/ 32 w 32"/>
                  <a:gd name="T11" fmla="*/ 59 h 59"/>
                  <a:gd name="T12" fmla="*/ 32 w 32"/>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32" h="59">
                    <a:moveTo>
                      <a:pt x="32" y="59"/>
                    </a:moveTo>
                    <a:cubicBezTo>
                      <a:pt x="0" y="59"/>
                      <a:pt x="0" y="59"/>
                      <a:pt x="0" y="59"/>
                    </a:cubicBezTo>
                    <a:cubicBezTo>
                      <a:pt x="7" y="0"/>
                      <a:pt x="7" y="0"/>
                      <a:pt x="7" y="0"/>
                    </a:cubicBezTo>
                    <a:cubicBezTo>
                      <a:pt x="10" y="2"/>
                      <a:pt x="13" y="3"/>
                      <a:pt x="16" y="3"/>
                    </a:cubicBezTo>
                    <a:cubicBezTo>
                      <a:pt x="19" y="3"/>
                      <a:pt x="22" y="2"/>
                      <a:pt x="24" y="0"/>
                    </a:cubicBezTo>
                    <a:cubicBezTo>
                      <a:pt x="32" y="59"/>
                      <a:pt x="32" y="59"/>
                      <a:pt x="32" y="59"/>
                    </a:cubicBezTo>
                    <a:cubicBezTo>
                      <a:pt x="32" y="59"/>
                      <a:pt x="32" y="59"/>
                      <a:pt x="32"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Oval 114">
                <a:extLst>
                  <a:ext uri="{FF2B5EF4-FFF2-40B4-BE49-F238E27FC236}">
                    <a16:creationId xmlns:a16="http://schemas.microsoft.com/office/drawing/2014/main" id="{7A69D55B-BB92-437B-B421-DA2667A88F81}"/>
                  </a:ext>
                </a:extLst>
              </p:cNvPr>
              <p:cNvSpPr>
                <a:spLocks noChangeArrowheads="1"/>
              </p:cNvSpPr>
              <p:nvPr/>
            </p:nvSpPr>
            <p:spPr bwMode="auto">
              <a:xfrm>
                <a:off x="2478088" y="2565400"/>
                <a:ext cx="112713" cy="117475"/>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Oval 115">
                <a:extLst>
                  <a:ext uri="{FF2B5EF4-FFF2-40B4-BE49-F238E27FC236}">
                    <a16:creationId xmlns:a16="http://schemas.microsoft.com/office/drawing/2014/main" id="{F43775AA-FF73-494C-83F6-9F75408BA763}"/>
                  </a:ext>
                </a:extLst>
              </p:cNvPr>
              <p:cNvSpPr>
                <a:spLocks noChangeArrowheads="1"/>
              </p:cNvSpPr>
              <p:nvPr/>
            </p:nvSpPr>
            <p:spPr bwMode="auto">
              <a:xfrm>
                <a:off x="2508250" y="2600325"/>
                <a:ext cx="52388" cy="47625"/>
              </a:xfrm>
              <a:prstGeom prst="ellipse">
                <a:avLst/>
              </a:pr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16">
                <a:extLst>
                  <a:ext uri="{FF2B5EF4-FFF2-40B4-BE49-F238E27FC236}">
                    <a16:creationId xmlns:a16="http://schemas.microsoft.com/office/drawing/2014/main" id="{8F65ED73-E90C-4C16-AD23-75917A9E84C8}"/>
                  </a:ext>
                </a:extLst>
              </p:cNvPr>
              <p:cNvSpPr>
                <a:spLocks/>
              </p:cNvSpPr>
              <p:nvPr/>
            </p:nvSpPr>
            <p:spPr bwMode="auto">
              <a:xfrm>
                <a:off x="2193925" y="2701925"/>
                <a:ext cx="69850" cy="74612"/>
              </a:xfrm>
              <a:custGeom>
                <a:avLst/>
                <a:gdLst>
                  <a:gd name="T0" fmla="*/ 19 w 19"/>
                  <a:gd name="T1" fmla="*/ 10 h 20"/>
                  <a:gd name="T2" fmla="*/ 17 w 19"/>
                  <a:gd name="T3" fmla="*/ 4 h 20"/>
                  <a:gd name="T4" fmla="*/ 17 w 19"/>
                  <a:gd name="T5" fmla="*/ 3 h 20"/>
                  <a:gd name="T6" fmla="*/ 10 w 19"/>
                  <a:gd name="T7" fmla="*/ 0 h 20"/>
                  <a:gd name="T8" fmla="*/ 10 w 19"/>
                  <a:gd name="T9" fmla="*/ 0 h 20"/>
                  <a:gd name="T10" fmla="*/ 3 w 19"/>
                  <a:gd name="T11" fmla="*/ 2 h 20"/>
                  <a:gd name="T12" fmla="*/ 2 w 19"/>
                  <a:gd name="T13" fmla="*/ 3 h 20"/>
                  <a:gd name="T14" fmla="*/ 1 w 19"/>
                  <a:gd name="T15" fmla="*/ 15 h 20"/>
                  <a:gd name="T16" fmla="*/ 1 w 19"/>
                  <a:gd name="T17" fmla="*/ 16 h 20"/>
                  <a:gd name="T18" fmla="*/ 2 w 19"/>
                  <a:gd name="T19" fmla="*/ 17 h 20"/>
                  <a:gd name="T20" fmla="*/ 4 w 19"/>
                  <a:gd name="T21" fmla="*/ 17 h 20"/>
                  <a:gd name="T22" fmla="*/ 4 w 19"/>
                  <a:gd name="T23" fmla="*/ 15 h 20"/>
                  <a:gd name="T24" fmla="*/ 3 w 19"/>
                  <a:gd name="T25" fmla="*/ 15 h 20"/>
                  <a:gd name="T26" fmla="*/ 5 w 19"/>
                  <a:gd name="T27" fmla="*/ 4 h 20"/>
                  <a:gd name="T28" fmla="*/ 10 w 19"/>
                  <a:gd name="T29" fmla="*/ 2 h 20"/>
                  <a:gd name="T30" fmla="*/ 15 w 19"/>
                  <a:gd name="T31" fmla="*/ 5 h 20"/>
                  <a:gd name="T32" fmla="*/ 17 w 19"/>
                  <a:gd name="T33" fmla="*/ 10 h 20"/>
                  <a:gd name="T34" fmla="*/ 8 w 19"/>
                  <a:gd name="T35" fmla="*/ 18 h 20"/>
                  <a:gd name="T36" fmla="*/ 8 w 19"/>
                  <a:gd name="T37" fmla="*/ 17 h 20"/>
                  <a:gd name="T38" fmla="*/ 6 w 19"/>
                  <a:gd name="T39" fmla="*/ 18 h 20"/>
                  <a:gd name="T40" fmla="*/ 6 w 19"/>
                  <a:gd name="T41" fmla="*/ 19 h 20"/>
                  <a:gd name="T42" fmla="*/ 8 w 19"/>
                  <a:gd name="T43" fmla="*/ 20 h 20"/>
                  <a:gd name="T44" fmla="*/ 9 w 19"/>
                  <a:gd name="T45" fmla="*/ 20 h 20"/>
                  <a:gd name="T46" fmla="*/ 19 w 19"/>
                  <a:gd name="T47" fmla="*/ 12 h 20"/>
                  <a:gd name="T48" fmla="*/ 19 w 19"/>
                  <a:gd name="T49"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0">
                    <a:moveTo>
                      <a:pt x="19" y="10"/>
                    </a:moveTo>
                    <a:cubicBezTo>
                      <a:pt x="17" y="4"/>
                      <a:pt x="17" y="4"/>
                      <a:pt x="17" y="4"/>
                    </a:cubicBezTo>
                    <a:cubicBezTo>
                      <a:pt x="17" y="4"/>
                      <a:pt x="17" y="3"/>
                      <a:pt x="17" y="3"/>
                    </a:cubicBezTo>
                    <a:cubicBezTo>
                      <a:pt x="10" y="0"/>
                      <a:pt x="10" y="0"/>
                      <a:pt x="10" y="0"/>
                    </a:cubicBezTo>
                    <a:cubicBezTo>
                      <a:pt x="10" y="0"/>
                      <a:pt x="10" y="0"/>
                      <a:pt x="10" y="0"/>
                    </a:cubicBezTo>
                    <a:cubicBezTo>
                      <a:pt x="3" y="2"/>
                      <a:pt x="3" y="2"/>
                      <a:pt x="3" y="2"/>
                    </a:cubicBezTo>
                    <a:cubicBezTo>
                      <a:pt x="3" y="2"/>
                      <a:pt x="3" y="2"/>
                      <a:pt x="2" y="3"/>
                    </a:cubicBezTo>
                    <a:cubicBezTo>
                      <a:pt x="1" y="15"/>
                      <a:pt x="1" y="15"/>
                      <a:pt x="1" y="15"/>
                    </a:cubicBezTo>
                    <a:cubicBezTo>
                      <a:pt x="0" y="16"/>
                      <a:pt x="1" y="16"/>
                      <a:pt x="1" y="16"/>
                    </a:cubicBezTo>
                    <a:cubicBezTo>
                      <a:pt x="2" y="17"/>
                      <a:pt x="2" y="17"/>
                      <a:pt x="2" y="17"/>
                    </a:cubicBezTo>
                    <a:cubicBezTo>
                      <a:pt x="3" y="17"/>
                      <a:pt x="4" y="17"/>
                      <a:pt x="4" y="17"/>
                    </a:cubicBezTo>
                    <a:cubicBezTo>
                      <a:pt x="4" y="16"/>
                      <a:pt x="4" y="16"/>
                      <a:pt x="4" y="15"/>
                    </a:cubicBezTo>
                    <a:cubicBezTo>
                      <a:pt x="3" y="15"/>
                      <a:pt x="3" y="15"/>
                      <a:pt x="3" y="15"/>
                    </a:cubicBezTo>
                    <a:cubicBezTo>
                      <a:pt x="5" y="4"/>
                      <a:pt x="5" y="4"/>
                      <a:pt x="5" y="4"/>
                    </a:cubicBezTo>
                    <a:cubicBezTo>
                      <a:pt x="10" y="2"/>
                      <a:pt x="10" y="2"/>
                      <a:pt x="10" y="2"/>
                    </a:cubicBezTo>
                    <a:cubicBezTo>
                      <a:pt x="15" y="5"/>
                      <a:pt x="15" y="5"/>
                      <a:pt x="15" y="5"/>
                    </a:cubicBezTo>
                    <a:cubicBezTo>
                      <a:pt x="17" y="10"/>
                      <a:pt x="17" y="10"/>
                      <a:pt x="17" y="10"/>
                    </a:cubicBezTo>
                    <a:cubicBezTo>
                      <a:pt x="8" y="18"/>
                      <a:pt x="8" y="18"/>
                      <a:pt x="8" y="18"/>
                    </a:cubicBezTo>
                    <a:cubicBezTo>
                      <a:pt x="8" y="17"/>
                      <a:pt x="8" y="17"/>
                      <a:pt x="8" y="17"/>
                    </a:cubicBezTo>
                    <a:cubicBezTo>
                      <a:pt x="7" y="17"/>
                      <a:pt x="6" y="17"/>
                      <a:pt x="6" y="18"/>
                    </a:cubicBezTo>
                    <a:cubicBezTo>
                      <a:pt x="6" y="18"/>
                      <a:pt x="6" y="19"/>
                      <a:pt x="6" y="19"/>
                    </a:cubicBezTo>
                    <a:cubicBezTo>
                      <a:pt x="8" y="20"/>
                      <a:pt x="8" y="20"/>
                      <a:pt x="8" y="20"/>
                    </a:cubicBezTo>
                    <a:cubicBezTo>
                      <a:pt x="8" y="20"/>
                      <a:pt x="9" y="20"/>
                      <a:pt x="9" y="20"/>
                    </a:cubicBezTo>
                    <a:cubicBezTo>
                      <a:pt x="19" y="12"/>
                      <a:pt x="19" y="12"/>
                      <a:pt x="19" y="12"/>
                    </a:cubicBezTo>
                    <a:cubicBezTo>
                      <a:pt x="19" y="11"/>
                      <a:pt x="19" y="11"/>
                      <a:pt x="19" y="10"/>
                    </a:cubicBezTo>
                    <a:close/>
                  </a:path>
                </a:pathLst>
              </a:custGeom>
              <a:solidFill>
                <a:srgbClr val="E5E9E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17">
                <a:extLst>
                  <a:ext uri="{FF2B5EF4-FFF2-40B4-BE49-F238E27FC236}">
                    <a16:creationId xmlns:a16="http://schemas.microsoft.com/office/drawing/2014/main" id="{E004E09F-7D07-419A-B9DB-EBEA7E92FFAB}"/>
                  </a:ext>
                </a:extLst>
              </p:cNvPr>
              <p:cNvSpPr>
                <a:spLocks/>
              </p:cNvSpPr>
              <p:nvPr/>
            </p:nvSpPr>
            <p:spPr bwMode="auto">
              <a:xfrm>
                <a:off x="2241550" y="2652713"/>
                <a:ext cx="41275" cy="44450"/>
              </a:xfrm>
              <a:custGeom>
                <a:avLst/>
                <a:gdLst>
                  <a:gd name="T0" fmla="*/ 11 w 11"/>
                  <a:gd name="T1" fmla="*/ 5 h 12"/>
                  <a:gd name="T2" fmla="*/ 6 w 11"/>
                  <a:gd name="T3" fmla="*/ 12 h 12"/>
                  <a:gd name="T4" fmla="*/ 4 w 11"/>
                  <a:gd name="T5" fmla="*/ 8 h 12"/>
                  <a:gd name="T6" fmla="*/ 0 w 11"/>
                  <a:gd name="T7" fmla="*/ 8 h 12"/>
                  <a:gd name="T8" fmla="*/ 2 w 11"/>
                  <a:gd name="T9" fmla="*/ 0 h 12"/>
                  <a:gd name="T10" fmla="*/ 11 w 11"/>
                  <a:gd name="T11" fmla="*/ 5 h 12"/>
                </a:gdLst>
                <a:ahLst/>
                <a:cxnLst>
                  <a:cxn ang="0">
                    <a:pos x="T0" y="T1"/>
                  </a:cxn>
                  <a:cxn ang="0">
                    <a:pos x="T2" y="T3"/>
                  </a:cxn>
                  <a:cxn ang="0">
                    <a:pos x="T4" y="T5"/>
                  </a:cxn>
                  <a:cxn ang="0">
                    <a:pos x="T6" y="T7"/>
                  </a:cxn>
                  <a:cxn ang="0">
                    <a:pos x="T8" y="T9"/>
                  </a:cxn>
                  <a:cxn ang="0">
                    <a:pos x="T10" y="T11"/>
                  </a:cxn>
                </a:cxnLst>
                <a:rect l="0" t="0" r="r" b="b"/>
                <a:pathLst>
                  <a:path w="11" h="12">
                    <a:moveTo>
                      <a:pt x="11" y="5"/>
                    </a:moveTo>
                    <a:cubicBezTo>
                      <a:pt x="6" y="12"/>
                      <a:pt x="6" y="12"/>
                      <a:pt x="6" y="12"/>
                    </a:cubicBezTo>
                    <a:cubicBezTo>
                      <a:pt x="6" y="10"/>
                      <a:pt x="5" y="9"/>
                      <a:pt x="4" y="8"/>
                    </a:cubicBezTo>
                    <a:cubicBezTo>
                      <a:pt x="2" y="8"/>
                      <a:pt x="1" y="8"/>
                      <a:pt x="0" y="8"/>
                    </a:cubicBezTo>
                    <a:cubicBezTo>
                      <a:pt x="2" y="0"/>
                      <a:pt x="2" y="0"/>
                      <a:pt x="2" y="0"/>
                    </a:cubicBezTo>
                    <a:cubicBezTo>
                      <a:pt x="5" y="3"/>
                      <a:pt x="8" y="5"/>
                      <a:pt x="11" y="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Oval 118">
                <a:extLst>
                  <a:ext uri="{FF2B5EF4-FFF2-40B4-BE49-F238E27FC236}">
                    <a16:creationId xmlns:a16="http://schemas.microsoft.com/office/drawing/2014/main" id="{15A82940-46D4-43D4-B3C1-1018A878B341}"/>
                  </a:ext>
                </a:extLst>
              </p:cNvPr>
              <p:cNvSpPr>
                <a:spLocks noChangeArrowheads="1"/>
              </p:cNvSpPr>
              <p:nvPr/>
            </p:nvSpPr>
            <p:spPr bwMode="auto">
              <a:xfrm>
                <a:off x="2227263" y="2682875"/>
                <a:ext cx="41275" cy="41275"/>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Oval 119">
                <a:extLst>
                  <a:ext uri="{FF2B5EF4-FFF2-40B4-BE49-F238E27FC236}">
                    <a16:creationId xmlns:a16="http://schemas.microsoft.com/office/drawing/2014/main" id="{65C5E762-59F8-437F-B212-B10FA374DC30}"/>
                  </a:ext>
                </a:extLst>
              </p:cNvPr>
              <p:cNvSpPr>
                <a:spLocks noChangeArrowheads="1"/>
              </p:cNvSpPr>
              <p:nvPr/>
            </p:nvSpPr>
            <p:spPr bwMode="auto">
              <a:xfrm>
                <a:off x="2241550" y="2576513"/>
                <a:ext cx="93663" cy="952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Oval 120">
                <a:extLst>
                  <a:ext uri="{FF2B5EF4-FFF2-40B4-BE49-F238E27FC236}">
                    <a16:creationId xmlns:a16="http://schemas.microsoft.com/office/drawing/2014/main" id="{84929D5A-317A-4B92-B390-C94498CBE28C}"/>
                  </a:ext>
                </a:extLst>
              </p:cNvPr>
              <p:cNvSpPr>
                <a:spLocks noChangeArrowheads="1"/>
              </p:cNvSpPr>
              <p:nvPr/>
            </p:nvSpPr>
            <p:spPr bwMode="auto">
              <a:xfrm>
                <a:off x="2268538" y="2603500"/>
                <a:ext cx="41275" cy="41275"/>
              </a:xfrm>
              <a:prstGeom prst="ellipse">
                <a:avLst/>
              </a:pr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85" name="Groupe 684">
            <a:extLst>
              <a:ext uri="{FF2B5EF4-FFF2-40B4-BE49-F238E27FC236}">
                <a16:creationId xmlns:a16="http://schemas.microsoft.com/office/drawing/2014/main" id="{0C347D08-04AD-43D0-8F9A-941FF46169A0}"/>
              </a:ext>
              <a:ext uri="{C183D7F6-B498-43B3-948B-1728B52AA6E4}">
                <adec:decorative xmlns:adec="http://schemas.microsoft.com/office/drawing/2017/decorative" val="1"/>
              </a:ext>
            </a:extLst>
          </p:cNvPr>
          <p:cNvGrpSpPr>
            <a:grpSpLocks noChangeAspect="1"/>
          </p:cNvGrpSpPr>
          <p:nvPr/>
        </p:nvGrpSpPr>
        <p:grpSpPr>
          <a:xfrm>
            <a:off x="320733" y="5099656"/>
            <a:ext cx="659851" cy="633600"/>
            <a:chOff x="6892925" y="2359025"/>
            <a:chExt cx="877888" cy="842962"/>
          </a:xfrm>
        </p:grpSpPr>
        <p:sp>
          <p:nvSpPr>
            <p:cNvPr id="686" name="Freeform 177">
              <a:extLst>
                <a:ext uri="{FF2B5EF4-FFF2-40B4-BE49-F238E27FC236}">
                  <a16:creationId xmlns:a16="http://schemas.microsoft.com/office/drawing/2014/main" id="{5AFA13F3-7270-4CF0-8975-A348684A41EC}"/>
                </a:ext>
              </a:extLst>
            </p:cNvPr>
            <p:cNvSpPr>
              <a:spLocks/>
            </p:cNvSpPr>
            <p:nvPr/>
          </p:nvSpPr>
          <p:spPr bwMode="auto">
            <a:xfrm>
              <a:off x="6892925"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7" name="Groupe 686">
              <a:extLst>
                <a:ext uri="{FF2B5EF4-FFF2-40B4-BE49-F238E27FC236}">
                  <a16:creationId xmlns:a16="http://schemas.microsoft.com/office/drawing/2014/main" id="{94E361EE-4454-4A25-8AFF-963767C8E354}"/>
                </a:ext>
              </a:extLst>
            </p:cNvPr>
            <p:cNvGrpSpPr/>
            <p:nvPr/>
          </p:nvGrpSpPr>
          <p:grpSpPr>
            <a:xfrm>
              <a:off x="7121525" y="2576513"/>
              <a:ext cx="398463" cy="436562"/>
              <a:chOff x="7121525" y="2576513"/>
              <a:chExt cx="398463" cy="436562"/>
            </a:xfrm>
          </p:grpSpPr>
          <p:sp>
            <p:nvSpPr>
              <p:cNvPr id="688" name="Freeform 178">
                <a:extLst>
                  <a:ext uri="{FF2B5EF4-FFF2-40B4-BE49-F238E27FC236}">
                    <a16:creationId xmlns:a16="http://schemas.microsoft.com/office/drawing/2014/main" id="{30C0416C-3734-4684-95FB-BE187C47AAA5}"/>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79">
                <a:extLst>
                  <a:ext uri="{FF2B5EF4-FFF2-40B4-BE49-F238E27FC236}">
                    <a16:creationId xmlns:a16="http://schemas.microsoft.com/office/drawing/2014/main" id="{4A26A300-B200-46E9-8B9F-5700137D3821}"/>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80">
                <a:extLst>
                  <a:ext uri="{FF2B5EF4-FFF2-40B4-BE49-F238E27FC236}">
                    <a16:creationId xmlns:a16="http://schemas.microsoft.com/office/drawing/2014/main" id="{39C73647-B4BC-45D2-AEB0-B720FE1D8035}"/>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09" name="Groupe 708">
            <a:extLst>
              <a:ext uri="{FF2B5EF4-FFF2-40B4-BE49-F238E27FC236}">
                <a16:creationId xmlns:a16="http://schemas.microsoft.com/office/drawing/2014/main" id="{E228F4E4-5F12-4D53-BC97-908452A5927C}"/>
              </a:ext>
              <a:ext uri="{C183D7F6-B498-43B3-948B-1728B52AA6E4}">
                <adec:decorative xmlns:adec="http://schemas.microsoft.com/office/drawing/2017/decorative" val="1"/>
              </a:ext>
            </a:extLst>
          </p:cNvPr>
          <p:cNvGrpSpPr>
            <a:grpSpLocks noChangeAspect="1"/>
          </p:cNvGrpSpPr>
          <p:nvPr/>
        </p:nvGrpSpPr>
        <p:grpSpPr>
          <a:xfrm>
            <a:off x="11104748" y="5099656"/>
            <a:ext cx="657836" cy="633600"/>
            <a:chOff x="698500" y="3881438"/>
            <a:chExt cx="904875" cy="871537"/>
          </a:xfrm>
        </p:grpSpPr>
        <p:sp>
          <p:nvSpPr>
            <p:cNvPr id="710" name="Freeform 218">
              <a:extLst>
                <a:ext uri="{FF2B5EF4-FFF2-40B4-BE49-F238E27FC236}">
                  <a16:creationId xmlns:a16="http://schemas.microsoft.com/office/drawing/2014/main" id="{09360EDB-4882-4969-889A-1B0C239E0E2E}"/>
                </a:ext>
              </a:extLst>
            </p:cNvPr>
            <p:cNvSpPr>
              <a:spLocks/>
            </p:cNvSpPr>
            <p:nvPr/>
          </p:nvSpPr>
          <p:spPr bwMode="auto">
            <a:xfrm>
              <a:off x="698500" y="3881438"/>
              <a:ext cx="904875" cy="871537"/>
            </a:xfrm>
            <a:custGeom>
              <a:avLst/>
              <a:gdLst>
                <a:gd name="T0" fmla="*/ 0 w 241"/>
                <a:gd name="T1" fmla="*/ 114 h 232"/>
                <a:gd name="T2" fmla="*/ 121 w 241"/>
                <a:gd name="T3" fmla="*/ 0 h 232"/>
                <a:gd name="T4" fmla="*/ 241 w 241"/>
                <a:gd name="T5" fmla="*/ 114 h 232"/>
                <a:gd name="T6" fmla="*/ 121 w 241"/>
                <a:gd name="T7" fmla="*/ 228 h 232"/>
                <a:gd name="T8" fmla="*/ 0 w 241"/>
                <a:gd name="T9" fmla="*/ 114 h 232"/>
              </a:gdLst>
              <a:ahLst/>
              <a:cxnLst>
                <a:cxn ang="0">
                  <a:pos x="T0" y="T1"/>
                </a:cxn>
                <a:cxn ang="0">
                  <a:pos x="T2" y="T3"/>
                </a:cxn>
                <a:cxn ang="0">
                  <a:pos x="T4" y="T5"/>
                </a:cxn>
                <a:cxn ang="0">
                  <a:pos x="T6" y="T7"/>
                </a:cxn>
                <a:cxn ang="0">
                  <a:pos x="T8" y="T9"/>
                </a:cxn>
              </a:cxnLst>
              <a:rect l="0" t="0" r="r" b="b"/>
              <a:pathLst>
                <a:path w="241" h="232">
                  <a:moveTo>
                    <a:pt x="0" y="114"/>
                  </a:moveTo>
                  <a:cubicBezTo>
                    <a:pt x="0" y="51"/>
                    <a:pt x="56" y="2"/>
                    <a:pt x="121" y="0"/>
                  </a:cubicBezTo>
                  <a:cubicBezTo>
                    <a:pt x="192" y="0"/>
                    <a:pt x="241" y="51"/>
                    <a:pt x="241" y="114"/>
                  </a:cubicBezTo>
                  <a:cubicBezTo>
                    <a:pt x="241" y="177"/>
                    <a:pt x="172" y="224"/>
                    <a:pt x="121" y="228"/>
                  </a:cubicBezTo>
                  <a:cubicBezTo>
                    <a:pt x="49" y="232"/>
                    <a:pt x="0" y="177"/>
                    <a:pt x="0" y="114"/>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219">
              <a:extLst>
                <a:ext uri="{FF2B5EF4-FFF2-40B4-BE49-F238E27FC236}">
                  <a16:creationId xmlns:a16="http://schemas.microsoft.com/office/drawing/2014/main" id="{5586EE78-DF04-49F2-9AD3-BFD28B30F1CC}"/>
                </a:ext>
              </a:extLst>
            </p:cNvPr>
            <p:cNvSpPr>
              <a:spLocks noEditPoints="1"/>
            </p:cNvSpPr>
            <p:nvPr/>
          </p:nvSpPr>
          <p:spPr bwMode="auto">
            <a:xfrm>
              <a:off x="954088" y="4095750"/>
              <a:ext cx="398463" cy="431800"/>
            </a:xfrm>
            <a:custGeom>
              <a:avLst/>
              <a:gdLst>
                <a:gd name="T0" fmla="*/ 101 w 106"/>
                <a:gd name="T1" fmla="*/ 27 h 115"/>
                <a:gd name="T2" fmla="*/ 101 w 106"/>
                <a:gd name="T3" fmla="*/ 27 h 115"/>
                <a:gd name="T4" fmla="*/ 77 w 106"/>
                <a:gd name="T5" fmla="*/ 3 h 115"/>
                <a:gd name="T6" fmla="*/ 70 w 106"/>
                <a:gd name="T7" fmla="*/ 10 h 115"/>
                <a:gd name="T8" fmla="*/ 84 w 106"/>
                <a:gd name="T9" fmla="*/ 23 h 115"/>
                <a:gd name="T10" fmla="*/ 74 w 106"/>
                <a:gd name="T11" fmla="*/ 38 h 115"/>
                <a:gd name="T12" fmla="*/ 90 w 106"/>
                <a:gd name="T13" fmla="*/ 54 h 115"/>
                <a:gd name="T14" fmla="*/ 96 w 106"/>
                <a:gd name="T15" fmla="*/ 53 h 115"/>
                <a:gd name="T16" fmla="*/ 96 w 106"/>
                <a:gd name="T17" fmla="*/ 99 h 115"/>
                <a:gd name="T18" fmla="*/ 90 w 106"/>
                <a:gd name="T19" fmla="*/ 106 h 115"/>
                <a:gd name="T20" fmla="*/ 83 w 106"/>
                <a:gd name="T21" fmla="*/ 99 h 115"/>
                <a:gd name="T22" fmla="*/ 83 w 106"/>
                <a:gd name="T23" fmla="*/ 70 h 115"/>
                <a:gd name="T24" fmla="*/ 70 w 106"/>
                <a:gd name="T25" fmla="*/ 57 h 115"/>
                <a:gd name="T26" fmla="*/ 64 w 106"/>
                <a:gd name="T27" fmla="*/ 57 h 115"/>
                <a:gd name="T28" fmla="*/ 64 w 106"/>
                <a:gd name="T29" fmla="*/ 12 h 115"/>
                <a:gd name="T30" fmla="*/ 51 w 106"/>
                <a:gd name="T31" fmla="*/ 0 h 115"/>
                <a:gd name="T32" fmla="*/ 12 w 106"/>
                <a:gd name="T33" fmla="*/ 0 h 115"/>
                <a:gd name="T34" fmla="*/ 0 w 106"/>
                <a:gd name="T35" fmla="*/ 12 h 115"/>
                <a:gd name="T36" fmla="*/ 0 w 106"/>
                <a:gd name="T37" fmla="*/ 115 h 115"/>
                <a:gd name="T38" fmla="*/ 64 w 106"/>
                <a:gd name="T39" fmla="*/ 115 h 115"/>
                <a:gd name="T40" fmla="*/ 64 w 106"/>
                <a:gd name="T41" fmla="*/ 67 h 115"/>
                <a:gd name="T42" fmla="*/ 74 w 106"/>
                <a:gd name="T43" fmla="*/ 67 h 115"/>
                <a:gd name="T44" fmla="*/ 74 w 106"/>
                <a:gd name="T45" fmla="*/ 99 h 115"/>
                <a:gd name="T46" fmla="*/ 90 w 106"/>
                <a:gd name="T47" fmla="*/ 115 h 115"/>
                <a:gd name="T48" fmla="*/ 106 w 106"/>
                <a:gd name="T49" fmla="*/ 99 h 115"/>
                <a:gd name="T50" fmla="*/ 106 w 106"/>
                <a:gd name="T51" fmla="*/ 38 h 115"/>
                <a:gd name="T52" fmla="*/ 101 w 106"/>
                <a:gd name="T53" fmla="*/ 27 h 115"/>
                <a:gd name="T54" fmla="*/ 51 w 106"/>
                <a:gd name="T55" fmla="*/ 45 h 115"/>
                <a:gd name="T56" fmla="*/ 12 w 106"/>
                <a:gd name="T57" fmla="*/ 45 h 115"/>
                <a:gd name="T58" fmla="*/ 12 w 106"/>
                <a:gd name="T59" fmla="*/ 12 h 115"/>
                <a:gd name="T60" fmla="*/ 51 w 106"/>
                <a:gd name="T61" fmla="*/ 12 h 115"/>
                <a:gd name="T62" fmla="*/ 51 w 106"/>
                <a:gd name="T63" fmla="*/ 45 h 115"/>
                <a:gd name="T64" fmla="*/ 51 w 106"/>
                <a:gd name="T65" fmla="*/ 45 h 115"/>
                <a:gd name="T66" fmla="*/ 90 w 106"/>
                <a:gd name="T67" fmla="*/ 45 h 115"/>
                <a:gd name="T68" fmla="*/ 83 w 106"/>
                <a:gd name="T69" fmla="*/ 38 h 115"/>
                <a:gd name="T70" fmla="*/ 90 w 106"/>
                <a:gd name="T71" fmla="*/ 32 h 115"/>
                <a:gd name="T72" fmla="*/ 96 w 106"/>
                <a:gd name="T73" fmla="*/ 38 h 115"/>
                <a:gd name="T74" fmla="*/ 90 w 106"/>
                <a:gd name="T75"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115">
                  <a:moveTo>
                    <a:pt x="101" y="27"/>
                  </a:moveTo>
                  <a:cubicBezTo>
                    <a:pt x="101" y="27"/>
                    <a:pt x="101" y="27"/>
                    <a:pt x="101" y="27"/>
                  </a:cubicBezTo>
                  <a:cubicBezTo>
                    <a:pt x="77" y="3"/>
                    <a:pt x="77" y="3"/>
                    <a:pt x="77" y="3"/>
                  </a:cubicBezTo>
                  <a:cubicBezTo>
                    <a:pt x="70" y="10"/>
                    <a:pt x="70" y="10"/>
                    <a:pt x="70" y="10"/>
                  </a:cubicBezTo>
                  <a:cubicBezTo>
                    <a:pt x="84" y="23"/>
                    <a:pt x="84" y="23"/>
                    <a:pt x="84" y="23"/>
                  </a:cubicBezTo>
                  <a:cubicBezTo>
                    <a:pt x="78" y="25"/>
                    <a:pt x="74" y="31"/>
                    <a:pt x="74" y="38"/>
                  </a:cubicBezTo>
                  <a:cubicBezTo>
                    <a:pt x="74" y="47"/>
                    <a:pt x="81" y="54"/>
                    <a:pt x="90" y="54"/>
                  </a:cubicBezTo>
                  <a:cubicBezTo>
                    <a:pt x="92" y="54"/>
                    <a:pt x="94" y="54"/>
                    <a:pt x="96" y="53"/>
                  </a:cubicBezTo>
                  <a:cubicBezTo>
                    <a:pt x="96" y="99"/>
                    <a:pt x="96" y="99"/>
                    <a:pt x="96" y="99"/>
                  </a:cubicBezTo>
                  <a:cubicBezTo>
                    <a:pt x="96" y="103"/>
                    <a:pt x="93" y="106"/>
                    <a:pt x="90" y="106"/>
                  </a:cubicBezTo>
                  <a:cubicBezTo>
                    <a:pt x="86" y="106"/>
                    <a:pt x="83" y="103"/>
                    <a:pt x="83" y="99"/>
                  </a:cubicBezTo>
                  <a:cubicBezTo>
                    <a:pt x="83" y="70"/>
                    <a:pt x="83" y="70"/>
                    <a:pt x="83" y="70"/>
                  </a:cubicBezTo>
                  <a:cubicBezTo>
                    <a:pt x="83" y="63"/>
                    <a:pt x="77" y="57"/>
                    <a:pt x="70" y="57"/>
                  </a:cubicBezTo>
                  <a:cubicBezTo>
                    <a:pt x="64" y="57"/>
                    <a:pt x="64" y="57"/>
                    <a:pt x="64" y="57"/>
                  </a:cubicBezTo>
                  <a:cubicBezTo>
                    <a:pt x="64" y="12"/>
                    <a:pt x="64" y="12"/>
                    <a:pt x="64" y="12"/>
                  </a:cubicBezTo>
                  <a:cubicBezTo>
                    <a:pt x="64" y="5"/>
                    <a:pt x="58" y="0"/>
                    <a:pt x="51" y="0"/>
                  </a:cubicBezTo>
                  <a:cubicBezTo>
                    <a:pt x="12" y="0"/>
                    <a:pt x="12" y="0"/>
                    <a:pt x="12" y="0"/>
                  </a:cubicBezTo>
                  <a:cubicBezTo>
                    <a:pt x="5" y="0"/>
                    <a:pt x="0" y="5"/>
                    <a:pt x="0" y="12"/>
                  </a:cubicBezTo>
                  <a:cubicBezTo>
                    <a:pt x="0" y="115"/>
                    <a:pt x="0" y="115"/>
                    <a:pt x="0" y="115"/>
                  </a:cubicBezTo>
                  <a:cubicBezTo>
                    <a:pt x="64" y="115"/>
                    <a:pt x="64" y="115"/>
                    <a:pt x="64" y="115"/>
                  </a:cubicBezTo>
                  <a:cubicBezTo>
                    <a:pt x="64" y="67"/>
                    <a:pt x="64" y="67"/>
                    <a:pt x="64" y="67"/>
                  </a:cubicBezTo>
                  <a:cubicBezTo>
                    <a:pt x="74" y="67"/>
                    <a:pt x="74" y="67"/>
                    <a:pt x="74" y="67"/>
                  </a:cubicBezTo>
                  <a:cubicBezTo>
                    <a:pt x="74" y="99"/>
                    <a:pt x="74" y="99"/>
                    <a:pt x="74" y="99"/>
                  </a:cubicBezTo>
                  <a:cubicBezTo>
                    <a:pt x="74" y="108"/>
                    <a:pt x="81" y="115"/>
                    <a:pt x="90" y="115"/>
                  </a:cubicBezTo>
                  <a:cubicBezTo>
                    <a:pt x="99" y="115"/>
                    <a:pt x="106" y="108"/>
                    <a:pt x="106" y="99"/>
                  </a:cubicBezTo>
                  <a:cubicBezTo>
                    <a:pt x="106" y="38"/>
                    <a:pt x="106" y="38"/>
                    <a:pt x="106" y="38"/>
                  </a:cubicBezTo>
                  <a:cubicBezTo>
                    <a:pt x="106" y="34"/>
                    <a:pt x="104" y="30"/>
                    <a:pt x="101" y="27"/>
                  </a:cubicBezTo>
                  <a:close/>
                  <a:moveTo>
                    <a:pt x="51" y="45"/>
                  </a:moveTo>
                  <a:cubicBezTo>
                    <a:pt x="12" y="45"/>
                    <a:pt x="12" y="45"/>
                    <a:pt x="12" y="45"/>
                  </a:cubicBezTo>
                  <a:cubicBezTo>
                    <a:pt x="12" y="12"/>
                    <a:pt x="12" y="12"/>
                    <a:pt x="12" y="12"/>
                  </a:cubicBezTo>
                  <a:cubicBezTo>
                    <a:pt x="51" y="12"/>
                    <a:pt x="51" y="12"/>
                    <a:pt x="51" y="12"/>
                  </a:cubicBezTo>
                  <a:cubicBezTo>
                    <a:pt x="51" y="45"/>
                    <a:pt x="51" y="45"/>
                    <a:pt x="51" y="45"/>
                  </a:cubicBezTo>
                  <a:cubicBezTo>
                    <a:pt x="51" y="45"/>
                    <a:pt x="51" y="45"/>
                    <a:pt x="51" y="45"/>
                  </a:cubicBezTo>
                  <a:close/>
                  <a:moveTo>
                    <a:pt x="90" y="45"/>
                  </a:moveTo>
                  <a:cubicBezTo>
                    <a:pt x="86" y="45"/>
                    <a:pt x="83" y="42"/>
                    <a:pt x="83" y="38"/>
                  </a:cubicBezTo>
                  <a:cubicBezTo>
                    <a:pt x="83" y="35"/>
                    <a:pt x="86" y="32"/>
                    <a:pt x="90" y="32"/>
                  </a:cubicBezTo>
                  <a:cubicBezTo>
                    <a:pt x="93" y="32"/>
                    <a:pt x="96" y="35"/>
                    <a:pt x="96" y="38"/>
                  </a:cubicBezTo>
                  <a:cubicBezTo>
                    <a:pt x="96" y="42"/>
                    <a:pt x="93" y="45"/>
                    <a:pt x="90" y="4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20" name="Groupe 719">
            <a:extLst>
              <a:ext uri="{FF2B5EF4-FFF2-40B4-BE49-F238E27FC236}">
                <a16:creationId xmlns:a16="http://schemas.microsoft.com/office/drawing/2014/main" id="{657446BD-A85A-463D-847B-C99E2E0E883E}"/>
              </a:ext>
              <a:ext uri="{C183D7F6-B498-43B3-948B-1728B52AA6E4}">
                <adec:decorative xmlns:adec="http://schemas.microsoft.com/office/drawing/2017/decorative" val="1"/>
              </a:ext>
            </a:extLst>
          </p:cNvPr>
          <p:cNvGrpSpPr>
            <a:grpSpLocks noChangeAspect="1"/>
          </p:cNvGrpSpPr>
          <p:nvPr/>
        </p:nvGrpSpPr>
        <p:grpSpPr>
          <a:xfrm>
            <a:off x="2881687" y="3828093"/>
            <a:ext cx="659851" cy="633600"/>
            <a:chOff x="4468813" y="2359025"/>
            <a:chExt cx="877888" cy="842962"/>
          </a:xfrm>
        </p:grpSpPr>
        <p:sp>
          <p:nvSpPr>
            <p:cNvPr id="721" name="Freeform 147">
              <a:extLst>
                <a:ext uri="{FF2B5EF4-FFF2-40B4-BE49-F238E27FC236}">
                  <a16:creationId xmlns:a16="http://schemas.microsoft.com/office/drawing/2014/main" id="{D5E250F7-5E1E-4345-AFF4-EA2B66E66643}"/>
                </a:ext>
              </a:extLst>
            </p:cNvPr>
            <p:cNvSpPr>
              <a:spLocks/>
            </p:cNvSpPr>
            <p:nvPr/>
          </p:nvSpPr>
          <p:spPr bwMode="auto">
            <a:xfrm>
              <a:off x="4468813"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2" name="Groupe 721">
              <a:extLst>
                <a:ext uri="{FF2B5EF4-FFF2-40B4-BE49-F238E27FC236}">
                  <a16:creationId xmlns:a16="http://schemas.microsoft.com/office/drawing/2014/main" id="{45A33C44-404D-46AA-8F1C-55F969FD4CCD}"/>
                </a:ext>
              </a:extLst>
            </p:cNvPr>
            <p:cNvGrpSpPr/>
            <p:nvPr/>
          </p:nvGrpSpPr>
          <p:grpSpPr>
            <a:xfrm>
              <a:off x="4716463" y="2559050"/>
              <a:ext cx="401638" cy="439737"/>
              <a:chOff x="4716463" y="2559050"/>
              <a:chExt cx="401638" cy="439737"/>
            </a:xfrm>
          </p:grpSpPr>
          <p:sp>
            <p:nvSpPr>
              <p:cNvPr id="723" name="Freeform 148">
                <a:extLst>
                  <a:ext uri="{FF2B5EF4-FFF2-40B4-BE49-F238E27FC236}">
                    <a16:creationId xmlns:a16="http://schemas.microsoft.com/office/drawing/2014/main" id="{00A3EC01-AB5A-4937-96E0-954C4521A742}"/>
                  </a:ext>
                </a:extLst>
              </p:cNvPr>
              <p:cNvSpPr>
                <a:spLocks noEditPoints="1"/>
              </p:cNvSpPr>
              <p:nvPr/>
            </p:nvSpPr>
            <p:spPr bwMode="auto">
              <a:xfrm>
                <a:off x="4716463" y="2559050"/>
                <a:ext cx="401638" cy="439737"/>
              </a:xfrm>
              <a:custGeom>
                <a:avLst/>
                <a:gdLst>
                  <a:gd name="T0" fmla="*/ 103 w 107"/>
                  <a:gd name="T1" fmla="*/ 33 h 117"/>
                  <a:gd name="T2" fmla="*/ 93 w 107"/>
                  <a:gd name="T3" fmla="*/ 29 h 117"/>
                  <a:gd name="T4" fmla="*/ 82 w 107"/>
                  <a:gd name="T5" fmla="*/ 33 h 117"/>
                  <a:gd name="T6" fmla="*/ 78 w 107"/>
                  <a:gd name="T7" fmla="*/ 44 h 117"/>
                  <a:gd name="T8" fmla="*/ 81 w 107"/>
                  <a:gd name="T9" fmla="*/ 52 h 117"/>
                  <a:gd name="T10" fmla="*/ 88 w 107"/>
                  <a:gd name="T11" fmla="*/ 58 h 117"/>
                  <a:gd name="T12" fmla="*/ 88 w 107"/>
                  <a:gd name="T13" fmla="*/ 88 h 117"/>
                  <a:gd name="T14" fmla="*/ 81 w 107"/>
                  <a:gd name="T15" fmla="*/ 101 h 117"/>
                  <a:gd name="T16" fmla="*/ 64 w 107"/>
                  <a:gd name="T17" fmla="*/ 107 h 117"/>
                  <a:gd name="T18" fmla="*/ 46 w 107"/>
                  <a:gd name="T19" fmla="*/ 101 h 117"/>
                  <a:gd name="T20" fmla="*/ 39 w 107"/>
                  <a:gd name="T21" fmla="*/ 88 h 117"/>
                  <a:gd name="T22" fmla="*/ 39 w 107"/>
                  <a:gd name="T23" fmla="*/ 78 h 117"/>
                  <a:gd name="T24" fmla="*/ 60 w 107"/>
                  <a:gd name="T25" fmla="*/ 68 h 117"/>
                  <a:gd name="T26" fmla="*/ 68 w 107"/>
                  <a:gd name="T27" fmla="*/ 49 h 117"/>
                  <a:gd name="T28" fmla="*/ 68 w 107"/>
                  <a:gd name="T29" fmla="*/ 10 h 117"/>
                  <a:gd name="T30" fmla="*/ 67 w 107"/>
                  <a:gd name="T31" fmla="*/ 6 h 117"/>
                  <a:gd name="T32" fmla="*/ 64 w 107"/>
                  <a:gd name="T33" fmla="*/ 5 h 117"/>
                  <a:gd name="T34" fmla="*/ 62 w 107"/>
                  <a:gd name="T35" fmla="*/ 5 h 117"/>
                  <a:gd name="T36" fmla="*/ 59 w 107"/>
                  <a:gd name="T37" fmla="*/ 1 h 117"/>
                  <a:gd name="T38" fmla="*/ 54 w 107"/>
                  <a:gd name="T39" fmla="*/ 0 h 117"/>
                  <a:gd name="T40" fmla="*/ 47 w 107"/>
                  <a:gd name="T41" fmla="*/ 3 h 117"/>
                  <a:gd name="T42" fmla="*/ 44 w 107"/>
                  <a:gd name="T43" fmla="*/ 10 h 117"/>
                  <a:gd name="T44" fmla="*/ 47 w 107"/>
                  <a:gd name="T45" fmla="*/ 17 h 117"/>
                  <a:gd name="T46" fmla="*/ 54 w 107"/>
                  <a:gd name="T47" fmla="*/ 19 h 117"/>
                  <a:gd name="T48" fmla="*/ 59 w 107"/>
                  <a:gd name="T49" fmla="*/ 18 h 117"/>
                  <a:gd name="T50" fmla="*/ 59 w 107"/>
                  <a:gd name="T51" fmla="*/ 49 h 117"/>
                  <a:gd name="T52" fmla="*/ 52 w 107"/>
                  <a:gd name="T53" fmla="*/ 62 h 117"/>
                  <a:gd name="T54" fmla="*/ 34 w 107"/>
                  <a:gd name="T55" fmla="*/ 68 h 117"/>
                  <a:gd name="T56" fmla="*/ 17 w 107"/>
                  <a:gd name="T57" fmla="*/ 62 h 117"/>
                  <a:gd name="T58" fmla="*/ 10 w 107"/>
                  <a:gd name="T59" fmla="*/ 49 h 117"/>
                  <a:gd name="T60" fmla="*/ 10 w 107"/>
                  <a:gd name="T61" fmla="*/ 18 h 117"/>
                  <a:gd name="T62" fmla="*/ 15 w 107"/>
                  <a:gd name="T63" fmla="*/ 19 h 117"/>
                  <a:gd name="T64" fmla="*/ 22 w 107"/>
                  <a:gd name="T65" fmla="*/ 17 h 117"/>
                  <a:gd name="T66" fmla="*/ 25 w 107"/>
                  <a:gd name="T67" fmla="*/ 10 h 117"/>
                  <a:gd name="T68" fmla="*/ 22 w 107"/>
                  <a:gd name="T69" fmla="*/ 3 h 117"/>
                  <a:gd name="T70" fmla="*/ 15 w 107"/>
                  <a:gd name="T71" fmla="*/ 0 h 117"/>
                  <a:gd name="T72" fmla="*/ 10 w 107"/>
                  <a:gd name="T73" fmla="*/ 1 h 117"/>
                  <a:gd name="T74" fmla="*/ 6 w 107"/>
                  <a:gd name="T75" fmla="*/ 5 h 117"/>
                  <a:gd name="T76" fmla="*/ 5 w 107"/>
                  <a:gd name="T77" fmla="*/ 5 h 117"/>
                  <a:gd name="T78" fmla="*/ 2 w 107"/>
                  <a:gd name="T79" fmla="*/ 6 h 117"/>
                  <a:gd name="T80" fmla="*/ 0 w 107"/>
                  <a:gd name="T81" fmla="*/ 10 h 117"/>
                  <a:gd name="T82" fmla="*/ 0 w 107"/>
                  <a:gd name="T83" fmla="*/ 49 h 117"/>
                  <a:gd name="T84" fmla="*/ 9 w 107"/>
                  <a:gd name="T85" fmla="*/ 68 h 117"/>
                  <a:gd name="T86" fmla="*/ 29 w 107"/>
                  <a:gd name="T87" fmla="*/ 78 h 117"/>
                  <a:gd name="T88" fmla="*/ 29 w 107"/>
                  <a:gd name="T89" fmla="*/ 88 h 117"/>
                  <a:gd name="T90" fmla="*/ 39 w 107"/>
                  <a:gd name="T91" fmla="*/ 108 h 117"/>
                  <a:gd name="T92" fmla="*/ 64 w 107"/>
                  <a:gd name="T93" fmla="*/ 117 h 117"/>
                  <a:gd name="T94" fmla="*/ 88 w 107"/>
                  <a:gd name="T95" fmla="*/ 108 h 117"/>
                  <a:gd name="T96" fmla="*/ 98 w 107"/>
                  <a:gd name="T97" fmla="*/ 88 h 117"/>
                  <a:gd name="T98" fmla="*/ 98 w 107"/>
                  <a:gd name="T99" fmla="*/ 58 h 117"/>
                  <a:gd name="T100" fmla="*/ 105 w 107"/>
                  <a:gd name="T101" fmla="*/ 52 h 117"/>
                  <a:gd name="T102" fmla="*/ 107 w 107"/>
                  <a:gd name="T103" fmla="*/ 44 h 117"/>
                  <a:gd name="T104" fmla="*/ 103 w 107"/>
                  <a:gd name="T105" fmla="*/ 33 h 117"/>
                  <a:gd name="T106" fmla="*/ 96 w 107"/>
                  <a:gd name="T107" fmla="*/ 47 h 117"/>
                  <a:gd name="T108" fmla="*/ 93 w 107"/>
                  <a:gd name="T109" fmla="*/ 49 h 117"/>
                  <a:gd name="T110" fmla="*/ 89 w 107"/>
                  <a:gd name="T111" fmla="*/ 47 h 117"/>
                  <a:gd name="T112" fmla="*/ 88 w 107"/>
                  <a:gd name="T113" fmla="*/ 44 h 117"/>
                  <a:gd name="T114" fmla="*/ 89 w 107"/>
                  <a:gd name="T115" fmla="*/ 40 h 117"/>
                  <a:gd name="T116" fmla="*/ 93 w 107"/>
                  <a:gd name="T117" fmla="*/ 39 h 117"/>
                  <a:gd name="T118" fmla="*/ 96 w 107"/>
                  <a:gd name="T119" fmla="*/ 40 h 117"/>
                  <a:gd name="T120" fmla="*/ 98 w 107"/>
                  <a:gd name="T121" fmla="*/ 44 h 117"/>
                  <a:gd name="T122" fmla="*/ 96 w 107"/>
                  <a:gd name="T123" fmla="*/ 4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7" h="117">
                    <a:moveTo>
                      <a:pt x="103" y="33"/>
                    </a:moveTo>
                    <a:cubicBezTo>
                      <a:pt x="100" y="31"/>
                      <a:pt x="97" y="29"/>
                      <a:pt x="93" y="29"/>
                    </a:cubicBezTo>
                    <a:cubicBezTo>
                      <a:pt x="89" y="29"/>
                      <a:pt x="85" y="31"/>
                      <a:pt x="82" y="33"/>
                    </a:cubicBezTo>
                    <a:cubicBezTo>
                      <a:pt x="80" y="36"/>
                      <a:pt x="78" y="40"/>
                      <a:pt x="78" y="44"/>
                    </a:cubicBezTo>
                    <a:cubicBezTo>
                      <a:pt x="78" y="47"/>
                      <a:pt x="79" y="50"/>
                      <a:pt x="81" y="52"/>
                    </a:cubicBezTo>
                    <a:cubicBezTo>
                      <a:pt x="83" y="55"/>
                      <a:pt x="85" y="56"/>
                      <a:pt x="88" y="58"/>
                    </a:cubicBezTo>
                    <a:cubicBezTo>
                      <a:pt x="88" y="88"/>
                      <a:pt x="88" y="88"/>
                      <a:pt x="88" y="88"/>
                    </a:cubicBezTo>
                    <a:cubicBezTo>
                      <a:pt x="88" y="93"/>
                      <a:pt x="86" y="97"/>
                      <a:pt x="81" y="101"/>
                    </a:cubicBezTo>
                    <a:cubicBezTo>
                      <a:pt x="76" y="105"/>
                      <a:pt x="70" y="107"/>
                      <a:pt x="64" y="107"/>
                    </a:cubicBezTo>
                    <a:cubicBezTo>
                      <a:pt x="57" y="107"/>
                      <a:pt x="51" y="105"/>
                      <a:pt x="46" y="101"/>
                    </a:cubicBezTo>
                    <a:cubicBezTo>
                      <a:pt x="42" y="97"/>
                      <a:pt x="39" y="93"/>
                      <a:pt x="39" y="88"/>
                    </a:cubicBezTo>
                    <a:cubicBezTo>
                      <a:pt x="39" y="78"/>
                      <a:pt x="39" y="78"/>
                      <a:pt x="39" y="78"/>
                    </a:cubicBezTo>
                    <a:cubicBezTo>
                      <a:pt x="48" y="77"/>
                      <a:pt x="54" y="73"/>
                      <a:pt x="60" y="68"/>
                    </a:cubicBezTo>
                    <a:cubicBezTo>
                      <a:pt x="66" y="62"/>
                      <a:pt x="68" y="56"/>
                      <a:pt x="68" y="49"/>
                    </a:cubicBezTo>
                    <a:cubicBezTo>
                      <a:pt x="68" y="10"/>
                      <a:pt x="68" y="10"/>
                      <a:pt x="68" y="10"/>
                    </a:cubicBezTo>
                    <a:cubicBezTo>
                      <a:pt x="68" y="8"/>
                      <a:pt x="68" y="7"/>
                      <a:pt x="67" y="6"/>
                    </a:cubicBezTo>
                    <a:cubicBezTo>
                      <a:pt x="66" y="5"/>
                      <a:pt x="65" y="5"/>
                      <a:pt x="64" y="5"/>
                    </a:cubicBezTo>
                    <a:cubicBezTo>
                      <a:pt x="63" y="5"/>
                      <a:pt x="63" y="5"/>
                      <a:pt x="62" y="5"/>
                    </a:cubicBezTo>
                    <a:cubicBezTo>
                      <a:pt x="61" y="4"/>
                      <a:pt x="60" y="2"/>
                      <a:pt x="59" y="1"/>
                    </a:cubicBezTo>
                    <a:cubicBezTo>
                      <a:pt x="57" y="1"/>
                      <a:pt x="56" y="0"/>
                      <a:pt x="54" y="0"/>
                    </a:cubicBezTo>
                    <a:cubicBezTo>
                      <a:pt x="51" y="0"/>
                      <a:pt x="49" y="1"/>
                      <a:pt x="47" y="3"/>
                    </a:cubicBezTo>
                    <a:cubicBezTo>
                      <a:pt x="45" y="5"/>
                      <a:pt x="44" y="7"/>
                      <a:pt x="44" y="10"/>
                    </a:cubicBezTo>
                    <a:cubicBezTo>
                      <a:pt x="44" y="12"/>
                      <a:pt x="45" y="15"/>
                      <a:pt x="47" y="17"/>
                    </a:cubicBezTo>
                    <a:cubicBezTo>
                      <a:pt x="49" y="19"/>
                      <a:pt x="51" y="19"/>
                      <a:pt x="54" y="19"/>
                    </a:cubicBezTo>
                    <a:cubicBezTo>
                      <a:pt x="55" y="19"/>
                      <a:pt x="57" y="19"/>
                      <a:pt x="59" y="18"/>
                    </a:cubicBezTo>
                    <a:cubicBezTo>
                      <a:pt x="59" y="49"/>
                      <a:pt x="59" y="49"/>
                      <a:pt x="59" y="49"/>
                    </a:cubicBezTo>
                    <a:cubicBezTo>
                      <a:pt x="59" y="54"/>
                      <a:pt x="56" y="59"/>
                      <a:pt x="52" y="62"/>
                    </a:cubicBezTo>
                    <a:cubicBezTo>
                      <a:pt x="47" y="66"/>
                      <a:pt x="41" y="68"/>
                      <a:pt x="34" y="68"/>
                    </a:cubicBezTo>
                    <a:cubicBezTo>
                      <a:pt x="28" y="68"/>
                      <a:pt x="22" y="66"/>
                      <a:pt x="17" y="62"/>
                    </a:cubicBezTo>
                    <a:cubicBezTo>
                      <a:pt x="12" y="59"/>
                      <a:pt x="10" y="54"/>
                      <a:pt x="10" y="49"/>
                    </a:cubicBezTo>
                    <a:cubicBezTo>
                      <a:pt x="10" y="18"/>
                      <a:pt x="10" y="18"/>
                      <a:pt x="10" y="18"/>
                    </a:cubicBezTo>
                    <a:cubicBezTo>
                      <a:pt x="11" y="19"/>
                      <a:pt x="13" y="19"/>
                      <a:pt x="15" y="19"/>
                    </a:cubicBezTo>
                    <a:cubicBezTo>
                      <a:pt x="17" y="19"/>
                      <a:pt x="20" y="19"/>
                      <a:pt x="22" y="17"/>
                    </a:cubicBezTo>
                    <a:cubicBezTo>
                      <a:pt x="24" y="15"/>
                      <a:pt x="25" y="12"/>
                      <a:pt x="25" y="10"/>
                    </a:cubicBezTo>
                    <a:cubicBezTo>
                      <a:pt x="25" y="7"/>
                      <a:pt x="24" y="5"/>
                      <a:pt x="22" y="3"/>
                    </a:cubicBezTo>
                    <a:cubicBezTo>
                      <a:pt x="20" y="1"/>
                      <a:pt x="17" y="0"/>
                      <a:pt x="15" y="0"/>
                    </a:cubicBezTo>
                    <a:cubicBezTo>
                      <a:pt x="13" y="0"/>
                      <a:pt x="11" y="1"/>
                      <a:pt x="10" y="1"/>
                    </a:cubicBezTo>
                    <a:cubicBezTo>
                      <a:pt x="8" y="2"/>
                      <a:pt x="7" y="4"/>
                      <a:pt x="6" y="5"/>
                    </a:cubicBezTo>
                    <a:cubicBezTo>
                      <a:pt x="6" y="5"/>
                      <a:pt x="5" y="5"/>
                      <a:pt x="5" y="5"/>
                    </a:cubicBezTo>
                    <a:cubicBezTo>
                      <a:pt x="4" y="5"/>
                      <a:pt x="3" y="5"/>
                      <a:pt x="2" y="6"/>
                    </a:cubicBezTo>
                    <a:cubicBezTo>
                      <a:pt x="1" y="7"/>
                      <a:pt x="0" y="8"/>
                      <a:pt x="0" y="10"/>
                    </a:cubicBezTo>
                    <a:cubicBezTo>
                      <a:pt x="0" y="49"/>
                      <a:pt x="0" y="49"/>
                      <a:pt x="0" y="49"/>
                    </a:cubicBezTo>
                    <a:cubicBezTo>
                      <a:pt x="0" y="56"/>
                      <a:pt x="3" y="62"/>
                      <a:pt x="9" y="68"/>
                    </a:cubicBezTo>
                    <a:cubicBezTo>
                      <a:pt x="14" y="73"/>
                      <a:pt x="21" y="77"/>
                      <a:pt x="29" y="78"/>
                    </a:cubicBezTo>
                    <a:cubicBezTo>
                      <a:pt x="29" y="88"/>
                      <a:pt x="29" y="88"/>
                      <a:pt x="29" y="88"/>
                    </a:cubicBezTo>
                    <a:cubicBezTo>
                      <a:pt x="29" y="96"/>
                      <a:pt x="33" y="102"/>
                      <a:pt x="39" y="108"/>
                    </a:cubicBezTo>
                    <a:cubicBezTo>
                      <a:pt x="46" y="114"/>
                      <a:pt x="54" y="117"/>
                      <a:pt x="64" y="117"/>
                    </a:cubicBezTo>
                    <a:cubicBezTo>
                      <a:pt x="73" y="117"/>
                      <a:pt x="81" y="114"/>
                      <a:pt x="88" y="108"/>
                    </a:cubicBezTo>
                    <a:cubicBezTo>
                      <a:pt x="94" y="102"/>
                      <a:pt x="98" y="96"/>
                      <a:pt x="98" y="88"/>
                    </a:cubicBezTo>
                    <a:cubicBezTo>
                      <a:pt x="98" y="58"/>
                      <a:pt x="98" y="58"/>
                      <a:pt x="98" y="58"/>
                    </a:cubicBezTo>
                    <a:cubicBezTo>
                      <a:pt x="101" y="56"/>
                      <a:pt x="103" y="55"/>
                      <a:pt x="105" y="52"/>
                    </a:cubicBezTo>
                    <a:cubicBezTo>
                      <a:pt x="107" y="50"/>
                      <a:pt x="107" y="47"/>
                      <a:pt x="107" y="44"/>
                    </a:cubicBezTo>
                    <a:cubicBezTo>
                      <a:pt x="107" y="40"/>
                      <a:pt x="106" y="36"/>
                      <a:pt x="103" y="33"/>
                    </a:cubicBezTo>
                    <a:close/>
                    <a:moveTo>
                      <a:pt x="96" y="47"/>
                    </a:moveTo>
                    <a:cubicBezTo>
                      <a:pt x="95" y="48"/>
                      <a:pt x="94" y="49"/>
                      <a:pt x="93" y="49"/>
                    </a:cubicBezTo>
                    <a:cubicBezTo>
                      <a:pt x="92" y="49"/>
                      <a:pt x="90" y="48"/>
                      <a:pt x="89" y="47"/>
                    </a:cubicBezTo>
                    <a:cubicBezTo>
                      <a:pt x="88" y="46"/>
                      <a:pt x="88" y="45"/>
                      <a:pt x="88" y="44"/>
                    </a:cubicBezTo>
                    <a:cubicBezTo>
                      <a:pt x="88" y="42"/>
                      <a:pt x="88" y="41"/>
                      <a:pt x="89" y="40"/>
                    </a:cubicBezTo>
                    <a:cubicBezTo>
                      <a:pt x="90" y="39"/>
                      <a:pt x="92" y="39"/>
                      <a:pt x="93" y="39"/>
                    </a:cubicBezTo>
                    <a:cubicBezTo>
                      <a:pt x="94" y="39"/>
                      <a:pt x="95" y="39"/>
                      <a:pt x="96" y="40"/>
                    </a:cubicBezTo>
                    <a:cubicBezTo>
                      <a:pt x="97" y="41"/>
                      <a:pt x="98" y="42"/>
                      <a:pt x="98" y="44"/>
                    </a:cubicBezTo>
                    <a:cubicBezTo>
                      <a:pt x="98" y="45"/>
                      <a:pt x="97" y="46"/>
                      <a:pt x="96" y="47"/>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Oval 149">
                <a:extLst>
                  <a:ext uri="{FF2B5EF4-FFF2-40B4-BE49-F238E27FC236}">
                    <a16:creationId xmlns:a16="http://schemas.microsoft.com/office/drawing/2014/main" id="{D3F6A44F-858D-493E-AEEC-BC4FED5279EE}"/>
                  </a:ext>
                </a:extLst>
              </p:cNvPr>
              <p:cNvSpPr>
                <a:spLocks noChangeArrowheads="1"/>
              </p:cNvSpPr>
              <p:nvPr/>
            </p:nvSpPr>
            <p:spPr bwMode="auto">
              <a:xfrm>
                <a:off x="4749800" y="2570163"/>
                <a:ext cx="38100" cy="41275"/>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Oval 150">
                <a:extLst>
                  <a:ext uri="{FF2B5EF4-FFF2-40B4-BE49-F238E27FC236}">
                    <a16:creationId xmlns:a16="http://schemas.microsoft.com/office/drawing/2014/main" id="{95ECD845-7ADC-4E16-85C3-A8849433E92C}"/>
                  </a:ext>
                </a:extLst>
              </p:cNvPr>
              <p:cNvSpPr>
                <a:spLocks noChangeArrowheads="1"/>
              </p:cNvSpPr>
              <p:nvPr/>
            </p:nvSpPr>
            <p:spPr bwMode="auto">
              <a:xfrm>
                <a:off x="4749800" y="2570163"/>
                <a:ext cx="38100" cy="41275"/>
              </a:xfrm>
              <a:prstGeom prst="ellipse">
                <a:avLst/>
              </a:prstGeom>
              <a:solidFill>
                <a:schemeClr val="accent3"/>
              </a:solidFill>
              <a:ln w="14288"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6" name="Oval 151">
                <a:extLst>
                  <a:ext uri="{FF2B5EF4-FFF2-40B4-BE49-F238E27FC236}">
                    <a16:creationId xmlns:a16="http://schemas.microsoft.com/office/drawing/2014/main" id="{A50175E6-A95A-463B-8610-6C5848D48842}"/>
                  </a:ext>
                </a:extLst>
              </p:cNvPr>
              <p:cNvSpPr>
                <a:spLocks noChangeArrowheads="1"/>
              </p:cNvSpPr>
              <p:nvPr/>
            </p:nvSpPr>
            <p:spPr bwMode="auto">
              <a:xfrm>
                <a:off x="4892675" y="2573338"/>
                <a:ext cx="41275" cy="41275"/>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Oval 152">
                <a:extLst>
                  <a:ext uri="{FF2B5EF4-FFF2-40B4-BE49-F238E27FC236}">
                    <a16:creationId xmlns:a16="http://schemas.microsoft.com/office/drawing/2014/main" id="{F4C36BA0-CAE3-4DD2-BE03-0CDD58D31342}"/>
                  </a:ext>
                </a:extLst>
              </p:cNvPr>
              <p:cNvSpPr>
                <a:spLocks noChangeArrowheads="1"/>
              </p:cNvSpPr>
              <p:nvPr/>
            </p:nvSpPr>
            <p:spPr bwMode="auto">
              <a:xfrm>
                <a:off x="4892675" y="2573338"/>
                <a:ext cx="41275" cy="41275"/>
              </a:xfrm>
              <a:prstGeom prst="ellipse">
                <a:avLst/>
              </a:prstGeom>
              <a:solidFill>
                <a:schemeClr val="accent3"/>
              </a:solidFill>
              <a:ln w="14288"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40" name="Groupe 739">
            <a:extLst>
              <a:ext uri="{FF2B5EF4-FFF2-40B4-BE49-F238E27FC236}">
                <a16:creationId xmlns:a16="http://schemas.microsoft.com/office/drawing/2014/main" id="{D5829C8C-627E-492E-9068-BFE3199640CF}"/>
              </a:ext>
              <a:ext uri="{C183D7F6-B498-43B3-948B-1728B52AA6E4}">
                <adec:decorative xmlns:adec="http://schemas.microsoft.com/office/drawing/2017/decorative" val="1"/>
              </a:ext>
            </a:extLst>
          </p:cNvPr>
          <p:cNvGrpSpPr>
            <a:grpSpLocks noChangeAspect="1"/>
          </p:cNvGrpSpPr>
          <p:nvPr/>
        </p:nvGrpSpPr>
        <p:grpSpPr>
          <a:xfrm>
            <a:off x="7119930" y="3828093"/>
            <a:ext cx="659851" cy="633600"/>
            <a:chOff x="5695950" y="2359025"/>
            <a:chExt cx="877888" cy="842962"/>
          </a:xfrm>
        </p:grpSpPr>
        <p:sp>
          <p:nvSpPr>
            <p:cNvPr id="741" name="Freeform 165">
              <a:extLst>
                <a:ext uri="{FF2B5EF4-FFF2-40B4-BE49-F238E27FC236}">
                  <a16:creationId xmlns:a16="http://schemas.microsoft.com/office/drawing/2014/main" id="{15849260-A68F-41B1-993A-14D9861BE41C}"/>
                </a:ext>
              </a:extLst>
            </p:cNvPr>
            <p:cNvSpPr>
              <a:spLocks/>
            </p:cNvSpPr>
            <p:nvPr/>
          </p:nvSpPr>
          <p:spPr bwMode="auto">
            <a:xfrm>
              <a:off x="5695950"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42" name="Groupe 741">
              <a:extLst>
                <a:ext uri="{FF2B5EF4-FFF2-40B4-BE49-F238E27FC236}">
                  <a16:creationId xmlns:a16="http://schemas.microsoft.com/office/drawing/2014/main" id="{F172684F-13EA-4CC9-9A26-D92541C418CC}"/>
                </a:ext>
              </a:extLst>
            </p:cNvPr>
            <p:cNvGrpSpPr/>
            <p:nvPr/>
          </p:nvGrpSpPr>
          <p:grpSpPr>
            <a:xfrm>
              <a:off x="5921375" y="2547938"/>
              <a:ext cx="438150" cy="409575"/>
              <a:chOff x="5921375" y="2547938"/>
              <a:chExt cx="438150" cy="409575"/>
            </a:xfrm>
          </p:grpSpPr>
          <p:sp>
            <p:nvSpPr>
              <p:cNvPr id="743" name="Freeform 166">
                <a:extLst>
                  <a:ext uri="{FF2B5EF4-FFF2-40B4-BE49-F238E27FC236}">
                    <a16:creationId xmlns:a16="http://schemas.microsoft.com/office/drawing/2014/main" id="{546CE812-B47A-447F-AF30-948B97AE3CF1}"/>
                  </a:ext>
                </a:extLst>
              </p:cNvPr>
              <p:cNvSpPr>
                <a:spLocks/>
              </p:cNvSpPr>
              <p:nvPr/>
            </p:nvSpPr>
            <p:spPr bwMode="auto">
              <a:xfrm>
                <a:off x="5921375" y="2547938"/>
                <a:ext cx="438150" cy="149225"/>
              </a:xfrm>
              <a:custGeom>
                <a:avLst/>
                <a:gdLst>
                  <a:gd name="T0" fmla="*/ 112 w 117"/>
                  <a:gd name="T1" fmla="*/ 27 h 40"/>
                  <a:gd name="T2" fmla="*/ 62 w 117"/>
                  <a:gd name="T3" fmla="*/ 1 h 40"/>
                  <a:gd name="T4" fmla="*/ 56 w 117"/>
                  <a:gd name="T5" fmla="*/ 1 h 40"/>
                  <a:gd name="T6" fmla="*/ 5 w 117"/>
                  <a:gd name="T7" fmla="*/ 27 h 40"/>
                  <a:gd name="T8" fmla="*/ 2 w 117"/>
                  <a:gd name="T9" fmla="*/ 35 h 40"/>
                  <a:gd name="T10" fmla="*/ 11 w 117"/>
                  <a:gd name="T11" fmla="*/ 38 h 40"/>
                  <a:gd name="T12" fmla="*/ 59 w 117"/>
                  <a:gd name="T13" fmla="*/ 14 h 40"/>
                  <a:gd name="T14" fmla="*/ 107 w 117"/>
                  <a:gd name="T15" fmla="*/ 38 h 40"/>
                  <a:gd name="T16" fmla="*/ 109 w 117"/>
                  <a:gd name="T17" fmla="*/ 39 h 40"/>
                  <a:gd name="T18" fmla="*/ 115 w 117"/>
                  <a:gd name="T19" fmla="*/ 35 h 40"/>
                  <a:gd name="T20" fmla="*/ 112 w 117"/>
                  <a:gd name="T21"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40">
                    <a:moveTo>
                      <a:pt x="112" y="27"/>
                    </a:moveTo>
                    <a:cubicBezTo>
                      <a:pt x="62" y="1"/>
                      <a:pt x="62" y="1"/>
                      <a:pt x="62" y="1"/>
                    </a:cubicBezTo>
                    <a:cubicBezTo>
                      <a:pt x="60" y="0"/>
                      <a:pt x="58" y="0"/>
                      <a:pt x="56" y="1"/>
                    </a:cubicBezTo>
                    <a:cubicBezTo>
                      <a:pt x="5" y="27"/>
                      <a:pt x="5" y="27"/>
                      <a:pt x="5" y="27"/>
                    </a:cubicBezTo>
                    <a:cubicBezTo>
                      <a:pt x="2" y="28"/>
                      <a:pt x="0" y="32"/>
                      <a:pt x="2" y="35"/>
                    </a:cubicBezTo>
                    <a:cubicBezTo>
                      <a:pt x="4" y="39"/>
                      <a:pt x="8" y="40"/>
                      <a:pt x="11" y="38"/>
                    </a:cubicBezTo>
                    <a:cubicBezTo>
                      <a:pt x="59" y="14"/>
                      <a:pt x="59" y="14"/>
                      <a:pt x="59" y="14"/>
                    </a:cubicBezTo>
                    <a:cubicBezTo>
                      <a:pt x="107" y="38"/>
                      <a:pt x="107" y="38"/>
                      <a:pt x="107" y="38"/>
                    </a:cubicBezTo>
                    <a:cubicBezTo>
                      <a:pt x="107" y="39"/>
                      <a:pt x="108" y="39"/>
                      <a:pt x="109" y="39"/>
                    </a:cubicBezTo>
                    <a:cubicBezTo>
                      <a:pt x="112" y="39"/>
                      <a:pt x="114" y="38"/>
                      <a:pt x="115" y="35"/>
                    </a:cubicBezTo>
                    <a:cubicBezTo>
                      <a:pt x="117" y="32"/>
                      <a:pt x="116" y="28"/>
                      <a:pt x="112" y="2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167">
                <a:extLst>
                  <a:ext uri="{FF2B5EF4-FFF2-40B4-BE49-F238E27FC236}">
                    <a16:creationId xmlns:a16="http://schemas.microsoft.com/office/drawing/2014/main" id="{E3DF7D6D-9F10-49A3-B56B-C53A7B209FB2}"/>
                  </a:ext>
                </a:extLst>
              </p:cNvPr>
              <p:cNvSpPr>
                <a:spLocks/>
              </p:cNvSpPr>
              <p:nvPr/>
            </p:nvSpPr>
            <p:spPr bwMode="auto">
              <a:xfrm>
                <a:off x="5951538" y="2617788"/>
                <a:ext cx="377825" cy="339725"/>
              </a:xfrm>
              <a:custGeom>
                <a:avLst/>
                <a:gdLst>
                  <a:gd name="T0" fmla="*/ 0 w 101"/>
                  <a:gd name="T1" fmla="*/ 26 h 90"/>
                  <a:gd name="T2" fmla="*/ 0 w 101"/>
                  <a:gd name="T3" fmla="*/ 80 h 90"/>
                  <a:gd name="T4" fmla="*/ 10 w 101"/>
                  <a:gd name="T5" fmla="*/ 90 h 90"/>
                  <a:gd name="T6" fmla="*/ 90 w 101"/>
                  <a:gd name="T7" fmla="*/ 90 h 90"/>
                  <a:gd name="T8" fmla="*/ 101 w 101"/>
                  <a:gd name="T9" fmla="*/ 80 h 90"/>
                  <a:gd name="T10" fmla="*/ 101 w 101"/>
                  <a:gd name="T11" fmla="*/ 26 h 90"/>
                  <a:gd name="T12" fmla="*/ 50 w 101"/>
                  <a:gd name="T13" fmla="*/ 0 h 90"/>
                  <a:gd name="T14" fmla="*/ 0 w 101"/>
                  <a:gd name="T15" fmla="*/ 26 h 90"/>
                  <a:gd name="T16" fmla="*/ 0 w 101"/>
                  <a:gd name="T17" fmla="*/ 2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90">
                    <a:moveTo>
                      <a:pt x="0" y="26"/>
                    </a:moveTo>
                    <a:cubicBezTo>
                      <a:pt x="0" y="80"/>
                      <a:pt x="0" y="80"/>
                      <a:pt x="0" y="80"/>
                    </a:cubicBezTo>
                    <a:cubicBezTo>
                      <a:pt x="0" y="85"/>
                      <a:pt x="5" y="90"/>
                      <a:pt x="10" y="90"/>
                    </a:cubicBezTo>
                    <a:cubicBezTo>
                      <a:pt x="90" y="90"/>
                      <a:pt x="90" y="90"/>
                      <a:pt x="90" y="90"/>
                    </a:cubicBezTo>
                    <a:cubicBezTo>
                      <a:pt x="96" y="90"/>
                      <a:pt x="101" y="85"/>
                      <a:pt x="101" y="80"/>
                    </a:cubicBezTo>
                    <a:cubicBezTo>
                      <a:pt x="101" y="26"/>
                      <a:pt x="101" y="26"/>
                      <a:pt x="101" y="26"/>
                    </a:cubicBezTo>
                    <a:cubicBezTo>
                      <a:pt x="50" y="0"/>
                      <a:pt x="50" y="0"/>
                      <a:pt x="50" y="0"/>
                    </a:cubicBezTo>
                    <a:cubicBezTo>
                      <a:pt x="0" y="26"/>
                      <a:pt x="0" y="26"/>
                      <a:pt x="0" y="26"/>
                    </a:cubicBezTo>
                    <a:cubicBezTo>
                      <a:pt x="0" y="26"/>
                      <a:pt x="0" y="26"/>
                      <a:pt x="0" y="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168">
                <a:extLst>
                  <a:ext uri="{FF2B5EF4-FFF2-40B4-BE49-F238E27FC236}">
                    <a16:creationId xmlns:a16="http://schemas.microsoft.com/office/drawing/2014/main" id="{90765F62-D1CA-49AA-8EC9-3345DADE83C6}"/>
                  </a:ext>
                </a:extLst>
              </p:cNvPr>
              <p:cNvSpPr>
                <a:spLocks/>
              </p:cNvSpPr>
              <p:nvPr/>
            </p:nvSpPr>
            <p:spPr bwMode="auto">
              <a:xfrm>
                <a:off x="6003925" y="2663825"/>
                <a:ext cx="273050" cy="277812"/>
              </a:xfrm>
              <a:custGeom>
                <a:avLst/>
                <a:gdLst>
                  <a:gd name="T0" fmla="*/ 42 w 73"/>
                  <a:gd name="T1" fmla="*/ 6 h 74"/>
                  <a:gd name="T2" fmla="*/ 42 w 73"/>
                  <a:gd name="T3" fmla="*/ 31 h 74"/>
                  <a:gd name="T4" fmla="*/ 68 w 73"/>
                  <a:gd name="T5" fmla="*/ 31 h 74"/>
                  <a:gd name="T6" fmla="*/ 73 w 73"/>
                  <a:gd name="T7" fmla="*/ 37 h 74"/>
                  <a:gd name="T8" fmla="*/ 68 w 73"/>
                  <a:gd name="T9" fmla="*/ 42 h 74"/>
                  <a:gd name="T10" fmla="*/ 42 w 73"/>
                  <a:gd name="T11" fmla="*/ 42 h 74"/>
                  <a:gd name="T12" fmla="*/ 42 w 73"/>
                  <a:gd name="T13" fmla="*/ 68 h 74"/>
                  <a:gd name="T14" fmla="*/ 37 w 73"/>
                  <a:gd name="T15" fmla="*/ 74 h 74"/>
                  <a:gd name="T16" fmla="*/ 31 w 73"/>
                  <a:gd name="T17" fmla="*/ 68 h 74"/>
                  <a:gd name="T18" fmla="*/ 31 w 73"/>
                  <a:gd name="T19" fmla="*/ 42 h 74"/>
                  <a:gd name="T20" fmla="*/ 6 w 73"/>
                  <a:gd name="T21" fmla="*/ 42 h 74"/>
                  <a:gd name="T22" fmla="*/ 0 w 73"/>
                  <a:gd name="T23" fmla="*/ 37 h 74"/>
                  <a:gd name="T24" fmla="*/ 6 w 73"/>
                  <a:gd name="T25" fmla="*/ 31 h 74"/>
                  <a:gd name="T26" fmla="*/ 31 w 73"/>
                  <a:gd name="T27" fmla="*/ 31 h 74"/>
                  <a:gd name="T28" fmla="*/ 31 w 73"/>
                  <a:gd name="T29" fmla="*/ 6 h 74"/>
                  <a:gd name="T30" fmla="*/ 37 w 73"/>
                  <a:gd name="T31" fmla="*/ 0 h 74"/>
                  <a:gd name="T32" fmla="*/ 42 w 73"/>
                  <a:gd name="T33" fmla="*/ 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4">
                    <a:moveTo>
                      <a:pt x="42" y="6"/>
                    </a:moveTo>
                    <a:cubicBezTo>
                      <a:pt x="42" y="31"/>
                      <a:pt x="42" y="31"/>
                      <a:pt x="42" y="31"/>
                    </a:cubicBezTo>
                    <a:cubicBezTo>
                      <a:pt x="68" y="31"/>
                      <a:pt x="68" y="31"/>
                      <a:pt x="68" y="31"/>
                    </a:cubicBezTo>
                    <a:cubicBezTo>
                      <a:pt x="71" y="31"/>
                      <a:pt x="73" y="34"/>
                      <a:pt x="73" y="37"/>
                    </a:cubicBezTo>
                    <a:cubicBezTo>
                      <a:pt x="73" y="40"/>
                      <a:pt x="71" y="42"/>
                      <a:pt x="68" y="42"/>
                    </a:cubicBezTo>
                    <a:cubicBezTo>
                      <a:pt x="42" y="42"/>
                      <a:pt x="42" y="42"/>
                      <a:pt x="42" y="42"/>
                    </a:cubicBezTo>
                    <a:cubicBezTo>
                      <a:pt x="42" y="68"/>
                      <a:pt x="42" y="68"/>
                      <a:pt x="42" y="68"/>
                    </a:cubicBezTo>
                    <a:cubicBezTo>
                      <a:pt x="42" y="71"/>
                      <a:pt x="40" y="74"/>
                      <a:pt x="37" y="74"/>
                    </a:cubicBezTo>
                    <a:cubicBezTo>
                      <a:pt x="33" y="74"/>
                      <a:pt x="31" y="71"/>
                      <a:pt x="31" y="68"/>
                    </a:cubicBezTo>
                    <a:cubicBezTo>
                      <a:pt x="31" y="42"/>
                      <a:pt x="31" y="42"/>
                      <a:pt x="31" y="42"/>
                    </a:cubicBezTo>
                    <a:cubicBezTo>
                      <a:pt x="6" y="42"/>
                      <a:pt x="6" y="42"/>
                      <a:pt x="6" y="42"/>
                    </a:cubicBezTo>
                    <a:cubicBezTo>
                      <a:pt x="3" y="42"/>
                      <a:pt x="0" y="40"/>
                      <a:pt x="0" y="37"/>
                    </a:cubicBezTo>
                    <a:cubicBezTo>
                      <a:pt x="0" y="34"/>
                      <a:pt x="3" y="31"/>
                      <a:pt x="6" y="31"/>
                    </a:cubicBezTo>
                    <a:cubicBezTo>
                      <a:pt x="31" y="31"/>
                      <a:pt x="31" y="31"/>
                      <a:pt x="31" y="31"/>
                    </a:cubicBezTo>
                    <a:cubicBezTo>
                      <a:pt x="31" y="6"/>
                      <a:pt x="31" y="6"/>
                      <a:pt x="31" y="6"/>
                    </a:cubicBezTo>
                    <a:cubicBezTo>
                      <a:pt x="31" y="3"/>
                      <a:pt x="33" y="0"/>
                      <a:pt x="37" y="0"/>
                    </a:cubicBezTo>
                    <a:cubicBezTo>
                      <a:pt x="40" y="0"/>
                      <a:pt x="42" y="3"/>
                      <a:pt x="42" y="6"/>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 name="ZoneTexte 4">
            <a:extLst>
              <a:ext uri="{FF2B5EF4-FFF2-40B4-BE49-F238E27FC236}">
                <a16:creationId xmlns:a16="http://schemas.microsoft.com/office/drawing/2014/main" id="{1C7D57EA-0746-469D-BB5E-E4CDD309F194}"/>
              </a:ext>
              <a:ext uri="{C183D7F6-B498-43B3-948B-1728B52AA6E4}">
                <adec:decorative xmlns:adec="http://schemas.microsoft.com/office/drawing/2017/decorative" val="1"/>
              </a:ext>
            </a:extLst>
          </p:cNvPr>
          <p:cNvSpPr txBox="1"/>
          <p:nvPr/>
        </p:nvSpPr>
        <p:spPr>
          <a:xfrm>
            <a:off x="320733" y="1054172"/>
            <a:ext cx="3820799" cy="307777"/>
          </a:xfrm>
          <a:prstGeom prst="rect">
            <a:avLst/>
          </a:prstGeom>
          <a:noFill/>
        </p:spPr>
        <p:txBody>
          <a:bodyPr wrap="square" rtlCol="0">
            <a:spAutoFit/>
          </a:bodyPr>
          <a:lstStyle/>
          <a:p>
            <a:r>
              <a:rPr lang="en-US" sz="1400"/>
              <a:t>Manufacturing</a:t>
            </a:r>
          </a:p>
        </p:txBody>
      </p:sp>
      <p:sp>
        <p:nvSpPr>
          <p:cNvPr id="363" name="ZoneTexte 362">
            <a:extLst>
              <a:ext uri="{FF2B5EF4-FFF2-40B4-BE49-F238E27FC236}">
                <a16:creationId xmlns:a16="http://schemas.microsoft.com/office/drawing/2014/main" id="{BBEC47F2-468D-4886-862D-8461FE464D59}"/>
              </a:ext>
              <a:ext uri="{C183D7F6-B498-43B3-948B-1728B52AA6E4}">
                <adec:decorative xmlns:adec="http://schemas.microsoft.com/office/drawing/2017/decorative" val="1"/>
              </a:ext>
            </a:extLst>
          </p:cNvPr>
          <p:cNvSpPr txBox="1"/>
          <p:nvPr/>
        </p:nvSpPr>
        <p:spPr>
          <a:xfrm>
            <a:off x="320733" y="2274089"/>
            <a:ext cx="3820799" cy="307777"/>
          </a:xfrm>
          <a:prstGeom prst="rect">
            <a:avLst/>
          </a:prstGeom>
          <a:noFill/>
        </p:spPr>
        <p:txBody>
          <a:bodyPr wrap="square" rtlCol="0">
            <a:spAutoFit/>
          </a:bodyPr>
          <a:lstStyle/>
          <a:p>
            <a:r>
              <a:rPr lang="en-US" sz="1400"/>
              <a:t>Transport</a:t>
            </a:r>
          </a:p>
        </p:txBody>
      </p:sp>
      <p:sp>
        <p:nvSpPr>
          <p:cNvPr id="364" name="ZoneTexte 363">
            <a:extLst>
              <a:ext uri="{FF2B5EF4-FFF2-40B4-BE49-F238E27FC236}">
                <a16:creationId xmlns:a16="http://schemas.microsoft.com/office/drawing/2014/main" id="{D5A224F1-EEF9-4535-A737-181891400EE4}"/>
              </a:ext>
              <a:ext uri="{C183D7F6-B498-43B3-948B-1728B52AA6E4}">
                <adec:decorative xmlns:adec="http://schemas.microsoft.com/office/drawing/2017/decorative" val="1"/>
              </a:ext>
            </a:extLst>
          </p:cNvPr>
          <p:cNvSpPr txBox="1"/>
          <p:nvPr/>
        </p:nvSpPr>
        <p:spPr>
          <a:xfrm>
            <a:off x="320733" y="3420068"/>
            <a:ext cx="3820799" cy="307777"/>
          </a:xfrm>
          <a:prstGeom prst="rect">
            <a:avLst/>
          </a:prstGeom>
          <a:noFill/>
        </p:spPr>
        <p:txBody>
          <a:bodyPr wrap="square" rtlCol="0">
            <a:spAutoFit/>
          </a:bodyPr>
          <a:lstStyle/>
          <a:p>
            <a:r>
              <a:rPr lang="en-US" sz="1400"/>
              <a:t>Chemicals, Healthcare</a:t>
            </a:r>
          </a:p>
        </p:txBody>
      </p:sp>
      <p:sp>
        <p:nvSpPr>
          <p:cNvPr id="365" name="ZoneTexte 364">
            <a:extLst>
              <a:ext uri="{FF2B5EF4-FFF2-40B4-BE49-F238E27FC236}">
                <a16:creationId xmlns:a16="http://schemas.microsoft.com/office/drawing/2014/main" id="{FE13B815-AF49-4D43-B6BC-E69BDC610454}"/>
              </a:ext>
              <a:ext uri="{C183D7F6-B498-43B3-948B-1728B52AA6E4}">
                <adec:decorative xmlns:adec="http://schemas.microsoft.com/office/drawing/2017/decorative" val="1"/>
              </a:ext>
            </a:extLst>
          </p:cNvPr>
          <p:cNvSpPr txBox="1"/>
          <p:nvPr/>
        </p:nvSpPr>
        <p:spPr>
          <a:xfrm>
            <a:off x="320733" y="4655821"/>
            <a:ext cx="3820799" cy="307777"/>
          </a:xfrm>
          <a:prstGeom prst="rect">
            <a:avLst/>
          </a:prstGeom>
          <a:noFill/>
        </p:spPr>
        <p:txBody>
          <a:bodyPr wrap="square" rtlCol="0">
            <a:spAutoFit/>
          </a:bodyPr>
          <a:lstStyle/>
          <a:p>
            <a:r>
              <a:rPr lang="en-US" sz="1400"/>
              <a:t>Energy</a:t>
            </a:r>
          </a:p>
        </p:txBody>
      </p:sp>
      <p:grpSp>
        <p:nvGrpSpPr>
          <p:cNvPr id="386" name="Groupe 385">
            <a:extLst>
              <a:ext uri="{FF2B5EF4-FFF2-40B4-BE49-F238E27FC236}">
                <a16:creationId xmlns:a16="http://schemas.microsoft.com/office/drawing/2014/main" id="{0A4FB071-B2F9-4C61-8754-CF94A5BB1414}"/>
              </a:ext>
              <a:ext uri="{C183D7F6-B498-43B3-948B-1728B52AA6E4}">
                <adec:decorative xmlns:adec="http://schemas.microsoft.com/office/drawing/2017/decorative" val="1"/>
              </a:ext>
            </a:extLst>
          </p:cNvPr>
          <p:cNvGrpSpPr>
            <a:grpSpLocks noChangeAspect="1"/>
          </p:cNvGrpSpPr>
          <p:nvPr/>
        </p:nvGrpSpPr>
        <p:grpSpPr>
          <a:xfrm>
            <a:off x="5719064" y="5099656"/>
            <a:ext cx="670271" cy="633600"/>
            <a:chOff x="6226176" y="525462"/>
            <a:chExt cx="1044575" cy="987426"/>
          </a:xfrm>
        </p:grpSpPr>
        <p:sp>
          <p:nvSpPr>
            <p:cNvPr id="387" name="Freeform 26">
              <a:extLst>
                <a:ext uri="{FF2B5EF4-FFF2-40B4-BE49-F238E27FC236}">
                  <a16:creationId xmlns:a16="http://schemas.microsoft.com/office/drawing/2014/main" id="{5813D395-9F8F-473B-9AFB-89D0582C9242}"/>
                </a:ext>
              </a:extLst>
            </p:cNvPr>
            <p:cNvSpPr>
              <a:spLocks/>
            </p:cNvSpPr>
            <p:nvPr/>
          </p:nvSpPr>
          <p:spPr bwMode="auto">
            <a:xfrm>
              <a:off x="6226176" y="525462"/>
              <a:ext cx="1044575" cy="987426"/>
            </a:xfrm>
            <a:custGeom>
              <a:avLst/>
              <a:gdLst>
                <a:gd name="T0" fmla="*/ 45 w 309"/>
                <a:gd name="T1" fmla="*/ 226 h 289"/>
                <a:gd name="T2" fmla="*/ 74 w 309"/>
                <a:gd name="T3" fmla="*/ 43 h 289"/>
                <a:gd name="T4" fmla="*/ 265 w 309"/>
                <a:gd name="T5" fmla="*/ 70 h 289"/>
                <a:gd name="T6" fmla="*/ 230 w 309"/>
                <a:gd name="T7" fmla="*/ 246 h 289"/>
                <a:gd name="T8" fmla="*/ 45 w 309"/>
                <a:gd name="T9" fmla="*/ 226 h 289"/>
              </a:gdLst>
              <a:ahLst/>
              <a:cxnLst>
                <a:cxn ang="0">
                  <a:pos x="T0" y="T1"/>
                </a:cxn>
                <a:cxn ang="0">
                  <a:pos x="T2" y="T3"/>
                </a:cxn>
                <a:cxn ang="0">
                  <a:pos x="T4" y="T5"/>
                </a:cxn>
                <a:cxn ang="0">
                  <a:pos x="T6" y="T7"/>
                </a:cxn>
                <a:cxn ang="0">
                  <a:pos x="T8" y="T9"/>
                </a:cxn>
              </a:cxnLst>
              <a:rect l="0" t="0" r="r" b="b"/>
              <a:pathLst>
                <a:path w="309" h="289">
                  <a:moveTo>
                    <a:pt x="45" y="226"/>
                  </a:moveTo>
                  <a:cubicBezTo>
                    <a:pt x="0" y="168"/>
                    <a:pt x="13" y="86"/>
                    <a:pt x="74" y="43"/>
                  </a:cubicBezTo>
                  <a:cubicBezTo>
                    <a:pt x="135" y="0"/>
                    <a:pt x="221" y="12"/>
                    <a:pt x="265" y="70"/>
                  </a:cubicBezTo>
                  <a:cubicBezTo>
                    <a:pt x="309" y="128"/>
                    <a:pt x="291" y="202"/>
                    <a:pt x="230" y="246"/>
                  </a:cubicBezTo>
                  <a:cubicBezTo>
                    <a:pt x="170" y="289"/>
                    <a:pt x="89" y="284"/>
                    <a:pt x="45" y="226"/>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8" name="Groupe 387">
              <a:extLst>
                <a:ext uri="{FF2B5EF4-FFF2-40B4-BE49-F238E27FC236}">
                  <a16:creationId xmlns:a16="http://schemas.microsoft.com/office/drawing/2014/main" id="{4A13CAF6-04E8-4F0B-8F6C-9700FAD5BD9A}"/>
                </a:ext>
              </a:extLst>
            </p:cNvPr>
            <p:cNvGrpSpPr/>
            <p:nvPr/>
          </p:nvGrpSpPr>
          <p:grpSpPr>
            <a:xfrm>
              <a:off x="6429376" y="661988"/>
              <a:ext cx="625475" cy="693737"/>
              <a:chOff x="6429376" y="661988"/>
              <a:chExt cx="625475" cy="693737"/>
            </a:xfrm>
          </p:grpSpPr>
          <p:sp>
            <p:nvSpPr>
              <p:cNvPr id="389" name="Freeform 27">
                <a:extLst>
                  <a:ext uri="{FF2B5EF4-FFF2-40B4-BE49-F238E27FC236}">
                    <a16:creationId xmlns:a16="http://schemas.microsoft.com/office/drawing/2014/main" id="{DBDFA224-1926-4943-802A-FAD46DD3ABE1}"/>
                  </a:ext>
                </a:extLst>
              </p:cNvPr>
              <p:cNvSpPr>
                <a:spLocks noEditPoints="1"/>
              </p:cNvSpPr>
              <p:nvPr/>
            </p:nvSpPr>
            <p:spPr bwMode="auto">
              <a:xfrm>
                <a:off x="6469063" y="765175"/>
                <a:ext cx="544513" cy="549275"/>
              </a:xfrm>
              <a:custGeom>
                <a:avLst/>
                <a:gdLst>
                  <a:gd name="T0" fmla="*/ 102 w 161"/>
                  <a:gd name="T1" fmla="*/ 89 h 161"/>
                  <a:gd name="T2" fmla="*/ 92 w 161"/>
                  <a:gd name="T3" fmla="*/ 90 h 161"/>
                  <a:gd name="T4" fmla="*/ 92 w 161"/>
                  <a:gd name="T5" fmla="*/ 100 h 161"/>
                  <a:gd name="T6" fmla="*/ 82 w 161"/>
                  <a:gd name="T7" fmla="*/ 103 h 161"/>
                  <a:gd name="T8" fmla="*/ 73 w 161"/>
                  <a:gd name="T9" fmla="*/ 101 h 161"/>
                  <a:gd name="T10" fmla="*/ 71 w 161"/>
                  <a:gd name="T11" fmla="*/ 91 h 161"/>
                  <a:gd name="T12" fmla="*/ 63 w 161"/>
                  <a:gd name="T13" fmla="*/ 91 h 161"/>
                  <a:gd name="T14" fmla="*/ 60 w 161"/>
                  <a:gd name="T15" fmla="*/ 81 h 161"/>
                  <a:gd name="T16" fmla="*/ 62 w 161"/>
                  <a:gd name="T17" fmla="*/ 73 h 161"/>
                  <a:gd name="T18" fmla="*/ 70 w 161"/>
                  <a:gd name="T19" fmla="*/ 71 h 161"/>
                  <a:gd name="T20" fmla="*/ 71 w 161"/>
                  <a:gd name="T21" fmla="*/ 63 h 161"/>
                  <a:gd name="T22" fmla="*/ 82 w 161"/>
                  <a:gd name="T23" fmla="*/ 60 h 161"/>
                  <a:gd name="T24" fmla="*/ 89 w 161"/>
                  <a:gd name="T25" fmla="*/ 61 h 161"/>
                  <a:gd name="T26" fmla="*/ 90 w 161"/>
                  <a:gd name="T27" fmla="*/ 70 h 161"/>
                  <a:gd name="T28" fmla="*/ 100 w 161"/>
                  <a:gd name="T29" fmla="*/ 70 h 161"/>
                  <a:gd name="T30" fmla="*/ 103 w 161"/>
                  <a:gd name="T31" fmla="*/ 81 h 161"/>
                  <a:gd name="T32" fmla="*/ 161 w 161"/>
                  <a:gd name="T33" fmla="*/ 82 h 161"/>
                  <a:gd name="T34" fmla="*/ 107 w 161"/>
                  <a:gd name="T35" fmla="*/ 81 h 161"/>
                  <a:gd name="T36" fmla="*/ 158 w 161"/>
                  <a:gd name="T37" fmla="*/ 58 h 161"/>
                  <a:gd name="T38" fmla="*/ 103 w 161"/>
                  <a:gd name="T39" fmla="*/ 69 h 161"/>
                  <a:gd name="T40" fmla="*/ 130 w 161"/>
                  <a:gd name="T41" fmla="*/ 46 h 161"/>
                  <a:gd name="T42" fmla="*/ 139 w 161"/>
                  <a:gd name="T43" fmla="*/ 37 h 161"/>
                  <a:gd name="T44" fmla="*/ 105 w 161"/>
                  <a:gd name="T45" fmla="*/ 50 h 161"/>
                  <a:gd name="T46" fmla="*/ 114 w 161"/>
                  <a:gd name="T47" fmla="*/ 9 h 161"/>
                  <a:gd name="T48" fmla="*/ 90 w 161"/>
                  <a:gd name="T49" fmla="*/ 57 h 161"/>
                  <a:gd name="T50" fmla="*/ 84 w 161"/>
                  <a:gd name="T51" fmla="*/ 0 h 161"/>
                  <a:gd name="T52" fmla="*/ 82 w 161"/>
                  <a:gd name="T53" fmla="*/ 56 h 161"/>
                  <a:gd name="T54" fmla="*/ 59 w 161"/>
                  <a:gd name="T55" fmla="*/ 3 h 161"/>
                  <a:gd name="T56" fmla="*/ 69 w 161"/>
                  <a:gd name="T57" fmla="*/ 59 h 161"/>
                  <a:gd name="T58" fmla="*/ 46 w 161"/>
                  <a:gd name="T59" fmla="*/ 31 h 161"/>
                  <a:gd name="T60" fmla="*/ 38 w 161"/>
                  <a:gd name="T61" fmla="*/ 22 h 161"/>
                  <a:gd name="T62" fmla="*/ 50 w 161"/>
                  <a:gd name="T63" fmla="*/ 57 h 161"/>
                  <a:gd name="T64" fmla="*/ 9 w 161"/>
                  <a:gd name="T65" fmla="*/ 47 h 161"/>
                  <a:gd name="T66" fmla="*/ 58 w 161"/>
                  <a:gd name="T67" fmla="*/ 72 h 161"/>
                  <a:gd name="T68" fmla="*/ 0 w 161"/>
                  <a:gd name="T69" fmla="*/ 78 h 161"/>
                  <a:gd name="T70" fmla="*/ 56 w 161"/>
                  <a:gd name="T71" fmla="*/ 81 h 161"/>
                  <a:gd name="T72" fmla="*/ 4 w 161"/>
                  <a:gd name="T73" fmla="*/ 104 h 161"/>
                  <a:gd name="T74" fmla="*/ 59 w 161"/>
                  <a:gd name="T75" fmla="*/ 93 h 161"/>
                  <a:gd name="T76" fmla="*/ 32 w 161"/>
                  <a:gd name="T77" fmla="*/ 116 h 161"/>
                  <a:gd name="T78" fmla="*/ 22 w 161"/>
                  <a:gd name="T79" fmla="*/ 124 h 161"/>
                  <a:gd name="T80" fmla="*/ 57 w 161"/>
                  <a:gd name="T81" fmla="*/ 111 h 161"/>
                  <a:gd name="T82" fmla="*/ 47 w 161"/>
                  <a:gd name="T83" fmla="*/ 152 h 161"/>
                  <a:gd name="T84" fmla="*/ 72 w 161"/>
                  <a:gd name="T85" fmla="*/ 104 h 161"/>
                  <a:gd name="T86" fmla="*/ 79 w 161"/>
                  <a:gd name="T87" fmla="*/ 161 h 161"/>
                  <a:gd name="T88" fmla="*/ 82 w 161"/>
                  <a:gd name="T89" fmla="*/ 106 h 161"/>
                  <a:gd name="T90" fmla="*/ 104 w 161"/>
                  <a:gd name="T91" fmla="*/ 158 h 161"/>
                  <a:gd name="T92" fmla="*/ 93 w 161"/>
                  <a:gd name="T93" fmla="*/ 103 h 161"/>
                  <a:gd name="T94" fmla="*/ 116 w 161"/>
                  <a:gd name="T95" fmla="*/ 130 h 161"/>
                  <a:gd name="T96" fmla="*/ 124 w 161"/>
                  <a:gd name="T97" fmla="*/ 139 h 161"/>
                  <a:gd name="T98" fmla="*/ 112 w 161"/>
                  <a:gd name="T99" fmla="*/ 104 h 161"/>
                  <a:gd name="T100" fmla="*/ 153 w 161"/>
                  <a:gd name="T101" fmla="*/ 113 h 161"/>
                  <a:gd name="T102" fmla="*/ 105 w 161"/>
                  <a:gd name="T103" fmla="*/ 9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1" h="161">
                    <a:moveTo>
                      <a:pt x="103" y="82"/>
                    </a:moveTo>
                    <a:cubicBezTo>
                      <a:pt x="98" y="82"/>
                      <a:pt x="95" y="82"/>
                      <a:pt x="95" y="82"/>
                    </a:cubicBezTo>
                    <a:cubicBezTo>
                      <a:pt x="98" y="82"/>
                      <a:pt x="100" y="82"/>
                      <a:pt x="103" y="83"/>
                    </a:cubicBezTo>
                    <a:cubicBezTo>
                      <a:pt x="103" y="85"/>
                      <a:pt x="102" y="87"/>
                      <a:pt x="102" y="89"/>
                    </a:cubicBezTo>
                    <a:cubicBezTo>
                      <a:pt x="97" y="87"/>
                      <a:pt x="94" y="86"/>
                      <a:pt x="94" y="86"/>
                    </a:cubicBezTo>
                    <a:cubicBezTo>
                      <a:pt x="97" y="87"/>
                      <a:pt x="99" y="88"/>
                      <a:pt x="101" y="90"/>
                    </a:cubicBezTo>
                    <a:cubicBezTo>
                      <a:pt x="100" y="92"/>
                      <a:pt x="99" y="93"/>
                      <a:pt x="98" y="95"/>
                    </a:cubicBezTo>
                    <a:cubicBezTo>
                      <a:pt x="94" y="92"/>
                      <a:pt x="92" y="90"/>
                      <a:pt x="92" y="90"/>
                    </a:cubicBezTo>
                    <a:cubicBezTo>
                      <a:pt x="94" y="92"/>
                      <a:pt x="96" y="94"/>
                      <a:pt x="97" y="96"/>
                    </a:cubicBezTo>
                    <a:cubicBezTo>
                      <a:pt x="96" y="97"/>
                      <a:pt x="95" y="98"/>
                      <a:pt x="93" y="99"/>
                    </a:cubicBezTo>
                    <a:cubicBezTo>
                      <a:pt x="90" y="95"/>
                      <a:pt x="88" y="93"/>
                      <a:pt x="88" y="93"/>
                    </a:cubicBezTo>
                    <a:cubicBezTo>
                      <a:pt x="90" y="95"/>
                      <a:pt x="91" y="98"/>
                      <a:pt x="92" y="100"/>
                    </a:cubicBezTo>
                    <a:cubicBezTo>
                      <a:pt x="90" y="101"/>
                      <a:pt x="88" y="102"/>
                      <a:pt x="86" y="102"/>
                    </a:cubicBezTo>
                    <a:cubicBezTo>
                      <a:pt x="85" y="97"/>
                      <a:pt x="84" y="95"/>
                      <a:pt x="84" y="95"/>
                    </a:cubicBezTo>
                    <a:cubicBezTo>
                      <a:pt x="85" y="97"/>
                      <a:pt x="85" y="100"/>
                      <a:pt x="85" y="102"/>
                    </a:cubicBezTo>
                    <a:cubicBezTo>
                      <a:pt x="84" y="103"/>
                      <a:pt x="83" y="103"/>
                      <a:pt x="82" y="103"/>
                    </a:cubicBezTo>
                    <a:cubicBezTo>
                      <a:pt x="81" y="103"/>
                      <a:pt x="80" y="103"/>
                      <a:pt x="79" y="103"/>
                    </a:cubicBezTo>
                    <a:cubicBezTo>
                      <a:pt x="80" y="98"/>
                      <a:pt x="80" y="95"/>
                      <a:pt x="80" y="95"/>
                    </a:cubicBezTo>
                    <a:cubicBezTo>
                      <a:pt x="79" y="97"/>
                      <a:pt x="79" y="100"/>
                      <a:pt x="78" y="102"/>
                    </a:cubicBezTo>
                    <a:cubicBezTo>
                      <a:pt x="76" y="102"/>
                      <a:pt x="75" y="102"/>
                      <a:pt x="73" y="101"/>
                    </a:cubicBezTo>
                    <a:cubicBezTo>
                      <a:pt x="74" y="96"/>
                      <a:pt x="75" y="94"/>
                      <a:pt x="75" y="94"/>
                    </a:cubicBezTo>
                    <a:cubicBezTo>
                      <a:pt x="74" y="96"/>
                      <a:pt x="73" y="98"/>
                      <a:pt x="72" y="100"/>
                    </a:cubicBezTo>
                    <a:cubicBezTo>
                      <a:pt x="70" y="99"/>
                      <a:pt x="69" y="98"/>
                      <a:pt x="67" y="97"/>
                    </a:cubicBezTo>
                    <a:cubicBezTo>
                      <a:pt x="70" y="94"/>
                      <a:pt x="71" y="91"/>
                      <a:pt x="71" y="91"/>
                    </a:cubicBezTo>
                    <a:cubicBezTo>
                      <a:pt x="70" y="93"/>
                      <a:pt x="68" y="95"/>
                      <a:pt x="66" y="96"/>
                    </a:cubicBezTo>
                    <a:cubicBezTo>
                      <a:pt x="65" y="95"/>
                      <a:pt x="64" y="93"/>
                      <a:pt x="63" y="92"/>
                    </a:cubicBezTo>
                    <a:cubicBezTo>
                      <a:pt x="66" y="89"/>
                      <a:pt x="68" y="88"/>
                      <a:pt x="68" y="88"/>
                    </a:cubicBezTo>
                    <a:cubicBezTo>
                      <a:pt x="67" y="89"/>
                      <a:pt x="65" y="90"/>
                      <a:pt x="63" y="91"/>
                    </a:cubicBezTo>
                    <a:cubicBezTo>
                      <a:pt x="62" y="89"/>
                      <a:pt x="61" y="88"/>
                      <a:pt x="61" y="86"/>
                    </a:cubicBezTo>
                    <a:cubicBezTo>
                      <a:pt x="64" y="85"/>
                      <a:pt x="67" y="84"/>
                      <a:pt x="67" y="84"/>
                    </a:cubicBezTo>
                    <a:cubicBezTo>
                      <a:pt x="65" y="84"/>
                      <a:pt x="63" y="85"/>
                      <a:pt x="61" y="85"/>
                    </a:cubicBezTo>
                    <a:cubicBezTo>
                      <a:pt x="60" y="84"/>
                      <a:pt x="60" y="82"/>
                      <a:pt x="60" y="81"/>
                    </a:cubicBezTo>
                    <a:cubicBezTo>
                      <a:pt x="60" y="81"/>
                      <a:pt x="60" y="80"/>
                      <a:pt x="60" y="79"/>
                    </a:cubicBezTo>
                    <a:cubicBezTo>
                      <a:pt x="64" y="79"/>
                      <a:pt x="66" y="79"/>
                      <a:pt x="66" y="79"/>
                    </a:cubicBezTo>
                    <a:cubicBezTo>
                      <a:pt x="64" y="79"/>
                      <a:pt x="62" y="79"/>
                      <a:pt x="60" y="78"/>
                    </a:cubicBezTo>
                    <a:cubicBezTo>
                      <a:pt x="61" y="76"/>
                      <a:pt x="61" y="75"/>
                      <a:pt x="62" y="73"/>
                    </a:cubicBezTo>
                    <a:cubicBezTo>
                      <a:pt x="65" y="74"/>
                      <a:pt x="68" y="75"/>
                      <a:pt x="68" y="75"/>
                    </a:cubicBezTo>
                    <a:cubicBezTo>
                      <a:pt x="66" y="74"/>
                      <a:pt x="64" y="73"/>
                      <a:pt x="62" y="72"/>
                    </a:cubicBezTo>
                    <a:cubicBezTo>
                      <a:pt x="63" y="70"/>
                      <a:pt x="64" y="69"/>
                      <a:pt x="65" y="67"/>
                    </a:cubicBezTo>
                    <a:cubicBezTo>
                      <a:pt x="68" y="70"/>
                      <a:pt x="70" y="71"/>
                      <a:pt x="70" y="71"/>
                    </a:cubicBezTo>
                    <a:cubicBezTo>
                      <a:pt x="68" y="70"/>
                      <a:pt x="67" y="68"/>
                      <a:pt x="66" y="67"/>
                    </a:cubicBezTo>
                    <a:cubicBezTo>
                      <a:pt x="67" y="66"/>
                      <a:pt x="68" y="64"/>
                      <a:pt x="70" y="63"/>
                    </a:cubicBezTo>
                    <a:cubicBezTo>
                      <a:pt x="72" y="66"/>
                      <a:pt x="73" y="68"/>
                      <a:pt x="73" y="68"/>
                    </a:cubicBezTo>
                    <a:cubicBezTo>
                      <a:pt x="72" y="66"/>
                      <a:pt x="72" y="65"/>
                      <a:pt x="71" y="63"/>
                    </a:cubicBezTo>
                    <a:cubicBezTo>
                      <a:pt x="72" y="62"/>
                      <a:pt x="74" y="61"/>
                      <a:pt x="76" y="61"/>
                    </a:cubicBezTo>
                    <a:cubicBezTo>
                      <a:pt x="77" y="64"/>
                      <a:pt x="78" y="67"/>
                      <a:pt x="78" y="67"/>
                    </a:cubicBezTo>
                    <a:cubicBezTo>
                      <a:pt x="77" y="65"/>
                      <a:pt x="77" y="62"/>
                      <a:pt x="77" y="60"/>
                    </a:cubicBezTo>
                    <a:cubicBezTo>
                      <a:pt x="78" y="60"/>
                      <a:pt x="80" y="60"/>
                      <a:pt x="82" y="60"/>
                    </a:cubicBezTo>
                    <a:cubicBezTo>
                      <a:pt x="82" y="60"/>
                      <a:pt x="82" y="60"/>
                      <a:pt x="82" y="60"/>
                    </a:cubicBezTo>
                    <a:cubicBezTo>
                      <a:pt x="82" y="64"/>
                      <a:pt x="82" y="66"/>
                      <a:pt x="82" y="66"/>
                    </a:cubicBezTo>
                    <a:cubicBezTo>
                      <a:pt x="82" y="64"/>
                      <a:pt x="83" y="62"/>
                      <a:pt x="83" y="60"/>
                    </a:cubicBezTo>
                    <a:cubicBezTo>
                      <a:pt x="85" y="60"/>
                      <a:pt x="87" y="60"/>
                      <a:pt x="89" y="61"/>
                    </a:cubicBezTo>
                    <a:cubicBezTo>
                      <a:pt x="87" y="65"/>
                      <a:pt x="86" y="67"/>
                      <a:pt x="86" y="67"/>
                    </a:cubicBezTo>
                    <a:cubicBezTo>
                      <a:pt x="87" y="65"/>
                      <a:pt x="88" y="63"/>
                      <a:pt x="89" y="61"/>
                    </a:cubicBezTo>
                    <a:cubicBezTo>
                      <a:pt x="91" y="62"/>
                      <a:pt x="93" y="63"/>
                      <a:pt x="94" y="64"/>
                    </a:cubicBezTo>
                    <a:cubicBezTo>
                      <a:pt x="92" y="68"/>
                      <a:pt x="90" y="70"/>
                      <a:pt x="90" y="70"/>
                    </a:cubicBezTo>
                    <a:cubicBezTo>
                      <a:pt x="92" y="68"/>
                      <a:pt x="94" y="66"/>
                      <a:pt x="95" y="65"/>
                    </a:cubicBezTo>
                    <a:cubicBezTo>
                      <a:pt x="97" y="66"/>
                      <a:pt x="98" y="67"/>
                      <a:pt x="99" y="69"/>
                    </a:cubicBezTo>
                    <a:cubicBezTo>
                      <a:pt x="96" y="72"/>
                      <a:pt x="93" y="73"/>
                      <a:pt x="93" y="73"/>
                    </a:cubicBezTo>
                    <a:cubicBezTo>
                      <a:pt x="95" y="72"/>
                      <a:pt x="98" y="71"/>
                      <a:pt x="100" y="70"/>
                    </a:cubicBezTo>
                    <a:cubicBezTo>
                      <a:pt x="101" y="72"/>
                      <a:pt x="102" y="73"/>
                      <a:pt x="102" y="75"/>
                    </a:cubicBezTo>
                    <a:cubicBezTo>
                      <a:pt x="98" y="77"/>
                      <a:pt x="95" y="77"/>
                      <a:pt x="95" y="77"/>
                    </a:cubicBezTo>
                    <a:cubicBezTo>
                      <a:pt x="97" y="77"/>
                      <a:pt x="100" y="77"/>
                      <a:pt x="102" y="76"/>
                    </a:cubicBezTo>
                    <a:cubicBezTo>
                      <a:pt x="103" y="78"/>
                      <a:pt x="103" y="80"/>
                      <a:pt x="103" y="81"/>
                    </a:cubicBezTo>
                    <a:cubicBezTo>
                      <a:pt x="103" y="81"/>
                      <a:pt x="103" y="82"/>
                      <a:pt x="103" y="82"/>
                    </a:cubicBezTo>
                    <a:moveTo>
                      <a:pt x="150" y="102"/>
                    </a:moveTo>
                    <a:cubicBezTo>
                      <a:pt x="155" y="99"/>
                      <a:pt x="158" y="94"/>
                      <a:pt x="159" y="89"/>
                    </a:cubicBezTo>
                    <a:cubicBezTo>
                      <a:pt x="161" y="85"/>
                      <a:pt x="161" y="82"/>
                      <a:pt x="161" y="82"/>
                    </a:cubicBezTo>
                    <a:cubicBezTo>
                      <a:pt x="156" y="81"/>
                      <a:pt x="149" y="80"/>
                      <a:pt x="141" y="81"/>
                    </a:cubicBezTo>
                    <a:cubicBezTo>
                      <a:pt x="134" y="81"/>
                      <a:pt x="126" y="81"/>
                      <a:pt x="120" y="81"/>
                    </a:cubicBezTo>
                    <a:cubicBezTo>
                      <a:pt x="115" y="82"/>
                      <a:pt x="110" y="82"/>
                      <a:pt x="107" y="82"/>
                    </a:cubicBezTo>
                    <a:cubicBezTo>
                      <a:pt x="107" y="82"/>
                      <a:pt x="107" y="81"/>
                      <a:pt x="107" y="81"/>
                    </a:cubicBezTo>
                    <a:cubicBezTo>
                      <a:pt x="107" y="79"/>
                      <a:pt x="107" y="78"/>
                      <a:pt x="106" y="76"/>
                    </a:cubicBezTo>
                    <a:cubicBezTo>
                      <a:pt x="122" y="75"/>
                      <a:pt x="138" y="76"/>
                      <a:pt x="154" y="81"/>
                    </a:cubicBezTo>
                    <a:cubicBezTo>
                      <a:pt x="157" y="76"/>
                      <a:pt x="158" y="71"/>
                      <a:pt x="158" y="66"/>
                    </a:cubicBezTo>
                    <a:cubicBezTo>
                      <a:pt x="159" y="62"/>
                      <a:pt x="158" y="58"/>
                      <a:pt x="158" y="58"/>
                    </a:cubicBezTo>
                    <a:cubicBezTo>
                      <a:pt x="152" y="59"/>
                      <a:pt x="146" y="61"/>
                      <a:pt x="139" y="63"/>
                    </a:cubicBezTo>
                    <a:cubicBezTo>
                      <a:pt x="132" y="65"/>
                      <a:pt x="125" y="68"/>
                      <a:pt x="118" y="70"/>
                    </a:cubicBezTo>
                    <a:cubicBezTo>
                      <a:pt x="114" y="72"/>
                      <a:pt x="109" y="73"/>
                      <a:pt x="106" y="74"/>
                    </a:cubicBezTo>
                    <a:cubicBezTo>
                      <a:pt x="105" y="72"/>
                      <a:pt x="104" y="70"/>
                      <a:pt x="103" y="69"/>
                    </a:cubicBezTo>
                    <a:cubicBezTo>
                      <a:pt x="118" y="62"/>
                      <a:pt x="134" y="59"/>
                      <a:pt x="150" y="58"/>
                    </a:cubicBezTo>
                    <a:cubicBezTo>
                      <a:pt x="152" y="53"/>
                      <a:pt x="151" y="47"/>
                      <a:pt x="150" y="43"/>
                    </a:cubicBezTo>
                    <a:cubicBezTo>
                      <a:pt x="149" y="38"/>
                      <a:pt x="148" y="35"/>
                      <a:pt x="148" y="35"/>
                    </a:cubicBezTo>
                    <a:cubicBezTo>
                      <a:pt x="142" y="38"/>
                      <a:pt x="136" y="42"/>
                      <a:pt x="130" y="46"/>
                    </a:cubicBezTo>
                    <a:cubicBezTo>
                      <a:pt x="124" y="50"/>
                      <a:pt x="119" y="55"/>
                      <a:pt x="113" y="59"/>
                    </a:cubicBezTo>
                    <a:cubicBezTo>
                      <a:pt x="109" y="62"/>
                      <a:pt x="105" y="65"/>
                      <a:pt x="102" y="67"/>
                    </a:cubicBezTo>
                    <a:cubicBezTo>
                      <a:pt x="101" y="65"/>
                      <a:pt x="100" y="64"/>
                      <a:pt x="98" y="62"/>
                    </a:cubicBezTo>
                    <a:cubicBezTo>
                      <a:pt x="110" y="52"/>
                      <a:pt x="124" y="43"/>
                      <a:pt x="139" y="37"/>
                    </a:cubicBezTo>
                    <a:cubicBezTo>
                      <a:pt x="139" y="32"/>
                      <a:pt x="137" y="27"/>
                      <a:pt x="135" y="23"/>
                    </a:cubicBezTo>
                    <a:cubicBezTo>
                      <a:pt x="132" y="19"/>
                      <a:pt x="130" y="17"/>
                      <a:pt x="130" y="17"/>
                    </a:cubicBezTo>
                    <a:cubicBezTo>
                      <a:pt x="125" y="21"/>
                      <a:pt x="121" y="26"/>
                      <a:pt x="117" y="32"/>
                    </a:cubicBezTo>
                    <a:cubicBezTo>
                      <a:pt x="113" y="38"/>
                      <a:pt x="109" y="44"/>
                      <a:pt x="105" y="50"/>
                    </a:cubicBezTo>
                    <a:cubicBezTo>
                      <a:pt x="102" y="54"/>
                      <a:pt x="99" y="58"/>
                      <a:pt x="97" y="61"/>
                    </a:cubicBezTo>
                    <a:cubicBezTo>
                      <a:pt x="95" y="60"/>
                      <a:pt x="93" y="59"/>
                      <a:pt x="91" y="58"/>
                    </a:cubicBezTo>
                    <a:cubicBezTo>
                      <a:pt x="100" y="44"/>
                      <a:pt x="110" y="32"/>
                      <a:pt x="123" y="21"/>
                    </a:cubicBezTo>
                    <a:cubicBezTo>
                      <a:pt x="121" y="16"/>
                      <a:pt x="118" y="12"/>
                      <a:pt x="114" y="9"/>
                    </a:cubicBezTo>
                    <a:cubicBezTo>
                      <a:pt x="111" y="6"/>
                      <a:pt x="108" y="5"/>
                      <a:pt x="108" y="5"/>
                    </a:cubicBezTo>
                    <a:cubicBezTo>
                      <a:pt x="105" y="10"/>
                      <a:pt x="102" y="16"/>
                      <a:pt x="100" y="23"/>
                    </a:cubicBezTo>
                    <a:cubicBezTo>
                      <a:pt x="98" y="30"/>
                      <a:pt x="96" y="37"/>
                      <a:pt x="94" y="44"/>
                    </a:cubicBezTo>
                    <a:cubicBezTo>
                      <a:pt x="93" y="49"/>
                      <a:pt x="91" y="54"/>
                      <a:pt x="90" y="57"/>
                    </a:cubicBezTo>
                    <a:cubicBezTo>
                      <a:pt x="88" y="57"/>
                      <a:pt x="86" y="56"/>
                      <a:pt x="84" y="56"/>
                    </a:cubicBezTo>
                    <a:cubicBezTo>
                      <a:pt x="88" y="40"/>
                      <a:pt x="94" y="25"/>
                      <a:pt x="103" y="11"/>
                    </a:cubicBezTo>
                    <a:cubicBezTo>
                      <a:pt x="100" y="7"/>
                      <a:pt x="95" y="4"/>
                      <a:pt x="91" y="2"/>
                    </a:cubicBezTo>
                    <a:cubicBezTo>
                      <a:pt x="87" y="1"/>
                      <a:pt x="84" y="0"/>
                      <a:pt x="84" y="0"/>
                    </a:cubicBezTo>
                    <a:cubicBezTo>
                      <a:pt x="82" y="6"/>
                      <a:pt x="82" y="13"/>
                      <a:pt x="82" y="20"/>
                    </a:cubicBezTo>
                    <a:cubicBezTo>
                      <a:pt x="82" y="27"/>
                      <a:pt x="82" y="35"/>
                      <a:pt x="82" y="42"/>
                    </a:cubicBezTo>
                    <a:cubicBezTo>
                      <a:pt x="82" y="47"/>
                      <a:pt x="82" y="52"/>
                      <a:pt x="82" y="56"/>
                    </a:cubicBezTo>
                    <a:cubicBezTo>
                      <a:pt x="82" y="56"/>
                      <a:pt x="82" y="56"/>
                      <a:pt x="82" y="56"/>
                    </a:cubicBezTo>
                    <a:cubicBezTo>
                      <a:pt x="80" y="56"/>
                      <a:pt x="78" y="56"/>
                      <a:pt x="76" y="57"/>
                    </a:cubicBezTo>
                    <a:cubicBezTo>
                      <a:pt x="75" y="40"/>
                      <a:pt x="76" y="24"/>
                      <a:pt x="81" y="8"/>
                    </a:cubicBezTo>
                    <a:cubicBezTo>
                      <a:pt x="77" y="5"/>
                      <a:pt x="71" y="3"/>
                      <a:pt x="66" y="3"/>
                    </a:cubicBezTo>
                    <a:cubicBezTo>
                      <a:pt x="62" y="3"/>
                      <a:pt x="59" y="3"/>
                      <a:pt x="59" y="3"/>
                    </a:cubicBezTo>
                    <a:cubicBezTo>
                      <a:pt x="59" y="9"/>
                      <a:pt x="61" y="16"/>
                      <a:pt x="63" y="23"/>
                    </a:cubicBezTo>
                    <a:cubicBezTo>
                      <a:pt x="65" y="30"/>
                      <a:pt x="68" y="37"/>
                      <a:pt x="70" y="43"/>
                    </a:cubicBezTo>
                    <a:cubicBezTo>
                      <a:pt x="72" y="48"/>
                      <a:pt x="74" y="53"/>
                      <a:pt x="75" y="57"/>
                    </a:cubicBezTo>
                    <a:cubicBezTo>
                      <a:pt x="73" y="58"/>
                      <a:pt x="71" y="58"/>
                      <a:pt x="69" y="59"/>
                    </a:cubicBezTo>
                    <a:cubicBezTo>
                      <a:pt x="63" y="44"/>
                      <a:pt x="59" y="28"/>
                      <a:pt x="58" y="11"/>
                    </a:cubicBezTo>
                    <a:cubicBezTo>
                      <a:pt x="53" y="10"/>
                      <a:pt x="47" y="10"/>
                      <a:pt x="43" y="12"/>
                    </a:cubicBezTo>
                    <a:cubicBezTo>
                      <a:pt x="38" y="13"/>
                      <a:pt x="35" y="14"/>
                      <a:pt x="35" y="14"/>
                    </a:cubicBezTo>
                    <a:cubicBezTo>
                      <a:pt x="38" y="19"/>
                      <a:pt x="41" y="25"/>
                      <a:pt x="46" y="31"/>
                    </a:cubicBezTo>
                    <a:cubicBezTo>
                      <a:pt x="50" y="37"/>
                      <a:pt x="55" y="43"/>
                      <a:pt x="59" y="48"/>
                    </a:cubicBezTo>
                    <a:cubicBezTo>
                      <a:pt x="62" y="53"/>
                      <a:pt x="65" y="57"/>
                      <a:pt x="68" y="60"/>
                    </a:cubicBezTo>
                    <a:cubicBezTo>
                      <a:pt x="66" y="61"/>
                      <a:pt x="65" y="63"/>
                      <a:pt x="63" y="64"/>
                    </a:cubicBezTo>
                    <a:cubicBezTo>
                      <a:pt x="52" y="52"/>
                      <a:pt x="44" y="38"/>
                      <a:pt x="38" y="22"/>
                    </a:cubicBezTo>
                    <a:cubicBezTo>
                      <a:pt x="32" y="22"/>
                      <a:pt x="27" y="24"/>
                      <a:pt x="23" y="27"/>
                    </a:cubicBezTo>
                    <a:cubicBezTo>
                      <a:pt x="19" y="29"/>
                      <a:pt x="17" y="31"/>
                      <a:pt x="17" y="31"/>
                    </a:cubicBezTo>
                    <a:cubicBezTo>
                      <a:pt x="21" y="36"/>
                      <a:pt x="26" y="40"/>
                      <a:pt x="32" y="44"/>
                    </a:cubicBezTo>
                    <a:cubicBezTo>
                      <a:pt x="38" y="49"/>
                      <a:pt x="45" y="53"/>
                      <a:pt x="50" y="57"/>
                    </a:cubicBezTo>
                    <a:cubicBezTo>
                      <a:pt x="55" y="60"/>
                      <a:pt x="59" y="63"/>
                      <a:pt x="62" y="65"/>
                    </a:cubicBezTo>
                    <a:cubicBezTo>
                      <a:pt x="61" y="67"/>
                      <a:pt x="60" y="69"/>
                      <a:pt x="59" y="70"/>
                    </a:cubicBezTo>
                    <a:cubicBezTo>
                      <a:pt x="45" y="62"/>
                      <a:pt x="32" y="51"/>
                      <a:pt x="22" y="38"/>
                    </a:cubicBezTo>
                    <a:cubicBezTo>
                      <a:pt x="17" y="40"/>
                      <a:pt x="12" y="44"/>
                      <a:pt x="9" y="47"/>
                    </a:cubicBezTo>
                    <a:cubicBezTo>
                      <a:pt x="6" y="50"/>
                      <a:pt x="5" y="53"/>
                      <a:pt x="5" y="53"/>
                    </a:cubicBezTo>
                    <a:cubicBezTo>
                      <a:pt x="10" y="56"/>
                      <a:pt x="17" y="59"/>
                      <a:pt x="23" y="61"/>
                    </a:cubicBezTo>
                    <a:cubicBezTo>
                      <a:pt x="30" y="63"/>
                      <a:pt x="38" y="65"/>
                      <a:pt x="44" y="67"/>
                    </a:cubicBezTo>
                    <a:cubicBezTo>
                      <a:pt x="50" y="69"/>
                      <a:pt x="54" y="70"/>
                      <a:pt x="58" y="72"/>
                    </a:cubicBezTo>
                    <a:cubicBezTo>
                      <a:pt x="58" y="74"/>
                      <a:pt x="57" y="75"/>
                      <a:pt x="57" y="77"/>
                    </a:cubicBezTo>
                    <a:cubicBezTo>
                      <a:pt x="41" y="74"/>
                      <a:pt x="25" y="68"/>
                      <a:pt x="11" y="58"/>
                    </a:cubicBezTo>
                    <a:cubicBezTo>
                      <a:pt x="7" y="62"/>
                      <a:pt x="4" y="67"/>
                      <a:pt x="3" y="71"/>
                    </a:cubicBezTo>
                    <a:cubicBezTo>
                      <a:pt x="1" y="75"/>
                      <a:pt x="0" y="78"/>
                      <a:pt x="0" y="78"/>
                    </a:cubicBezTo>
                    <a:cubicBezTo>
                      <a:pt x="6" y="79"/>
                      <a:pt x="13" y="80"/>
                      <a:pt x="20" y="80"/>
                    </a:cubicBezTo>
                    <a:cubicBezTo>
                      <a:pt x="28" y="80"/>
                      <a:pt x="35" y="79"/>
                      <a:pt x="42" y="79"/>
                    </a:cubicBezTo>
                    <a:cubicBezTo>
                      <a:pt x="47" y="79"/>
                      <a:pt x="53" y="79"/>
                      <a:pt x="57" y="79"/>
                    </a:cubicBezTo>
                    <a:cubicBezTo>
                      <a:pt x="57" y="80"/>
                      <a:pt x="56" y="80"/>
                      <a:pt x="56" y="81"/>
                    </a:cubicBezTo>
                    <a:cubicBezTo>
                      <a:pt x="56" y="83"/>
                      <a:pt x="57" y="84"/>
                      <a:pt x="57" y="85"/>
                    </a:cubicBezTo>
                    <a:cubicBezTo>
                      <a:pt x="41" y="87"/>
                      <a:pt x="24" y="86"/>
                      <a:pt x="8" y="81"/>
                    </a:cubicBezTo>
                    <a:cubicBezTo>
                      <a:pt x="5" y="86"/>
                      <a:pt x="4" y="91"/>
                      <a:pt x="3" y="96"/>
                    </a:cubicBezTo>
                    <a:cubicBezTo>
                      <a:pt x="3" y="100"/>
                      <a:pt x="4" y="104"/>
                      <a:pt x="4" y="104"/>
                    </a:cubicBezTo>
                    <a:cubicBezTo>
                      <a:pt x="9" y="103"/>
                      <a:pt x="16" y="101"/>
                      <a:pt x="23" y="99"/>
                    </a:cubicBezTo>
                    <a:cubicBezTo>
                      <a:pt x="30" y="97"/>
                      <a:pt x="37" y="94"/>
                      <a:pt x="43" y="92"/>
                    </a:cubicBezTo>
                    <a:cubicBezTo>
                      <a:pt x="49" y="90"/>
                      <a:pt x="53" y="88"/>
                      <a:pt x="57" y="87"/>
                    </a:cubicBezTo>
                    <a:cubicBezTo>
                      <a:pt x="58" y="89"/>
                      <a:pt x="58" y="91"/>
                      <a:pt x="59" y="93"/>
                    </a:cubicBezTo>
                    <a:cubicBezTo>
                      <a:pt x="44" y="99"/>
                      <a:pt x="28" y="103"/>
                      <a:pt x="12" y="104"/>
                    </a:cubicBezTo>
                    <a:cubicBezTo>
                      <a:pt x="10" y="109"/>
                      <a:pt x="11" y="115"/>
                      <a:pt x="12" y="119"/>
                    </a:cubicBezTo>
                    <a:cubicBezTo>
                      <a:pt x="13" y="123"/>
                      <a:pt x="14" y="126"/>
                      <a:pt x="14" y="126"/>
                    </a:cubicBezTo>
                    <a:cubicBezTo>
                      <a:pt x="20" y="124"/>
                      <a:pt x="26" y="120"/>
                      <a:pt x="32" y="116"/>
                    </a:cubicBezTo>
                    <a:cubicBezTo>
                      <a:pt x="37" y="111"/>
                      <a:pt x="43" y="107"/>
                      <a:pt x="49" y="102"/>
                    </a:cubicBezTo>
                    <a:cubicBezTo>
                      <a:pt x="53" y="99"/>
                      <a:pt x="57" y="96"/>
                      <a:pt x="60" y="94"/>
                    </a:cubicBezTo>
                    <a:cubicBezTo>
                      <a:pt x="61" y="96"/>
                      <a:pt x="62" y="97"/>
                      <a:pt x="64" y="99"/>
                    </a:cubicBezTo>
                    <a:cubicBezTo>
                      <a:pt x="52" y="109"/>
                      <a:pt x="38" y="118"/>
                      <a:pt x="22" y="124"/>
                    </a:cubicBezTo>
                    <a:cubicBezTo>
                      <a:pt x="22" y="129"/>
                      <a:pt x="25" y="134"/>
                      <a:pt x="27" y="138"/>
                    </a:cubicBezTo>
                    <a:cubicBezTo>
                      <a:pt x="29" y="142"/>
                      <a:pt x="32" y="144"/>
                      <a:pt x="32" y="144"/>
                    </a:cubicBezTo>
                    <a:cubicBezTo>
                      <a:pt x="36" y="141"/>
                      <a:pt x="40" y="135"/>
                      <a:pt x="45" y="129"/>
                    </a:cubicBezTo>
                    <a:cubicBezTo>
                      <a:pt x="49" y="123"/>
                      <a:pt x="53" y="117"/>
                      <a:pt x="57" y="111"/>
                    </a:cubicBezTo>
                    <a:cubicBezTo>
                      <a:pt x="60" y="107"/>
                      <a:pt x="63" y="103"/>
                      <a:pt x="65" y="100"/>
                    </a:cubicBezTo>
                    <a:cubicBezTo>
                      <a:pt x="66" y="101"/>
                      <a:pt x="68" y="103"/>
                      <a:pt x="70" y="103"/>
                    </a:cubicBezTo>
                    <a:cubicBezTo>
                      <a:pt x="62" y="117"/>
                      <a:pt x="51" y="129"/>
                      <a:pt x="38" y="140"/>
                    </a:cubicBezTo>
                    <a:cubicBezTo>
                      <a:pt x="40" y="145"/>
                      <a:pt x="44" y="149"/>
                      <a:pt x="47" y="152"/>
                    </a:cubicBezTo>
                    <a:cubicBezTo>
                      <a:pt x="51" y="155"/>
                      <a:pt x="54" y="156"/>
                      <a:pt x="54" y="156"/>
                    </a:cubicBezTo>
                    <a:cubicBezTo>
                      <a:pt x="57" y="151"/>
                      <a:pt x="59" y="145"/>
                      <a:pt x="61" y="138"/>
                    </a:cubicBezTo>
                    <a:cubicBezTo>
                      <a:pt x="64" y="131"/>
                      <a:pt x="66" y="124"/>
                      <a:pt x="68" y="117"/>
                    </a:cubicBezTo>
                    <a:cubicBezTo>
                      <a:pt x="69" y="112"/>
                      <a:pt x="70" y="108"/>
                      <a:pt x="72" y="104"/>
                    </a:cubicBezTo>
                    <a:cubicBezTo>
                      <a:pt x="73" y="105"/>
                      <a:pt x="76" y="106"/>
                      <a:pt x="78" y="106"/>
                    </a:cubicBezTo>
                    <a:cubicBezTo>
                      <a:pt x="74" y="121"/>
                      <a:pt x="68" y="136"/>
                      <a:pt x="59" y="150"/>
                    </a:cubicBezTo>
                    <a:cubicBezTo>
                      <a:pt x="62" y="154"/>
                      <a:pt x="68" y="157"/>
                      <a:pt x="72" y="159"/>
                    </a:cubicBezTo>
                    <a:cubicBezTo>
                      <a:pt x="76" y="161"/>
                      <a:pt x="79" y="161"/>
                      <a:pt x="79" y="161"/>
                    </a:cubicBezTo>
                    <a:cubicBezTo>
                      <a:pt x="80" y="155"/>
                      <a:pt x="81" y="148"/>
                      <a:pt x="81" y="141"/>
                    </a:cubicBezTo>
                    <a:cubicBezTo>
                      <a:pt x="80" y="134"/>
                      <a:pt x="80" y="126"/>
                      <a:pt x="80" y="119"/>
                    </a:cubicBezTo>
                    <a:cubicBezTo>
                      <a:pt x="80" y="115"/>
                      <a:pt x="79" y="110"/>
                      <a:pt x="79" y="106"/>
                    </a:cubicBezTo>
                    <a:cubicBezTo>
                      <a:pt x="80" y="106"/>
                      <a:pt x="81" y="106"/>
                      <a:pt x="82" y="106"/>
                    </a:cubicBezTo>
                    <a:cubicBezTo>
                      <a:pt x="83" y="106"/>
                      <a:pt x="84" y="106"/>
                      <a:pt x="86" y="106"/>
                    </a:cubicBezTo>
                    <a:cubicBezTo>
                      <a:pt x="87" y="122"/>
                      <a:pt x="86" y="138"/>
                      <a:pt x="82" y="153"/>
                    </a:cubicBezTo>
                    <a:cubicBezTo>
                      <a:pt x="86" y="156"/>
                      <a:pt x="92" y="158"/>
                      <a:pt x="96" y="158"/>
                    </a:cubicBezTo>
                    <a:cubicBezTo>
                      <a:pt x="101" y="158"/>
                      <a:pt x="104" y="158"/>
                      <a:pt x="104" y="158"/>
                    </a:cubicBezTo>
                    <a:cubicBezTo>
                      <a:pt x="103" y="152"/>
                      <a:pt x="102" y="145"/>
                      <a:pt x="99" y="138"/>
                    </a:cubicBezTo>
                    <a:cubicBezTo>
                      <a:pt x="97" y="131"/>
                      <a:pt x="94" y="124"/>
                      <a:pt x="92" y="118"/>
                    </a:cubicBezTo>
                    <a:cubicBezTo>
                      <a:pt x="90" y="113"/>
                      <a:pt x="89" y="109"/>
                      <a:pt x="88" y="106"/>
                    </a:cubicBezTo>
                    <a:cubicBezTo>
                      <a:pt x="90" y="105"/>
                      <a:pt x="92" y="104"/>
                      <a:pt x="93" y="103"/>
                    </a:cubicBezTo>
                    <a:cubicBezTo>
                      <a:pt x="100" y="118"/>
                      <a:pt x="103" y="133"/>
                      <a:pt x="104" y="150"/>
                    </a:cubicBezTo>
                    <a:cubicBezTo>
                      <a:pt x="109" y="151"/>
                      <a:pt x="115" y="150"/>
                      <a:pt x="119" y="149"/>
                    </a:cubicBezTo>
                    <a:cubicBezTo>
                      <a:pt x="124" y="148"/>
                      <a:pt x="127" y="147"/>
                      <a:pt x="127" y="147"/>
                    </a:cubicBezTo>
                    <a:cubicBezTo>
                      <a:pt x="124" y="141"/>
                      <a:pt x="120" y="136"/>
                      <a:pt x="116" y="130"/>
                    </a:cubicBezTo>
                    <a:cubicBezTo>
                      <a:pt x="112" y="124"/>
                      <a:pt x="107" y="118"/>
                      <a:pt x="103" y="113"/>
                    </a:cubicBezTo>
                    <a:cubicBezTo>
                      <a:pt x="100" y="109"/>
                      <a:pt x="97" y="105"/>
                      <a:pt x="95" y="102"/>
                    </a:cubicBezTo>
                    <a:cubicBezTo>
                      <a:pt x="97" y="101"/>
                      <a:pt x="98" y="100"/>
                      <a:pt x="100" y="98"/>
                    </a:cubicBezTo>
                    <a:cubicBezTo>
                      <a:pt x="110" y="110"/>
                      <a:pt x="118" y="124"/>
                      <a:pt x="124" y="139"/>
                    </a:cubicBezTo>
                    <a:cubicBezTo>
                      <a:pt x="130" y="139"/>
                      <a:pt x="135" y="137"/>
                      <a:pt x="139" y="134"/>
                    </a:cubicBezTo>
                    <a:cubicBezTo>
                      <a:pt x="143" y="132"/>
                      <a:pt x="145" y="129"/>
                      <a:pt x="145" y="129"/>
                    </a:cubicBezTo>
                    <a:cubicBezTo>
                      <a:pt x="141" y="125"/>
                      <a:pt x="135" y="121"/>
                      <a:pt x="130" y="116"/>
                    </a:cubicBezTo>
                    <a:cubicBezTo>
                      <a:pt x="124" y="112"/>
                      <a:pt x="117" y="108"/>
                      <a:pt x="112" y="104"/>
                    </a:cubicBezTo>
                    <a:cubicBezTo>
                      <a:pt x="108" y="102"/>
                      <a:pt x="104" y="99"/>
                      <a:pt x="101" y="97"/>
                    </a:cubicBezTo>
                    <a:cubicBezTo>
                      <a:pt x="102" y="95"/>
                      <a:pt x="104" y="94"/>
                      <a:pt x="105" y="92"/>
                    </a:cubicBezTo>
                    <a:cubicBezTo>
                      <a:pt x="118" y="99"/>
                      <a:pt x="130" y="110"/>
                      <a:pt x="140" y="122"/>
                    </a:cubicBezTo>
                    <a:cubicBezTo>
                      <a:pt x="145" y="121"/>
                      <a:pt x="150" y="117"/>
                      <a:pt x="153" y="113"/>
                    </a:cubicBezTo>
                    <a:cubicBezTo>
                      <a:pt x="156" y="110"/>
                      <a:pt x="157" y="107"/>
                      <a:pt x="157" y="107"/>
                    </a:cubicBezTo>
                    <a:cubicBezTo>
                      <a:pt x="152" y="104"/>
                      <a:pt x="145" y="101"/>
                      <a:pt x="138" y="99"/>
                    </a:cubicBezTo>
                    <a:cubicBezTo>
                      <a:pt x="131" y="97"/>
                      <a:pt x="124" y="95"/>
                      <a:pt x="117" y="93"/>
                    </a:cubicBezTo>
                    <a:cubicBezTo>
                      <a:pt x="113" y="92"/>
                      <a:pt x="109" y="91"/>
                      <a:pt x="105" y="90"/>
                    </a:cubicBezTo>
                    <a:cubicBezTo>
                      <a:pt x="106" y="88"/>
                      <a:pt x="106" y="86"/>
                      <a:pt x="107" y="84"/>
                    </a:cubicBezTo>
                    <a:cubicBezTo>
                      <a:pt x="122" y="87"/>
                      <a:pt x="137" y="93"/>
                      <a:pt x="150" y="102"/>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Oval 28">
                <a:extLst>
                  <a:ext uri="{FF2B5EF4-FFF2-40B4-BE49-F238E27FC236}">
                    <a16:creationId xmlns:a16="http://schemas.microsoft.com/office/drawing/2014/main" id="{392BB1C7-CC45-4743-B0D9-967FEC46BA5F}"/>
                  </a:ext>
                </a:extLst>
              </p:cNvPr>
              <p:cNvSpPr>
                <a:spLocks noChangeArrowheads="1"/>
              </p:cNvSpPr>
              <p:nvPr/>
            </p:nvSpPr>
            <p:spPr bwMode="auto">
              <a:xfrm>
                <a:off x="6705601" y="1000125"/>
                <a:ext cx="82550" cy="825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9">
                <a:extLst>
                  <a:ext uri="{FF2B5EF4-FFF2-40B4-BE49-F238E27FC236}">
                    <a16:creationId xmlns:a16="http://schemas.microsoft.com/office/drawing/2014/main" id="{6B2C0216-3B0B-4593-A055-3735B3F81E55}"/>
                  </a:ext>
                </a:extLst>
              </p:cNvPr>
              <p:cNvSpPr>
                <a:spLocks noEditPoints="1"/>
              </p:cNvSpPr>
              <p:nvPr/>
            </p:nvSpPr>
            <p:spPr bwMode="auto">
              <a:xfrm>
                <a:off x="6429376" y="723900"/>
                <a:ext cx="625475" cy="631825"/>
              </a:xfrm>
              <a:custGeom>
                <a:avLst/>
                <a:gdLst>
                  <a:gd name="T0" fmla="*/ 93 w 185"/>
                  <a:gd name="T1" fmla="*/ 179 h 185"/>
                  <a:gd name="T2" fmla="*/ 6 w 185"/>
                  <a:gd name="T3" fmla="*/ 93 h 185"/>
                  <a:gd name="T4" fmla="*/ 93 w 185"/>
                  <a:gd name="T5" fmla="*/ 6 h 185"/>
                  <a:gd name="T6" fmla="*/ 179 w 185"/>
                  <a:gd name="T7" fmla="*/ 93 h 185"/>
                  <a:gd name="T8" fmla="*/ 93 w 185"/>
                  <a:gd name="T9" fmla="*/ 179 h 185"/>
                  <a:gd name="T10" fmla="*/ 93 w 185"/>
                  <a:gd name="T11" fmla="*/ 0 h 185"/>
                  <a:gd name="T12" fmla="*/ 0 w 185"/>
                  <a:gd name="T13" fmla="*/ 93 h 185"/>
                  <a:gd name="T14" fmla="*/ 93 w 185"/>
                  <a:gd name="T15" fmla="*/ 185 h 185"/>
                  <a:gd name="T16" fmla="*/ 185 w 185"/>
                  <a:gd name="T17" fmla="*/ 93 h 185"/>
                  <a:gd name="T18" fmla="*/ 93 w 185"/>
                  <a:gd name="T1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85">
                    <a:moveTo>
                      <a:pt x="93" y="179"/>
                    </a:moveTo>
                    <a:cubicBezTo>
                      <a:pt x="45" y="179"/>
                      <a:pt x="6" y="140"/>
                      <a:pt x="6" y="93"/>
                    </a:cubicBezTo>
                    <a:cubicBezTo>
                      <a:pt x="6" y="45"/>
                      <a:pt x="45" y="6"/>
                      <a:pt x="93" y="6"/>
                    </a:cubicBezTo>
                    <a:cubicBezTo>
                      <a:pt x="140" y="6"/>
                      <a:pt x="179" y="45"/>
                      <a:pt x="179" y="93"/>
                    </a:cubicBezTo>
                    <a:cubicBezTo>
                      <a:pt x="179" y="140"/>
                      <a:pt x="140" y="179"/>
                      <a:pt x="93" y="179"/>
                    </a:cubicBezTo>
                    <a:moveTo>
                      <a:pt x="93" y="0"/>
                    </a:moveTo>
                    <a:cubicBezTo>
                      <a:pt x="42" y="0"/>
                      <a:pt x="0" y="42"/>
                      <a:pt x="0" y="93"/>
                    </a:cubicBezTo>
                    <a:cubicBezTo>
                      <a:pt x="0" y="143"/>
                      <a:pt x="42" y="185"/>
                      <a:pt x="93" y="185"/>
                    </a:cubicBezTo>
                    <a:cubicBezTo>
                      <a:pt x="143" y="185"/>
                      <a:pt x="185" y="143"/>
                      <a:pt x="185" y="93"/>
                    </a:cubicBezTo>
                    <a:cubicBezTo>
                      <a:pt x="185" y="42"/>
                      <a:pt x="143" y="0"/>
                      <a:pt x="93"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30">
                <a:extLst>
                  <a:ext uri="{FF2B5EF4-FFF2-40B4-BE49-F238E27FC236}">
                    <a16:creationId xmlns:a16="http://schemas.microsoft.com/office/drawing/2014/main" id="{C1F95EFC-D2BF-4344-92C4-8F20EC0B8BBD}"/>
                  </a:ext>
                </a:extLst>
              </p:cNvPr>
              <p:cNvSpPr>
                <a:spLocks/>
              </p:cNvSpPr>
              <p:nvPr/>
            </p:nvSpPr>
            <p:spPr bwMode="auto">
              <a:xfrm>
                <a:off x="6550026" y="661988"/>
                <a:ext cx="415925" cy="160338"/>
              </a:xfrm>
              <a:custGeom>
                <a:avLst/>
                <a:gdLst>
                  <a:gd name="T0" fmla="*/ 123 w 123"/>
                  <a:gd name="T1" fmla="*/ 47 h 47"/>
                  <a:gd name="T2" fmla="*/ 84 w 123"/>
                  <a:gd name="T3" fmla="*/ 23 h 47"/>
                  <a:gd name="T4" fmla="*/ 31 w 123"/>
                  <a:gd name="T5" fmla="*/ 15 h 47"/>
                  <a:gd name="T6" fmla="*/ 0 w 123"/>
                  <a:gd name="T7" fmla="*/ 38 h 47"/>
                  <a:gd name="T8" fmla="*/ 123 w 123"/>
                  <a:gd name="T9" fmla="*/ 47 h 47"/>
                </a:gdLst>
                <a:ahLst/>
                <a:cxnLst>
                  <a:cxn ang="0">
                    <a:pos x="T0" y="T1"/>
                  </a:cxn>
                  <a:cxn ang="0">
                    <a:pos x="T2" y="T3"/>
                  </a:cxn>
                  <a:cxn ang="0">
                    <a:pos x="T4" y="T5"/>
                  </a:cxn>
                  <a:cxn ang="0">
                    <a:pos x="T6" y="T7"/>
                  </a:cxn>
                  <a:cxn ang="0">
                    <a:pos x="T8" y="T9"/>
                  </a:cxn>
                </a:cxnLst>
                <a:rect l="0" t="0" r="r" b="b"/>
                <a:pathLst>
                  <a:path w="123" h="47">
                    <a:moveTo>
                      <a:pt x="123" y="47"/>
                    </a:moveTo>
                    <a:cubicBezTo>
                      <a:pt x="117" y="41"/>
                      <a:pt x="106" y="31"/>
                      <a:pt x="84" y="23"/>
                    </a:cubicBezTo>
                    <a:cubicBezTo>
                      <a:pt x="65" y="15"/>
                      <a:pt x="31" y="15"/>
                      <a:pt x="31" y="15"/>
                    </a:cubicBezTo>
                    <a:cubicBezTo>
                      <a:pt x="36" y="21"/>
                      <a:pt x="14" y="26"/>
                      <a:pt x="0" y="38"/>
                    </a:cubicBezTo>
                    <a:cubicBezTo>
                      <a:pt x="74" y="0"/>
                      <a:pt x="123" y="47"/>
                      <a:pt x="123" y="4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e 5">
            <a:extLst>
              <a:ext uri="{FF2B5EF4-FFF2-40B4-BE49-F238E27FC236}">
                <a16:creationId xmlns:a16="http://schemas.microsoft.com/office/drawing/2014/main" id="{1082073E-2B6D-4EA7-86F9-DC3BC51C53C3}"/>
              </a:ext>
              <a:ext uri="{C183D7F6-B498-43B3-948B-1728B52AA6E4}">
                <adec:decorative xmlns:adec="http://schemas.microsoft.com/office/drawing/2017/decorative" val="1"/>
              </a:ext>
            </a:extLst>
          </p:cNvPr>
          <p:cNvGrpSpPr>
            <a:grpSpLocks noChangeAspect="1"/>
          </p:cNvGrpSpPr>
          <p:nvPr/>
        </p:nvGrpSpPr>
        <p:grpSpPr>
          <a:xfrm>
            <a:off x="4177047" y="5099656"/>
            <a:ext cx="672805" cy="633600"/>
            <a:chOff x="10230285" y="5418870"/>
            <a:chExt cx="913245" cy="860030"/>
          </a:xfrm>
        </p:grpSpPr>
        <p:sp>
          <p:nvSpPr>
            <p:cNvPr id="393" name="Freeform 124">
              <a:extLst>
                <a:ext uri="{FF2B5EF4-FFF2-40B4-BE49-F238E27FC236}">
                  <a16:creationId xmlns:a16="http://schemas.microsoft.com/office/drawing/2014/main" id="{4F3ABB3E-62C4-45DE-943E-D994282AAD9A}"/>
                </a:ext>
              </a:extLst>
            </p:cNvPr>
            <p:cNvSpPr>
              <a:spLocks noChangeAspect="1"/>
            </p:cNvSpPr>
            <p:nvPr/>
          </p:nvSpPr>
          <p:spPr bwMode="auto">
            <a:xfrm>
              <a:off x="10230285" y="5418870"/>
              <a:ext cx="913245" cy="860030"/>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394" name="Freeform 35">
              <a:extLst>
                <a:ext uri="{FF2B5EF4-FFF2-40B4-BE49-F238E27FC236}">
                  <a16:creationId xmlns:a16="http://schemas.microsoft.com/office/drawing/2014/main" id="{93BCEC7F-AA7B-4EB8-94D9-06DE752C51D4}"/>
                </a:ext>
              </a:extLst>
            </p:cNvPr>
            <p:cNvSpPr>
              <a:spLocks noChangeAspect="1" noEditPoints="1"/>
            </p:cNvSpPr>
            <p:nvPr/>
          </p:nvSpPr>
          <p:spPr bwMode="auto">
            <a:xfrm>
              <a:off x="10513919" y="5582524"/>
              <a:ext cx="307820" cy="555489"/>
            </a:xfrm>
            <a:custGeom>
              <a:avLst/>
              <a:gdLst>
                <a:gd name="T0" fmla="*/ 25 w 68"/>
                <a:gd name="T1" fmla="*/ 21 h 126"/>
                <a:gd name="T2" fmla="*/ 67 w 68"/>
                <a:gd name="T3" fmla="*/ 6 h 126"/>
                <a:gd name="T4" fmla="*/ 22 w 68"/>
                <a:gd name="T5" fmla="*/ 7 h 126"/>
                <a:gd name="T6" fmla="*/ 24 w 68"/>
                <a:gd name="T7" fmla="*/ 21 h 126"/>
                <a:gd name="T8" fmla="*/ 22 w 68"/>
                <a:gd name="T9" fmla="*/ 121 h 126"/>
                <a:gd name="T10" fmla="*/ 22 w 68"/>
                <a:gd name="T11" fmla="*/ 126 h 126"/>
                <a:gd name="T12" fmla="*/ 49 w 68"/>
                <a:gd name="T13" fmla="*/ 123 h 126"/>
                <a:gd name="T14" fmla="*/ 8 w 68"/>
                <a:gd name="T15" fmla="*/ 45 h 126"/>
                <a:gd name="T16" fmla="*/ 62 w 68"/>
                <a:gd name="T17" fmla="*/ 34 h 126"/>
                <a:gd name="T18" fmla="*/ 59 w 68"/>
                <a:gd name="T19" fmla="*/ 20 h 126"/>
                <a:gd name="T20" fmla="*/ 1 w 68"/>
                <a:gd name="T21" fmla="*/ 39 h 126"/>
                <a:gd name="T22" fmla="*/ 50 w 68"/>
                <a:gd name="T23" fmla="*/ 113 h 126"/>
                <a:gd name="T24" fmla="*/ 16 w 68"/>
                <a:gd name="T25" fmla="*/ 115 h 126"/>
                <a:gd name="T26" fmla="*/ 50 w 68"/>
                <a:gd name="T27" fmla="*/ 118 h 126"/>
                <a:gd name="T28" fmla="*/ 50 w 68"/>
                <a:gd name="T29" fmla="*/ 113 h 126"/>
                <a:gd name="T30" fmla="*/ 59 w 68"/>
                <a:gd name="T31" fmla="*/ 40 h 126"/>
                <a:gd name="T32" fmla="*/ 1 w 68"/>
                <a:gd name="T33" fmla="*/ 59 h 126"/>
                <a:gd name="T34" fmla="*/ 2 w 68"/>
                <a:gd name="T35" fmla="*/ 60 h 126"/>
                <a:gd name="T36" fmla="*/ 6 w 68"/>
                <a:gd name="T37" fmla="*/ 64 h 126"/>
                <a:gd name="T38" fmla="*/ 7 w 68"/>
                <a:gd name="T39" fmla="*/ 64 h 126"/>
                <a:gd name="T40" fmla="*/ 8 w 68"/>
                <a:gd name="T41" fmla="*/ 64 h 126"/>
                <a:gd name="T42" fmla="*/ 16 w 68"/>
                <a:gd name="T43" fmla="*/ 73 h 126"/>
                <a:gd name="T44" fmla="*/ 9 w 68"/>
                <a:gd name="T45" fmla="*/ 79 h 126"/>
                <a:gd name="T46" fmla="*/ 9 w 68"/>
                <a:gd name="T47" fmla="*/ 87 h 126"/>
                <a:gd name="T48" fmla="*/ 18 w 68"/>
                <a:gd name="T49" fmla="*/ 105 h 126"/>
                <a:gd name="T50" fmla="*/ 18 w 68"/>
                <a:gd name="T51" fmla="*/ 110 h 126"/>
                <a:gd name="T52" fmla="*/ 53 w 68"/>
                <a:gd name="T53" fmla="*/ 107 h 126"/>
                <a:gd name="T54" fmla="*/ 49 w 68"/>
                <a:gd name="T55" fmla="*/ 105 h 126"/>
                <a:gd name="T56" fmla="*/ 60 w 68"/>
                <a:gd name="T57" fmla="*/ 79 h 126"/>
                <a:gd name="T58" fmla="*/ 52 w 68"/>
                <a:gd name="T59" fmla="*/ 70 h 126"/>
                <a:gd name="T60" fmla="*/ 55 w 68"/>
                <a:gd name="T61" fmla="*/ 69 h 126"/>
                <a:gd name="T62" fmla="*/ 55 w 68"/>
                <a:gd name="T63" fmla="*/ 60 h 126"/>
                <a:gd name="T64" fmla="*/ 43 w 68"/>
                <a:gd name="T65" fmla="*/ 79 h 126"/>
                <a:gd name="T66" fmla="*/ 26 w 68"/>
                <a:gd name="T67" fmla="*/ 73 h 126"/>
                <a:gd name="T68" fmla="*/ 62 w 68"/>
                <a:gd name="T69"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 h="126">
                  <a:moveTo>
                    <a:pt x="24" y="21"/>
                  </a:moveTo>
                  <a:cubicBezTo>
                    <a:pt x="24" y="21"/>
                    <a:pt x="25" y="21"/>
                    <a:pt x="25" y="21"/>
                  </a:cubicBezTo>
                  <a:cubicBezTo>
                    <a:pt x="26" y="21"/>
                    <a:pt x="62" y="14"/>
                    <a:pt x="62" y="14"/>
                  </a:cubicBezTo>
                  <a:cubicBezTo>
                    <a:pt x="66" y="13"/>
                    <a:pt x="68" y="10"/>
                    <a:pt x="67" y="6"/>
                  </a:cubicBezTo>
                  <a:cubicBezTo>
                    <a:pt x="67" y="2"/>
                    <a:pt x="63" y="0"/>
                    <a:pt x="59" y="1"/>
                  </a:cubicBezTo>
                  <a:cubicBezTo>
                    <a:pt x="59" y="1"/>
                    <a:pt x="23" y="7"/>
                    <a:pt x="22" y="7"/>
                  </a:cubicBezTo>
                  <a:cubicBezTo>
                    <a:pt x="18" y="8"/>
                    <a:pt x="16" y="12"/>
                    <a:pt x="17" y="16"/>
                  </a:cubicBezTo>
                  <a:cubicBezTo>
                    <a:pt x="18" y="19"/>
                    <a:pt x="21" y="21"/>
                    <a:pt x="24" y="21"/>
                  </a:cubicBezTo>
                  <a:close/>
                  <a:moveTo>
                    <a:pt x="47" y="121"/>
                  </a:moveTo>
                  <a:cubicBezTo>
                    <a:pt x="22" y="121"/>
                    <a:pt x="22" y="121"/>
                    <a:pt x="22" y="121"/>
                  </a:cubicBezTo>
                  <a:cubicBezTo>
                    <a:pt x="21" y="121"/>
                    <a:pt x="20" y="122"/>
                    <a:pt x="20" y="123"/>
                  </a:cubicBezTo>
                  <a:cubicBezTo>
                    <a:pt x="20" y="125"/>
                    <a:pt x="21" y="126"/>
                    <a:pt x="22" y="126"/>
                  </a:cubicBezTo>
                  <a:cubicBezTo>
                    <a:pt x="47" y="126"/>
                    <a:pt x="47" y="126"/>
                    <a:pt x="47" y="126"/>
                  </a:cubicBezTo>
                  <a:cubicBezTo>
                    <a:pt x="48" y="126"/>
                    <a:pt x="49" y="125"/>
                    <a:pt x="49" y="123"/>
                  </a:cubicBezTo>
                  <a:cubicBezTo>
                    <a:pt x="49" y="122"/>
                    <a:pt x="48" y="121"/>
                    <a:pt x="47" y="121"/>
                  </a:cubicBezTo>
                  <a:close/>
                  <a:moveTo>
                    <a:pt x="8" y="45"/>
                  </a:moveTo>
                  <a:cubicBezTo>
                    <a:pt x="8" y="45"/>
                    <a:pt x="9" y="44"/>
                    <a:pt x="10" y="44"/>
                  </a:cubicBezTo>
                  <a:cubicBezTo>
                    <a:pt x="11" y="44"/>
                    <a:pt x="62" y="34"/>
                    <a:pt x="62" y="34"/>
                  </a:cubicBezTo>
                  <a:cubicBezTo>
                    <a:pt x="66" y="33"/>
                    <a:pt x="68" y="29"/>
                    <a:pt x="68" y="25"/>
                  </a:cubicBezTo>
                  <a:cubicBezTo>
                    <a:pt x="67" y="22"/>
                    <a:pt x="63" y="19"/>
                    <a:pt x="59" y="20"/>
                  </a:cubicBezTo>
                  <a:cubicBezTo>
                    <a:pt x="59" y="20"/>
                    <a:pt x="7" y="31"/>
                    <a:pt x="6" y="31"/>
                  </a:cubicBezTo>
                  <a:cubicBezTo>
                    <a:pt x="2" y="32"/>
                    <a:pt x="0" y="36"/>
                    <a:pt x="1" y="39"/>
                  </a:cubicBezTo>
                  <a:cubicBezTo>
                    <a:pt x="2" y="42"/>
                    <a:pt x="5" y="45"/>
                    <a:pt x="8" y="45"/>
                  </a:cubicBezTo>
                  <a:close/>
                  <a:moveTo>
                    <a:pt x="50" y="113"/>
                  </a:moveTo>
                  <a:cubicBezTo>
                    <a:pt x="18" y="113"/>
                    <a:pt x="18" y="113"/>
                    <a:pt x="18" y="113"/>
                  </a:cubicBezTo>
                  <a:cubicBezTo>
                    <a:pt x="17" y="113"/>
                    <a:pt x="16" y="114"/>
                    <a:pt x="16" y="115"/>
                  </a:cubicBezTo>
                  <a:cubicBezTo>
                    <a:pt x="16" y="117"/>
                    <a:pt x="17" y="118"/>
                    <a:pt x="18" y="118"/>
                  </a:cubicBezTo>
                  <a:cubicBezTo>
                    <a:pt x="50" y="118"/>
                    <a:pt x="50" y="118"/>
                    <a:pt x="50" y="118"/>
                  </a:cubicBezTo>
                  <a:cubicBezTo>
                    <a:pt x="52" y="118"/>
                    <a:pt x="53" y="117"/>
                    <a:pt x="53" y="115"/>
                  </a:cubicBezTo>
                  <a:cubicBezTo>
                    <a:pt x="53" y="114"/>
                    <a:pt x="52" y="113"/>
                    <a:pt x="50" y="113"/>
                  </a:cubicBezTo>
                  <a:close/>
                  <a:moveTo>
                    <a:pt x="68" y="45"/>
                  </a:moveTo>
                  <a:cubicBezTo>
                    <a:pt x="67" y="41"/>
                    <a:pt x="63" y="39"/>
                    <a:pt x="59" y="40"/>
                  </a:cubicBezTo>
                  <a:cubicBezTo>
                    <a:pt x="59" y="40"/>
                    <a:pt x="7" y="50"/>
                    <a:pt x="6" y="50"/>
                  </a:cubicBezTo>
                  <a:cubicBezTo>
                    <a:pt x="3" y="51"/>
                    <a:pt x="0" y="55"/>
                    <a:pt x="1" y="59"/>
                  </a:cubicBezTo>
                  <a:cubicBezTo>
                    <a:pt x="1" y="59"/>
                    <a:pt x="1" y="59"/>
                    <a:pt x="2" y="60"/>
                  </a:cubicBezTo>
                  <a:cubicBezTo>
                    <a:pt x="2" y="60"/>
                    <a:pt x="2" y="60"/>
                    <a:pt x="2" y="60"/>
                  </a:cubicBezTo>
                  <a:cubicBezTo>
                    <a:pt x="2" y="60"/>
                    <a:pt x="2" y="60"/>
                    <a:pt x="2" y="60"/>
                  </a:cubicBezTo>
                  <a:cubicBezTo>
                    <a:pt x="2" y="62"/>
                    <a:pt x="4" y="63"/>
                    <a:pt x="6" y="64"/>
                  </a:cubicBezTo>
                  <a:cubicBezTo>
                    <a:pt x="7" y="64"/>
                    <a:pt x="7" y="64"/>
                    <a:pt x="7" y="64"/>
                  </a:cubicBezTo>
                  <a:cubicBezTo>
                    <a:pt x="7" y="64"/>
                    <a:pt x="7" y="64"/>
                    <a:pt x="7" y="64"/>
                  </a:cubicBezTo>
                  <a:cubicBezTo>
                    <a:pt x="7" y="64"/>
                    <a:pt x="8" y="64"/>
                    <a:pt x="8" y="64"/>
                  </a:cubicBezTo>
                  <a:cubicBezTo>
                    <a:pt x="8" y="64"/>
                    <a:pt x="8" y="64"/>
                    <a:pt x="8" y="64"/>
                  </a:cubicBezTo>
                  <a:cubicBezTo>
                    <a:pt x="9" y="64"/>
                    <a:pt x="11" y="64"/>
                    <a:pt x="12" y="65"/>
                  </a:cubicBezTo>
                  <a:cubicBezTo>
                    <a:pt x="14" y="67"/>
                    <a:pt x="16" y="68"/>
                    <a:pt x="16" y="73"/>
                  </a:cubicBezTo>
                  <a:cubicBezTo>
                    <a:pt x="16" y="73"/>
                    <a:pt x="16" y="77"/>
                    <a:pt x="16" y="79"/>
                  </a:cubicBezTo>
                  <a:cubicBezTo>
                    <a:pt x="9" y="79"/>
                    <a:pt x="9" y="79"/>
                    <a:pt x="9" y="79"/>
                  </a:cubicBezTo>
                  <a:cubicBezTo>
                    <a:pt x="9" y="87"/>
                    <a:pt x="9" y="87"/>
                    <a:pt x="9" y="87"/>
                  </a:cubicBezTo>
                  <a:cubicBezTo>
                    <a:pt x="9" y="87"/>
                    <a:pt x="9" y="87"/>
                    <a:pt x="9" y="87"/>
                  </a:cubicBezTo>
                  <a:cubicBezTo>
                    <a:pt x="9" y="95"/>
                    <a:pt x="13" y="102"/>
                    <a:pt x="20" y="105"/>
                  </a:cubicBezTo>
                  <a:cubicBezTo>
                    <a:pt x="18" y="105"/>
                    <a:pt x="18" y="105"/>
                    <a:pt x="18" y="105"/>
                  </a:cubicBezTo>
                  <a:cubicBezTo>
                    <a:pt x="17" y="105"/>
                    <a:pt x="16" y="106"/>
                    <a:pt x="16" y="107"/>
                  </a:cubicBezTo>
                  <a:cubicBezTo>
                    <a:pt x="16" y="109"/>
                    <a:pt x="17" y="110"/>
                    <a:pt x="18" y="110"/>
                  </a:cubicBezTo>
                  <a:cubicBezTo>
                    <a:pt x="50" y="110"/>
                    <a:pt x="50" y="110"/>
                    <a:pt x="50" y="110"/>
                  </a:cubicBezTo>
                  <a:cubicBezTo>
                    <a:pt x="52" y="110"/>
                    <a:pt x="53" y="109"/>
                    <a:pt x="53" y="107"/>
                  </a:cubicBezTo>
                  <a:cubicBezTo>
                    <a:pt x="53" y="106"/>
                    <a:pt x="52" y="105"/>
                    <a:pt x="50" y="105"/>
                  </a:cubicBezTo>
                  <a:cubicBezTo>
                    <a:pt x="49" y="105"/>
                    <a:pt x="49" y="105"/>
                    <a:pt x="49" y="105"/>
                  </a:cubicBezTo>
                  <a:cubicBezTo>
                    <a:pt x="55" y="102"/>
                    <a:pt x="60" y="95"/>
                    <a:pt x="60" y="87"/>
                  </a:cubicBezTo>
                  <a:cubicBezTo>
                    <a:pt x="60" y="79"/>
                    <a:pt x="60" y="79"/>
                    <a:pt x="60" y="79"/>
                  </a:cubicBezTo>
                  <a:cubicBezTo>
                    <a:pt x="52" y="79"/>
                    <a:pt x="52" y="79"/>
                    <a:pt x="52" y="79"/>
                  </a:cubicBezTo>
                  <a:cubicBezTo>
                    <a:pt x="52" y="70"/>
                    <a:pt x="52" y="70"/>
                    <a:pt x="52" y="70"/>
                  </a:cubicBezTo>
                  <a:cubicBezTo>
                    <a:pt x="52" y="70"/>
                    <a:pt x="52" y="70"/>
                    <a:pt x="53" y="70"/>
                  </a:cubicBezTo>
                  <a:cubicBezTo>
                    <a:pt x="53" y="69"/>
                    <a:pt x="54" y="69"/>
                    <a:pt x="55" y="69"/>
                  </a:cubicBezTo>
                  <a:cubicBezTo>
                    <a:pt x="57" y="69"/>
                    <a:pt x="59" y="67"/>
                    <a:pt x="59" y="64"/>
                  </a:cubicBezTo>
                  <a:cubicBezTo>
                    <a:pt x="59" y="62"/>
                    <a:pt x="57" y="60"/>
                    <a:pt x="55" y="60"/>
                  </a:cubicBezTo>
                  <a:cubicBezTo>
                    <a:pt x="49" y="60"/>
                    <a:pt x="43" y="64"/>
                    <a:pt x="43" y="70"/>
                  </a:cubicBezTo>
                  <a:cubicBezTo>
                    <a:pt x="43" y="79"/>
                    <a:pt x="43" y="79"/>
                    <a:pt x="43" y="79"/>
                  </a:cubicBezTo>
                  <a:cubicBezTo>
                    <a:pt x="26" y="79"/>
                    <a:pt x="26" y="79"/>
                    <a:pt x="26" y="79"/>
                  </a:cubicBezTo>
                  <a:cubicBezTo>
                    <a:pt x="26" y="77"/>
                    <a:pt x="26" y="74"/>
                    <a:pt x="26" y="73"/>
                  </a:cubicBezTo>
                  <a:cubicBezTo>
                    <a:pt x="26" y="68"/>
                    <a:pt x="24" y="64"/>
                    <a:pt x="21" y="61"/>
                  </a:cubicBezTo>
                  <a:cubicBezTo>
                    <a:pt x="34" y="58"/>
                    <a:pt x="62" y="53"/>
                    <a:pt x="62" y="53"/>
                  </a:cubicBezTo>
                  <a:cubicBezTo>
                    <a:pt x="66" y="52"/>
                    <a:pt x="68" y="49"/>
                    <a:pt x="68" y="4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9" name="Groupe 8">
            <a:extLst>
              <a:ext uri="{FF2B5EF4-FFF2-40B4-BE49-F238E27FC236}">
                <a16:creationId xmlns:a16="http://schemas.microsoft.com/office/drawing/2014/main" id="{2307F4D3-1FF8-4C34-9D28-C6CE02BDDFE5}"/>
              </a:ext>
              <a:ext uri="{C183D7F6-B498-43B3-948B-1728B52AA6E4}">
                <adec:decorative xmlns:adec="http://schemas.microsoft.com/office/drawing/2017/decorative" val="1"/>
              </a:ext>
            </a:extLst>
          </p:cNvPr>
          <p:cNvGrpSpPr>
            <a:grpSpLocks noChangeAspect="1"/>
          </p:cNvGrpSpPr>
          <p:nvPr/>
        </p:nvGrpSpPr>
        <p:grpSpPr>
          <a:xfrm>
            <a:off x="8813609" y="5099656"/>
            <a:ext cx="676738" cy="633600"/>
            <a:chOff x="8790001" y="234184"/>
            <a:chExt cx="861747" cy="806815"/>
          </a:xfrm>
        </p:grpSpPr>
        <p:sp>
          <p:nvSpPr>
            <p:cNvPr id="395" name="Freeform 157">
              <a:extLst>
                <a:ext uri="{FF2B5EF4-FFF2-40B4-BE49-F238E27FC236}">
                  <a16:creationId xmlns:a16="http://schemas.microsoft.com/office/drawing/2014/main" id="{19A1E173-5FFF-474A-A17B-87C32553AFC9}"/>
                </a:ext>
              </a:extLst>
            </p:cNvPr>
            <p:cNvSpPr>
              <a:spLocks/>
            </p:cNvSpPr>
            <p:nvPr/>
          </p:nvSpPr>
          <p:spPr bwMode="auto">
            <a:xfrm>
              <a:off x="8790001" y="234184"/>
              <a:ext cx="861747" cy="806815"/>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05" name="Freeform 72">
              <a:extLst>
                <a:ext uri="{FF2B5EF4-FFF2-40B4-BE49-F238E27FC236}">
                  <a16:creationId xmlns:a16="http://schemas.microsoft.com/office/drawing/2014/main" id="{EC0EDAA1-6C56-456C-81BA-22D3E57FF609}"/>
                </a:ext>
              </a:extLst>
            </p:cNvPr>
            <p:cNvSpPr>
              <a:spLocks noEditPoints="1"/>
            </p:cNvSpPr>
            <p:nvPr/>
          </p:nvSpPr>
          <p:spPr bwMode="auto">
            <a:xfrm>
              <a:off x="9098696" y="447888"/>
              <a:ext cx="233500" cy="339968"/>
            </a:xfrm>
            <a:custGeom>
              <a:avLst/>
              <a:gdLst>
                <a:gd name="T0" fmla="*/ 39 w 78"/>
                <a:gd name="T1" fmla="*/ 117 h 117"/>
                <a:gd name="T2" fmla="*/ 78 w 78"/>
                <a:gd name="T3" fmla="*/ 82 h 117"/>
                <a:gd name="T4" fmla="*/ 41 w 78"/>
                <a:gd name="T5" fmla="*/ 2 h 117"/>
                <a:gd name="T6" fmla="*/ 39 w 78"/>
                <a:gd name="T7" fmla="*/ 0 h 117"/>
                <a:gd name="T8" fmla="*/ 37 w 78"/>
                <a:gd name="T9" fmla="*/ 2 h 117"/>
                <a:gd name="T10" fmla="*/ 0 w 78"/>
                <a:gd name="T11" fmla="*/ 82 h 117"/>
                <a:gd name="T12" fmla="*/ 39 w 78"/>
                <a:gd name="T13" fmla="*/ 117 h 117"/>
                <a:gd name="T14" fmla="*/ 38 w 78"/>
                <a:gd name="T15" fmla="*/ 95 h 117"/>
                <a:gd name="T16" fmla="*/ 60 w 78"/>
                <a:gd name="T17" fmla="*/ 94 h 117"/>
                <a:gd name="T18" fmla="*/ 71 w 78"/>
                <a:gd name="T19" fmla="*/ 69 h 117"/>
                <a:gd name="T20" fmla="*/ 72 w 78"/>
                <a:gd name="T21" fmla="*/ 77 h 117"/>
                <a:gd name="T22" fmla="*/ 65 w 78"/>
                <a:gd name="T23" fmla="*/ 99 h 117"/>
                <a:gd name="T24" fmla="*/ 46 w 78"/>
                <a:gd name="T25" fmla="*/ 108 h 117"/>
                <a:gd name="T26" fmla="*/ 33 w 78"/>
                <a:gd name="T27" fmla="*/ 106 h 117"/>
                <a:gd name="T28" fmla="*/ 38 w 78"/>
                <a:gd name="T29" fmla="*/ 9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117">
                  <a:moveTo>
                    <a:pt x="39" y="117"/>
                  </a:moveTo>
                  <a:cubicBezTo>
                    <a:pt x="59" y="117"/>
                    <a:pt x="78" y="102"/>
                    <a:pt x="78" y="82"/>
                  </a:cubicBezTo>
                  <a:cubicBezTo>
                    <a:pt x="77" y="57"/>
                    <a:pt x="45" y="24"/>
                    <a:pt x="41" y="2"/>
                  </a:cubicBezTo>
                  <a:cubicBezTo>
                    <a:pt x="41" y="2"/>
                    <a:pt x="41" y="0"/>
                    <a:pt x="39" y="0"/>
                  </a:cubicBezTo>
                  <a:cubicBezTo>
                    <a:pt x="37" y="0"/>
                    <a:pt x="37" y="2"/>
                    <a:pt x="37" y="2"/>
                  </a:cubicBezTo>
                  <a:cubicBezTo>
                    <a:pt x="33" y="27"/>
                    <a:pt x="0" y="59"/>
                    <a:pt x="0" y="82"/>
                  </a:cubicBezTo>
                  <a:cubicBezTo>
                    <a:pt x="0" y="102"/>
                    <a:pt x="19" y="117"/>
                    <a:pt x="39" y="117"/>
                  </a:cubicBezTo>
                  <a:close/>
                  <a:moveTo>
                    <a:pt x="38" y="95"/>
                  </a:moveTo>
                  <a:cubicBezTo>
                    <a:pt x="42" y="97"/>
                    <a:pt x="53" y="100"/>
                    <a:pt x="60" y="94"/>
                  </a:cubicBezTo>
                  <a:cubicBezTo>
                    <a:pt x="72" y="84"/>
                    <a:pt x="71" y="69"/>
                    <a:pt x="71" y="69"/>
                  </a:cubicBezTo>
                  <a:cubicBezTo>
                    <a:pt x="71" y="69"/>
                    <a:pt x="72" y="72"/>
                    <a:pt x="72" y="77"/>
                  </a:cubicBezTo>
                  <a:cubicBezTo>
                    <a:pt x="72" y="82"/>
                    <a:pt x="72" y="90"/>
                    <a:pt x="65" y="99"/>
                  </a:cubicBezTo>
                  <a:cubicBezTo>
                    <a:pt x="59" y="106"/>
                    <a:pt x="52" y="108"/>
                    <a:pt x="46" y="108"/>
                  </a:cubicBezTo>
                  <a:cubicBezTo>
                    <a:pt x="41" y="108"/>
                    <a:pt x="37" y="108"/>
                    <a:pt x="33" y="106"/>
                  </a:cubicBezTo>
                  <a:cubicBezTo>
                    <a:pt x="25" y="102"/>
                    <a:pt x="29" y="92"/>
                    <a:pt x="38" y="9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16" name="Groupe 15">
            <a:extLst>
              <a:ext uri="{FF2B5EF4-FFF2-40B4-BE49-F238E27FC236}">
                <a16:creationId xmlns:a16="http://schemas.microsoft.com/office/drawing/2014/main" id="{0AD9ED18-F325-4065-B1BE-1454596F31ED}"/>
              </a:ext>
              <a:ext uri="{C183D7F6-B498-43B3-948B-1728B52AA6E4}">
                <adec:decorative xmlns:adec="http://schemas.microsoft.com/office/drawing/2017/decorative" val="1"/>
              </a:ext>
            </a:extLst>
          </p:cNvPr>
          <p:cNvGrpSpPr>
            <a:grpSpLocks noChangeAspect="1"/>
          </p:cNvGrpSpPr>
          <p:nvPr/>
        </p:nvGrpSpPr>
        <p:grpSpPr>
          <a:xfrm>
            <a:off x="4575424" y="3828093"/>
            <a:ext cx="672805" cy="633600"/>
            <a:chOff x="9207343" y="620976"/>
            <a:chExt cx="913245" cy="860030"/>
          </a:xfrm>
        </p:grpSpPr>
        <p:sp>
          <p:nvSpPr>
            <p:cNvPr id="407" name="Freeform 124">
              <a:extLst>
                <a:ext uri="{FF2B5EF4-FFF2-40B4-BE49-F238E27FC236}">
                  <a16:creationId xmlns:a16="http://schemas.microsoft.com/office/drawing/2014/main" id="{0AE845F2-C2F7-435B-BB16-F0BCF83536EA}"/>
                </a:ext>
              </a:extLst>
            </p:cNvPr>
            <p:cNvSpPr>
              <a:spLocks/>
            </p:cNvSpPr>
            <p:nvPr/>
          </p:nvSpPr>
          <p:spPr bwMode="auto">
            <a:xfrm>
              <a:off x="9207343" y="620976"/>
              <a:ext cx="913245" cy="860030"/>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14" name="Group 803">
              <a:extLst>
                <a:ext uri="{FF2B5EF4-FFF2-40B4-BE49-F238E27FC236}">
                  <a16:creationId xmlns:a16="http://schemas.microsoft.com/office/drawing/2014/main" id="{56C37618-6815-4F0E-8575-06FC2C9D279D}"/>
                </a:ext>
              </a:extLst>
            </p:cNvPr>
            <p:cNvGrpSpPr/>
            <p:nvPr/>
          </p:nvGrpSpPr>
          <p:grpSpPr>
            <a:xfrm>
              <a:off x="9449846" y="834981"/>
              <a:ext cx="457968" cy="432020"/>
              <a:chOff x="10918993" y="827565"/>
              <a:chExt cx="560388" cy="528638"/>
            </a:xfrm>
            <a:solidFill>
              <a:schemeClr val="accent4"/>
            </a:solidFill>
          </p:grpSpPr>
          <p:sp>
            <p:nvSpPr>
              <p:cNvPr id="422" name="Freeform 47">
                <a:extLst>
                  <a:ext uri="{FF2B5EF4-FFF2-40B4-BE49-F238E27FC236}">
                    <a16:creationId xmlns:a16="http://schemas.microsoft.com/office/drawing/2014/main" id="{845D8FDB-5024-4D4A-BB0A-C403F3CDD82F}"/>
                  </a:ext>
                </a:extLst>
              </p:cNvPr>
              <p:cNvSpPr>
                <a:spLocks/>
              </p:cNvSpPr>
              <p:nvPr/>
            </p:nvSpPr>
            <p:spPr bwMode="auto">
              <a:xfrm>
                <a:off x="10918993" y="827565"/>
                <a:ext cx="560388" cy="341313"/>
              </a:xfrm>
              <a:custGeom>
                <a:avLst/>
                <a:gdLst>
                  <a:gd name="T0" fmla="*/ 55 w 149"/>
                  <a:gd name="T1" fmla="*/ 28 h 91"/>
                  <a:gd name="T2" fmla="*/ 85 w 149"/>
                  <a:gd name="T3" fmla="*/ 91 h 91"/>
                  <a:gd name="T4" fmla="*/ 96 w 149"/>
                  <a:gd name="T5" fmla="*/ 69 h 91"/>
                  <a:gd name="T6" fmla="*/ 142 w 149"/>
                  <a:gd name="T7" fmla="*/ 68 h 91"/>
                  <a:gd name="T8" fmla="*/ 149 w 149"/>
                  <a:gd name="T9" fmla="*/ 41 h 91"/>
                  <a:gd name="T10" fmla="*/ 108 w 149"/>
                  <a:gd name="T11" fmla="*/ 0 h 91"/>
                  <a:gd name="T12" fmla="*/ 74 w 149"/>
                  <a:gd name="T13" fmla="*/ 25 h 91"/>
                  <a:gd name="T14" fmla="*/ 40 w 149"/>
                  <a:gd name="T15" fmla="*/ 0 h 91"/>
                  <a:gd name="T16" fmla="*/ 0 w 149"/>
                  <a:gd name="T17" fmla="*/ 41 h 91"/>
                  <a:gd name="T18" fmla="*/ 7 w 149"/>
                  <a:gd name="T19" fmla="*/ 68 h 91"/>
                  <a:gd name="T20" fmla="*/ 45 w 149"/>
                  <a:gd name="T21" fmla="*/ 68 h 91"/>
                  <a:gd name="T22" fmla="*/ 55 w 149"/>
                  <a:gd name="T23" fmla="*/ 2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91">
                    <a:moveTo>
                      <a:pt x="55" y="28"/>
                    </a:moveTo>
                    <a:cubicBezTo>
                      <a:pt x="85" y="91"/>
                      <a:pt x="85" y="91"/>
                      <a:pt x="85" y="91"/>
                    </a:cubicBezTo>
                    <a:cubicBezTo>
                      <a:pt x="96" y="69"/>
                      <a:pt x="96" y="69"/>
                      <a:pt x="96" y="69"/>
                    </a:cubicBezTo>
                    <a:cubicBezTo>
                      <a:pt x="142" y="68"/>
                      <a:pt x="142" y="68"/>
                      <a:pt x="142" y="68"/>
                    </a:cubicBezTo>
                    <a:cubicBezTo>
                      <a:pt x="146" y="59"/>
                      <a:pt x="149" y="50"/>
                      <a:pt x="149" y="41"/>
                    </a:cubicBezTo>
                    <a:cubicBezTo>
                      <a:pt x="149" y="19"/>
                      <a:pt x="131" y="0"/>
                      <a:pt x="108" y="0"/>
                    </a:cubicBezTo>
                    <a:cubicBezTo>
                      <a:pt x="94" y="0"/>
                      <a:pt x="81" y="13"/>
                      <a:pt x="74" y="25"/>
                    </a:cubicBezTo>
                    <a:cubicBezTo>
                      <a:pt x="67" y="13"/>
                      <a:pt x="54" y="0"/>
                      <a:pt x="40" y="0"/>
                    </a:cubicBezTo>
                    <a:cubicBezTo>
                      <a:pt x="18" y="0"/>
                      <a:pt x="0" y="19"/>
                      <a:pt x="0" y="41"/>
                    </a:cubicBezTo>
                    <a:cubicBezTo>
                      <a:pt x="0" y="50"/>
                      <a:pt x="2" y="59"/>
                      <a:pt x="7" y="68"/>
                    </a:cubicBezTo>
                    <a:cubicBezTo>
                      <a:pt x="45" y="68"/>
                      <a:pt x="45" y="68"/>
                      <a:pt x="45" y="68"/>
                    </a:cubicBezTo>
                    <a:lnTo>
                      <a:pt x="55" y="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23" name="Freeform 48">
                <a:extLst>
                  <a:ext uri="{FF2B5EF4-FFF2-40B4-BE49-F238E27FC236}">
                    <a16:creationId xmlns:a16="http://schemas.microsoft.com/office/drawing/2014/main" id="{08B2A301-F593-4330-BE7D-6C8043D09285}"/>
                  </a:ext>
                </a:extLst>
              </p:cNvPr>
              <p:cNvSpPr>
                <a:spLocks/>
              </p:cNvSpPr>
              <p:nvPr/>
            </p:nvSpPr>
            <p:spPr bwMode="auto">
              <a:xfrm>
                <a:off x="10960268" y="1033940"/>
                <a:ext cx="477838" cy="322263"/>
              </a:xfrm>
              <a:custGeom>
                <a:avLst/>
                <a:gdLst>
                  <a:gd name="T0" fmla="*/ 91 w 127"/>
                  <a:gd name="T1" fmla="*/ 22 h 86"/>
                  <a:gd name="T2" fmla="*/ 74 w 127"/>
                  <a:gd name="T3" fmla="*/ 56 h 86"/>
                  <a:gd name="T4" fmla="*/ 46 w 127"/>
                  <a:gd name="T5" fmla="*/ 0 h 86"/>
                  <a:gd name="T6" fmla="*/ 41 w 127"/>
                  <a:gd name="T7" fmla="*/ 21 h 86"/>
                  <a:gd name="T8" fmla="*/ 0 w 127"/>
                  <a:gd name="T9" fmla="*/ 21 h 86"/>
                  <a:gd name="T10" fmla="*/ 63 w 127"/>
                  <a:gd name="T11" fmla="*/ 86 h 86"/>
                  <a:gd name="T12" fmla="*/ 127 w 127"/>
                  <a:gd name="T13" fmla="*/ 22 h 86"/>
                  <a:gd name="T14" fmla="*/ 91 w 127"/>
                  <a:gd name="T15" fmla="*/ 22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86">
                    <a:moveTo>
                      <a:pt x="91" y="22"/>
                    </a:moveTo>
                    <a:cubicBezTo>
                      <a:pt x="74" y="56"/>
                      <a:pt x="74" y="56"/>
                      <a:pt x="74" y="56"/>
                    </a:cubicBezTo>
                    <a:cubicBezTo>
                      <a:pt x="46" y="0"/>
                      <a:pt x="46" y="0"/>
                      <a:pt x="46" y="0"/>
                    </a:cubicBezTo>
                    <a:cubicBezTo>
                      <a:pt x="41" y="21"/>
                      <a:pt x="41" y="21"/>
                      <a:pt x="41" y="21"/>
                    </a:cubicBezTo>
                    <a:cubicBezTo>
                      <a:pt x="0" y="21"/>
                      <a:pt x="0" y="21"/>
                      <a:pt x="0" y="21"/>
                    </a:cubicBezTo>
                    <a:cubicBezTo>
                      <a:pt x="18" y="55"/>
                      <a:pt x="54" y="86"/>
                      <a:pt x="63" y="86"/>
                    </a:cubicBezTo>
                    <a:cubicBezTo>
                      <a:pt x="72" y="86"/>
                      <a:pt x="108" y="56"/>
                      <a:pt x="127" y="22"/>
                    </a:cubicBezTo>
                    <a:lnTo>
                      <a:pt x="91"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424" name="Groupe 423">
            <a:extLst>
              <a:ext uri="{FF2B5EF4-FFF2-40B4-BE49-F238E27FC236}">
                <a16:creationId xmlns:a16="http://schemas.microsoft.com/office/drawing/2014/main" id="{B318AD75-0BF0-4AB5-8032-1B7DF40B1816}"/>
              </a:ext>
              <a:ext uri="{C183D7F6-B498-43B3-948B-1728B52AA6E4}">
                <adec:decorative xmlns:adec="http://schemas.microsoft.com/office/drawing/2017/decorative" val="1"/>
              </a:ext>
            </a:extLst>
          </p:cNvPr>
          <p:cNvGrpSpPr>
            <a:grpSpLocks noChangeAspect="1"/>
          </p:cNvGrpSpPr>
          <p:nvPr/>
        </p:nvGrpSpPr>
        <p:grpSpPr>
          <a:xfrm>
            <a:off x="9639361" y="2634235"/>
            <a:ext cx="674150" cy="633600"/>
            <a:chOff x="1661393" y="5291640"/>
            <a:chExt cx="913245" cy="858313"/>
          </a:xfrm>
        </p:grpSpPr>
        <p:sp>
          <p:nvSpPr>
            <p:cNvPr id="425" name="Freeform 41">
              <a:extLst>
                <a:ext uri="{FF2B5EF4-FFF2-40B4-BE49-F238E27FC236}">
                  <a16:creationId xmlns:a16="http://schemas.microsoft.com/office/drawing/2014/main" id="{F9A5D839-5A86-4931-99CC-050E0E1C4DDD}"/>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26" name="Freeform 12">
              <a:extLst>
                <a:ext uri="{FF2B5EF4-FFF2-40B4-BE49-F238E27FC236}">
                  <a16:creationId xmlns:a16="http://schemas.microsoft.com/office/drawing/2014/main" id="{77E5E9B7-7D91-43B2-B491-5AF16D06E5AA}"/>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27" name="Groupe 26">
            <a:extLst>
              <a:ext uri="{FF2B5EF4-FFF2-40B4-BE49-F238E27FC236}">
                <a16:creationId xmlns:a16="http://schemas.microsoft.com/office/drawing/2014/main" id="{1A6D3DD3-C9C8-4E98-B1E1-F715FAE147EB}"/>
              </a:ext>
              <a:ext uri="{C183D7F6-B498-43B3-948B-1728B52AA6E4}">
                <adec:decorative xmlns:adec="http://schemas.microsoft.com/office/drawing/2017/decorative" val="1"/>
              </a:ext>
            </a:extLst>
          </p:cNvPr>
          <p:cNvGrpSpPr>
            <a:grpSpLocks noChangeAspect="1"/>
          </p:cNvGrpSpPr>
          <p:nvPr/>
        </p:nvGrpSpPr>
        <p:grpSpPr>
          <a:xfrm>
            <a:off x="10342057" y="5099656"/>
            <a:ext cx="676445" cy="633600"/>
            <a:chOff x="3274142" y="6746680"/>
            <a:chExt cx="894362" cy="837714"/>
          </a:xfrm>
        </p:grpSpPr>
        <p:sp>
          <p:nvSpPr>
            <p:cNvPr id="467" name="Freeform 96">
              <a:extLst>
                <a:ext uri="{FF2B5EF4-FFF2-40B4-BE49-F238E27FC236}">
                  <a16:creationId xmlns:a16="http://schemas.microsoft.com/office/drawing/2014/main" id="{7971D165-FC52-4BB9-8B79-BB8A07B60D66}"/>
                </a:ext>
              </a:extLst>
            </p:cNvPr>
            <p:cNvSpPr>
              <a:spLocks/>
            </p:cNvSpPr>
            <p:nvPr/>
          </p:nvSpPr>
          <p:spPr bwMode="auto">
            <a:xfrm>
              <a:off x="3274142" y="6746680"/>
              <a:ext cx="894362" cy="837714"/>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80" name="Group 12">
              <a:extLst>
                <a:ext uri="{FF2B5EF4-FFF2-40B4-BE49-F238E27FC236}">
                  <a16:creationId xmlns:a16="http://schemas.microsoft.com/office/drawing/2014/main" id="{C0C5784B-55AE-415A-98A1-1EBBB3BBF22C}"/>
                </a:ext>
              </a:extLst>
            </p:cNvPr>
            <p:cNvGrpSpPr/>
            <p:nvPr/>
          </p:nvGrpSpPr>
          <p:grpSpPr>
            <a:xfrm>
              <a:off x="3517988" y="6977005"/>
              <a:ext cx="391008" cy="402501"/>
              <a:chOff x="7338789" y="4977588"/>
              <a:chExt cx="668943" cy="688605"/>
            </a:xfrm>
            <a:solidFill>
              <a:schemeClr val="accent3"/>
            </a:solidFill>
          </p:grpSpPr>
          <p:sp>
            <p:nvSpPr>
              <p:cNvPr id="481" name="Freeform 58">
                <a:extLst>
                  <a:ext uri="{FF2B5EF4-FFF2-40B4-BE49-F238E27FC236}">
                    <a16:creationId xmlns:a16="http://schemas.microsoft.com/office/drawing/2014/main" id="{146CAA9A-71D4-443B-B5C0-04AB8CA3B96E}"/>
                  </a:ext>
                </a:extLst>
              </p:cNvPr>
              <p:cNvSpPr>
                <a:spLocks noEditPoints="1"/>
              </p:cNvSpPr>
              <p:nvPr/>
            </p:nvSpPr>
            <p:spPr bwMode="auto">
              <a:xfrm>
                <a:off x="7426845" y="4977588"/>
                <a:ext cx="491410" cy="205231"/>
              </a:xfrm>
              <a:custGeom>
                <a:avLst/>
                <a:gdLst>
                  <a:gd name="T0" fmla="*/ 72 w 1070"/>
                  <a:gd name="T1" fmla="*/ 145 h 468"/>
                  <a:gd name="T2" fmla="*/ 93 w 1070"/>
                  <a:gd name="T3" fmla="*/ 145 h 468"/>
                  <a:gd name="T4" fmla="*/ 426 w 1070"/>
                  <a:gd name="T5" fmla="*/ 395 h 468"/>
                  <a:gd name="T6" fmla="*/ 426 w 1070"/>
                  <a:gd name="T7" fmla="*/ 429 h 468"/>
                  <a:gd name="T8" fmla="*/ 465 w 1070"/>
                  <a:gd name="T9" fmla="*/ 468 h 468"/>
                  <a:gd name="T10" fmla="*/ 605 w 1070"/>
                  <a:gd name="T11" fmla="*/ 468 h 468"/>
                  <a:gd name="T12" fmla="*/ 644 w 1070"/>
                  <a:gd name="T13" fmla="*/ 429 h 468"/>
                  <a:gd name="T14" fmla="*/ 644 w 1070"/>
                  <a:gd name="T15" fmla="*/ 395 h 468"/>
                  <a:gd name="T16" fmla="*/ 976 w 1070"/>
                  <a:gd name="T17" fmla="*/ 145 h 468"/>
                  <a:gd name="T18" fmla="*/ 997 w 1070"/>
                  <a:gd name="T19" fmla="*/ 145 h 468"/>
                  <a:gd name="T20" fmla="*/ 1070 w 1070"/>
                  <a:gd name="T21" fmla="*/ 73 h 468"/>
                  <a:gd name="T22" fmla="*/ 997 w 1070"/>
                  <a:gd name="T23" fmla="*/ 0 h 468"/>
                  <a:gd name="T24" fmla="*/ 72 w 1070"/>
                  <a:gd name="T25" fmla="*/ 0 h 468"/>
                  <a:gd name="T26" fmla="*/ 0 w 1070"/>
                  <a:gd name="T27" fmla="*/ 73 h 468"/>
                  <a:gd name="T28" fmla="*/ 72 w 1070"/>
                  <a:gd name="T29" fmla="*/ 145 h 468"/>
                  <a:gd name="T30" fmla="*/ 644 w 1070"/>
                  <a:gd name="T31" fmla="*/ 260 h 468"/>
                  <a:gd name="T32" fmla="*/ 644 w 1070"/>
                  <a:gd name="T33" fmla="*/ 249 h 468"/>
                  <a:gd name="T34" fmla="*/ 605 w 1070"/>
                  <a:gd name="T35" fmla="*/ 210 h 468"/>
                  <a:gd name="T36" fmla="*/ 465 w 1070"/>
                  <a:gd name="T37" fmla="*/ 210 h 468"/>
                  <a:gd name="T38" fmla="*/ 426 w 1070"/>
                  <a:gd name="T39" fmla="*/ 249 h 468"/>
                  <a:gd name="T40" fmla="*/ 426 w 1070"/>
                  <a:gd name="T41" fmla="*/ 260 h 468"/>
                  <a:gd name="T42" fmla="*/ 273 w 1070"/>
                  <a:gd name="T43" fmla="*/ 145 h 468"/>
                  <a:gd name="T44" fmla="*/ 797 w 1070"/>
                  <a:gd name="T45" fmla="*/ 145 h 468"/>
                  <a:gd name="T46" fmla="*/ 644 w 1070"/>
                  <a:gd name="T47" fmla="*/ 26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0" h="468">
                    <a:moveTo>
                      <a:pt x="72" y="145"/>
                    </a:moveTo>
                    <a:cubicBezTo>
                      <a:pt x="93" y="145"/>
                      <a:pt x="93" y="145"/>
                      <a:pt x="93" y="145"/>
                    </a:cubicBezTo>
                    <a:cubicBezTo>
                      <a:pt x="426" y="395"/>
                      <a:pt x="426" y="395"/>
                      <a:pt x="426" y="395"/>
                    </a:cubicBezTo>
                    <a:cubicBezTo>
                      <a:pt x="426" y="429"/>
                      <a:pt x="426" y="429"/>
                      <a:pt x="426" y="429"/>
                    </a:cubicBezTo>
                    <a:cubicBezTo>
                      <a:pt x="426" y="451"/>
                      <a:pt x="443" y="468"/>
                      <a:pt x="465" y="468"/>
                    </a:cubicBezTo>
                    <a:cubicBezTo>
                      <a:pt x="605" y="468"/>
                      <a:pt x="605" y="468"/>
                      <a:pt x="605" y="468"/>
                    </a:cubicBezTo>
                    <a:cubicBezTo>
                      <a:pt x="626" y="468"/>
                      <a:pt x="644" y="451"/>
                      <a:pt x="644" y="429"/>
                    </a:cubicBezTo>
                    <a:cubicBezTo>
                      <a:pt x="644" y="395"/>
                      <a:pt x="644" y="395"/>
                      <a:pt x="644" y="395"/>
                    </a:cubicBezTo>
                    <a:cubicBezTo>
                      <a:pt x="976" y="145"/>
                      <a:pt x="976" y="145"/>
                      <a:pt x="976" y="145"/>
                    </a:cubicBezTo>
                    <a:cubicBezTo>
                      <a:pt x="997" y="145"/>
                      <a:pt x="997" y="145"/>
                      <a:pt x="997" y="145"/>
                    </a:cubicBezTo>
                    <a:cubicBezTo>
                      <a:pt x="1037" y="145"/>
                      <a:pt x="1070" y="112"/>
                      <a:pt x="1070" y="73"/>
                    </a:cubicBezTo>
                    <a:cubicBezTo>
                      <a:pt x="1070" y="33"/>
                      <a:pt x="1037" y="0"/>
                      <a:pt x="997" y="0"/>
                    </a:cubicBezTo>
                    <a:cubicBezTo>
                      <a:pt x="72" y="0"/>
                      <a:pt x="72" y="0"/>
                      <a:pt x="72" y="0"/>
                    </a:cubicBezTo>
                    <a:cubicBezTo>
                      <a:pt x="32" y="0"/>
                      <a:pt x="0" y="33"/>
                      <a:pt x="0" y="73"/>
                    </a:cubicBezTo>
                    <a:cubicBezTo>
                      <a:pt x="0" y="112"/>
                      <a:pt x="32" y="145"/>
                      <a:pt x="72" y="145"/>
                    </a:cubicBezTo>
                    <a:close/>
                    <a:moveTo>
                      <a:pt x="644" y="260"/>
                    </a:moveTo>
                    <a:cubicBezTo>
                      <a:pt x="644" y="249"/>
                      <a:pt x="644" y="249"/>
                      <a:pt x="644" y="249"/>
                    </a:cubicBezTo>
                    <a:cubicBezTo>
                      <a:pt x="644" y="227"/>
                      <a:pt x="626" y="210"/>
                      <a:pt x="605" y="210"/>
                    </a:cubicBezTo>
                    <a:cubicBezTo>
                      <a:pt x="465" y="210"/>
                      <a:pt x="465" y="210"/>
                      <a:pt x="465" y="210"/>
                    </a:cubicBezTo>
                    <a:cubicBezTo>
                      <a:pt x="443" y="210"/>
                      <a:pt x="426" y="227"/>
                      <a:pt x="426" y="249"/>
                    </a:cubicBezTo>
                    <a:cubicBezTo>
                      <a:pt x="426" y="260"/>
                      <a:pt x="426" y="260"/>
                      <a:pt x="426" y="260"/>
                    </a:cubicBezTo>
                    <a:cubicBezTo>
                      <a:pt x="273" y="145"/>
                      <a:pt x="273" y="145"/>
                      <a:pt x="273" y="145"/>
                    </a:cubicBezTo>
                    <a:cubicBezTo>
                      <a:pt x="797" y="145"/>
                      <a:pt x="797" y="145"/>
                      <a:pt x="797" y="145"/>
                    </a:cubicBezTo>
                    <a:lnTo>
                      <a:pt x="644" y="26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82" name="Freeform 59">
                <a:extLst>
                  <a:ext uri="{FF2B5EF4-FFF2-40B4-BE49-F238E27FC236}">
                    <a16:creationId xmlns:a16="http://schemas.microsoft.com/office/drawing/2014/main" id="{7BCF76A1-183D-4C92-9437-9D76348DE14F}"/>
                  </a:ext>
                </a:extLst>
              </p:cNvPr>
              <p:cNvSpPr>
                <a:spLocks/>
              </p:cNvSpPr>
              <p:nvPr/>
            </p:nvSpPr>
            <p:spPr bwMode="auto">
              <a:xfrm>
                <a:off x="7338789" y="5208473"/>
                <a:ext cx="668943" cy="457720"/>
              </a:xfrm>
              <a:custGeom>
                <a:avLst/>
                <a:gdLst>
                  <a:gd name="T0" fmla="*/ 1418 w 1457"/>
                  <a:gd name="T1" fmla="*/ 268 h 1046"/>
                  <a:gd name="T2" fmla="*/ 1280 w 1457"/>
                  <a:gd name="T3" fmla="*/ 268 h 1046"/>
                  <a:gd name="T4" fmla="*/ 1242 w 1457"/>
                  <a:gd name="T5" fmla="*/ 306 h 1046"/>
                  <a:gd name="T6" fmla="*/ 1242 w 1457"/>
                  <a:gd name="T7" fmla="*/ 408 h 1046"/>
                  <a:gd name="T8" fmla="*/ 1090 w 1457"/>
                  <a:gd name="T9" fmla="*/ 408 h 1046"/>
                  <a:gd name="T10" fmla="*/ 997 w 1457"/>
                  <a:gd name="T11" fmla="*/ 314 h 1046"/>
                  <a:gd name="T12" fmla="*/ 939 w 1457"/>
                  <a:gd name="T13" fmla="*/ 278 h 1046"/>
                  <a:gd name="T14" fmla="*/ 869 w 1457"/>
                  <a:gd name="T15" fmla="*/ 202 h 1046"/>
                  <a:gd name="T16" fmla="*/ 950 w 1457"/>
                  <a:gd name="T17" fmla="*/ 148 h 1046"/>
                  <a:gd name="T18" fmla="*/ 1023 w 1457"/>
                  <a:gd name="T19" fmla="*/ 74 h 1046"/>
                  <a:gd name="T20" fmla="*/ 950 w 1457"/>
                  <a:gd name="T21" fmla="*/ 0 h 1046"/>
                  <a:gd name="T22" fmla="*/ 504 w 1457"/>
                  <a:gd name="T23" fmla="*/ 0 h 1046"/>
                  <a:gd name="T24" fmla="*/ 430 w 1457"/>
                  <a:gd name="T25" fmla="*/ 74 h 1046"/>
                  <a:gd name="T26" fmla="*/ 504 w 1457"/>
                  <a:gd name="T27" fmla="*/ 148 h 1046"/>
                  <a:gd name="T28" fmla="*/ 585 w 1457"/>
                  <a:gd name="T29" fmla="*/ 202 h 1046"/>
                  <a:gd name="T30" fmla="*/ 514 w 1457"/>
                  <a:gd name="T31" fmla="*/ 279 h 1046"/>
                  <a:gd name="T32" fmla="*/ 456 w 1457"/>
                  <a:gd name="T33" fmla="*/ 315 h 1046"/>
                  <a:gd name="T34" fmla="*/ 363 w 1457"/>
                  <a:gd name="T35" fmla="*/ 408 h 1046"/>
                  <a:gd name="T36" fmla="*/ 215 w 1457"/>
                  <a:gd name="T37" fmla="*/ 408 h 1046"/>
                  <a:gd name="T38" fmla="*/ 215 w 1457"/>
                  <a:gd name="T39" fmla="*/ 306 h 1046"/>
                  <a:gd name="T40" fmla="*/ 177 w 1457"/>
                  <a:gd name="T41" fmla="*/ 268 h 1046"/>
                  <a:gd name="T42" fmla="*/ 38 w 1457"/>
                  <a:gd name="T43" fmla="*/ 268 h 1046"/>
                  <a:gd name="T44" fmla="*/ 0 w 1457"/>
                  <a:gd name="T45" fmla="*/ 306 h 1046"/>
                  <a:gd name="T46" fmla="*/ 0 w 1457"/>
                  <a:gd name="T47" fmla="*/ 961 h 1046"/>
                  <a:gd name="T48" fmla="*/ 38 w 1457"/>
                  <a:gd name="T49" fmla="*/ 1000 h 1046"/>
                  <a:gd name="T50" fmla="*/ 177 w 1457"/>
                  <a:gd name="T51" fmla="*/ 1000 h 1046"/>
                  <a:gd name="T52" fmla="*/ 215 w 1457"/>
                  <a:gd name="T53" fmla="*/ 961 h 1046"/>
                  <a:gd name="T54" fmla="*/ 215 w 1457"/>
                  <a:gd name="T55" fmla="*/ 859 h 1046"/>
                  <a:gd name="T56" fmla="*/ 359 w 1457"/>
                  <a:gd name="T57" fmla="*/ 859 h 1046"/>
                  <a:gd name="T58" fmla="*/ 727 w 1457"/>
                  <a:gd name="T59" fmla="*/ 1046 h 1046"/>
                  <a:gd name="T60" fmla="*/ 1095 w 1457"/>
                  <a:gd name="T61" fmla="*/ 859 h 1046"/>
                  <a:gd name="T62" fmla="*/ 1242 w 1457"/>
                  <a:gd name="T63" fmla="*/ 859 h 1046"/>
                  <a:gd name="T64" fmla="*/ 1242 w 1457"/>
                  <a:gd name="T65" fmla="*/ 961 h 1046"/>
                  <a:gd name="T66" fmla="*/ 1280 w 1457"/>
                  <a:gd name="T67" fmla="*/ 1000 h 1046"/>
                  <a:gd name="T68" fmla="*/ 1418 w 1457"/>
                  <a:gd name="T69" fmla="*/ 1000 h 1046"/>
                  <a:gd name="T70" fmla="*/ 1457 w 1457"/>
                  <a:gd name="T71" fmla="*/ 961 h 1046"/>
                  <a:gd name="T72" fmla="*/ 1457 w 1457"/>
                  <a:gd name="T73" fmla="*/ 306 h 1046"/>
                  <a:gd name="T74" fmla="*/ 1418 w 1457"/>
                  <a:gd name="T75" fmla="*/ 268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7" h="1046">
                    <a:moveTo>
                      <a:pt x="1418" y="268"/>
                    </a:moveTo>
                    <a:cubicBezTo>
                      <a:pt x="1280" y="268"/>
                      <a:pt x="1280" y="268"/>
                      <a:pt x="1280" y="268"/>
                    </a:cubicBezTo>
                    <a:cubicBezTo>
                      <a:pt x="1259" y="268"/>
                      <a:pt x="1242" y="285"/>
                      <a:pt x="1242" y="306"/>
                    </a:cubicBezTo>
                    <a:cubicBezTo>
                      <a:pt x="1242" y="408"/>
                      <a:pt x="1242" y="408"/>
                      <a:pt x="1242" y="408"/>
                    </a:cubicBezTo>
                    <a:cubicBezTo>
                      <a:pt x="1090" y="408"/>
                      <a:pt x="1090" y="408"/>
                      <a:pt x="1090" y="408"/>
                    </a:cubicBezTo>
                    <a:cubicBezTo>
                      <a:pt x="1064" y="372"/>
                      <a:pt x="1033" y="341"/>
                      <a:pt x="997" y="314"/>
                    </a:cubicBezTo>
                    <a:cubicBezTo>
                      <a:pt x="978" y="301"/>
                      <a:pt x="959" y="289"/>
                      <a:pt x="939" y="278"/>
                    </a:cubicBezTo>
                    <a:cubicBezTo>
                      <a:pt x="903" y="257"/>
                      <a:pt x="867" y="228"/>
                      <a:pt x="869" y="202"/>
                    </a:cubicBezTo>
                    <a:cubicBezTo>
                      <a:pt x="872" y="142"/>
                      <a:pt x="948" y="148"/>
                      <a:pt x="950" y="148"/>
                    </a:cubicBezTo>
                    <a:cubicBezTo>
                      <a:pt x="990" y="148"/>
                      <a:pt x="1023" y="115"/>
                      <a:pt x="1023" y="74"/>
                    </a:cubicBezTo>
                    <a:cubicBezTo>
                      <a:pt x="1023" y="33"/>
                      <a:pt x="990" y="0"/>
                      <a:pt x="950" y="0"/>
                    </a:cubicBezTo>
                    <a:cubicBezTo>
                      <a:pt x="504" y="0"/>
                      <a:pt x="504" y="0"/>
                      <a:pt x="504" y="0"/>
                    </a:cubicBezTo>
                    <a:cubicBezTo>
                      <a:pt x="463" y="0"/>
                      <a:pt x="430" y="33"/>
                      <a:pt x="430" y="74"/>
                    </a:cubicBezTo>
                    <a:cubicBezTo>
                      <a:pt x="430" y="115"/>
                      <a:pt x="463" y="148"/>
                      <a:pt x="504" y="148"/>
                    </a:cubicBezTo>
                    <a:cubicBezTo>
                      <a:pt x="505" y="148"/>
                      <a:pt x="581" y="142"/>
                      <a:pt x="585" y="202"/>
                    </a:cubicBezTo>
                    <a:cubicBezTo>
                      <a:pt x="586" y="228"/>
                      <a:pt x="550" y="257"/>
                      <a:pt x="514" y="279"/>
                    </a:cubicBezTo>
                    <a:cubicBezTo>
                      <a:pt x="494" y="289"/>
                      <a:pt x="473" y="301"/>
                      <a:pt x="456" y="315"/>
                    </a:cubicBezTo>
                    <a:cubicBezTo>
                      <a:pt x="420" y="342"/>
                      <a:pt x="389" y="373"/>
                      <a:pt x="363" y="408"/>
                    </a:cubicBezTo>
                    <a:cubicBezTo>
                      <a:pt x="215" y="408"/>
                      <a:pt x="215" y="408"/>
                      <a:pt x="215" y="408"/>
                    </a:cubicBezTo>
                    <a:cubicBezTo>
                      <a:pt x="215" y="306"/>
                      <a:pt x="215" y="306"/>
                      <a:pt x="215" y="306"/>
                    </a:cubicBezTo>
                    <a:cubicBezTo>
                      <a:pt x="215" y="285"/>
                      <a:pt x="198" y="268"/>
                      <a:pt x="177" y="268"/>
                    </a:cubicBezTo>
                    <a:cubicBezTo>
                      <a:pt x="38" y="268"/>
                      <a:pt x="38" y="268"/>
                      <a:pt x="38" y="268"/>
                    </a:cubicBezTo>
                    <a:cubicBezTo>
                      <a:pt x="17" y="268"/>
                      <a:pt x="0" y="285"/>
                      <a:pt x="0" y="306"/>
                    </a:cubicBezTo>
                    <a:cubicBezTo>
                      <a:pt x="0" y="961"/>
                      <a:pt x="0" y="961"/>
                      <a:pt x="0" y="961"/>
                    </a:cubicBezTo>
                    <a:cubicBezTo>
                      <a:pt x="0" y="982"/>
                      <a:pt x="17" y="1000"/>
                      <a:pt x="38" y="1000"/>
                    </a:cubicBezTo>
                    <a:cubicBezTo>
                      <a:pt x="177" y="1000"/>
                      <a:pt x="177" y="1000"/>
                      <a:pt x="177" y="1000"/>
                    </a:cubicBezTo>
                    <a:cubicBezTo>
                      <a:pt x="198" y="1000"/>
                      <a:pt x="215" y="982"/>
                      <a:pt x="215" y="961"/>
                    </a:cubicBezTo>
                    <a:cubicBezTo>
                      <a:pt x="215" y="859"/>
                      <a:pt x="215" y="859"/>
                      <a:pt x="215" y="859"/>
                    </a:cubicBezTo>
                    <a:cubicBezTo>
                      <a:pt x="359" y="859"/>
                      <a:pt x="359" y="859"/>
                      <a:pt x="359" y="859"/>
                    </a:cubicBezTo>
                    <a:cubicBezTo>
                      <a:pt x="437" y="972"/>
                      <a:pt x="573" y="1046"/>
                      <a:pt x="727" y="1046"/>
                    </a:cubicBezTo>
                    <a:cubicBezTo>
                      <a:pt x="881" y="1046"/>
                      <a:pt x="1017" y="972"/>
                      <a:pt x="1095" y="859"/>
                    </a:cubicBezTo>
                    <a:cubicBezTo>
                      <a:pt x="1242" y="859"/>
                      <a:pt x="1242" y="859"/>
                      <a:pt x="1242" y="859"/>
                    </a:cubicBezTo>
                    <a:cubicBezTo>
                      <a:pt x="1242" y="961"/>
                      <a:pt x="1242" y="961"/>
                      <a:pt x="1242" y="961"/>
                    </a:cubicBezTo>
                    <a:cubicBezTo>
                      <a:pt x="1242" y="982"/>
                      <a:pt x="1259" y="1000"/>
                      <a:pt x="1280" y="1000"/>
                    </a:cubicBezTo>
                    <a:cubicBezTo>
                      <a:pt x="1418" y="1000"/>
                      <a:pt x="1418" y="1000"/>
                      <a:pt x="1418" y="1000"/>
                    </a:cubicBezTo>
                    <a:cubicBezTo>
                      <a:pt x="1439" y="1000"/>
                      <a:pt x="1457" y="982"/>
                      <a:pt x="1457" y="961"/>
                    </a:cubicBezTo>
                    <a:cubicBezTo>
                      <a:pt x="1457" y="306"/>
                      <a:pt x="1457" y="306"/>
                      <a:pt x="1457" y="306"/>
                    </a:cubicBezTo>
                    <a:cubicBezTo>
                      <a:pt x="1457" y="285"/>
                      <a:pt x="1439" y="268"/>
                      <a:pt x="1418" y="26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24" name="Groupe 23">
            <a:extLst>
              <a:ext uri="{FF2B5EF4-FFF2-40B4-BE49-F238E27FC236}">
                <a16:creationId xmlns:a16="http://schemas.microsoft.com/office/drawing/2014/main" id="{9815ADE0-A03D-45E5-B34E-07826E4B8974}"/>
              </a:ext>
              <a:ext uri="{C183D7F6-B498-43B3-948B-1728B52AA6E4}">
                <adec:decorative xmlns:adec="http://schemas.microsoft.com/office/drawing/2017/decorative" val="1"/>
              </a:ext>
            </a:extLst>
          </p:cNvPr>
          <p:cNvGrpSpPr>
            <a:grpSpLocks noChangeAspect="1"/>
          </p:cNvGrpSpPr>
          <p:nvPr/>
        </p:nvGrpSpPr>
        <p:grpSpPr>
          <a:xfrm>
            <a:off x="4948626" y="5099656"/>
            <a:ext cx="671664" cy="633600"/>
            <a:chOff x="5738431" y="6724004"/>
            <a:chExt cx="938994" cy="885779"/>
          </a:xfrm>
        </p:grpSpPr>
        <p:sp>
          <p:nvSpPr>
            <p:cNvPr id="469" name="Freeform 116">
              <a:extLst>
                <a:ext uri="{FF2B5EF4-FFF2-40B4-BE49-F238E27FC236}">
                  <a16:creationId xmlns:a16="http://schemas.microsoft.com/office/drawing/2014/main" id="{AB45A86A-ADFF-438A-8D18-447A92A328AF}"/>
                </a:ext>
              </a:extLst>
            </p:cNvPr>
            <p:cNvSpPr>
              <a:spLocks/>
            </p:cNvSpPr>
            <p:nvPr/>
          </p:nvSpPr>
          <p:spPr bwMode="auto">
            <a:xfrm>
              <a:off x="5738431" y="6724004"/>
              <a:ext cx="938994" cy="885779"/>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03" name="Freeform 31">
              <a:extLst>
                <a:ext uri="{FF2B5EF4-FFF2-40B4-BE49-F238E27FC236}">
                  <a16:creationId xmlns:a16="http://schemas.microsoft.com/office/drawing/2014/main" id="{A6373319-BB95-4672-8760-793E381ED8EA}"/>
                </a:ext>
              </a:extLst>
            </p:cNvPr>
            <p:cNvSpPr>
              <a:spLocks noEditPoints="1"/>
            </p:cNvSpPr>
            <p:nvPr/>
          </p:nvSpPr>
          <p:spPr bwMode="auto">
            <a:xfrm>
              <a:off x="6067362" y="6901002"/>
              <a:ext cx="371280" cy="566688"/>
            </a:xfrm>
            <a:custGeom>
              <a:avLst/>
              <a:gdLst>
                <a:gd name="T0" fmla="*/ 30 w 119"/>
                <a:gd name="T1" fmla="*/ 62 h 186"/>
                <a:gd name="T2" fmla="*/ 37 w 119"/>
                <a:gd name="T3" fmla="*/ 56 h 186"/>
                <a:gd name="T4" fmla="*/ 43 w 119"/>
                <a:gd name="T5" fmla="*/ 56 h 186"/>
                <a:gd name="T6" fmla="*/ 4 w 119"/>
                <a:gd name="T7" fmla="*/ 1 h 186"/>
                <a:gd name="T8" fmla="*/ 1 w 119"/>
                <a:gd name="T9" fmla="*/ 1 h 186"/>
                <a:gd name="T10" fmla="*/ 1 w 119"/>
                <a:gd name="T11" fmla="*/ 1 h 186"/>
                <a:gd name="T12" fmla="*/ 0 w 119"/>
                <a:gd name="T13" fmla="*/ 4 h 186"/>
                <a:gd name="T14" fmla="*/ 30 w 119"/>
                <a:gd name="T15" fmla="*/ 62 h 186"/>
                <a:gd name="T16" fmla="*/ 39 w 119"/>
                <a:gd name="T17" fmla="*/ 60 h 186"/>
                <a:gd name="T18" fmla="*/ 35 w 119"/>
                <a:gd name="T19" fmla="*/ 68 h 186"/>
                <a:gd name="T20" fmla="*/ 42 w 119"/>
                <a:gd name="T21" fmla="*/ 72 h 186"/>
                <a:gd name="T22" fmla="*/ 46 w 119"/>
                <a:gd name="T23" fmla="*/ 65 h 186"/>
                <a:gd name="T24" fmla="*/ 39 w 119"/>
                <a:gd name="T25" fmla="*/ 60 h 186"/>
                <a:gd name="T26" fmla="*/ 119 w 119"/>
                <a:gd name="T27" fmla="*/ 63 h 186"/>
                <a:gd name="T28" fmla="*/ 117 w 119"/>
                <a:gd name="T29" fmla="*/ 60 h 186"/>
                <a:gd name="T30" fmla="*/ 48 w 119"/>
                <a:gd name="T31" fmla="*/ 59 h 186"/>
                <a:gd name="T32" fmla="*/ 51 w 119"/>
                <a:gd name="T33" fmla="*/ 63 h 186"/>
                <a:gd name="T34" fmla="*/ 49 w 119"/>
                <a:gd name="T35" fmla="*/ 72 h 186"/>
                <a:gd name="T36" fmla="*/ 117 w 119"/>
                <a:gd name="T37" fmla="*/ 66 h 186"/>
                <a:gd name="T38" fmla="*/ 119 w 119"/>
                <a:gd name="T39" fmla="*/ 63 h 186"/>
                <a:gd name="T40" fmla="*/ 31 w 119"/>
                <a:gd name="T41" fmla="*/ 71 h 186"/>
                <a:gd name="T42" fmla="*/ 3 w 119"/>
                <a:gd name="T43" fmla="*/ 132 h 186"/>
                <a:gd name="T44" fmla="*/ 4 w 119"/>
                <a:gd name="T45" fmla="*/ 135 h 186"/>
                <a:gd name="T46" fmla="*/ 4 w 119"/>
                <a:gd name="T47" fmla="*/ 135 h 186"/>
                <a:gd name="T48" fmla="*/ 8 w 119"/>
                <a:gd name="T49" fmla="*/ 134 h 186"/>
                <a:gd name="T50" fmla="*/ 34 w 119"/>
                <a:gd name="T51" fmla="*/ 101 h 186"/>
                <a:gd name="T52" fmla="*/ 31 w 119"/>
                <a:gd name="T53" fmla="*/ 186 h 186"/>
                <a:gd name="T54" fmla="*/ 31 w 119"/>
                <a:gd name="T55" fmla="*/ 186 h 186"/>
                <a:gd name="T56" fmla="*/ 48 w 119"/>
                <a:gd name="T57" fmla="*/ 186 h 186"/>
                <a:gd name="T58" fmla="*/ 48 w 119"/>
                <a:gd name="T59" fmla="*/ 186 h 186"/>
                <a:gd name="T60" fmla="*/ 43 w 119"/>
                <a:gd name="T61" fmla="*/ 77 h 186"/>
                <a:gd name="T62" fmla="*/ 31 w 119"/>
                <a:gd name="T63"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86">
                  <a:moveTo>
                    <a:pt x="30" y="62"/>
                  </a:moveTo>
                  <a:cubicBezTo>
                    <a:pt x="32" y="59"/>
                    <a:pt x="34" y="57"/>
                    <a:pt x="37" y="56"/>
                  </a:cubicBezTo>
                  <a:cubicBezTo>
                    <a:pt x="39" y="55"/>
                    <a:pt x="41" y="55"/>
                    <a:pt x="43" y="56"/>
                  </a:cubicBezTo>
                  <a:cubicBezTo>
                    <a:pt x="4" y="1"/>
                    <a:pt x="4" y="1"/>
                    <a:pt x="4" y="1"/>
                  </a:cubicBezTo>
                  <a:cubicBezTo>
                    <a:pt x="4" y="0"/>
                    <a:pt x="2" y="0"/>
                    <a:pt x="1" y="1"/>
                  </a:cubicBezTo>
                  <a:cubicBezTo>
                    <a:pt x="1" y="1"/>
                    <a:pt x="1" y="1"/>
                    <a:pt x="1" y="1"/>
                  </a:cubicBezTo>
                  <a:cubicBezTo>
                    <a:pt x="0" y="2"/>
                    <a:pt x="0" y="3"/>
                    <a:pt x="0" y="4"/>
                  </a:cubicBezTo>
                  <a:cubicBezTo>
                    <a:pt x="0" y="4"/>
                    <a:pt x="8" y="43"/>
                    <a:pt x="30" y="62"/>
                  </a:cubicBezTo>
                  <a:close/>
                  <a:moveTo>
                    <a:pt x="39" y="60"/>
                  </a:moveTo>
                  <a:cubicBezTo>
                    <a:pt x="36" y="61"/>
                    <a:pt x="34" y="65"/>
                    <a:pt x="35" y="68"/>
                  </a:cubicBezTo>
                  <a:cubicBezTo>
                    <a:pt x="35" y="71"/>
                    <a:pt x="39" y="73"/>
                    <a:pt x="42" y="72"/>
                  </a:cubicBezTo>
                  <a:cubicBezTo>
                    <a:pt x="45" y="71"/>
                    <a:pt x="47" y="68"/>
                    <a:pt x="46" y="65"/>
                  </a:cubicBezTo>
                  <a:cubicBezTo>
                    <a:pt x="45" y="61"/>
                    <a:pt x="42" y="60"/>
                    <a:pt x="39" y="60"/>
                  </a:cubicBezTo>
                  <a:close/>
                  <a:moveTo>
                    <a:pt x="119" y="63"/>
                  </a:moveTo>
                  <a:cubicBezTo>
                    <a:pt x="119" y="62"/>
                    <a:pt x="118" y="61"/>
                    <a:pt x="117" y="60"/>
                  </a:cubicBezTo>
                  <a:cubicBezTo>
                    <a:pt x="117" y="60"/>
                    <a:pt x="76" y="46"/>
                    <a:pt x="48" y="59"/>
                  </a:cubicBezTo>
                  <a:cubicBezTo>
                    <a:pt x="49" y="60"/>
                    <a:pt x="50" y="62"/>
                    <a:pt x="51" y="63"/>
                  </a:cubicBezTo>
                  <a:cubicBezTo>
                    <a:pt x="51" y="66"/>
                    <a:pt x="51" y="69"/>
                    <a:pt x="49" y="72"/>
                  </a:cubicBezTo>
                  <a:cubicBezTo>
                    <a:pt x="117" y="66"/>
                    <a:pt x="117" y="66"/>
                    <a:pt x="117" y="66"/>
                  </a:cubicBezTo>
                  <a:cubicBezTo>
                    <a:pt x="118" y="66"/>
                    <a:pt x="119" y="65"/>
                    <a:pt x="119" y="63"/>
                  </a:cubicBezTo>
                  <a:close/>
                  <a:moveTo>
                    <a:pt x="31" y="71"/>
                  </a:moveTo>
                  <a:cubicBezTo>
                    <a:pt x="3" y="132"/>
                    <a:pt x="3" y="132"/>
                    <a:pt x="3" y="132"/>
                  </a:cubicBezTo>
                  <a:cubicBezTo>
                    <a:pt x="2" y="133"/>
                    <a:pt x="3" y="134"/>
                    <a:pt x="4" y="135"/>
                  </a:cubicBezTo>
                  <a:cubicBezTo>
                    <a:pt x="4" y="135"/>
                    <a:pt x="4" y="135"/>
                    <a:pt x="4" y="135"/>
                  </a:cubicBezTo>
                  <a:cubicBezTo>
                    <a:pt x="5" y="135"/>
                    <a:pt x="7" y="135"/>
                    <a:pt x="8" y="134"/>
                  </a:cubicBezTo>
                  <a:cubicBezTo>
                    <a:pt x="8" y="134"/>
                    <a:pt x="24" y="120"/>
                    <a:pt x="34" y="101"/>
                  </a:cubicBezTo>
                  <a:cubicBezTo>
                    <a:pt x="31" y="186"/>
                    <a:pt x="31" y="186"/>
                    <a:pt x="31" y="186"/>
                  </a:cubicBezTo>
                  <a:cubicBezTo>
                    <a:pt x="31" y="186"/>
                    <a:pt x="31" y="186"/>
                    <a:pt x="31" y="186"/>
                  </a:cubicBezTo>
                  <a:cubicBezTo>
                    <a:pt x="48" y="186"/>
                    <a:pt x="48" y="186"/>
                    <a:pt x="48" y="186"/>
                  </a:cubicBezTo>
                  <a:cubicBezTo>
                    <a:pt x="48" y="186"/>
                    <a:pt x="48" y="186"/>
                    <a:pt x="48" y="186"/>
                  </a:cubicBezTo>
                  <a:cubicBezTo>
                    <a:pt x="43" y="77"/>
                    <a:pt x="43" y="77"/>
                    <a:pt x="43" y="77"/>
                  </a:cubicBezTo>
                  <a:cubicBezTo>
                    <a:pt x="38" y="78"/>
                    <a:pt x="33" y="75"/>
                    <a:pt x="31"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5" name="Groupe 24">
            <a:extLst>
              <a:ext uri="{FF2B5EF4-FFF2-40B4-BE49-F238E27FC236}">
                <a16:creationId xmlns:a16="http://schemas.microsoft.com/office/drawing/2014/main" id="{9DAC47E6-484B-4F5A-AD57-F44F059A0C4C}"/>
              </a:ext>
              <a:ext uri="{C183D7F6-B498-43B3-948B-1728B52AA6E4}">
                <adec:decorative xmlns:adec="http://schemas.microsoft.com/office/drawing/2017/decorative" val="1"/>
              </a:ext>
            </a:extLst>
          </p:cNvPr>
          <p:cNvGrpSpPr>
            <a:grpSpLocks noChangeAspect="1"/>
          </p:cNvGrpSpPr>
          <p:nvPr/>
        </p:nvGrpSpPr>
        <p:grpSpPr>
          <a:xfrm>
            <a:off x="6488109" y="5099656"/>
            <a:ext cx="676445" cy="633600"/>
            <a:chOff x="6188453" y="5490981"/>
            <a:chExt cx="894362" cy="837714"/>
          </a:xfrm>
        </p:grpSpPr>
        <p:sp>
          <p:nvSpPr>
            <p:cNvPr id="506" name="Freeform 96">
              <a:extLst>
                <a:ext uri="{FF2B5EF4-FFF2-40B4-BE49-F238E27FC236}">
                  <a16:creationId xmlns:a16="http://schemas.microsoft.com/office/drawing/2014/main" id="{E8B17986-87FD-4A07-921C-C61DC7047094}"/>
                </a:ext>
              </a:extLst>
            </p:cNvPr>
            <p:cNvSpPr>
              <a:spLocks/>
            </p:cNvSpPr>
            <p:nvPr/>
          </p:nvSpPr>
          <p:spPr bwMode="auto">
            <a:xfrm>
              <a:off x="6188453" y="5490981"/>
              <a:ext cx="894362" cy="837714"/>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08" name="Freeform 27">
              <a:extLst>
                <a:ext uri="{FF2B5EF4-FFF2-40B4-BE49-F238E27FC236}">
                  <a16:creationId xmlns:a16="http://schemas.microsoft.com/office/drawing/2014/main" id="{11583CE9-2434-4629-9F84-45850DE72F51}"/>
                </a:ext>
              </a:extLst>
            </p:cNvPr>
            <p:cNvSpPr>
              <a:spLocks noEditPoints="1"/>
            </p:cNvSpPr>
            <p:nvPr/>
          </p:nvSpPr>
          <p:spPr bwMode="auto">
            <a:xfrm>
              <a:off x="6365543" y="5649278"/>
              <a:ext cx="534164" cy="521120"/>
            </a:xfrm>
            <a:custGeom>
              <a:avLst/>
              <a:gdLst>
                <a:gd name="T0" fmla="*/ 26 w 158"/>
                <a:gd name="T1" fmla="*/ 43 h 158"/>
                <a:gd name="T2" fmla="*/ 16 w 158"/>
                <a:gd name="T3" fmla="*/ 46 h 158"/>
                <a:gd name="T4" fmla="*/ 37 w 158"/>
                <a:gd name="T5" fmla="*/ 55 h 158"/>
                <a:gd name="T6" fmla="*/ 22 w 158"/>
                <a:gd name="T7" fmla="*/ 107 h 158"/>
                <a:gd name="T8" fmla="*/ 19 w 158"/>
                <a:gd name="T9" fmla="*/ 117 h 158"/>
                <a:gd name="T10" fmla="*/ 37 w 158"/>
                <a:gd name="T11" fmla="*/ 104 h 158"/>
                <a:gd name="T12" fmla="*/ 143 w 158"/>
                <a:gd name="T13" fmla="*/ 84 h 158"/>
                <a:gd name="T14" fmla="*/ 150 w 158"/>
                <a:gd name="T15" fmla="*/ 76 h 158"/>
                <a:gd name="T16" fmla="*/ 129 w 158"/>
                <a:gd name="T17" fmla="*/ 79 h 158"/>
                <a:gd name="T18" fmla="*/ 47 w 158"/>
                <a:gd name="T19" fmla="*/ 142 h 158"/>
                <a:gd name="T20" fmla="*/ 55 w 158"/>
                <a:gd name="T21" fmla="*/ 122 h 158"/>
                <a:gd name="T22" fmla="*/ 41 w 158"/>
                <a:gd name="T23" fmla="*/ 139 h 158"/>
                <a:gd name="T24" fmla="*/ 137 w 158"/>
                <a:gd name="T25" fmla="*/ 51 h 158"/>
                <a:gd name="T26" fmla="*/ 139 w 158"/>
                <a:gd name="T27" fmla="*/ 41 h 158"/>
                <a:gd name="T28" fmla="*/ 122 w 158"/>
                <a:gd name="T29" fmla="*/ 55 h 158"/>
                <a:gd name="T30" fmla="*/ 15 w 158"/>
                <a:gd name="T31" fmla="*/ 75 h 158"/>
                <a:gd name="T32" fmla="*/ 8 w 158"/>
                <a:gd name="T33" fmla="*/ 82 h 158"/>
                <a:gd name="T34" fmla="*/ 30 w 158"/>
                <a:gd name="T35" fmla="*/ 79 h 158"/>
                <a:gd name="T36" fmla="*/ 107 w 158"/>
                <a:gd name="T37" fmla="*/ 137 h 158"/>
                <a:gd name="T38" fmla="*/ 117 w 158"/>
                <a:gd name="T39" fmla="*/ 139 h 158"/>
                <a:gd name="T40" fmla="*/ 104 w 158"/>
                <a:gd name="T41" fmla="*/ 122 h 158"/>
                <a:gd name="T42" fmla="*/ 55 w 158"/>
                <a:gd name="T43" fmla="*/ 37 h 158"/>
                <a:gd name="T44" fmla="*/ 47 w 158"/>
                <a:gd name="T45" fmla="*/ 16 h 158"/>
                <a:gd name="T46" fmla="*/ 43 w 158"/>
                <a:gd name="T47" fmla="*/ 26 h 158"/>
                <a:gd name="T48" fmla="*/ 132 w 158"/>
                <a:gd name="T49" fmla="*/ 115 h 158"/>
                <a:gd name="T50" fmla="*/ 142 w 158"/>
                <a:gd name="T51" fmla="*/ 112 h 158"/>
                <a:gd name="T52" fmla="*/ 122 w 158"/>
                <a:gd name="T53" fmla="*/ 104 h 158"/>
                <a:gd name="T54" fmla="*/ 79 w 158"/>
                <a:gd name="T55" fmla="*/ 30 h 158"/>
                <a:gd name="T56" fmla="*/ 82 w 158"/>
                <a:gd name="T57" fmla="*/ 8 h 158"/>
                <a:gd name="T58" fmla="*/ 75 w 158"/>
                <a:gd name="T59" fmla="*/ 15 h 158"/>
                <a:gd name="T60" fmla="*/ 82 w 158"/>
                <a:gd name="T61" fmla="*/ 150 h 158"/>
                <a:gd name="T62" fmla="*/ 79 w 158"/>
                <a:gd name="T63" fmla="*/ 128 h 158"/>
                <a:gd name="T64" fmla="*/ 76 w 158"/>
                <a:gd name="T65" fmla="*/ 150 h 158"/>
                <a:gd name="T66" fmla="*/ 112 w 158"/>
                <a:gd name="T67" fmla="*/ 16 h 158"/>
                <a:gd name="T68" fmla="*/ 104 w 158"/>
                <a:gd name="T69" fmla="*/ 37 h 158"/>
                <a:gd name="T70" fmla="*/ 117 w 158"/>
                <a:gd name="T71" fmla="*/ 1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8">
                  <a:moveTo>
                    <a:pt x="37" y="55"/>
                  </a:moveTo>
                  <a:cubicBezTo>
                    <a:pt x="39" y="51"/>
                    <a:pt x="34" y="46"/>
                    <a:pt x="26" y="43"/>
                  </a:cubicBezTo>
                  <a:cubicBezTo>
                    <a:pt x="19" y="41"/>
                    <a:pt x="19" y="41"/>
                    <a:pt x="19" y="41"/>
                  </a:cubicBezTo>
                  <a:cubicBezTo>
                    <a:pt x="12" y="39"/>
                    <a:pt x="10" y="41"/>
                    <a:pt x="16" y="46"/>
                  </a:cubicBezTo>
                  <a:cubicBezTo>
                    <a:pt x="22" y="51"/>
                    <a:pt x="22" y="51"/>
                    <a:pt x="22" y="51"/>
                  </a:cubicBezTo>
                  <a:cubicBezTo>
                    <a:pt x="28" y="57"/>
                    <a:pt x="35" y="58"/>
                    <a:pt x="37" y="55"/>
                  </a:cubicBezTo>
                  <a:close/>
                  <a:moveTo>
                    <a:pt x="37" y="104"/>
                  </a:moveTo>
                  <a:cubicBezTo>
                    <a:pt x="35" y="100"/>
                    <a:pt x="28" y="102"/>
                    <a:pt x="22" y="107"/>
                  </a:cubicBezTo>
                  <a:cubicBezTo>
                    <a:pt x="16" y="112"/>
                    <a:pt x="16" y="112"/>
                    <a:pt x="16" y="112"/>
                  </a:cubicBezTo>
                  <a:cubicBezTo>
                    <a:pt x="10" y="117"/>
                    <a:pt x="12" y="120"/>
                    <a:pt x="19" y="117"/>
                  </a:cubicBezTo>
                  <a:cubicBezTo>
                    <a:pt x="26" y="115"/>
                    <a:pt x="26" y="115"/>
                    <a:pt x="26" y="115"/>
                  </a:cubicBezTo>
                  <a:cubicBezTo>
                    <a:pt x="34" y="112"/>
                    <a:pt x="39" y="107"/>
                    <a:pt x="37" y="104"/>
                  </a:cubicBezTo>
                  <a:close/>
                  <a:moveTo>
                    <a:pt x="129" y="79"/>
                  </a:moveTo>
                  <a:cubicBezTo>
                    <a:pt x="129" y="83"/>
                    <a:pt x="135" y="85"/>
                    <a:pt x="143" y="84"/>
                  </a:cubicBezTo>
                  <a:cubicBezTo>
                    <a:pt x="150" y="82"/>
                    <a:pt x="150" y="82"/>
                    <a:pt x="150" y="82"/>
                  </a:cubicBezTo>
                  <a:cubicBezTo>
                    <a:pt x="158" y="81"/>
                    <a:pt x="158" y="78"/>
                    <a:pt x="150" y="76"/>
                  </a:cubicBezTo>
                  <a:cubicBezTo>
                    <a:pt x="143" y="75"/>
                    <a:pt x="143" y="75"/>
                    <a:pt x="143" y="75"/>
                  </a:cubicBezTo>
                  <a:cubicBezTo>
                    <a:pt x="135" y="73"/>
                    <a:pt x="129" y="75"/>
                    <a:pt x="129" y="79"/>
                  </a:cubicBezTo>
                  <a:close/>
                  <a:moveTo>
                    <a:pt x="41" y="139"/>
                  </a:moveTo>
                  <a:cubicBezTo>
                    <a:pt x="39" y="147"/>
                    <a:pt x="41" y="148"/>
                    <a:pt x="47" y="142"/>
                  </a:cubicBezTo>
                  <a:cubicBezTo>
                    <a:pt x="51" y="137"/>
                    <a:pt x="51" y="137"/>
                    <a:pt x="51" y="137"/>
                  </a:cubicBezTo>
                  <a:cubicBezTo>
                    <a:pt x="57" y="131"/>
                    <a:pt x="58" y="124"/>
                    <a:pt x="55" y="122"/>
                  </a:cubicBezTo>
                  <a:cubicBezTo>
                    <a:pt x="51" y="120"/>
                    <a:pt x="46" y="124"/>
                    <a:pt x="43" y="132"/>
                  </a:cubicBezTo>
                  <a:lnTo>
                    <a:pt x="41" y="139"/>
                  </a:lnTo>
                  <a:close/>
                  <a:moveTo>
                    <a:pt x="122" y="55"/>
                  </a:moveTo>
                  <a:cubicBezTo>
                    <a:pt x="124" y="58"/>
                    <a:pt x="131" y="57"/>
                    <a:pt x="137" y="51"/>
                  </a:cubicBezTo>
                  <a:cubicBezTo>
                    <a:pt x="142" y="46"/>
                    <a:pt x="142" y="46"/>
                    <a:pt x="142" y="46"/>
                  </a:cubicBezTo>
                  <a:cubicBezTo>
                    <a:pt x="148" y="41"/>
                    <a:pt x="147" y="39"/>
                    <a:pt x="139" y="41"/>
                  </a:cubicBezTo>
                  <a:cubicBezTo>
                    <a:pt x="132" y="43"/>
                    <a:pt x="132" y="43"/>
                    <a:pt x="132" y="43"/>
                  </a:cubicBezTo>
                  <a:cubicBezTo>
                    <a:pt x="124" y="46"/>
                    <a:pt x="120" y="51"/>
                    <a:pt x="122" y="55"/>
                  </a:cubicBezTo>
                  <a:close/>
                  <a:moveTo>
                    <a:pt x="30" y="79"/>
                  </a:moveTo>
                  <a:cubicBezTo>
                    <a:pt x="30" y="75"/>
                    <a:pt x="23" y="73"/>
                    <a:pt x="15" y="75"/>
                  </a:cubicBezTo>
                  <a:cubicBezTo>
                    <a:pt x="8" y="76"/>
                    <a:pt x="8" y="76"/>
                    <a:pt x="8" y="76"/>
                  </a:cubicBezTo>
                  <a:cubicBezTo>
                    <a:pt x="0" y="78"/>
                    <a:pt x="0" y="81"/>
                    <a:pt x="8" y="82"/>
                  </a:cubicBezTo>
                  <a:cubicBezTo>
                    <a:pt x="15" y="84"/>
                    <a:pt x="15" y="84"/>
                    <a:pt x="15" y="84"/>
                  </a:cubicBezTo>
                  <a:cubicBezTo>
                    <a:pt x="23" y="85"/>
                    <a:pt x="30" y="83"/>
                    <a:pt x="30" y="79"/>
                  </a:cubicBezTo>
                  <a:close/>
                  <a:moveTo>
                    <a:pt x="104" y="122"/>
                  </a:moveTo>
                  <a:cubicBezTo>
                    <a:pt x="100" y="124"/>
                    <a:pt x="102" y="131"/>
                    <a:pt x="107" y="137"/>
                  </a:cubicBezTo>
                  <a:cubicBezTo>
                    <a:pt x="112" y="142"/>
                    <a:pt x="112" y="142"/>
                    <a:pt x="112" y="142"/>
                  </a:cubicBezTo>
                  <a:cubicBezTo>
                    <a:pt x="118" y="148"/>
                    <a:pt x="120" y="147"/>
                    <a:pt x="117" y="139"/>
                  </a:cubicBezTo>
                  <a:cubicBezTo>
                    <a:pt x="115" y="132"/>
                    <a:pt x="115" y="132"/>
                    <a:pt x="115" y="132"/>
                  </a:cubicBezTo>
                  <a:cubicBezTo>
                    <a:pt x="113" y="124"/>
                    <a:pt x="108" y="120"/>
                    <a:pt x="104" y="122"/>
                  </a:cubicBezTo>
                  <a:close/>
                  <a:moveTo>
                    <a:pt x="43" y="26"/>
                  </a:moveTo>
                  <a:cubicBezTo>
                    <a:pt x="46" y="34"/>
                    <a:pt x="51" y="39"/>
                    <a:pt x="55" y="37"/>
                  </a:cubicBezTo>
                  <a:cubicBezTo>
                    <a:pt x="58" y="34"/>
                    <a:pt x="57" y="28"/>
                    <a:pt x="51" y="22"/>
                  </a:cubicBezTo>
                  <a:cubicBezTo>
                    <a:pt x="47" y="16"/>
                    <a:pt x="47" y="16"/>
                    <a:pt x="47" y="16"/>
                  </a:cubicBezTo>
                  <a:cubicBezTo>
                    <a:pt x="41" y="10"/>
                    <a:pt x="39" y="12"/>
                    <a:pt x="41" y="19"/>
                  </a:cubicBezTo>
                  <a:lnTo>
                    <a:pt x="43" y="26"/>
                  </a:lnTo>
                  <a:close/>
                  <a:moveTo>
                    <a:pt x="122" y="104"/>
                  </a:moveTo>
                  <a:cubicBezTo>
                    <a:pt x="120" y="107"/>
                    <a:pt x="124" y="112"/>
                    <a:pt x="132" y="115"/>
                  </a:cubicBezTo>
                  <a:cubicBezTo>
                    <a:pt x="139" y="117"/>
                    <a:pt x="139" y="117"/>
                    <a:pt x="139" y="117"/>
                  </a:cubicBezTo>
                  <a:cubicBezTo>
                    <a:pt x="147" y="120"/>
                    <a:pt x="148" y="117"/>
                    <a:pt x="142" y="112"/>
                  </a:cubicBezTo>
                  <a:cubicBezTo>
                    <a:pt x="137" y="107"/>
                    <a:pt x="137" y="107"/>
                    <a:pt x="137" y="107"/>
                  </a:cubicBezTo>
                  <a:cubicBezTo>
                    <a:pt x="131" y="102"/>
                    <a:pt x="124" y="100"/>
                    <a:pt x="122" y="104"/>
                  </a:cubicBezTo>
                  <a:close/>
                  <a:moveTo>
                    <a:pt x="75" y="15"/>
                  </a:moveTo>
                  <a:cubicBezTo>
                    <a:pt x="73" y="23"/>
                    <a:pt x="75" y="30"/>
                    <a:pt x="79" y="30"/>
                  </a:cubicBezTo>
                  <a:cubicBezTo>
                    <a:pt x="83" y="30"/>
                    <a:pt x="86" y="23"/>
                    <a:pt x="84" y="15"/>
                  </a:cubicBezTo>
                  <a:cubicBezTo>
                    <a:pt x="82" y="8"/>
                    <a:pt x="82" y="8"/>
                    <a:pt x="82" y="8"/>
                  </a:cubicBezTo>
                  <a:cubicBezTo>
                    <a:pt x="81" y="0"/>
                    <a:pt x="78" y="0"/>
                    <a:pt x="76" y="8"/>
                  </a:cubicBezTo>
                  <a:lnTo>
                    <a:pt x="75" y="15"/>
                  </a:lnTo>
                  <a:close/>
                  <a:moveTo>
                    <a:pt x="76" y="150"/>
                  </a:moveTo>
                  <a:cubicBezTo>
                    <a:pt x="78" y="158"/>
                    <a:pt x="81" y="158"/>
                    <a:pt x="82" y="150"/>
                  </a:cubicBezTo>
                  <a:cubicBezTo>
                    <a:pt x="84" y="143"/>
                    <a:pt x="84" y="143"/>
                    <a:pt x="84" y="143"/>
                  </a:cubicBezTo>
                  <a:cubicBezTo>
                    <a:pt x="86" y="135"/>
                    <a:pt x="83" y="128"/>
                    <a:pt x="79" y="128"/>
                  </a:cubicBezTo>
                  <a:cubicBezTo>
                    <a:pt x="75" y="128"/>
                    <a:pt x="73" y="135"/>
                    <a:pt x="75" y="143"/>
                  </a:cubicBezTo>
                  <a:lnTo>
                    <a:pt x="76" y="150"/>
                  </a:lnTo>
                  <a:close/>
                  <a:moveTo>
                    <a:pt x="117" y="19"/>
                  </a:moveTo>
                  <a:cubicBezTo>
                    <a:pt x="120" y="12"/>
                    <a:pt x="118" y="10"/>
                    <a:pt x="112" y="16"/>
                  </a:cubicBezTo>
                  <a:cubicBezTo>
                    <a:pt x="107" y="22"/>
                    <a:pt x="107" y="22"/>
                    <a:pt x="107" y="22"/>
                  </a:cubicBezTo>
                  <a:cubicBezTo>
                    <a:pt x="102" y="28"/>
                    <a:pt x="100" y="34"/>
                    <a:pt x="104" y="37"/>
                  </a:cubicBezTo>
                  <a:cubicBezTo>
                    <a:pt x="108" y="39"/>
                    <a:pt x="113" y="34"/>
                    <a:pt x="115" y="26"/>
                  </a:cubicBezTo>
                  <a:lnTo>
                    <a:pt x="117" y="1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10" name="Oval 246">
              <a:extLst>
                <a:ext uri="{FF2B5EF4-FFF2-40B4-BE49-F238E27FC236}">
                  <a16:creationId xmlns:a16="http://schemas.microsoft.com/office/drawing/2014/main" id="{69A9DDA0-CDA4-476A-BC32-A865EB569975}"/>
                </a:ext>
              </a:extLst>
            </p:cNvPr>
            <p:cNvSpPr>
              <a:spLocks noChangeArrowheads="1"/>
            </p:cNvSpPr>
            <p:nvPr/>
          </p:nvSpPr>
          <p:spPr bwMode="auto">
            <a:xfrm>
              <a:off x="6503950" y="5784305"/>
              <a:ext cx="260595" cy="25423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517" name="Groupe 516">
            <a:extLst>
              <a:ext uri="{FF2B5EF4-FFF2-40B4-BE49-F238E27FC236}">
                <a16:creationId xmlns:a16="http://schemas.microsoft.com/office/drawing/2014/main" id="{DC86EFEF-42C3-4253-810A-3EE93521CBD3}"/>
              </a:ext>
              <a:ext uri="{C183D7F6-B498-43B3-948B-1728B52AA6E4}">
                <adec:decorative xmlns:adec="http://schemas.microsoft.com/office/drawing/2017/decorative" val="1"/>
              </a:ext>
            </a:extLst>
          </p:cNvPr>
          <p:cNvGrpSpPr>
            <a:grpSpLocks noChangeAspect="1"/>
          </p:cNvGrpSpPr>
          <p:nvPr/>
        </p:nvGrpSpPr>
        <p:grpSpPr>
          <a:xfrm>
            <a:off x="5426129" y="3828093"/>
            <a:ext cx="674643" cy="633600"/>
            <a:chOff x="2735234" y="4466845"/>
            <a:chExt cx="902946" cy="848014"/>
          </a:xfrm>
        </p:grpSpPr>
        <p:sp>
          <p:nvSpPr>
            <p:cNvPr id="518" name="Freeform 21">
              <a:extLst>
                <a:ext uri="{FF2B5EF4-FFF2-40B4-BE49-F238E27FC236}">
                  <a16:creationId xmlns:a16="http://schemas.microsoft.com/office/drawing/2014/main" id="{8B157C1B-E78C-40C7-A1CD-A8FB6191B154}"/>
                </a:ext>
              </a:extLst>
            </p:cNvPr>
            <p:cNvSpPr>
              <a:spLocks/>
            </p:cNvSpPr>
            <p:nvPr/>
          </p:nvSpPr>
          <p:spPr bwMode="auto">
            <a:xfrm>
              <a:off x="2735234" y="4466845"/>
              <a:ext cx="902946" cy="848014"/>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19" name="Group 941">
              <a:extLst>
                <a:ext uri="{FF2B5EF4-FFF2-40B4-BE49-F238E27FC236}">
                  <a16:creationId xmlns:a16="http://schemas.microsoft.com/office/drawing/2014/main" id="{2C6C34C6-AF36-4D41-9F2E-3213F113C987}"/>
                </a:ext>
              </a:extLst>
            </p:cNvPr>
            <p:cNvGrpSpPr/>
            <p:nvPr/>
          </p:nvGrpSpPr>
          <p:grpSpPr>
            <a:xfrm>
              <a:off x="2900522" y="4655344"/>
              <a:ext cx="570674" cy="512768"/>
              <a:chOff x="2900522" y="4655344"/>
              <a:chExt cx="570674" cy="512768"/>
            </a:xfrm>
          </p:grpSpPr>
          <p:sp>
            <p:nvSpPr>
              <p:cNvPr id="526" name="Freeform 53">
                <a:extLst>
                  <a:ext uri="{FF2B5EF4-FFF2-40B4-BE49-F238E27FC236}">
                    <a16:creationId xmlns:a16="http://schemas.microsoft.com/office/drawing/2014/main" id="{F6CB8FDA-E90F-4175-B0B9-32DFEF3BF69A}"/>
                  </a:ext>
                </a:extLst>
              </p:cNvPr>
              <p:cNvSpPr>
                <a:spLocks/>
              </p:cNvSpPr>
              <p:nvPr/>
            </p:nvSpPr>
            <p:spPr bwMode="auto">
              <a:xfrm>
                <a:off x="2900522" y="4825642"/>
                <a:ext cx="269221" cy="342470"/>
              </a:xfrm>
              <a:custGeom>
                <a:avLst/>
                <a:gdLst>
                  <a:gd name="T0" fmla="*/ 354 w 365"/>
                  <a:gd name="T1" fmla="*/ 471 h 471"/>
                  <a:gd name="T2" fmla="*/ 245 w 365"/>
                  <a:gd name="T3" fmla="*/ 471 h 471"/>
                  <a:gd name="T4" fmla="*/ 245 w 365"/>
                  <a:gd name="T5" fmla="*/ 438 h 471"/>
                  <a:gd name="T6" fmla="*/ 236 w 365"/>
                  <a:gd name="T7" fmla="*/ 387 h 471"/>
                  <a:gd name="T8" fmla="*/ 199 w 365"/>
                  <a:gd name="T9" fmla="*/ 348 h 471"/>
                  <a:gd name="T10" fmla="*/ 116 w 365"/>
                  <a:gd name="T11" fmla="*/ 309 h 471"/>
                  <a:gd name="T12" fmla="*/ 72 w 365"/>
                  <a:gd name="T13" fmla="*/ 266 h 471"/>
                  <a:gd name="T14" fmla="*/ 20 w 365"/>
                  <a:gd name="T15" fmla="*/ 175 h 471"/>
                  <a:gd name="T16" fmla="*/ 7 w 365"/>
                  <a:gd name="T17" fmla="*/ 130 h 471"/>
                  <a:gd name="T18" fmla="*/ 1 w 365"/>
                  <a:gd name="T19" fmla="*/ 33 h 471"/>
                  <a:gd name="T20" fmla="*/ 21 w 365"/>
                  <a:gd name="T21" fmla="*/ 1 h 471"/>
                  <a:gd name="T22" fmla="*/ 46 w 365"/>
                  <a:gd name="T23" fmla="*/ 32 h 471"/>
                  <a:gd name="T24" fmla="*/ 50 w 365"/>
                  <a:gd name="T25" fmla="*/ 83 h 471"/>
                  <a:gd name="T26" fmla="*/ 61 w 365"/>
                  <a:gd name="T27" fmla="*/ 129 h 471"/>
                  <a:gd name="T28" fmla="*/ 104 w 365"/>
                  <a:gd name="T29" fmla="*/ 193 h 471"/>
                  <a:gd name="T30" fmla="*/ 135 w 365"/>
                  <a:gd name="T31" fmla="*/ 222 h 471"/>
                  <a:gd name="T32" fmla="*/ 181 w 365"/>
                  <a:gd name="T33" fmla="*/ 232 h 471"/>
                  <a:gd name="T34" fmla="*/ 159 w 365"/>
                  <a:gd name="T35" fmla="*/ 200 h 471"/>
                  <a:gd name="T36" fmla="*/ 111 w 365"/>
                  <a:gd name="T37" fmla="*/ 151 h 471"/>
                  <a:gd name="T38" fmla="*/ 110 w 365"/>
                  <a:gd name="T39" fmla="*/ 108 h 471"/>
                  <a:gd name="T40" fmla="*/ 151 w 365"/>
                  <a:gd name="T41" fmla="*/ 113 h 471"/>
                  <a:gd name="T42" fmla="*/ 228 w 365"/>
                  <a:gd name="T43" fmla="*/ 185 h 471"/>
                  <a:gd name="T44" fmla="*/ 345 w 365"/>
                  <a:gd name="T45" fmla="*/ 277 h 471"/>
                  <a:gd name="T46" fmla="*/ 353 w 365"/>
                  <a:gd name="T47" fmla="*/ 389 h 471"/>
                  <a:gd name="T48" fmla="*/ 353 w 365"/>
                  <a:gd name="T49" fmla="*/ 448 h 471"/>
                  <a:gd name="T50" fmla="*/ 354 w 365"/>
                  <a:gd name="T51" fmla="*/ 47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5" h="471">
                    <a:moveTo>
                      <a:pt x="354" y="471"/>
                    </a:moveTo>
                    <a:cubicBezTo>
                      <a:pt x="245" y="471"/>
                      <a:pt x="245" y="471"/>
                      <a:pt x="245" y="471"/>
                    </a:cubicBezTo>
                    <a:cubicBezTo>
                      <a:pt x="245" y="457"/>
                      <a:pt x="245" y="445"/>
                      <a:pt x="245" y="438"/>
                    </a:cubicBezTo>
                    <a:cubicBezTo>
                      <a:pt x="245" y="421"/>
                      <a:pt x="241" y="399"/>
                      <a:pt x="236" y="387"/>
                    </a:cubicBezTo>
                    <a:cubicBezTo>
                      <a:pt x="232" y="376"/>
                      <a:pt x="218" y="357"/>
                      <a:pt x="199" y="348"/>
                    </a:cubicBezTo>
                    <a:cubicBezTo>
                      <a:pt x="181" y="339"/>
                      <a:pt x="138" y="319"/>
                      <a:pt x="116" y="309"/>
                    </a:cubicBezTo>
                    <a:cubicBezTo>
                      <a:pt x="94" y="298"/>
                      <a:pt x="82" y="283"/>
                      <a:pt x="72" y="266"/>
                    </a:cubicBezTo>
                    <a:cubicBezTo>
                      <a:pt x="61" y="248"/>
                      <a:pt x="29" y="195"/>
                      <a:pt x="20" y="175"/>
                    </a:cubicBezTo>
                    <a:cubicBezTo>
                      <a:pt x="10" y="156"/>
                      <a:pt x="8" y="152"/>
                      <a:pt x="7" y="130"/>
                    </a:cubicBezTo>
                    <a:cubicBezTo>
                      <a:pt x="6" y="108"/>
                      <a:pt x="2" y="54"/>
                      <a:pt x="1" y="33"/>
                    </a:cubicBezTo>
                    <a:cubicBezTo>
                      <a:pt x="0" y="12"/>
                      <a:pt x="10" y="3"/>
                      <a:pt x="21" y="1"/>
                    </a:cubicBezTo>
                    <a:cubicBezTo>
                      <a:pt x="31" y="0"/>
                      <a:pt x="44" y="8"/>
                      <a:pt x="46" y="32"/>
                    </a:cubicBezTo>
                    <a:cubicBezTo>
                      <a:pt x="48" y="55"/>
                      <a:pt x="49" y="67"/>
                      <a:pt x="50" y="83"/>
                    </a:cubicBezTo>
                    <a:cubicBezTo>
                      <a:pt x="51" y="99"/>
                      <a:pt x="51" y="113"/>
                      <a:pt x="61" y="129"/>
                    </a:cubicBezTo>
                    <a:cubicBezTo>
                      <a:pt x="72" y="145"/>
                      <a:pt x="95" y="181"/>
                      <a:pt x="104" y="193"/>
                    </a:cubicBezTo>
                    <a:cubicBezTo>
                      <a:pt x="113" y="204"/>
                      <a:pt x="118" y="216"/>
                      <a:pt x="135" y="222"/>
                    </a:cubicBezTo>
                    <a:cubicBezTo>
                      <a:pt x="153" y="228"/>
                      <a:pt x="181" y="232"/>
                      <a:pt x="181" y="232"/>
                    </a:cubicBezTo>
                    <a:cubicBezTo>
                      <a:pt x="171" y="220"/>
                      <a:pt x="163" y="206"/>
                      <a:pt x="159" y="200"/>
                    </a:cubicBezTo>
                    <a:cubicBezTo>
                      <a:pt x="153" y="190"/>
                      <a:pt x="123" y="165"/>
                      <a:pt x="111" y="151"/>
                    </a:cubicBezTo>
                    <a:cubicBezTo>
                      <a:pt x="99" y="137"/>
                      <a:pt x="99" y="117"/>
                      <a:pt x="110" y="108"/>
                    </a:cubicBezTo>
                    <a:cubicBezTo>
                      <a:pt x="122" y="99"/>
                      <a:pt x="138" y="101"/>
                      <a:pt x="151" y="113"/>
                    </a:cubicBezTo>
                    <a:cubicBezTo>
                      <a:pt x="165" y="126"/>
                      <a:pt x="207" y="173"/>
                      <a:pt x="228" y="185"/>
                    </a:cubicBezTo>
                    <a:cubicBezTo>
                      <a:pt x="278" y="214"/>
                      <a:pt x="316" y="224"/>
                      <a:pt x="345" y="277"/>
                    </a:cubicBezTo>
                    <a:cubicBezTo>
                      <a:pt x="365" y="313"/>
                      <a:pt x="354" y="377"/>
                      <a:pt x="353" y="389"/>
                    </a:cubicBezTo>
                    <a:cubicBezTo>
                      <a:pt x="351" y="406"/>
                      <a:pt x="352" y="433"/>
                      <a:pt x="353" y="448"/>
                    </a:cubicBezTo>
                    <a:cubicBezTo>
                      <a:pt x="354" y="452"/>
                      <a:pt x="354" y="461"/>
                      <a:pt x="354" y="4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27" name="Freeform 54">
                <a:extLst>
                  <a:ext uri="{FF2B5EF4-FFF2-40B4-BE49-F238E27FC236}">
                    <a16:creationId xmlns:a16="http://schemas.microsoft.com/office/drawing/2014/main" id="{648BC5A9-CE35-499F-AD14-04B6F08804F2}"/>
                  </a:ext>
                </a:extLst>
              </p:cNvPr>
              <p:cNvSpPr>
                <a:spLocks/>
              </p:cNvSpPr>
              <p:nvPr/>
            </p:nvSpPr>
            <p:spPr bwMode="auto">
              <a:xfrm>
                <a:off x="3202606" y="4825642"/>
                <a:ext cx="268590" cy="342470"/>
              </a:xfrm>
              <a:custGeom>
                <a:avLst/>
                <a:gdLst>
                  <a:gd name="T0" fmla="*/ 345 w 365"/>
                  <a:gd name="T1" fmla="*/ 1 h 471"/>
                  <a:gd name="T2" fmla="*/ 319 w 365"/>
                  <a:gd name="T3" fmla="*/ 32 h 471"/>
                  <a:gd name="T4" fmla="*/ 315 w 365"/>
                  <a:gd name="T5" fmla="*/ 83 h 471"/>
                  <a:gd name="T6" fmla="*/ 304 w 365"/>
                  <a:gd name="T7" fmla="*/ 129 h 471"/>
                  <a:gd name="T8" fmla="*/ 261 w 365"/>
                  <a:gd name="T9" fmla="*/ 193 h 471"/>
                  <a:gd name="T10" fmla="*/ 230 w 365"/>
                  <a:gd name="T11" fmla="*/ 222 h 471"/>
                  <a:gd name="T12" fmla="*/ 184 w 365"/>
                  <a:gd name="T13" fmla="*/ 232 h 471"/>
                  <a:gd name="T14" fmla="*/ 207 w 365"/>
                  <a:gd name="T15" fmla="*/ 200 h 471"/>
                  <a:gd name="T16" fmla="*/ 254 w 365"/>
                  <a:gd name="T17" fmla="*/ 151 h 471"/>
                  <a:gd name="T18" fmla="*/ 255 w 365"/>
                  <a:gd name="T19" fmla="*/ 108 h 471"/>
                  <a:gd name="T20" fmla="*/ 214 w 365"/>
                  <a:gd name="T21" fmla="*/ 113 h 471"/>
                  <a:gd name="T22" fmla="*/ 137 w 365"/>
                  <a:gd name="T23" fmla="*/ 185 h 471"/>
                  <a:gd name="T24" fmla="*/ 20 w 365"/>
                  <a:gd name="T25" fmla="*/ 277 h 471"/>
                  <a:gd name="T26" fmla="*/ 12 w 365"/>
                  <a:gd name="T27" fmla="*/ 389 h 471"/>
                  <a:gd name="T28" fmla="*/ 12 w 365"/>
                  <a:gd name="T29" fmla="*/ 448 h 471"/>
                  <a:gd name="T30" fmla="*/ 11 w 365"/>
                  <a:gd name="T31" fmla="*/ 471 h 471"/>
                  <a:gd name="T32" fmla="*/ 120 w 365"/>
                  <a:gd name="T33" fmla="*/ 471 h 471"/>
                  <a:gd name="T34" fmla="*/ 120 w 365"/>
                  <a:gd name="T35" fmla="*/ 438 h 471"/>
                  <a:gd name="T36" fmla="*/ 129 w 365"/>
                  <a:gd name="T37" fmla="*/ 387 h 471"/>
                  <a:gd name="T38" fmla="*/ 166 w 365"/>
                  <a:gd name="T39" fmla="*/ 348 h 471"/>
                  <a:gd name="T40" fmla="*/ 250 w 365"/>
                  <a:gd name="T41" fmla="*/ 309 h 471"/>
                  <a:gd name="T42" fmla="*/ 294 w 365"/>
                  <a:gd name="T43" fmla="*/ 266 h 471"/>
                  <a:gd name="T44" fmla="*/ 346 w 365"/>
                  <a:gd name="T45" fmla="*/ 175 h 471"/>
                  <a:gd name="T46" fmla="*/ 358 w 365"/>
                  <a:gd name="T47" fmla="*/ 130 h 471"/>
                  <a:gd name="T48" fmla="*/ 364 w 365"/>
                  <a:gd name="T49" fmla="*/ 33 h 471"/>
                  <a:gd name="T50" fmla="*/ 345 w 365"/>
                  <a:gd name="T51" fmla="*/ 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5" h="471">
                    <a:moveTo>
                      <a:pt x="345" y="1"/>
                    </a:moveTo>
                    <a:cubicBezTo>
                      <a:pt x="334" y="0"/>
                      <a:pt x="322" y="8"/>
                      <a:pt x="319" y="32"/>
                    </a:cubicBezTo>
                    <a:cubicBezTo>
                      <a:pt x="317" y="55"/>
                      <a:pt x="316" y="67"/>
                      <a:pt x="315" y="83"/>
                    </a:cubicBezTo>
                    <a:cubicBezTo>
                      <a:pt x="314" y="99"/>
                      <a:pt x="314" y="113"/>
                      <a:pt x="304" y="129"/>
                    </a:cubicBezTo>
                    <a:cubicBezTo>
                      <a:pt x="294" y="145"/>
                      <a:pt x="270" y="181"/>
                      <a:pt x="261" y="193"/>
                    </a:cubicBezTo>
                    <a:cubicBezTo>
                      <a:pt x="252" y="204"/>
                      <a:pt x="247" y="216"/>
                      <a:pt x="230" y="222"/>
                    </a:cubicBezTo>
                    <a:cubicBezTo>
                      <a:pt x="212" y="228"/>
                      <a:pt x="184" y="232"/>
                      <a:pt x="184" y="232"/>
                    </a:cubicBezTo>
                    <a:cubicBezTo>
                      <a:pt x="195" y="220"/>
                      <a:pt x="202" y="206"/>
                      <a:pt x="207" y="200"/>
                    </a:cubicBezTo>
                    <a:cubicBezTo>
                      <a:pt x="212" y="190"/>
                      <a:pt x="243" y="165"/>
                      <a:pt x="254" y="151"/>
                    </a:cubicBezTo>
                    <a:cubicBezTo>
                      <a:pt x="266" y="137"/>
                      <a:pt x="267" y="117"/>
                      <a:pt x="255" y="108"/>
                    </a:cubicBezTo>
                    <a:cubicBezTo>
                      <a:pt x="244" y="99"/>
                      <a:pt x="228" y="101"/>
                      <a:pt x="214" y="113"/>
                    </a:cubicBezTo>
                    <a:cubicBezTo>
                      <a:pt x="200" y="126"/>
                      <a:pt x="158" y="173"/>
                      <a:pt x="137" y="185"/>
                    </a:cubicBezTo>
                    <a:cubicBezTo>
                      <a:pt x="87" y="214"/>
                      <a:pt x="49" y="224"/>
                      <a:pt x="20" y="277"/>
                    </a:cubicBezTo>
                    <a:cubicBezTo>
                      <a:pt x="0" y="313"/>
                      <a:pt x="11" y="377"/>
                      <a:pt x="12" y="389"/>
                    </a:cubicBezTo>
                    <a:cubicBezTo>
                      <a:pt x="14" y="406"/>
                      <a:pt x="13" y="433"/>
                      <a:pt x="12" y="448"/>
                    </a:cubicBezTo>
                    <a:cubicBezTo>
                      <a:pt x="12" y="452"/>
                      <a:pt x="11" y="461"/>
                      <a:pt x="11" y="471"/>
                    </a:cubicBezTo>
                    <a:cubicBezTo>
                      <a:pt x="120" y="471"/>
                      <a:pt x="120" y="471"/>
                      <a:pt x="120" y="471"/>
                    </a:cubicBezTo>
                    <a:cubicBezTo>
                      <a:pt x="120" y="457"/>
                      <a:pt x="120" y="445"/>
                      <a:pt x="120" y="438"/>
                    </a:cubicBezTo>
                    <a:cubicBezTo>
                      <a:pt x="120" y="421"/>
                      <a:pt x="124" y="399"/>
                      <a:pt x="129" y="387"/>
                    </a:cubicBezTo>
                    <a:cubicBezTo>
                      <a:pt x="134" y="376"/>
                      <a:pt x="148" y="357"/>
                      <a:pt x="166" y="348"/>
                    </a:cubicBezTo>
                    <a:cubicBezTo>
                      <a:pt x="185" y="339"/>
                      <a:pt x="228" y="319"/>
                      <a:pt x="250" y="309"/>
                    </a:cubicBezTo>
                    <a:cubicBezTo>
                      <a:pt x="272" y="298"/>
                      <a:pt x="283" y="283"/>
                      <a:pt x="294" y="266"/>
                    </a:cubicBezTo>
                    <a:cubicBezTo>
                      <a:pt x="304" y="248"/>
                      <a:pt x="336" y="195"/>
                      <a:pt x="346" y="175"/>
                    </a:cubicBezTo>
                    <a:cubicBezTo>
                      <a:pt x="355" y="156"/>
                      <a:pt x="357" y="152"/>
                      <a:pt x="358" y="130"/>
                    </a:cubicBezTo>
                    <a:cubicBezTo>
                      <a:pt x="360" y="108"/>
                      <a:pt x="363" y="54"/>
                      <a:pt x="364" y="33"/>
                    </a:cubicBezTo>
                    <a:cubicBezTo>
                      <a:pt x="365" y="12"/>
                      <a:pt x="355" y="3"/>
                      <a:pt x="345" y="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28" name="Freeform 55">
                <a:extLst>
                  <a:ext uri="{FF2B5EF4-FFF2-40B4-BE49-F238E27FC236}">
                    <a16:creationId xmlns:a16="http://schemas.microsoft.com/office/drawing/2014/main" id="{F65E3215-31A7-446F-8C2D-8ABBDDD7D8FA}"/>
                  </a:ext>
                </a:extLst>
              </p:cNvPr>
              <p:cNvSpPr>
                <a:spLocks/>
              </p:cNvSpPr>
              <p:nvPr/>
            </p:nvSpPr>
            <p:spPr bwMode="auto">
              <a:xfrm>
                <a:off x="3005430" y="4655344"/>
                <a:ext cx="361490" cy="336855"/>
              </a:xfrm>
              <a:custGeom>
                <a:avLst/>
                <a:gdLst>
                  <a:gd name="T0" fmla="*/ 247 w 491"/>
                  <a:gd name="T1" fmla="*/ 463 h 463"/>
                  <a:gd name="T2" fmla="*/ 441 w 491"/>
                  <a:gd name="T3" fmla="*/ 249 h 463"/>
                  <a:gd name="T4" fmla="*/ 449 w 491"/>
                  <a:gd name="T5" fmla="*/ 70 h 463"/>
                  <a:gd name="T6" fmla="*/ 247 w 491"/>
                  <a:gd name="T7" fmla="*/ 86 h 463"/>
                  <a:gd name="T8" fmla="*/ 45 w 491"/>
                  <a:gd name="T9" fmla="*/ 67 h 463"/>
                  <a:gd name="T10" fmla="*/ 49 w 491"/>
                  <a:gd name="T11" fmla="*/ 251 h 463"/>
                  <a:gd name="T12" fmla="*/ 247 w 491"/>
                  <a:gd name="T13" fmla="*/ 463 h 463"/>
                </a:gdLst>
                <a:ahLst/>
                <a:cxnLst>
                  <a:cxn ang="0">
                    <a:pos x="T0" y="T1"/>
                  </a:cxn>
                  <a:cxn ang="0">
                    <a:pos x="T2" y="T3"/>
                  </a:cxn>
                  <a:cxn ang="0">
                    <a:pos x="T4" y="T5"/>
                  </a:cxn>
                  <a:cxn ang="0">
                    <a:pos x="T6" y="T7"/>
                  </a:cxn>
                  <a:cxn ang="0">
                    <a:pos x="T8" y="T9"/>
                  </a:cxn>
                  <a:cxn ang="0">
                    <a:pos x="T10" y="T11"/>
                  </a:cxn>
                  <a:cxn ang="0">
                    <a:pos x="T12" y="T13"/>
                  </a:cxn>
                </a:cxnLst>
                <a:rect l="0" t="0" r="r" b="b"/>
                <a:pathLst>
                  <a:path w="491" h="463">
                    <a:moveTo>
                      <a:pt x="247" y="463"/>
                    </a:moveTo>
                    <a:cubicBezTo>
                      <a:pt x="317" y="399"/>
                      <a:pt x="388" y="330"/>
                      <a:pt x="441" y="249"/>
                    </a:cubicBezTo>
                    <a:cubicBezTo>
                      <a:pt x="478" y="194"/>
                      <a:pt x="491" y="129"/>
                      <a:pt x="449" y="70"/>
                    </a:cubicBezTo>
                    <a:cubicBezTo>
                      <a:pt x="401" y="0"/>
                      <a:pt x="288" y="13"/>
                      <a:pt x="247" y="86"/>
                    </a:cubicBezTo>
                    <a:cubicBezTo>
                      <a:pt x="206" y="14"/>
                      <a:pt x="95" y="3"/>
                      <a:pt x="45" y="67"/>
                    </a:cubicBezTo>
                    <a:cubicBezTo>
                      <a:pt x="0" y="124"/>
                      <a:pt x="13" y="195"/>
                      <a:pt x="49" y="251"/>
                    </a:cubicBezTo>
                    <a:cubicBezTo>
                      <a:pt x="102" y="332"/>
                      <a:pt x="175" y="401"/>
                      <a:pt x="247" y="46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37" name="Groupe 36">
            <a:extLst>
              <a:ext uri="{FF2B5EF4-FFF2-40B4-BE49-F238E27FC236}">
                <a16:creationId xmlns:a16="http://schemas.microsoft.com/office/drawing/2014/main" id="{8C626E14-D46D-49E6-BD0C-E707910D80FA}"/>
              </a:ext>
              <a:ext uri="{C183D7F6-B498-43B3-948B-1728B52AA6E4}">
                <adec:decorative xmlns:adec="http://schemas.microsoft.com/office/drawing/2017/decorative" val="1"/>
              </a:ext>
            </a:extLst>
          </p:cNvPr>
          <p:cNvGrpSpPr>
            <a:grpSpLocks noChangeAspect="1"/>
          </p:cNvGrpSpPr>
          <p:nvPr/>
        </p:nvGrpSpPr>
        <p:grpSpPr>
          <a:xfrm>
            <a:off x="7957681" y="3828093"/>
            <a:ext cx="672882" cy="633600"/>
            <a:chOff x="9219361" y="4149000"/>
            <a:chExt cx="802871" cy="756000"/>
          </a:xfrm>
        </p:grpSpPr>
        <p:sp>
          <p:nvSpPr>
            <p:cNvPr id="529" name="Freeform 171">
              <a:extLst>
                <a:ext uri="{FF2B5EF4-FFF2-40B4-BE49-F238E27FC236}">
                  <a16:creationId xmlns:a16="http://schemas.microsoft.com/office/drawing/2014/main" id="{8830D397-9802-424A-9CF1-598F5F62C6FA}"/>
                </a:ext>
              </a:extLst>
            </p:cNvPr>
            <p:cNvSpPr>
              <a:spLocks/>
            </p:cNvSpPr>
            <p:nvPr/>
          </p:nvSpPr>
          <p:spPr bwMode="auto">
            <a:xfrm>
              <a:off x="9219361" y="4149000"/>
              <a:ext cx="802871" cy="756000"/>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34" name="Freeform 70">
              <a:extLst>
                <a:ext uri="{FF2B5EF4-FFF2-40B4-BE49-F238E27FC236}">
                  <a16:creationId xmlns:a16="http://schemas.microsoft.com/office/drawing/2014/main" id="{E402AF1E-7DDD-4CCB-9566-2B6D3C2061F0}"/>
                </a:ext>
              </a:extLst>
            </p:cNvPr>
            <p:cNvSpPr>
              <a:spLocks noEditPoints="1"/>
            </p:cNvSpPr>
            <p:nvPr/>
          </p:nvSpPr>
          <p:spPr bwMode="auto">
            <a:xfrm>
              <a:off x="9407846" y="4286997"/>
              <a:ext cx="449364" cy="457824"/>
            </a:xfrm>
            <a:custGeom>
              <a:avLst/>
              <a:gdLst>
                <a:gd name="T0" fmla="*/ 505 w 667"/>
                <a:gd name="T1" fmla="*/ 90 h 689"/>
                <a:gd name="T2" fmla="*/ 441 w 667"/>
                <a:gd name="T3" fmla="*/ 26 h 689"/>
                <a:gd name="T4" fmla="*/ 467 w 667"/>
                <a:gd name="T5" fmla="*/ 0 h 689"/>
                <a:gd name="T6" fmla="*/ 667 w 667"/>
                <a:gd name="T7" fmla="*/ 199 h 689"/>
                <a:gd name="T8" fmla="*/ 641 w 667"/>
                <a:gd name="T9" fmla="*/ 226 h 689"/>
                <a:gd name="T10" fmla="*/ 577 w 667"/>
                <a:gd name="T11" fmla="*/ 162 h 689"/>
                <a:gd name="T12" fmla="*/ 499 w 667"/>
                <a:gd name="T13" fmla="*/ 239 h 689"/>
                <a:gd name="T14" fmla="*/ 428 w 667"/>
                <a:gd name="T15" fmla="*/ 167 h 689"/>
                <a:gd name="T16" fmla="*/ 505 w 667"/>
                <a:gd name="T17" fmla="*/ 90 h 689"/>
                <a:gd name="T18" fmla="*/ 585 w 667"/>
                <a:gd name="T19" fmla="*/ 357 h 689"/>
                <a:gd name="T20" fmla="*/ 549 w 667"/>
                <a:gd name="T21" fmla="*/ 393 h 689"/>
                <a:gd name="T22" fmla="*/ 497 w 667"/>
                <a:gd name="T23" fmla="*/ 341 h 689"/>
                <a:gd name="T24" fmla="*/ 243 w 667"/>
                <a:gd name="T25" fmla="*/ 595 h 689"/>
                <a:gd name="T26" fmla="*/ 219 w 667"/>
                <a:gd name="T27" fmla="*/ 602 h 689"/>
                <a:gd name="T28" fmla="*/ 112 w 667"/>
                <a:gd name="T29" fmla="*/ 577 h 689"/>
                <a:gd name="T30" fmla="*/ 0 w 667"/>
                <a:gd name="T31" fmla="*/ 689 h 689"/>
                <a:gd name="T32" fmla="*/ 12 w 667"/>
                <a:gd name="T33" fmla="*/ 632 h 689"/>
                <a:gd name="T34" fmla="*/ 90 w 667"/>
                <a:gd name="T35" fmla="*/ 554 h 689"/>
                <a:gd name="T36" fmla="*/ 65 w 667"/>
                <a:gd name="T37" fmla="*/ 447 h 689"/>
                <a:gd name="T38" fmla="*/ 72 w 667"/>
                <a:gd name="T39" fmla="*/ 424 h 689"/>
                <a:gd name="T40" fmla="*/ 325 w 667"/>
                <a:gd name="T41" fmla="*/ 170 h 689"/>
                <a:gd name="T42" fmla="*/ 273 w 667"/>
                <a:gd name="T43" fmla="*/ 118 h 689"/>
                <a:gd name="T44" fmla="*/ 309 w 667"/>
                <a:gd name="T45" fmla="*/ 82 h 689"/>
                <a:gd name="T46" fmla="*/ 375 w 667"/>
                <a:gd name="T47" fmla="*/ 147 h 689"/>
                <a:gd name="T48" fmla="*/ 519 w 667"/>
                <a:gd name="T49" fmla="*/ 292 h 689"/>
                <a:gd name="T50" fmla="*/ 585 w 667"/>
                <a:gd name="T51" fmla="*/ 357 h 689"/>
                <a:gd name="T52" fmla="*/ 481 w 667"/>
                <a:gd name="T53" fmla="*/ 325 h 689"/>
                <a:gd name="T54" fmla="*/ 341 w 667"/>
                <a:gd name="T55" fmla="*/ 186 h 689"/>
                <a:gd name="T56" fmla="*/ 87 w 667"/>
                <a:gd name="T57" fmla="*/ 440 h 689"/>
                <a:gd name="T58" fmla="*/ 86 w 667"/>
                <a:gd name="T59" fmla="*/ 442 h 689"/>
                <a:gd name="T60" fmla="*/ 110 w 667"/>
                <a:gd name="T61" fmla="*/ 541 h 689"/>
                <a:gd name="T62" fmla="*/ 126 w 667"/>
                <a:gd name="T63" fmla="*/ 462 h 689"/>
                <a:gd name="T64" fmla="*/ 143 w 667"/>
                <a:gd name="T65" fmla="*/ 445 h 689"/>
                <a:gd name="T66" fmla="*/ 182 w 667"/>
                <a:gd name="T67" fmla="*/ 484 h 689"/>
                <a:gd name="T68" fmla="*/ 197 w 667"/>
                <a:gd name="T69" fmla="*/ 470 h 689"/>
                <a:gd name="T70" fmla="*/ 157 w 667"/>
                <a:gd name="T71" fmla="*/ 431 h 689"/>
                <a:gd name="T72" fmla="*/ 198 w 667"/>
                <a:gd name="T73" fmla="*/ 390 h 689"/>
                <a:gd name="T74" fmla="*/ 238 w 667"/>
                <a:gd name="T75" fmla="*/ 429 h 689"/>
                <a:gd name="T76" fmla="*/ 252 w 667"/>
                <a:gd name="T77" fmla="*/ 414 h 689"/>
                <a:gd name="T78" fmla="*/ 213 w 667"/>
                <a:gd name="T79" fmla="*/ 375 h 689"/>
                <a:gd name="T80" fmla="*/ 254 w 667"/>
                <a:gd name="T81" fmla="*/ 334 h 689"/>
                <a:gd name="T82" fmla="*/ 293 w 667"/>
                <a:gd name="T83" fmla="*/ 373 h 689"/>
                <a:gd name="T84" fmla="*/ 308 w 667"/>
                <a:gd name="T85" fmla="*/ 359 h 689"/>
                <a:gd name="T86" fmla="*/ 268 w 667"/>
                <a:gd name="T87" fmla="*/ 319 h 689"/>
                <a:gd name="T88" fmla="*/ 298 w 667"/>
                <a:gd name="T89" fmla="*/ 290 h 689"/>
                <a:gd name="T90" fmla="*/ 407 w 667"/>
                <a:gd name="T91" fmla="*/ 399 h 689"/>
                <a:gd name="T92" fmla="*/ 481 w 667"/>
                <a:gd name="T93" fmla="*/ 325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7" h="689">
                  <a:moveTo>
                    <a:pt x="505" y="90"/>
                  </a:moveTo>
                  <a:cubicBezTo>
                    <a:pt x="441" y="26"/>
                    <a:pt x="441" y="26"/>
                    <a:pt x="441" y="26"/>
                  </a:cubicBezTo>
                  <a:cubicBezTo>
                    <a:pt x="467" y="0"/>
                    <a:pt x="467" y="0"/>
                    <a:pt x="467" y="0"/>
                  </a:cubicBezTo>
                  <a:cubicBezTo>
                    <a:pt x="667" y="199"/>
                    <a:pt x="667" y="199"/>
                    <a:pt x="667" y="199"/>
                  </a:cubicBezTo>
                  <a:cubicBezTo>
                    <a:pt x="641" y="226"/>
                    <a:pt x="641" y="226"/>
                    <a:pt x="641" y="226"/>
                  </a:cubicBezTo>
                  <a:cubicBezTo>
                    <a:pt x="577" y="162"/>
                    <a:pt x="577" y="162"/>
                    <a:pt x="577" y="162"/>
                  </a:cubicBezTo>
                  <a:cubicBezTo>
                    <a:pt x="499" y="239"/>
                    <a:pt x="499" y="239"/>
                    <a:pt x="499" y="239"/>
                  </a:cubicBezTo>
                  <a:cubicBezTo>
                    <a:pt x="428" y="167"/>
                    <a:pt x="428" y="167"/>
                    <a:pt x="428" y="167"/>
                  </a:cubicBezTo>
                  <a:lnTo>
                    <a:pt x="505" y="90"/>
                  </a:lnTo>
                  <a:close/>
                  <a:moveTo>
                    <a:pt x="585" y="357"/>
                  </a:moveTo>
                  <a:cubicBezTo>
                    <a:pt x="549" y="393"/>
                    <a:pt x="549" y="393"/>
                    <a:pt x="549" y="393"/>
                  </a:cubicBezTo>
                  <a:cubicBezTo>
                    <a:pt x="497" y="341"/>
                    <a:pt x="497" y="341"/>
                    <a:pt x="497" y="341"/>
                  </a:cubicBezTo>
                  <a:cubicBezTo>
                    <a:pt x="243" y="595"/>
                    <a:pt x="243" y="595"/>
                    <a:pt x="243" y="595"/>
                  </a:cubicBezTo>
                  <a:cubicBezTo>
                    <a:pt x="237" y="601"/>
                    <a:pt x="227" y="604"/>
                    <a:pt x="219" y="602"/>
                  </a:cubicBezTo>
                  <a:cubicBezTo>
                    <a:pt x="112" y="577"/>
                    <a:pt x="112" y="577"/>
                    <a:pt x="112" y="577"/>
                  </a:cubicBezTo>
                  <a:cubicBezTo>
                    <a:pt x="0" y="689"/>
                    <a:pt x="0" y="689"/>
                    <a:pt x="0" y="689"/>
                  </a:cubicBezTo>
                  <a:cubicBezTo>
                    <a:pt x="12" y="632"/>
                    <a:pt x="12" y="632"/>
                    <a:pt x="12" y="632"/>
                  </a:cubicBezTo>
                  <a:cubicBezTo>
                    <a:pt x="90" y="554"/>
                    <a:pt x="90" y="554"/>
                    <a:pt x="90" y="554"/>
                  </a:cubicBezTo>
                  <a:cubicBezTo>
                    <a:pt x="65" y="447"/>
                    <a:pt x="65" y="447"/>
                    <a:pt x="65" y="447"/>
                  </a:cubicBezTo>
                  <a:cubicBezTo>
                    <a:pt x="63" y="439"/>
                    <a:pt x="66" y="430"/>
                    <a:pt x="72" y="424"/>
                  </a:cubicBezTo>
                  <a:cubicBezTo>
                    <a:pt x="325" y="170"/>
                    <a:pt x="325" y="170"/>
                    <a:pt x="325" y="170"/>
                  </a:cubicBezTo>
                  <a:cubicBezTo>
                    <a:pt x="273" y="118"/>
                    <a:pt x="273" y="118"/>
                    <a:pt x="273" y="118"/>
                  </a:cubicBezTo>
                  <a:cubicBezTo>
                    <a:pt x="309" y="82"/>
                    <a:pt x="309" y="82"/>
                    <a:pt x="309" y="82"/>
                  </a:cubicBezTo>
                  <a:cubicBezTo>
                    <a:pt x="375" y="147"/>
                    <a:pt x="375" y="147"/>
                    <a:pt x="375" y="147"/>
                  </a:cubicBezTo>
                  <a:cubicBezTo>
                    <a:pt x="519" y="292"/>
                    <a:pt x="519" y="292"/>
                    <a:pt x="519" y="292"/>
                  </a:cubicBezTo>
                  <a:lnTo>
                    <a:pt x="585" y="357"/>
                  </a:lnTo>
                  <a:close/>
                  <a:moveTo>
                    <a:pt x="481" y="325"/>
                  </a:moveTo>
                  <a:cubicBezTo>
                    <a:pt x="341" y="186"/>
                    <a:pt x="341" y="186"/>
                    <a:pt x="341" y="186"/>
                  </a:cubicBezTo>
                  <a:cubicBezTo>
                    <a:pt x="87" y="440"/>
                    <a:pt x="87" y="440"/>
                    <a:pt x="87" y="440"/>
                  </a:cubicBezTo>
                  <a:cubicBezTo>
                    <a:pt x="87" y="440"/>
                    <a:pt x="86" y="442"/>
                    <a:pt x="86" y="442"/>
                  </a:cubicBezTo>
                  <a:cubicBezTo>
                    <a:pt x="110" y="541"/>
                    <a:pt x="110" y="541"/>
                    <a:pt x="110" y="541"/>
                  </a:cubicBezTo>
                  <a:cubicBezTo>
                    <a:pt x="126" y="462"/>
                    <a:pt x="126" y="462"/>
                    <a:pt x="126" y="462"/>
                  </a:cubicBezTo>
                  <a:cubicBezTo>
                    <a:pt x="143" y="445"/>
                    <a:pt x="143" y="445"/>
                    <a:pt x="143" y="445"/>
                  </a:cubicBezTo>
                  <a:cubicBezTo>
                    <a:pt x="182" y="484"/>
                    <a:pt x="182" y="484"/>
                    <a:pt x="182" y="484"/>
                  </a:cubicBezTo>
                  <a:cubicBezTo>
                    <a:pt x="197" y="470"/>
                    <a:pt x="197" y="470"/>
                    <a:pt x="197" y="470"/>
                  </a:cubicBezTo>
                  <a:cubicBezTo>
                    <a:pt x="157" y="431"/>
                    <a:pt x="157" y="431"/>
                    <a:pt x="157" y="431"/>
                  </a:cubicBezTo>
                  <a:cubicBezTo>
                    <a:pt x="198" y="390"/>
                    <a:pt x="198" y="390"/>
                    <a:pt x="198" y="390"/>
                  </a:cubicBezTo>
                  <a:cubicBezTo>
                    <a:pt x="238" y="429"/>
                    <a:pt x="238" y="429"/>
                    <a:pt x="238" y="429"/>
                  </a:cubicBezTo>
                  <a:cubicBezTo>
                    <a:pt x="252" y="414"/>
                    <a:pt x="252" y="414"/>
                    <a:pt x="252" y="414"/>
                  </a:cubicBezTo>
                  <a:cubicBezTo>
                    <a:pt x="213" y="375"/>
                    <a:pt x="213" y="375"/>
                    <a:pt x="213" y="375"/>
                  </a:cubicBezTo>
                  <a:cubicBezTo>
                    <a:pt x="254" y="334"/>
                    <a:pt x="254" y="334"/>
                    <a:pt x="254" y="334"/>
                  </a:cubicBezTo>
                  <a:cubicBezTo>
                    <a:pt x="293" y="373"/>
                    <a:pt x="293" y="373"/>
                    <a:pt x="293" y="373"/>
                  </a:cubicBezTo>
                  <a:cubicBezTo>
                    <a:pt x="308" y="359"/>
                    <a:pt x="308" y="359"/>
                    <a:pt x="308" y="359"/>
                  </a:cubicBezTo>
                  <a:cubicBezTo>
                    <a:pt x="268" y="319"/>
                    <a:pt x="268" y="319"/>
                    <a:pt x="268" y="319"/>
                  </a:cubicBezTo>
                  <a:cubicBezTo>
                    <a:pt x="298" y="290"/>
                    <a:pt x="298" y="290"/>
                    <a:pt x="298" y="290"/>
                  </a:cubicBezTo>
                  <a:cubicBezTo>
                    <a:pt x="407" y="399"/>
                    <a:pt x="407" y="399"/>
                    <a:pt x="407" y="399"/>
                  </a:cubicBezTo>
                  <a:lnTo>
                    <a:pt x="481" y="3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35" name="Groupe 34">
            <a:extLst>
              <a:ext uri="{FF2B5EF4-FFF2-40B4-BE49-F238E27FC236}">
                <a16:creationId xmlns:a16="http://schemas.microsoft.com/office/drawing/2014/main" id="{4F9B2BAB-34ED-4F65-970F-A24741341342}"/>
              </a:ext>
              <a:ext uri="{C183D7F6-B498-43B3-948B-1728B52AA6E4}">
                <adec:decorative xmlns:adec="http://schemas.microsoft.com/office/drawing/2017/decorative" val="1"/>
              </a:ext>
            </a:extLst>
          </p:cNvPr>
          <p:cNvGrpSpPr>
            <a:grpSpLocks noChangeAspect="1"/>
          </p:cNvGrpSpPr>
          <p:nvPr/>
        </p:nvGrpSpPr>
        <p:grpSpPr>
          <a:xfrm>
            <a:off x="8808461" y="3828093"/>
            <a:ext cx="674150" cy="633600"/>
            <a:chOff x="9842535" y="-868330"/>
            <a:chExt cx="913245" cy="858313"/>
          </a:xfrm>
        </p:grpSpPr>
        <p:sp>
          <p:nvSpPr>
            <p:cNvPr id="531" name="Freeform 57">
              <a:extLst>
                <a:ext uri="{FF2B5EF4-FFF2-40B4-BE49-F238E27FC236}">
                  <a16:creationId xmlns:a16="http://schemas.microsoft.com/office/drawing/2014/main" id="{0B426FC9-D714-47FD-B15B-527D619468A9}"/>
                </a:ext>
              </a:extLst>
            </p:cNvPr>
            <p:cNvSpPr>
              <a:spLocks/>
            </p:cNvSpPr>
            <p:nvPr/>
          </p:nvSpPr>
          <p:spPr bwMode="auto">
            <a:xfrm>
              <a:off x="9842535" y="-86833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35" name="Freeform 65">
              <a:extLst>
                <a:ext uri="{FF2B5EF4-FFF2-40B4-BE49-F238E27FC236}">
                  <a16:creationId xmlns:a16="http://schemas.microsoft.com/office/drawing/2014/main" id="{C33A9B51-47E0-4CC9-BA72-381DFE6371B3}"/>
                </a:ext>
              </a:extLst>
            </p:cNvPr>
            <p:cNvSpPr>
              <a:spLocks noEditPoints="1"/>
            </p:cNvSpPr>
            <p:nvPr/>
          </p:nvSpPr>
          <p:spPr bwMode="auto">
            <a:xfrm>
              <a:off x="10090972" y="-720094"/>
              <a:ext cx="419408" cy="552738"/>
            </a:xfrm>
            <a:custGeom>
              <a:avLst/>
              <a:gdLst>
                <a:gd name="T0" fmla="*/ 213 w 469"/>
                <a:gd name="T1" fmla="*/ 626 h 626"/>
                <a:gd name="T2" fmla="*/ 0 w 469"/>
                <a:gd name="T3" fmla="*/ 414 h 626"/>
                <a:gd name="T4" fmla="*/ 111 w 469"/>
                <a:gd name="T5" fmla="*/ 227 h 626"/>
                <a:gd name="T6" fmla="*/ 117 w 469"/>
                <a:gd name="T7" fmla="*/ 224 h 626"/>
                <a:gd name="T8" fmla="*/ 126 w 469"/>
                <a:gd name="T9" fmla="*/ 286 h 626"/>
                <a:gd name="T10" fmla="*/ 124 w 469"/>
                <a:gd name="T11" fmla="*/ 288 h 626"/>
                <a:gd name="T12" fmla="*/ 59 w 469"/>
                <a:gd name="T13" fmla="*/ 414 h 626"/>
                <a:gd name="T14" fmla="*/ 213 w 469"/>
                <a:gd name="T15" fmla="*/ 568 h 626"/>
                <a:gd name="T16" fmla="*/ 325 w 469"/>
                <a:gd name="T17" fmla="*/ 521 h 626"/>
                <a:gd name="T18" fmla="*/ 329 w 469"/>
                <a:gd name="T19" fmla="*/ 516 h 626"/>
                <a:gd name="T20" fmla="*/ 355 w 469"/>
                <a:gd name="T21" fmla="*/ 572 h 626"/>
                <a:gd name="T22" fmla="*/ 353 w 469"/>
                <a:gd name="T23" fmla="*/ 574 h 626"/>
                <a:gd name="T24" fmla="*/ 213 w 469"/>
                <a:gd name="T25" fmla="*/ 626 h 626"/>
                <a:gd name="T26" fmla="*/ 433 w 469"/>
                <a:gd name="T27" fmla="*/ 607 h 626"/>
                <a:gd name="T28" fmla="*/ 404 w 469"/>
                <a:gd name="T29" fmla="*/ 589 h 626"/>
                <a:gd name="T30" fmla="*/ 344 w 469"/>
                <a:gd name="T31" fmla="*/ 464 h 626"/>
                <a:gd name="T32" fmla="*/ 220 w 469"/>
                <a:gd name="T33" fmla="*/ 464 h 626"/>
                <a:gd name="T34" fmla="*/ 218 w 469"/>
                <a:gd name="T35" fmla="*/ 464 h 626"/>
                <a:gd name="T36" fmla="*/ 217 w 469"/>
                <a:gd name="T37" fmla="*/ 464 h 626"/>
                <a:gd name="T38" fmla="*/ 186 w 469"/>
                <a:gd name="T39" fmla="*/ 437 h 626"/>
                <a:gd name="T40" fmla="*/ 149 w 469"/>
                <a:gd name="T41" fmla="*/ 186 h 626"/>
                <a:gd name="T42" fmla="*/ 155 w 469"/>
                <a:gd name="T43" fmla="*/ 162 h 626"/>
                <a:gd name="T44" fmla="*/ 176 w 469"/>
                <a:gd name="T45" fmla="*/ 150 h 626"/>
                <a:gd name="T46" fmla="*/ 181 w 469"/>
                <a:gd name="T47" fmla="*/ 149 h 626"/>
                <a:gd name="T48" fmla="*/ 212 w 469"/>
                <a:gd name="T49" fmla="*/ 177 h 626"/>
                <a:gd name="T50" fmla="*/ 217 w 469"/>
                <a:gd name="T51" fmla="*/ 210 h 626"/>
                <a:gd name="T52" fmla="*/ 323 w 469"/>
                <a:gd name="T53" fmla="*/ 210 h 626"/>
                <a:gd name="T54" fmla="*/ 355 w 469"/>
                <a:gd name="T55" fmla="*/ 242 h 626"/>
                <a:gd name="T56" fmla="*/ 323 w 469"/>
                <a:gd name="T57" fmla="*/ 274 h 626"/>
                <a:gd name="T58" fmla="*/ 226 w 469"/>
                <a:gd name="T59" fmla="*/ 274 h 626"/>
                <a:gd name="T60" fmla="*/ 245 w 469"/>
                <a:gd name="T61" fmla="*/ 400 h 626"/>
                <a:gd name="T62" fmla="*/ 364 w 469"/>
                <a:gd name="T63" fmla="*/ 400 h 626"/>
                <a:gd name="T64" fmla="*/ 394 w 469"/>
                <a:gd name="T65" fmla="*/ 421 h 626"/>
                <a:gd name="T66" fmla="*/ 394 w 469"/>
                <a:gd name="T67" fmla="*/ 421 h 626"/>
                <a:gd name="T68" fmla="*/ 462 w 469"/>
                <a:gd name="T69" fmla="*/ 562 h 626"/>
                <a:gd name="T70" fmla="*/ 446 w 469"/>
                <a:gd name="T71" fmla="*/ 604 h 626"/>
                <a:gd name="T72" fmla="*/ 433 w 469"/>
                <a:gd name="T73" fmla="*/ 607 h 626"/>
                <a:gd name="T74" fmla="*/ 174 w 469"/>
                <a:gd name="T75" fmla="*/ 125 h 626"/>
                <a:gd name="T76" fmla="*/ 111 w 469"/>
                <a:gd name="T77" fmla="*/ 63 h 626"/>
                <a:gd name="T78" fmla="*/ 174 w 469"/>
                <a:gd name="T79" fmla="*/ 0 h 626"/>
                <a:gd name="T80" fmla="*/ 236 w 469"/>
                <a:gd name="T81" fmla="*/ 63 h 626"/>
                <a:gd name="T82" fmla="*/ 174 w 469"/>
                <a:gd name="T83" fmla="*/ 125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9" h="626">
                  <a:moveTo>
                    <a:pt x="213" y="626"/>
                  </a:moveTo>
                  <a:cubicBezTo>
                    <a:pt x="96" y="626"/>
                    <a:pt x="0" y="531"/>
                    <a:pt x="0" y="414"/>
                  </a:cubicBezTo>
                  <a:cubicBezTo>
                    <a:pt x="0" y="336"/>
                    <a:pt x="43" y="264"/>
                    <a:pt x="111" y="227"/>
                  </a:cubicBezTo>
                  <a:cubicBezTo>
                    <a:pt x="117" y="224"/>
                    <a:pt x="117" y="224"/>
                    <a:pt x="117" y="224"/>
                  </a:cubicBezTo>
                  <a:cubicBezTo>
                    <a:pt x="126" y="286"/>
                    <a:pt x="126" y="286"/>
                    <a:pt x="126" y="286"/>
                  </a:cubicBezTo>
                  <a:cubicBezTo>
                    <a:pt x="124" y="288"/>
                    <a:pt x="124" y="288"/>
                    <a:pt x="124" y="288"/>
                  </a:cubicBezTo>
                  <a:cubicBezTo>
                    <a:pt x="83" y="317"/>
                    <a:pt x="59" y="364"/>
                    <a:pt x="59" y="414"/>
                  </a:cubicBezTo>
                  <a:cubicBezTo>
                    <a:pt x="59" y="499"/>
                    <a:pt x="128" y="568"/>
                    <a:pt x="213" y="568"/>
                  </a:cubicBezTo>
                  <a:cubicBezTo>
                    <a:pt x="256" y="568"/>
                    <a:pt x="295" y="551"/>
                    <a:pt x="325" y="521"/>
                  </a:cubicBezTo>
                  <a:cubicBezTo>
                    <a:pt x="329" y="516"/>
                    <a:pt x="329" y="516"/>
                    <a:pt x="329" y="516"/>
                  </a:cubicBezTo>
                  <a:cubicBezTo>
                    <a:pt x="355" y="572"/>
                    <a:pt x="355" y="572"/>
                    <a:pt x="355" y="572"/>
                  </a:cubicBezTo>
                  <a:cubicBezTo>
                    <a:pt x="353" y="574"/>
                    <a:pt x="353" y="574"/>
                    <a:pt x="353" y="574"/>
                  </a:cubicBezTo>
                  <a:cubicBezTo>
                    <a:pt x="314" y="608"/>
                    <a:pt x="265" y="626"/>
                    <a:pt x="213" y="626"/>
                  </a:cubicBezTo>
                  <a:close/>
                  <a:moveTo>
                    <a:pt x="433" y="607"/>
                  </a:moveTo>
                  <a:cubicBezTo>
                    <a:pt x="421" y="607"/>
                    <a:pt x="409" y="600"/>
                    <a:pt x="404" y="589"/>
                  </a:cubicBezTo>
                  <a:cubicBezTo>
                    <a:pt x="344" y="464"/>
                    <a:pt x="344" y="464"/>
                    <a:pt x="344" y="464"/>
                  </a:cubicBezTo>
                  <a:cubicBezTo>
                    <a:pt x="220" y="464"/>
                    <a:pt x="220" y="464"/>
                    <a:pt x="220" y="464"/>
                  </a:cubicBezTo>
                  <a:cubicBezTo>
                    <a:pt x="219" y="464"/>
                    <a:pt x="219" y="464"/>
                    <a:pt x="218" y="464"/>
                  </a:cubicBezTo>
                  <a:cubicBezTo>
                    <a:pt x="218" y="464"/>
                    <a:pt x="217" y="464"/>
                    <a:pt x="217" y="464"/>
                  </a:cubicBezTo>
                  <a:cubicBezTo>
                    <a:pt x="202" y="464"/>
                    <a:pt x="188" y="452"/>
                    <a:pt x="186" y="437"/>
                  </a:cubicBezTo>
                  <a:cubicBezTo>
                    <a:pt x="149" y="186"/>
                    <a:pt x="149" y="186"/>
                    <a:pt x="149" y="186"/>
                  </a:cubicBezTo>
                  <a:cubicBezTo>
                    <a:pt x="148" y="178"/>
                    <a:pt x="150" y="169"/>
                    <a:pt x="155" y="162"/>
                  </a:cubicBezTo>
                  <a:cubicBezTo>
                    <a:pt x="160" y="155"/>
                    <a:pt x="168" y="151"/>
                    <a:pt x="176" y="150"/>
                  </a:cubicBezTo>
                  <a:cubicBezTo>
                    <a:pt x="178" y="149"/>
                    <a:pt x="179" y="149"/>
                    <a:pt x="181" y="149"/>
                  </a:cubicBezTo>
                  <a:cubicBezTo>
                    <a:pt x="196" y="149"/>
                    <a:pt x="210" y="161"/>
                    <a:pt x="212" y="177"/>
                  </a:cubicBezTo>
                  <a:cubicBezTo>
                    <a:pt x="217" y="210"/>
                    <a:pt x="217" y="210"/>
                    <a:pt x="217" y="210"/>
                  </a:cubicBezTo>
                  <a:cubicBezTo>
                    <a:pt x="323" y="210"/>
                    <a:pt x="323" y="210"/>
                    <a:pt x="323" y="210"/>
                  </a:cubicBezTo>
                  <a:cubicBezTo>
                    <a:pt x="340" y="210"/>
                    <a:pt x="355" y="225"/>
                    <a:pt x="355" y="242"/>
                  </a:cubicBezTo>
                  <a:cubicBezTo>
                    <a:pt x="355" y="260"/>
                    <a:pt x="340" y="274"/>
                    <a:pt x="323" y="274"/>
                  </a:cubicBezTo>
                  <a:cubicBezTo>
                    <a:pt x="226" y="274"/>
                    <a:pt x="226" y="274"/>
                    <a:pt x="226" y="274"/>
                  </a:cubicBezTo>
                  <a:cubicBezTo>
                    <a:pt x="245" y="400"/>
                    <a:pt x="245" y="400"/>
                    <a:pt x="245" y="400"/>
                  </a:cubicBezTo>
                  <a:cubicBezTo>
                    <a:pt x="364" y="400"/>
                    <a:pt x="364" y="400"/>
                    <a:pt x="364" y="400"/>
                  </a:cubicBezTo>
                  <a:cubicBezTo>
                    <a:pt x="377" y="400"/>
                    <a:pt x="389" y="409"/>
                    <a:pt x="394" y="421"/>
                  </a:cubicBezTo>
                  <a:cubicBezTo>
                    <a:pt x="394" y="421"/>
                    <a:pt x="394" y="421"/>
                    <a:pt x="394" y="421"/>
                  </a:cubicBezTo>
                  <a:cubicBezTo>
                    <a:pt x="462" y="562"/>
                    <a:pt x="462" y="562"/>
                    <a:pt x="462" y="562"/>
                  </a:cubicBezTo>
                  <a:cubicBezTo>
                    <a:pt x="469" y="577"/>
                    <a:pt x="462" y="597"/>
                    <a:pt x="446" y="604"/>
                  </a:cubicBezTo>
                  <a:cubicBezTo>
                    <a:pt x="442" y="606"/>
                    <a:pt x="438" y="607"/>
                    <a:pt x="433" y="607"/>
                  </a:cubicBezTo>
                  <a:close/>
                  <a:moveTo>
                    <a:pt x="174" y="125"/>
                  </a:moveTo>
                  <a:cubicBezTo>
                    <a:pt x="139" y="125"/>
                    <a:pt x="111" y="97"/>
                    <a:pt x="111" y="63"/>
                  </a:cubicBezTo>
                  <a:cubicBezTo>
                    <a:pt x="111" y="28"/>
                    <a:pt x="139" y="0"/>
                    <a:pt x="174" y="0"/>
                  </a:cubicBezTo>
                  <a:cubicBezTo>
                    <a:pt x="208" y="0"/>
                    <a:pt x="236" y="28"/>
                    <a:pt x="236" y="63"/>
                  </a:cubicBezTo>
                  <a:cubicBezTo>
                    <a:pt x="236" y="97"/>
                    <a:pt x="208" y="125"/>
                    <a:pt x="174" y="12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551" name="Groupe 550">
            <a:extLst>
              <a:ext uri="{FF2B5EF4-FFF2-40B4-BE49-F238E27FC236}">
                <a16:creationId xmlns:a16="http://schemas.microsoft.com/office/drawing/2014/main" id="{80462504-D860-48FD-AD32-0222F36CF577}"/>
              </a:ext>
              <a:ext uri="{C183D7F6-B498-43B3-948B-1728B52AA6E4}">
                <adec:decorative xmlns:adec="http://schemas.microsoft.com/office/drawing/2017/decorative" val="1"/>
              </a:ext>
            </a:extLst>
          </p:cNvPr>
          <p:cNvGrpSpPr>
            <a:grpSpLocks noChangeAspect="1"/>
          </p:cNvGrpSpPr>
          <p:nvPr/>
        </p:nvGrpSpPr>
        <p:grpSpPr>
          <a:xfrm>
            <a:off x="1174144" y="3828093"/>
            <a:ext cx="672805" cy="633600"/>
            <a:chOff x="5320855" y="4455261"/>
            <a:chExt cx="913245" cy="860030"/>
          </a:xfrm>
        </p:grpSpPr>
        <p:sp>
          <p:nvSpPr>
            <p:cNvPr id="552" name="Freeform 201">
              <a:extLst>
                <a:ext uri="{FF2B5EF4-FFF2-40B4-BE49-F238E27FC236}">
                  <a16:creationId xmlns:a16="http://schemas.microsoft.com/office/drawing/2014/main" id="{2F999FC1-8F9B-47E2-B393-592BA522CEE2}"/>
                </a:ext>
              </a:extLst>
            </p:cNvPr>
            <p:cNvSpPr>
              <a:spLocks/>
            </p:cNvSpPr>
            <p:nvPr/>
          </p:nvSpPr>
          <p:spPr bwMode="auto">
            <a:xfrm>
              <a:off x="5320855" y="4455261"/>
              <a:ext cx="913245" cy="86003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553" name="Group 8">
              <a:extLst>
                <a:ext uri="{FF2B5EF4-FFF2-40B4-BE49-F238E27FC236}">
                  <a16:creationId xmlns:a16="http://schemas.microsoft.com/office/drawing/2014/main" id="{41FF9BC7-2983-4A84-A1E6-5A59CA664B07}"/>
                </a:ext>
              </a:extLst>
            </p:cNvPr>
            <p:cNvGrpSpPr/>
            <p:nvPr/>
          </p:nvGrpSpPr>
          <p:grpSpPr>
            <a:xfrm>
              <a:off x="5659675" y="4700893"/>
              <a:ext cx="219095" cy="449655"/>
              <a:chOff x="3949010" y="3483626"/>
              <a:chExt cx="219095" cy="449655"/>
            </a:xfrm>
            <a:solidFill>
              <a:schemeClr val="accent2"/>
            </a:solidFill>
          </p:grpSpPr>
          <p:sp>
            <p:nvSpPr>
              <p:cNvPr id="554" name="Freeform 75">
                <a:extLst>
                  <a:ext uri="{FF2B5EF4-FFF2-40B4-BE49-F238E27FC236}">
                    <a16:creationId xmlns:a16="http://schemas.microsoft.com/office/drawing/2014/main" id="{57264735-99A2-4393-A03C-9D379C1932B1}"/>
                  </a:ext>
                </a:extLst>
              </p:cNvPr>
              <p:cNvSpPr>
                <a:spLocks noEditPoints="1"/>
              </p:cNvSpPr>
              <p:nvPr/>
            </p:nvSpPr>
            <p:spPr bwMode="auto">
              <a:xfrm>
                <a:off x="3949010" y="3483626"/>
                <a:ext cx="219095" cy="449655"/>
              </a:xfrm>
              <a:custGeom>
                <a:avLst/>
                <a:gdLst>
                  <a:gd name="T0" fmla="*/ 234 w 247"/>
                  <a:gd name="T1" fmla="*/ 0 h 490"/>
                  <a:gd name="T2" fmla="*/ 14 w 247"/>
                  <a:gd name="T3" fmla="*/ 0 h 490"/>
                  <a:gd name="T4" fmla="*/ 0 w 247"/>
                  <a:gd name="T5" fmla="*/ 13 h 490"/>
                  <a:gd name="T6" fmla="*/ 14 w 247"/>
                  <a:gd name="T7" fmla="*/ 27 h 490"/>
                  <a:gd name="T8" fmla="*/ 20 w 247"/>
                  <a:gd name="T9" fmla="*/ 27 h 490"/>
                  <a:gd name="T10" fmla="*/ 20 w 247"/>
                  <a:gd name="T11" fmla="*/ 386 h 490"/>
                  <a:gd name="T12" fmla="*/ 124 w 247"/>
                  <a:gd name="T13" fmla="*/ 490 h 490"/>
                  <a:gd name="T14" fmla="*/ 228 w 247"/>
                  <a:gd name="T15" fmla="*/ 386 h 490"/>
                  <a:gd name="T16" fmla="*/ 228 w 247"/>
                  <a:gd name="T17" fmla="*/ 27 h 490"/>
                  <a:gd name="T18" fmla="*/ 234 w 247"/>
                  <a:gd name="T19" fmla="*/ 27 h 490"/>
                  <a:gd name="T20" fmla="*/ 247 w 247"/>
                  <a:gd name="T21" fmla="*/ 13 h 490"/>
                  <a:gd name="T22" fmla="*/ 234 w 247"/>
                  <a:gd name="T23" fmla="*/ 0 h 490"/>
                  <a:gd name="T24" fmla="*/ 200 w 247"/>
                  <a:gd name="T25" fmla="*/ 386 h 490"/>
                  <a:gd name="T26" fmla="*/ 124 w 247"/>
                  <a:gd name="T27" fmla="*/ 463 h 490"/>
                  <a:gd name="T28" fmla="*/ 47 w 247"/>
                  <a:gd name="T29" fmla="*/ 386 h 490"/>
                  <a:gd name="T30" fmla="*/ 47 w 247"/>
                  <a:gd name="T31" fmla="*/ 27 h 490"/>
                  <a:gd name="T32" fmla="*/ 200 w 247"/>
                  <a:gd name="T33" fmla="*/ 27 h 490"/>
                  <a:gd name="T34" fmla="*/ 200 w 247"/>
                  <a:gd name="T35" fmla="*/ 386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490">
                    <a:moveTo>
                      <a:pt x="234" y="0"/>
                    </a:moveTo>
                    <a:cubicBezTo>
                      <a:pt x="14" y="0"/>
                      <a:pt x="14" y="0"/>
                      <a:pt x="14" y="0"/>
                    </a:cubicBezTo>
                    <a:cubicBezTo>
                      <a:pt x="6" y="0"/>
                      <a:pt x="0" y="6"/>
                      <a:pt x="0" y="13"/>
                    </a:cubicBezTo>
                    <a:cubicBezTo>
                      <a:pt x="0" y="21"/>
                      <a:pt x="6" y="27"/>
                      <a:pt x="14" y="27"/>
                    </a:cubicBezTo>
                    <a:cubicBezTo>
                      <a:pt x="20" y="27"/>
                      <a:pt x="20" y="27"/>
                      <a:pt x="20" y="27"/>
                    </a:cubicBezTo>
                    <a:cubicBezTo>
                      <a:pt x="20" y="386"/>
                      <a:pt x="20" y="386"/>
                      <a:pt x="20" y="386"/>
                    </a:cubicBezTo>
                    <a:cubicBezTo>
                      <a:pt x="20" y="444"/>
                      <a:pt x="66" y="490"/>
                      <a:pt x="124" y="490"/>
                    </a:cubicBezTo>
                    <a:cubicBezTo>
                      <a:pt x="181" y="490"/>
                      <a:pt x="228" y="444"/>
                      <a:pt x="228" y="386"/>
                    </a:cubicBezTo>
                    <a:cubicBezTo>
                      <a:pt x="228" y="27"/>
                      <a:pt x="228" y="27"/>
                      <a:pt x="228" y="27"/>
                    </a:cubicBezTo>
                    <a:cubicBezTo>
                      <a:pt x="234" y="27"/>
                      <a:pt x="234" y="27"/>
                      <a:pt x="234" y="27"/>
                    </a:cubicBezTo>
                    <a:cubicBezTo>
                      <a:pt x="241" y="27"/>
                      <a:pt x="247" y="21"/>
                      <a:pt x="247" y="13"/>
                    </a:cubicBezTo>
                    <a:cubicBezTo>
                      <a:pt x="247" y="6"/>
                      <a:pt x="241" y="0"/>
                      <a:pt x="234" y="0"/>
                    </a:cubicBezTo>
                    <a:close/>
                    <a:moveTo>
                      <a:pt x="200" y="386"/>
                    </a:moveTo>
                    <a:cubicBezTo>
                      <a:pt x="200" y="429"/>
                      <a:pt x="166" y="463"/>
                      <a:pt x="124" y="463"/>
                    </a:cubicBezTo>
                    <a:cubicBezTo>
                      <a:pt x="81" y="463"/>
                      <a:pt x="47" y="429"/>
                      <a:pt x="47" y="386"/>
                    </a:cubicBezTo>
                    <a:cubicBezTo>
                      <a:pt x="47" y="27"/>
                      <a:pt x="47" y="27"/>
                      <a:pt x="47" y="27"/>
                    </a:cubicBezTo>
                    <a:cubicBezTo>
                      <a:pt x="200" y="27"/>
                      <a:pt x="200" y="27"/>
                      <a:pt x="200" y="27"/>
                    </a:cubicBezTo>
                    <a:lnTo>
                      <a:pt x="200" y="38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555" name="Oval 76">
                <a:extLst>
                  <a:ext uri="{FF2B5EF4-FFF2-40B4-BE49-F238E27FC236}">
                    <a16:creationId xmlns:a16="http://schemas.microsoft.com/office/drawing/2014/main" id="{4519DA3A-0626-4915-936B-16CEFA38CD85}"/>
                  </a:ext>
                </a:extLst>
              </p:cNvPr>
              <p:cNvSpPr>
                <a:spLocks noChangeArrowheads="1"/>
              </p:cNvSpPr>
              <p:nvPr/>
            </p:nvSpPr>
            <p:spPr bwMode="auto">
              <a:xfrm>
                <a:off x="4017984" y="3582152"/>
                <a:ext cx="42602" cy="45071"/>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556" name="Freeform 77">
                <a:extLst>
                  <a:ext uri="{FF2B5EF4-FFF2-40B4-BE49-F238E27FC236}">
                    <a16:creationId xmlns:a16="http://schemas.microsoft.com/office/drawing/2014/main" id="{9CD539A8-8375-4016-A6CA-5DB13D8797E6}"/>
                  </a:ext>
                </a:extLst>
              </p:cNvPr>
              <p:cNvSpPr>
                <a:spLocks noEditPoints="1"/>
              </p:cNvSpPr>
              <p:nvPr/>
            </p:nvSpPr>
            <p:spPr bwMode="auto">
              <a:xfrm>
                <a:off x="4010884" y="3638752"/>
                <a:ext cx="97375" cy="250507"/>
              </a:xfrm>
              <a:custGeom>
                <a:avLst/>
                <a:gdLst>
                  <a:gd name="T0" fmla="*/ 55 w 110"/>
                  <a:gd name="T1" fmla="*/ 273 h 273"/>
                  <a:gd name="T2" fmla="*/ 110 w 110"/>
                  <a:gd name="T3" fmla="*/ 217 h 273"/>
                  <a:gd name="T4" fmla="*/ 110 w 110"/>
                  <a:gd name="T5" fmla="*/ 0 h 273"/>
                  <a:gd name="T6" fmla="*/ 0 w 110"/>
                  <a:gd name="T7" fmla="*/ 0 h 273"/>
                  <a:gd name="T8" fmla="*/ 0 w 110"/>
                  <a:gd name="T9" fmla="*/ 217 h 273"/>
                  <a:gd name="T10" fmla="*/ 55 w 110"/>
                  <a:gd name="T11" fmla="*/ 273 h 273"/>
                  <a:gd name="T12" fmla="*/ 65 w 110"/>
                  <a:gd name="T13" fmla="*/ 39 h 273"/>
                  <a:gd name="T14" fmla="*/ 89 w 110"/>
                  <a:gd name="T15" fmla="*/ 64 h 273"/>
                  <a:gd name="T16" fmla="*/ 65 w 110"/>
                  <a:gd name="T17" fmla="*/ 89 h 273"/>
                  <a:gd name="T18" fmla="*/ 40 w 110"/>
                  <a:gd name="T19" fmla="*/ 64 h 273"/>
                  <a:gd name="T20" fmla="*/ 65 w 110"/>
                  <a:gd name="T21" fmla="*/ 39 h 273"/>
                  <a:gd name="T22" fmla="*/ 37 w 110"/>
                  <a:gd name="T23" fmla="*/ 107 h 273"/>
                  <a:gd name="T24" fmla="*/ 54 w 110"/>
                  <a:gd name="T25" fmla="*/ 124 h 273"/>
                  <a:gd name="T26" fmla="*/ 37 w 110"/>
                  <a:gd name="T27" fmla="*/ 141 h 273"/>
                  <a:gd name="T28" fmla="*/ 20 w 110"/>
                  <a:gd name="T29" fmla="*/ 124 h 273"/>
                  <a:gd name="T30" fmla="*/ 37 w 110"/>
                  <a:gd name="T31" fmla="*/ 10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273">
                    <a:moveTo>
                      <a:pt x="55" y="273"/>
                    </a:moveTo>
                    <a:cubicBezTo>
                      <a:pt x="85" y="273"/>
                      <a:pt x="110" y="248"/>
                      <a:pt x="110" y="217"/>
                    </a:cubicBezTo>
                    <a:cubicBezTo>
                      <a:pt x="110" y="0"/>
                      <a:pt x="110" y="0"/>
                      <a:pt x="110" y="0"/>
                    </a:cubicBezTo>
                    <a:cubicBezTo>
                      <a:pt x="0" y="0"/>
                      <a:pt x="0" y="0"/>
                      <a:pt x="0" y="0"/>
                    </a:cubicBezTo>
                    <a:cubicBezTo>
                      <a:pt x="0" y="217"/>
                      <a:pt x="0" y="217"/>
                      <a:pt x="0" y="217"/>
                    </a:cubicBezTo>
                    <a:cubicBezTo>
                      <a:pt x="0" y="248"/>
                      <a:pt x="24" y="273"/>
                      <a:pt x="55" y="273"/>
                    </a:cubicBezTo>
                    <a:close/>
                    <a:moveTo>
                      <a:pt x="65" y="39"/>
                    </a:moveTo>
                    <a:cubicBezTo>
                      <a:pt x="78" y="39"/>
                      <a:pt x="89" y="50"/>
                      <a:pt x="89" y="64"/>
                    </a:cubicBezTo>
                    <a:cubicBezTo>
                      <a:pt x="89" y="78"/>
                      <a:pt x="78" y="89"/>
                      <a:pt x="65" y="89"/>
                    </a:cubicBezTo>
                    <a:cubicBezTo>
                      <a:pt x="51" y="89"/>
                      <a:pt x="40" y="78"/>
                      <a:pt x="40" y="64"/>
                    </a:cubicBezTo>
                    <a:cubicBezTo>
                      <a:pt x="40" y="50"/>
                      <a:pt x="51" y="39"/>
                      <a:pt x="65" y="39"/>
                    </a:cubicBezTo>
                    <a:close/>
                    <a:moveTo>
                      <a:pt x="37" y="107"/>
                    </a:moveTo>
                    <a:cubicBezTo>
                      <a:pt x="47" y="107"/>
                      <a:pt x="54" y="114"/>
                      <a:pt x="54" y="124"/>
                    </a:cubicBezTo>
                    <a:cubicBezTo>
                      <a:pt x="54" y="133"/>
                      <a:pt x="47" y="141"/>
                      <a:pt x="37" y="141"/>
                    </a:cubicBezTo>
                    <a:cubicBezTo>
                      <a:pt x="28" y="141"/>
                      <a:pt x="20" y="133"/>
                      <a:pt x="20" y="124"/>
                    </a:cubicBezTo>
                    <a:cubicBezTo>
                      <a:pt x="20" y="114"/>
                      <a:pt x="28" y="107"/>
                      <a:pt x="37" y="107"/>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14" name="Group 13">
            <a:extLst>
              <a:ext uri="{FF2B5EF4-FFF2-40B4-BE49-F238E27FC236}">
                <a16:creationId xmlns:a16="http://schemas.microsoft.com/office/drawing/2014/main" id="{134363B7-75E4-4EC0-97CD-0B09316706CC}"/>
              </a:ext>
              <a:ext uri="{C183D7F6-B498-43B3-948B-1728B52AA6E4}">
                <adec:decorative xmlns:adec="http://schemas.microsoft.com/office/drawing/2017/decorative" val="1"/>
              </a:ext>
            </a:extLst>
          </p:cNvPr>
          <p:cNvGrpSpPr/>
          <p:nvPr/>
        </p:nvGrpSpPr>
        <p:grpSpPr>
          <a:xfrm>
            <a:off x="7107566" y="1451343"/>
            <a:ext cx="672805" cy="633600"/>
            <a:chOff x="8537402" y="1188623"/>
            <a:chExt cx="672805" cy="633600"/>
          </a:xfrm>
        </p:grpSpPr>
        <p:sp>
          <p:nvSpPr>
            <p:cNvPr id="306" name="Freeform 201">
              <a:extLst>
                <a:ext uri="{FF2B5EF4-FFF2-40B4-BE49-F238E27FC236}">
                  <a16:creationId xmlns:a16="http://schemas.microsoft.com/office/drawing/2014/main" id="{B8CD1D18-E3C7-41C1-B136-E05F5EC1FF0F}"/>
                </a:ext>
              </a:extLst>
            </p:cNvPr>
            <p:cNvSpPr>
              <a:spLocks/>
            </p:cNvSpPr>
            <p:nvPr/>
          </p:nvSpPr>
          <p:spPr bwMode="auto">
            <a:xfrm>
              <a:off x="8537402" y="1188623"/>
              <a:ext cx="672805" cy="63360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07" name="Group 10">
              <a:extLst>
                <a:ext uri="{FF2B5EF4-FFF2-40B4-BE49-F238E27FC236}">
                  <a16:creationId xmlns:a16="http://schemas.microsoft.com/office/drawing/2014/main" id="{75D15FEC-A986-443B-B1D7-E767C1553281}"/>
                </a:ext>
              </a:extLst>
            </p:cNvPr>
            <p:cNvGrpSpPr/>
            <p:nvPr/>
          </p:nvGrpSpPr>
          <p:grpSpPr>
            <a:xfrm>
              <a:off x="8633374" y="1358316"/>
              <a:ext cx="418260" cy="305768"/>
              <a:chOff x="1136576" y="3790851"/>
              <a:chExt cx="879476" cy="642938"/>
            </a:xfrm>
            <a:solidFill>
              <a:schemeClr val="bg1"/>
            </a:solidFill>
          </p:grpSpPr>
          <p:sp>
            <p:nvSpPr>
              <p:cNvPr id="308" name="Freeform 29">
                <a:extLst>
                  <a:ext uri="{FF2B5EF4-FFF2-40B4-BE49-F238E27FC236}">
                    <a16:creationId xmlns:a16="http://schemas.microsoft.com/office/drawing/2014/main" id="{48297703-BA3E-41FD-BD03-C10AA0DA10B0}"/>
                  </a:ext>
                </a:extLst>
              </p:cNvPr>
              <p:cNvSpPr>
                <a:spLocks/>
              </p:cNvSpPr>
              <p:nvPr/>
            </p:nvSpPr>
            <p:spPr bwMode="auto">
              <a:xfrm>
                <a:off x="1741414" y="4171851"/>
                <a:ext cx="274638" cy="261938"/>
              </a:xfrm>
              <a:custGeom>
                <a:avLst/>
                <a:gdLst>
                  <a:gd name="T0" fmla="*/ 319 w 563"/>
                  <a:gd name="T1" fmla="*/ 4 h 536"/>
                  <a:gd name="T2" fmla="*/ 274 w 563"/>
                  <a:gd name="T3" fmla="*/ 0 h 536"/>
                  <a:gd name="T4" fmla="*/ 125 w 563"/>
                  <a:gd name="T5" fmla="*/ 45 h 536"/>
                  <a:gd name="T6" fmla="*/ 202 w 563"/>
                  <a:gd name="T7" fmla="*/ 94 h 536"/>
                  <a:gd name="T8" fmla="*/ 333 w 563"/>
                  <a:gd name="T9" fmla="*/ 175 h 536"/>
                  <a:gd name="T10" fmla="*/ 369 w 563"/>
                  <a:gd name="T11" fmla="*/ 329 h 536"/>
                  <a:gd name="T12" fmla="*/ 274 w 563"/>
                  <a:gd name="T13" fmla="*/ 381 h 536"/>
                  <a:gd name="T14" fmla="*/ 215 w 563"/>
                  <a:gd name="T15" fmla="*/ 365 h 536"/>
                  <a:gd name="T16" fmla="*/ 86 w 563"/>
                  <a:gd name="T17" fmla="*/ 284 h 536"/>
                  <a:gd name="T18" fmla="*/ 8 w 563"/>
                  <a:gd name="T19" fmla="*/ 235 h 536"/>
                  <a:gd name="T20" fmla="*/ 55 w 563"/>
                  <a:gd name="T21" fmla="*/ 423 h 536"/>
                  <a:gd name="T22" fmla="*/ 229 w 563"/>
                  <a:gd name="T23" fmla="*/ 532 h 536"/>
                  <a:gd name="T24" fmla="*/ 274 w 563"/>
                  <a:gd name="T25" fmla="*/ 536 h 536"/>
                  <a:gd name="T26" fmla="*/ 538 w 563"/>
                  <a:gd name="T27" fmla="*/ 313 h 536"/>
                  <a:gd name="T28" fmla="*/ 319 w 563"/>
                  <a:gd name="T29" fmla="*/ 4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3" h="536">
                    <a:moveTo>
                      <a:pt x="319" y="4"/>
                    </a:moveTo>
                    <a:cubicBezTo>
                      <a:pt x="304" y="2"/>
                      <a:pt x="289" y="0"/>
                      <a:pt x="274" y="0"/>
                    </a:cubicBezTo>
                    <a:cubicBezTo>
                      <a:pt x="219" y="0"/>
                      <a:pt x="168" y="17"/>
                      <a:pt x="125" y="45"/>
                    </a:cubicBezTo>
                    <a:cubicBezTo>
                      <a:pt x="147" y="59"/>
                      <a:pt x="175" y="76"/>
                      <a:pt x="202" y="94"/>
                    </a:cubicBezTo>
                    <a:cubicBezTo>
                      <a:pt x="266" y="133"/>
                      <a:pt x="332" y="174"/>
                      <a:pt x="333" y="175"/>
                    </a:cubicBezTo>
                    <a:cubicBezTo>
                      <a:pt x="385" y="208"/>
                      <a:pt x="401" y="277"/>
                      <a:pt x="369" y="329"/>
                    </a:cubicBezTo>
                    <a:cubicBezTo>
                      <a:pt x="348" y="363"/>
                      <a:pt x="311" y="381"/>
                      <a:pt x="274" y="381"/>
                    </a:cubicBezTo>
                    <a:cubicBezTo>
                      <a:pt x="254" y="381"/>
                      <a:pt x="233" y="376"/>
                      <a:pt x="215" y="365"/>
                    </a:cubicBezTo>
                    <a:cubicBezTo>
                      <a:pt x="210" y="362"/>
                      <a:pt x="148" y="323"/>
                      <a:pt x="86" y="284"/>
                    </a:cubicBezTo>
                    <a:cubicBezTo>
                      <a:pt x="58" y="267"/>
                      <a:pt x="31" y="249"/>
                      <a:pt x="8" y="235"/>
                    </a:cubicBezTo>
                    <a:cubicBezTo>
                      <a:pt x="0" y="302"/>
                      <a:pt x="17" y="368"/>
                      <a:pt x="55" y="423"/>
                    </a:cubicBezTo>
                    <a:cubicBezTo>
                      <a:pt x="97" y="481"/>
                      <a:pt x="158" y="520"/>
                      <a:pt x="229" y="532"/>
                    </a:cubicBezTo>
                    <a:cubicBezTo>
                      <a:pt x="244" y="535"/>
                      <a:pt x="259" y="536"/>
                      <a:pt x="274" y="536"/>
                    </a:cubicBezTo>
                    <a:cubicBezTo>
                      <a:pt x="405" y="536"/>
                      <a:pt x="516" y="442"/>
                      <a:pt x="538" y="313"/>
                    </a:cubicBezTo>
                    <a:cubicBezTo>
                      <a:pt x="563" y="168"/>
                      <a:pt x="465" y="29"/>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12" name="Freeform 30">
                <a:extLst>
                  <a:ext uri="{FF2B5EF4-FFF2-40B4-BE49-F238E27FC236}">
                    <a16:creationId xmlns:a16="http://schemas.microsoft.com/office/drawing/2014/main" id="{69C6E8A1-FA96-433F-AC1B-91B230DC7DB1}"/>
                  </a:ext>
                </a:extLst>
              </p:cNvPr>
              <p:cNvSpPr>
                <a:spLocks noEditPoints="1"/>
              </p:cNvSpPr>
              <p:nvPr/>
            </p:nvSpPr>
            <p:spPr bwMode="auto">
              <a:xfrm>
                <a:off x="1136576" y="3927376"/>
                <a:ext cx="850900" cy="452438"/>
              </a:xfrm>
              <a:custGeom>
                <a:avLst/>
                <a:gdLst>
                  <a:gd name="T0" fmla="*/ 1481 w 1742"/>
                  <a:gd name="T1" fmla="*/ 819 h 927"/>
                  <a:gd name="T2" fmla="*/ 1559 w 1742"/>
                  <a:gd name="T3" fmla="*/ 801 h 927"/>
                  <a:gd name="T4" fmla="*/ 1541 w 1742"/>
                  <a:gd name="T5" fmla="*/ 723 h 927"/>
                  <a:gd name="T6" fmla="*/ 1318 w 1742"/>
                  <a:gd name="T7" fmla="*/ 583 h 927"/>
                  <a:gd name="T8" fmla="*/ 1299 w 1742"/>
                  <a:gd name="T9" fmla="*/ 571 h 927"/>
                  <a:gd name="T10" fmla="*/ 1257 w 1742"/>
                  <a:gd name="T11" fmla="*/ 551 h 927"/>
                  <a:gd name="T12" fmla="*/ 1269 w 1742"/>
                  <a:gd name="T13" fmla="*/ 542 h 927"/>
                  <a:gd name="T14" fmla="*/ 1721 w 1742"/>
                  <a:gd name="T15" fmla="*/ 101 h 927"/>
                  <a:gd name="T16" fmla="*/ 1733 w 1742"/>
                  <a:gd name="T17" fmla="*/ 37 h 927"/>
                  <a:gd name="T18" fmla="*/ 1681 w 1742"/>
                  <a:gd name="T19" fmla="*/ 0 h 927"/>
                  <a:gd name="T20" fmla="*/ 626 w 1742"/>
                  <a:gd name="T21" fmla="*/ 0 h 927"/>
                  <a:gd name="T22" fmla="*/ 582 w 1742"/>
                  <a:gd name="T23" fmla="*/ 23 h 927"/>
                  <a:gd name="T24" fmla="*/ 570 w 1742"/>
                  <a:gd name="T25" fmla="*/ 71 h 927"/>
                  <a:gd name="T26" fmla="*/ 628 w 1742"/>
                  <a:gd name="T27" fmla="*/ 349 h 927"/>
                  <a:gd name="T28" fmla="*/ 628 w 1742"/>
                  <a:gd name="T29" fmla="*/ 349 h 927"/>
                  <a:gd name="T30" fmla="*/ 276 w 1742"/>
                  <a:gd name="T31" fmla="*/ 17 h 927"/>
                  <a:gd name="T32" fmla="*/ 237 w 1742"/>
                  <a:gd name="T33" fmla="*/ 0 h 927"/>
                  <a:gd name="T34" fmla="*/ 56 w 1742"/>
                  <a:gd name="T35" fmla="*/ 0 h 927"/>
                  <a:gd name="T36" fmla="*/ 0 w 1742"/>
                  <a:gd name="T37" fmla="*/ 58 h 927"/>
                  <a:gd name="T38" fmla="*/ 56 w 1742"/>
                  <a:gd name="T39" fmla="*/ 116 h 927"/>
                  <a:gd name="T40" fmla="*/ 215 w 1742"/>
                  <a:gd name="T41" fmla="*/ 116 h 927"/>
                  <a:gd name="T42" fmla="*/ 586 w 1742"/>
                  <a:gd name="T43" fmla="*/ 465 h 927"/>
                  <a:gd name="T44" fmla="*/ 664 w 1742"/>
                  <a:gd name="T45" fmla="*/ 800 h 927"/>
                  <a:gd name="T46" fmla="*/ 784 w 1742"/>
                  <a:gd name="T47" fmla="*/ 922 h 927"/>
                  <a:gd name="T48" fmla="*/ 823 w 1742"/>
                  <a:gd name="T49" fmla="*/ 927 h 927"/>
                  <a:gd name="T50" fmla="*/ 952 w 1742"/>
                  <a:gd name="T51" fmla="*/ 867 h 927"/>
                  <a:gd name="T52" fmla="*/ 1127 w 1742"/>
                  <a:gd name="T53" fmla="*/ 675 h 927"/>
                  <a:gd name="T54" fmla="*/ 1238 w 1742"/>
                  <a:gd name="T55" fmla="*/ 666 h 927"/>
                  <a:gd name="T56" fmla="*/ 1259 w 1742"/>
                  <a:gd name="T57" fmla="*/ 680 h 927"/>
                  <a:gd name="T58" fmla="*/ 1481 w 1742"/>
                  <a:gd name="T59" fmla="*/ 819 h 927"/>
                  <a:gd name="T60" fmla="*/ 1042 w 1742"/>
                  <a:gd name="T61" fmla="*/ 600 h 927"/>
                  <a:gd name="T62" fmla="*/ 868 w 1742"/>
                  <a:gd name="T63" fmla="*/ 790 h 927"/>
                  <a:gd name="T64" fmla="*/ 812 w 1742"/>
                  <a:gd name="T65" fmla="*/ 812 h 927"/>
                  <a:gd name="T66" fmla="*/ 774 w 1742"/>
                  <a:gd name="T67" fmla="*/ 773 h 927"/>
                  <a:gd name="T68" fmla="*/ 699 w 1742"/>
                  <a:gd name="T69" fmla="*/ 448 h 927"/>
                  <a:gd name="T70" fmla="*/ 1051 w 1742"/>
                  <a:gd name="T71" fmla="*/ 522 h 927"/>
                  <a:gd name="T72" fmla="*/ 1148 w 1742"/>
                  <a:gd name="T73" fmla="*/ 542 h 927"/>
                  <a:gd name="T74" fmla="*/ 1042 w 1742"/>
                  <a:gd name="T75" fmla="*/ 60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2" h="927">
                    <a:moveTo>
                      <a:pt x="1481" y="819"/>
                    </a:moveTo>
                    <a:cubicBezTo>
                      <a:pt x="1508" y="836"/>
                      <a:pt x="1543" y="828"/>
                      <a:pt x="1559" y="801"/>
                    </a:cubicBezTo>
                    <a:cubicBezTo>
                      <a:pt x="1576" y="774"/>
                      <a:pt x="1568" y="739"/>
                      <a:pt x="1541" y="723"/>
                    </a:cubicBezTo>
                    <a:cubicBezTo>
                      <a:pt x="1540" y="722"/>
                      <a:pt x="1336" y="594"/>
                      <a:pt x="1318" y="583"/>
                    </a:cubicBezTo>
                    <a:cubicBezTo>
                      <a:pt x="1310" y="578"/>
                      <a:pt x="1304" y="574"/>
                      <a:pt x="1299" y="571"/>
                    </a:cubicBezTo>
                    <a:cubicBezTo>
                      <a:pt x="1286" y="563"/>
                      <a:pt x="1272" y="556"/>
                      <a:pt x="1257" y="551"/>
                    </a:cubicBezTo>
                    <a:cubicBezTo>
                      <a:pt x="1261" y="548"/>
                      <a:pt x="1265" y="545"/>
                      <a:pt x="1269" y="542"/>
                    </a:cubicBezTo>
                    <a:cubicBezTo>
                      <a:pt x="1721" y="101"/>
                      <a:pt x="1721" y="101"/>
                      <a:pt x="1721" y="101"/>
                    </a:cubicBezTo>
                    <a:cubicBezTo>
                      <a:pt x="1737" y="85"/>
                      <a:pt x="1742" y="59"/>
                      <a:pt x="1733" y="37"/>
                    </a:cubicBezTo>
                    <a:cubicBezTo>
                      <a:pt x="1725" y="16"/>
                      <a:pt x="1704" y="0"/>
                      <a:pt x="1681" y="0"/>
                    </a:cubicBezTo>
                    <a:cubicBezTo>
                      <a:pt x="626" y="0"/>
                      <a:pt x="626" y="0"/>
                      <a:pt x="626" y="0"/>
                    </a:cubicBezTo>
                    <a:cubicBezTo>
                      <a:pt x="609" y="0"/>
                      <a:pt x="593" y="9"/>
                      <a:pt x="582" y="23"/>
                    </a:cubicBezTo>
                    <a:cubicBezTo>
                      <a:pt x="571" y="36"/>
                      <a:pt x="567" y="54"/>
                      <a:pt x="570" y="71"/>
                    </a:cubicBezTo>
                    <a:cubicBezTo>
                      <a:pt x="628" y="349"/>
                      <a:pt x="628" y="349"/>
                      <a:pt x="628" y="349"/>
                    </a:cubicBezTo>
                    <a:cubicBezTo>
                      <a:pt x="628" y="349"/>
                      <a:pt x="628" y="349"/>
                      <a:pt x="628" y="349"/>
                    </a:cubicBezTo>
                    <a:cubicBezTo>
                      <a:pt x="276" y="17"/>
                      <a:pt x="276" y="17"/>
                      <a:pt x="276" y="17"/>
                    </a:cubicBezTo>
                    <a:cubicBezTo>
                      <a:pt x="265" y="7"/>
                      <a:pt x="252" y="0"/>
                      <a:pt x="237" y="0"/>
                    </a:cubicBezTo>
                    <a:cubicBezTo>
                      <a:pt x="56" y="0"/>
                      <a:pt x="56" y="0"/>
                      <a:pt x="56" y="0"/>
                    </a:cubicBezTo>
                    <a:cubicBezTo>
                      <a:pt x="25" y="0"/>
                      <a:pt x="0" y="27"/>
                      <a:pt x="0" y="58"/>
                    </a:cubicBezTo>
                    <a:cubicBezTo>
                      <a:pt x="0" y="90"/>
                      <a:pt x="25" y="116"/>
                      <a:pt x="56" y="116"/>
                    </a:cubicBezTo>
                    <a:cubicBezTo>
                      <a:pt x="215" y="116"/>
                      <a:pt x="215" y="116"/>
                      <a:pt x="215" y="116"/>
                    </a:cubicBezTo>
                    <a:cubicBezTo>
                      <a:pt x="586" y="465"/>
                      <a:pt x="586" y="465"/>
                      <a:pt x="586" y="465"/>
                    </a:cubicBezTo>
                    <a:cubicBezTo>
                      <a:pt x="600" y="527"/>
                      <a:pt x="648" y="735"/>
                      <a:pt x="664" y="800"/>
                    </a:cubicBezTo>
                    <a:cubicBezTo>
                      <a:pt x="679" y="860"/>
                      <a:pt x="725" y="907"/>
                      <a:pt x="784" y="922"/>
                    </a:cubicBezTo>
                    <a:cubicBezTo>
                      <a:pt x="797" y="925"/>
                      <a:pt x="810" y="927"/>
                      <a:pt x="823" y="927"/>
                    </a:cubicBezTo>
                    <a:cubicBezTo>
                      <a:pt x="870" y="927"/>
                      <a:pt x="917" y="906"/>
                      <a:pt x="952" y="867"/>
                    </a:cubicBezTo>
                    <a:cubicBezTo>
                      <a:pt x="983" y="833"/>
                      <a:pt x="1104" y="701"/>
                      <a:pt x="1127" y="675"/>
                    </a:cubicBezTo>
                    <a:cubicBezTo>
                      <a:pt x="1154" y="645"/>
                      <a:pt x="1206" y="646"/>
                      <a:pt x="1238" y="666"/>
                    </a:cubicBezTo>
                    <a:cubicBezTo>
                      <a:pt x="1243" y="669"/>
                      <a:pt x="1250" y="674"/>
                      <a:pt x="1259" y="680"/>
                    </a:cubicBezTo>
                    <a:cubicBezTo>
                      <a:pt x="1277" y="691"/>
                      <a:pt x="1478" y="817"/>
                      <a:pt x="1481" y="819"/>
                    </a:cubicBezTo>
                    <a:close/>
                    <a:moveTo>
                      <a:pt x="1042" y="600"/>
                    </a:moveTo>
                    <a:cubicBezTo>
                      <a:pt x="1024" y="621"/>
                      <a:pt x="899" y="756"/>
                      <a:pt x="868" y="790"/>
                    </a:cubicBezTo>
                    <a:cubicBezTo>
                      <a:pt x="851" y="809"/>
                      <a:pt x="831" y="817"/>
                      <a:pt x="812" y="812"/>
                    </a:cubicBezTo>
                    <a:cubicBezTo>
                      <a:pt x="793" y="807"/>
                      <a:pt x="779" y="792"/>
                      <a:pt x="774" y="773"/>
                    </a:cubicBezTo>
                    <a:cubicBezTo>
                      <a:pt x="759" y="712"/>
                      <a:pt x="715" y="518"/>
                      <a:pt x="699" y="448"/>
                    </a:cubicBezTo>
                    <a:cubicBezTo>
                      <a:pt x="1051" y="522"/>
                      <a:pt x="1051" y="522"/>
                      <a:pt x="1051" y="522"/>
                    </a:cubicBezTo>
                    <a:cubicBezTo>
                      <a:pt x="1148" y="542"/>
                      <a:pt x="1148" y="542"/>
                      <a:pt x="1148" y="542"/>
                    </a:cubicBezTo>
                    <a:cubicBezTo>
                      <a:pt x="1106" y="550"/>
                      <a:pt x="1070" y="570"/>
                      <a:pt x="1042" y="6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13" name="Freeform 31">
                <a:extLst>
                  <a:ext uri="{FF2B5EF4-FFF2-40B4-BE49-F238E27FC236}">
                    <a16:creationId xmlns:a16="http://schemas.microsoft.com/office/drawing/2014/main" id="{B7D00248-35CE-4CFF-8A74-5D95D481A956}"/>
                  </a:ext>
                </a:extLst>
              </p:cNvPr>
              <p:cNvSpPr>
                <a:spLocks/>
              </p:cNvSpPr>
              <p:nvPr/>
            </p:nvSpPr>
            <p:spPr bwMode="auto">
              <a:xfrm>
                <a:off x="1490589" y="3790851"/>
                <a:ext cx="409575" cy="107950"/>
              </a:xfrm>
              <a:custGeom>
                <a:avLst/>
                <a:gdLst>
                  <a:gd name="T0" fmla="*/ 755 w 841"/>
                  <a:gd name="T1" fmla="*/ 110 h 218"/>
                  <a:gd name="T2" fmla="*/ 640 w 841"/>
                  <a:gd name="T3" fmla="*/ 47 h 218"/>
                  <a:gd name="T4" fmla="*/ 516 w 841"/>
                  <a:gd name="T5" fmla="*/ 12 h 218"/>
                  <a:gd name="T6" fmla="*/ 404 w 841"/>
                  <a:gd name="T7" fmla="*/ 70 h 218"/>
                  <a:gd name="T8" fmla="*/ 275 w 841"/>
                  <a:gd name="T9" fmla="*/ 43 h 218"/>
                  <a:gd name="T10" fmla="*/ 123 w 841"/>
                  <a:gd name="T11" fmla="*/ 110 h 218"/>
                  <a:gd name="T12" fmla="*/ 0 w 841"/>
                  <a:gd name="T13" fmla="*/ 218 h 218"/>
                  <a:gd name="T14" fmla="*/ 838 w 841"/>
                  <a:gd name="T15" fmla="*/ 218 h 218"/>
                  <a:gd name="T16" fmla="*/ 755 w 841"/>
                  <a:gd name="T17" fmla="*/ 11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1" h="218">
                    <a:moveTo>
                      <a:pt x="755" y="110"/>
                    </a:moveTo>
                    <a:cubicBezTo>
                      <a:pt x="694" y="101"/>
                      <a:pt x="678" y="80"/>
                      <a:pt x="640" y="47"/>
                    </a:cubicBezTo>
                    <a:cubicBezTo>
                      <a:pt x="609" y="20"/>
                      <a:pt x="563" y="0"/>
                      <a:pt x="516" y="12"/>
                    </a:cubicBezTo>
                    <a:cubicBezTo>
                      <a:pt x="475" y="22"/>
                      <a:pt x="442" y="53"/>
                      <a:pt x="404" y="70"/>
                    </a:cubicBezTo>
                    <a:cubicBezTo>
                      <a:pt x="365" y="87"/>
                      <a:pt x="317" y="43"/>
                      <a:pt x="275" y="43"/>
                    </a:cubicBezTo>
                    <a:cubicBezTo>
                      <a:pt x="199" y="43"/>
                      <a:pt x="190" y="110"/>
                      <a:pt x="123" y="110"/>
                    </a:cubicBezTo>
                    <a:cubicBezTo>
                      <a:pt x="30" y="110"/>
                      <a:pt x="0" y="218"/>
                      <a:pt x="0" y="218"/>
                    </a:cubicBezTo>
                    <a:cubicBezTo>
                      <a:pt x="838" y="218"/>
                      <a:pt x="838" y="218"/>
                      <a:pt x="838" y="218"/>
                    </a:cubicBezTo>
                    <a:cubicBezTo>
                      <a:pt x="838" y="218"/>
                      <a:pt x="841" y="122"/>
                      <a:pt x="755"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61" name="Group 60">
            <a:extLst>
              <a:ext uri="{FF2B5EF4-FFF2-40B4-BE49-F238E27FC236}">
                <a16:creationId xmlns:a16="http://schemas.microsoft.com/office/drawing/2014/main" id="{5E89B40C-AECE-4ED3-BADE-30CE6A8958E5}"/>
              </a:ext>
              <a:ext uri="{C183D7F6-B498-43B3-948B-1728B52AA6E4}">
                <adec:decorative xmlns:adec="http://schemas.microsoft.com/office/drawing/2017/decorative" val="1"/>
              </a:ext>
            </a:extLst>
          </p:cNvPr>
          <p:cNvGrpSpPr/>
          <p:nvPr/>
        </p:nvGrpSpPr>
        <p:grpSpPr>
          <a:xfrm>
            <a:off x="7956628" y="1451343"/>
            <a:ext cx="674150" cy="633600"/>
            <a:chOff x="7883573" y="1146029"/>
            <a:chExt cx="674150" cy="633600"/>
          </a:xfrm>
        </p:grpSpPr>
        <p:sp>
          <p:nvSpPr>
            <p:cNvPr id="315" name="Freeform 57">
              <a:extLst>
                <a:ext uri="{FF2B5EF4-FFF2-40B4-BE49-F238E27FC236}">
                  <a16:creationId xmlns:a16="http://schemas.microsoft.com/office/drawing/2014/main" id="{750C3B69-DC36-4F5B-A3EF-FD043D35F7FC}"/>
                </a:ext>
              </a:extLst>
            </p:cNvPr>
            <p:cNvSpPr>
              <a:spLocks/>
            </p:cNvSpPr>
            <p:nvPr/>
          </p:nvSpPr>
          <p:spPr bwMode="auto">
            <a:xfrm>
              <a:off x="7883573" y="1146029"/>
              <a:ext cx="674150" cy="63360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16" name="Group 13">
              <a:extLst>
                <a:ext uri="{FF2B5EF4-FFF2-40B4-BE49-F238E27FC236}">
                  <a16:creationId xmlns:a16="http://schemas.microsoft.com/office/drawing/2014/main" id="{43DD8B8B-1BAC-4778-AC99-9B5A185EDDF7}"/>
                </a:ext>
              </a:extLst>
            </p:cNvPr>
            <p:cNvGrpSpPr>
              <a:grpSpLocks noChangeAspect="1"/>
            </p:cNvGrpSpPr>
            <p:nvPr/>
          </p:nvGrpSpPr>
          <p:grpSpPr>
            <a:xfrm>
              <a:off x="8025908" y="1325882"/>
              <a:ext cx="432000" cy="286836"/>
              <a:chOff x="5467543" y="4873271"/>
              <a:chExt cx="678108" cy="450244"/>
            </a:xfrm>
            <a:solidFill>
              <a:schemeClr val="bg1"/>
            </a:solidFill>
          </p:grpSpPr>
          <p:sp>
            <p:nvSpPr>
              <p:cNvPr id="319" name="Freeform 55">
                <a:extLst>
                  <a:ext uri="{FF2B5EF4-FFF2-40B4-BE49-F238E27FC236}">
                    <a16:creationId xmlns:a16="http://schemas.microsoft.com/office/drawing/2014/main" id="{E92215F1-E893-4BF0-90AD-4A3FC5B0F616}"/>
                  </a:ext>
                </a:extLst>
              </p:cNvPr>
              <p:cNvSpPr>
                <a:spLocks noEditPoints="1"/>
              </p:cNvSpPr>
              <p:nvPr/>
            </p:nvSpPr>
            <p:spPr bwMode="auto">
              <a:xfrm>
                <a:off x="5467543" y="4873271"/>
                <a:ext cx="364798" cy="373561"/>
              </a:xfrm>
              <a:custGeom>
                <a:avLst/>
                <a:gdLst>
                  <a:gd name="T0" fmla="*/ 908 w 1084"/>
                  <a:gd name="T1" fmla="*/ 825 h 1108"/>
                  <a:gd name="T2" fmla="*/ 940 w 1084"/>
                  <a:gd name="T3" fmla="*/ 640 h 1108"/>
                  <a:gd name="T4" fmla="*/ 1084 w 1084"/>
                  <a:gd name="T5" fmla="*/ 539 h 1108"/>
                  <a:gd name="T6" fmla="*/ 915 w 1084"/>
                  <a:gd name="T7" fmla="*/ 43 h 1108"/>
                  <a:gd name="T8" fmla="*/ 854 w 1084"/>
                  <a:gd name="T9" fmla="*/ 0 h 1108"/>
                  <a:gd name="T10" fmla="*/ 490 w 1084"/>
                  <a:gd name="T11" fmla="*/ 0 h 1108"/>
                  <a:gd name="T12" fmla="*/ 427 w 1084"/>
                  <a:gd name="T13" fmla="*/ 51 h 1108"/>
                  <a:gd name="T14" fmla="*/ 366 w 1084"/>
                  <a:gd name="T15" fmla="*/ 350 h 1108"/>
                  <a:gd name="T16" fmla="*/ 248 w 1084"/>
                  <a:gd name="T17" fmla="*/ 350 h 1108"/>
                  <a:gd name="T18" fmla="*/ 0 w 1084"/>
                  <a:gd name="T19" fmla="*/ 581 h 1108"/>
                  <a:gd name="T20" fmla="*/ 0 w 1084"/>
                  <a:gd name="T21" fmla="*/ 872 h 1108"/>
                  <a:gd name="T22" fmla="*/ 73 w 1084"/>
                  <a:gd name="T23" fmla="*/ 1053 h 1108"/>
                  <a:gd name="T24" fmla="*/ 144 w 1084"/>
                  <a:gd name="T25" fmla="*/ 1091 h 1108"/>
                  <a:gd name="T26" fmla="*/ 142 w 1084"/>
                  <a:gd name="T27" fmla="*/ 1063 h 1108"/>
                  <a:gd name="T28" fmla="*/ 161 w 1084"/>
                  <a:gd name="T29" fmla="*/ 951 h 1108"/>
                  <a:gd name="T30" fmla="*/ 473 w 1084"/>
                  <a:gd name="T31" fmla="*/ 731 h 1108"/>
                  <a:gd name="T32" fmla="*/ 764 w 1084"/>
                  <a:gd name="T33" fmla="*/ 904 h 1108"/>
                  <a:gd name="T34" fmla="*/ 805 w 1084"/>
                  <a:gd name="T35" fmla="*/ 1063 h 1108"/>
                  <a:gd name="T36" fmla="*/ 804 w 1084"/>
                  <a:gd name="T37" fmla="*/ 1079 h 1108"/>
                  <a:gd name="T38" fmla="*/ 802 w 1084"/>
                  <a:gd name="T39" fmla="*/ 1108 h 1108"/>
                  <a:gd name="T40" fmla="*/ 991 w 1084"/>
                  <a:gd name="T41" fmla="*/ 1108 h 1108"/>
                  <a:gd name="T42" fmla="*/ 988 w 1084"/>
                  <a:gd name="T43" fmla="*/ 1063 h 1108"/>
                  <a:gd name="T44" fmla="*/ 1007 w 1084"/>
                  <a:gd name="T45" fmla="*/ 951 h 1108"/>
                  <a:gd name="T46" fmla="*/ 1044 w 1084"/>
                  <a:gd name="T47" fmla="*/ 879 h 1108"/>
                  <a:gd name="T48" fmla="*/ 1017 w 1084"/>
                  <a:gd name="T49" fmla="*/ 882 h 1108"/>
                  <a:gd name="T50" fmla="*/ 908 w 1084"/>
                  <a:gd name="T51" fmla="*/ 825 h 1108"/>
                  <a:gd name="T52" fmla="*/ 615 w 1084"/>
                  <a:gd name="T53" fmla="*/ 503 h 1108"/>
                  <a:gd name="T54" fmla="*/ 492 w 1084"/>
                  <a:gd name="T55" fmla="*/ 377 h 1108"/>
                  <a:gd name="T56" fmla="*/ 543 w 1084"/>
                  <a:gd name="T57" fmla="*/ 129 h 1108"/>
                  <a:gd name="T58" fmla="*/ 808 w 1084"/>
                  <a:gd name="T59" fmla="*/ 129 h 1108"/>
                  <a:gd name="T60" fmla="*/ 935 w 1084"/>
                  <a:gd name="T61" fmla="*/ 503 h 1108"/>
                  <a:gd name="T62" fmla="*/ 615 w 1084"/>
                  <a:gd name="T63" fmla="*/ 503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4" h="1108">
                    <a:moveTo>
                      <a:pt x="908" y="825"/>
                    </a:moveTo>
                    <a:cubicBezTo>
                      <a:pt x="866" y="765"/>
                      <a:pt x="880" y="683"/>
                      <a:pt x="940" y="640"/>
                    </a:cubicBezTo>
                    <a:cubicBezTo>
                      <a:pt x="1084" y="539"/>
                      <a:pt x="1084" y="539"/>
                      <a:pt x="1084" y="539"/>
                    </a:cubicBezTo>
                    <a:cubicBezTo>
                      <a:pt x="915" y="43"/>
                      <a:pt x="915" y="43"/>
                      <a:pt x="915" y="43"/>
                    </a:cubicBezTo>
                    <a:cubicBezTo>
                      <a:pt x="906" y="17"/>
                      <a:pt x="882" y="0"/>
                      <a:pt x="854" y="0"/>
                    </a:cubicBezTo>
                    <a:cubicBezTo>
                      <a:pt x="490" y="0"/>
                      <a:pt x="490" y="0"/>
                      <a:pt x="490" y="0"/>
                    </a:cubicBezTo>
                    <a:cubicBezTo>
                      <a:pt x="460" y="0"/>
                      <a:pt x="433" y="21"/>
                      <a:pt x="427" y="51"/>
                    </a:cubicBezTo>
                    <a:cubicBezTo>
                      <a:pt x="366" y="350"/>
                      <a:pt x="366" y="350"/>
                      <a:pt x="366" y="350"/>
                    </a:cubicBezTo>
                    <a:cubicBezTo>
                      <a:pt x="248" y="350"/>
                      <a:pt x="248" y="350"/>
                      <a:pt x="248" y="350"/>
                    </a:cubicBezTo>
                    <a:cubicBezTo>
                      <a:pt x="97" y="350"/>
                      <a:pt x="0" y="441"/>
                      <a:pt x="0" y="581"/>
                    </a:cubicBezTo>
                    <a:cubicBezTo>
                      <a:pt x="0" y="872"/>
                      <a:pt x="0" y="872"/>
                      <a:pt x="0" y="872"/>
                    </a:cubicBezTo>
                    <a:cubicBezTo>
                      <a:pt x="0" y="952"/>
                      <a:pt x="25" y="1012"/>
                      <a:pt x="73" y="1053"/>
                    </a:cubicBezTo>
                    <a:cubicBezTo>
                      <a:pt x="93" y="1069"/>
                      <a:pt x="116" y="1082"/>
                      <a:pt x="144" y="1091"/>
                    </a:cubicBezTo>
                    <a:cubicBezTo>
                      <a:pt x="143" y="1082"/>
                      <a:pt x="142" y="1072"/>
                      <a:pt x="142" y="1063"/>
                    </a:cubicBezTo>
                    <a:cubicBezTo>
                      <a:pt x="142" y="1024"/>
                      <a:pt x="149" y="987"/>
                      <a:pt x="161" y="951"/>
                    </a:cubicBezTo>
                    <a:cubicBezTo>
                      <a:pt x="209" y="820"/>
                      <a:pt x="334" y="731"/>
                      <a:pt x="473" y="731"/>
                    </a:cubicBezTo>
                    <a:cubicBezTo>
                      <a:pt x="595" y="731"/>
                      <a:pt x="706" y="798"/>
                      <a:pt x="764" y="904"/>
                    </a:cubicBezTo>
                    <a:cubicBezTo>
                      <a:pt x="791" y="953"/>
                      <a:pt x="805" y="1007"/>
                      <a:pt x="805" y="1063"/>
                    </a:cubicBezTo>
                    <a:cubicBezTo>
                      <a:pt x="805" y="1068"/>
                      <a:pt x="805" y="1073"/>
                      <a:pt x="804" y="1079"/>
                    </a:cubicBezTo>
                    <a:cubicBezTo>
                      <a:pt x="804" y="1088"/>
                      <a:pt x="803" y="1098"/>
                      <a:pt x="802" y="1108"/>
                    </a:cubicBezTo>
                    <a:cubicBezTo>
                      <a:pt x="991" y="1108"/>
                      <a:pt x="991" y="1108"/>
                      <a:pt x="991" y="1108"/>
                    </a:cubicBezTo>
                    <a:cubicBezTo>
                      <a:pt x="989" y="1093"/>
                      <a:pt x="988" y="1078"/>
                      <a:pt x="988" y="1063"/>
                    </a:cubicBezTo>
                    <a:cubicBezTo>
                      <a:pt x="988" y="1024"/>
                      <a:pt x="995" y="987"/>
                      <a:pt x="1007" y="951"/>
                    </a:cubicBezTo>
                    <a:cubicBezTo>
                      <a:pt x="1017" y="925"/>
                      <a:pt x="1029" y="901"/>
                      <a:pt x="1044" y="879"/>
                    </a:cubicBezTo>
                    <a:cubicBezTo>
                      <a:pt x="1035" y="881"/>
                      <a:pt x="1026" y="882"/>
                      <a:pt x="1017" y="882"/>
                    </a:cubicBezTo>
                    <a:cubicBezTo>
                      <a:pt x="975" y="882"/>
                      <a:pt x="934" y="862"/>
                      <a:pt x="908" y="825"/>
                    </a:cubicBezTo>
                    <a:close/>
                    <a:moveTo>
                      <a:pt x="615" y="503"/>
                    </a:moveTo>
                    <a:cubicBezTo>
                      <a:pt x="492" y="377"/>
                      <a:pt x="492" y="377"/>
                      <a:pt x="492" y="377"/>
                    </a:cubicBezTo>
                    <a:cubicBezTo>
                      <a:pt x="543" y="129"/>
                      <a:pt x="543" y="129"/>
                      <a:pt x="543" y="129"/>
                    </a:cubicBezTo>
                    <a:cubicBezTo>
                      <a:pt x="808" y="129"/>
                      <a:pt x="808" y="129"/>
                      <a:pt x="808" y="129"/>
                    </a:cubicBezTo>
                    <a:cubicBezTo>
                      <a:pt x="935" y="503"/>
                      <a:pt x="935" y="503"/>
                      <a:pt x="935" y="503"/>
                    </a:cubicBezTo>
                    <a:lnTo>
                      <a:pt x="615" y="503"/>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20" name="Freeform 56">
                <a:extLst>
                  <a:ext uri="{FF2B5EF4-FFF2-40B4-BE49-F238E27FC236}">
                    <a16:creationId xmlns:a16="http://schemas.microsoft.com/office/drawing/2014/main" id="{21114636-E05F-4291-857F-D645F6BC6872}"/>
                  </a:ext>
                </a:extLst>
              </p:cNvPr>
              <p:cNvSpPr>
                <a:spLocks/>
              </p:cNvSpPr>
              <p:nvPr/>
            </p:nvSpPr>
            <p:spPr bwMode="auto">
              <a:xfrm>
                <a:off x="5779758" y="5031021"/>
                <a:ext cx="162132" cy="120503"/>
              </a:xfrm>
              <a:custGeom>
                <a:avLst/>
                <a:gdLst>
                  <a:gd name="T0" fmla="*/ 25 w 481"/>
                  <a:gd name="T1" fmla="*/ 324 h 357"/>
                  <a:gd name="T2" fmla="*/ 89 w 481"/>
                  <a:gd name="T3" fmla="*/ 357 h 357"/>
                  <a:gd name="T4" fmla="*/ 134 w 481"/>
                  <a:gd name="T5" fmla="*/ 343 h 357"/>
                  <a:gd name="T6" fmla="*/ 391 w 481"/>
                  <a:gd name="T7" fmla="*/ 162 h 357"/>
                  <a:gd name="T8" fmla="*/ 481 w 481"/>
                  <a:gd name="T9" fmla="*/ 173 h 357"/>
                  <a:gd name="T10" fmla="*/ 479 w 481"/>
                  <a:gd name="T11" fmla="*/ 15 h 357"/>
                  <a:gd name="T12" fmla="*/ 380 w 481"/>
                  <a:gd name="T13" fmla="*/ 3 h 357"/>
                  <a:gd name="T14" fmla="*/ 326 w 481"/>
                  <a:gd name="T15" fmla="*/ 16 h 357"/>
                  <a:gd name="T16" fmla="*/ 44 w 481"/>
                  <a:gd name="T17" fmla="*/ 215 h 357"/>
                  <a:gd name="T18" fmla="*/ 25 w 481"/>
                  <a:gd name="T19" fmla="*/ 324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1" h="357">
                    <a:moveTo>
                      <a:pt x="25" y="324"/>
                    </a:moveTo>
                    <a:cubicBezTo>
                      <a:pt x="40" y="346"/>
                      <a:pt x="64" y="357"/>
                      <a:pt x="89" y="357"/>
                    </a:cubicBezTo>
                    <a:cubicBezTo>
                      <a:pt x="105" y="357"/>
                      <a:pt x="120" y="353"/>
                      <a:pt x="134" y="343"/>
                    </a:cubicBezTo>
                    <a:cubicBezTo>
                      <a:pt x="391" y="162"/>
                      <a:pt x="391" y="162"/>
                      <a:pt x="391" y="162"/>
                    </a:cubicBezTo>
                    <a:cubicBezTo>
                      <a:pt x="481" y="173"/>
                      <a:pt x="481" y="173"/>
                      <a:pt x="481" y="173"/>
                    </a:cubicBezTo>
                    <a:cubicBezTo>
                      <a:pt x="467" y="123"/>
                      <a:pt x="467" y="70"/>
                      <a:pt x="479" y="15"/>
                    </a:cubicBezTo>
                    <a:cubicBezTo>
                      <a:pt x="380" y="3"/>
                      <a:pt x="380" y="3"/>
                      <a:pt x="380" y="3"/>
                    </a:cubicBezTo>
                    <a:cubicBezTo>
                      <a:pt x="361" y="0"/>
                      <a:pt x="341" y="5"/>
                      <a:pt x="326" y="16"/>
                    </a:cubicBezTo>
                    <a:cubicBezTo>
                      <a:pt x="44" y="215"/>
                      <a:pt x="44" y="215"/>
                      <a:pt x="44" y="215"/>
                    </a:cubicBezTo>
                    <a:cubicBezTo>
                      <a:pt x="8" y="240"/>
                      <a:pt x="0" y="289"/>
                      <a:pt x="25" y="3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21" name="Freeform 57">
                <a:extLst>
                  <a:ext uri="{FF2B5EF4-FFF2-40B4-BE49-F238E27FC236}">
                    <a16:creationId xmlns:a16="http://schemas.microsoft.com/office/drawing/2014/main" id="{DA9F2A75-0443-4D6A-940F-5E9F11895335}"/>
                  </a:ext>
                </a:extLst>
              </p:cNvPr>
              <p:cNvSpPr>
                <a:spLocks/>
              </p:cNvSpPr>
              <p:nvPr/>
            </p:nvSpPr>
            <p:spPr bwMode="auto">
              <a:xfrm>
                <a:off x="5935317" y="4965292"/>
                <a:ext cx="210334" cy="177469"/>
              </a:xfrm>
              <a:custGeom>
                <a:avLst/>
                <a:gdLst>
                  <a:gd name="T0" fmla="*/ 585 w 625"/>
                  <a:gd name="T1" fmla="*/ 385 h 526"/>
                  <a:gd name="T2" fmla="*/ 482 w 625"/>
                  <a:gd name="T3" fmla="*/ 360 h 526"/>
                  <a:gd name="T4" fmla="*/ 274 w 625"/>
                  <a:gd name="T5" fmla="*/ 26 h 526"/>
                  <a:gd name="T6" fmla="*/ 234 w 625"/>
                  <a:gd name="T7" fmla="*/ 2 h 526"/>
                  <a:gd name="T8" fmla="*/ 190 w 625"/>
                  <a:gd name="T9" fmla="*/ 19 h 526"/>
                  <a:gd name="T10" fmla="*/ 108 w 625"/>
                  <a:gd name="T11" fmla="*/ 412 h 526"/>
                  <a:gd name="T12" fmla="*/ 343 w 625"/>
                  <a:gd name="T13" fmla="*/ 526 h 526"/>
                  <a:gd name="T14" fmla="*/ 585 w 625"/>
                  <a:gd name="T15" fmla="*/ 488 h 526"/>
                  <a:gd name="T16" fmla="*/ 625 w 625"/>
                  <a:gd name="T17" fmla="*/ 436 h 526"/>
                  <a:gd name="T18" fmla="*/ 585 w 625"/>
                  <a:gd name="T19" fmla="*/ 38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5" h="526">
                    <a:moveTo>
                      <a:pt x="585" y="385"/>
                    </a:moveTo>
                    <a:cubicBezTo>
                      <a:pt x="482" y="360"/>
                      <a:pt x="482" y="360"/>
                      <a:pt x="482" y="360"/>
                    </a:cubicBezTo>
                    <a:cubicBezTo>
                      <a:pt x="274" y="26"/>
                      <a:pt x="274" y="26"/>
                      <a:pt x="274" y="26"/>
                    </a:cubicBezTo>
                    <a:cubicBezTo>
                      <a:pt x="265" y="12"/>
                      <a:pt x="250" y="3"/>
                      <a:pt x="234" y="2"/>
                    </a:cubicBezTo>
                    <a:cubicBezTo>
                      <a:pt x="217" y="0"/>
                      <a:pt x="201" y="6"/>
                      <a:pt x="190" y="19"/>
                    </a:cubicBezTo>
                    <a:cubicBezTo>
                      <a:pt x="182" y="27"/>
                      <a:pt x="0" y="230"/>
                      <a:pt x="108" y="412"/>
                    </a:cubicBezTo>
                    <a:cubicBezTo>
                      <a:pt x="153" y="487"/>
                      <a:pt x="232" y="526"/>
                      <a:pt x="343" y="526"/>
                    </a:cubicBezTo>
                    <a:cubicBezTo>
                      <a:pt x="422" y="526"/>
                      <a:pt x="506" y="507"/>
                      <a:pt x="585" y="488"/>
                    </a:cubicBezTo>
                    <a:cubicBezTo>
                      <a:pt x="608" y="482"/>
                      <a:pt x="625" y="461"/>
                      <a:pt x="625" y="436"/>
                    </a:cubicBezTo>
                    <a:cubicBezTo>
                      <a:pt x="625" y="412"/>
                      <a:pt x="608" y="391"/>
                      <a:pt x="585" y="38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22" name="Freeform 58">
                <a:extLst>
                  <a:ext uri="{FF2B5EF4-FFF2-40B4-BE49-F238E27FC236}">
                    <a16:creationId xmlns:a16="http://schemas.microsoft.com/office/drawing/2014/main" id="{883E8D83-1E13-4F60-8381-DCC143F76E83}"/>
                  </a:ext>
                </a:extLst>
              </p:cNvPr>
              <p:cNvSpPr>
                <a:spLocks noEditPoints="1"/>
              </p:cNvSpPr>
              <p:nvPr/>
            </p:nvSpPr>
            <p:spPr bwMode="auto">
              <a:xfrm>
                <a:off x="5535463" y="5139474"/>
                <a:ext cx="182947" cy="184041"/>
              </a:xfrm>
              <a:custGeom>
                <a:avLst/>
                <a:gdLst>
                  <a:gd name="T0" fmla="*/ 272 w 545"/>
                  <a:gd name="T1" fmla="*/ 0 h 545"/>
                  <a:gd name="T2" fmla="*/ 16 w 545"/>
                  <a:gd name="T3" fmla="*/ 181 h 545"/>
                  <a:gd name="T4" fmla="*/ 0 w 545"/>
                  <a:gd name="T5" fmla="*/ 273 h 545"/>
                  <a:gd name="T6" fmla="*/ 272 w 545"/>
                  <a:gd name="T7" fmla="*/ 545 h 545"/>
                  <a:gd name="T8" fmla="*/ 542 w 545"/>
                  <a:gd name="T9" fmla="*/ 312 h 545"/>
                  <a:gd name="T10" fmla="*/ 545 w 545"/>
                  <a:gd name="T11" fmla="*/ 286 h 545"/>
                  <a:gd name="T12" fmla="*/ 545 w 545"/>
                  <a:gd name="T13" fmla="*/ 273 h 545"/>
                  <a:gd name="T14" fmla="*/ 512 w 545"/>
                  <a:gd name="T15" fmla="*/ 143 h 545"/>
                  <a:gd name="T16" fmla="*/ 272 w 545"/>
                  <a:gd name="T17" fmla="*/ 0 h 545"/>
                  <a:gd name="T18" fmla="*/ 376 w 545"/>
                  <a:gd name="T19" fmla="*/ 286 h 545"/>
                  <a:gd name="T20" fmla="*/ 272 w 545"/>
                  <a:gd name="T21" fmla="*/ 377 h 545"/>
                  <a:gd name="T22" fmla="*/ 168 w 545"/>
                  <a:gd name="T23" fmla="*/ 286 h 545"/>
                  <a:gd name="T24" fmla="*/ 167 w 545"/>
                  <a:gd name="T25" fmla="*/ 273 h 545"/>
                  <a:gd name="T26" fmla="*/ 272 w 545"/>
                  <a:gd name="T27" fmla="*/ 168 h 545"/>
                  <a:gd name="T28" fmla="*/ 377 w 545"/>
                  <a:gd name="T29" fmla="*/ 273 h 545"/>
                  <a:gd name="T30" fmla="*/ 376 w 545"/>
                  <a:gd name="T31" fmla="*/ 286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5" h="545">
                    <a:moveTo>
                      <a:pt x="272" y="0"/>
                    </a:moveTo>
                    <a:cubicBezTo>
                      <a:pt x="154" y="0"/>
                      <a:pt x="54" y="76"/>
                      <a:pt x="16" y="181"/>
                    </a:cubicBezTo>
                    <a:cubicBezTo>
                      <a:pt x="6" y="210"/>
                      <a:pt x="0" y="240"/>
                      <a:pt x="0" y="273"/>
                    </a:cubicBezTo>
                    <a:cubicBezTo>
                      <a:pt x="0" y="423"/>
                      <a:pt x="122" y="545"/>
                      <a:pt x="272" y="545"/>
                    </a:cubicBezTo>
                    <a:cubicBezTo>
                      <a:pt x="409" y="545"/>
                      <a:pt x="523" y="444"/>
                      <a:pt x="542" y="312"/>
                    </a:cubicBezTo>
                    <a:cubicBezTo>
                      <a:pt x="543" y="303"/>
                      <a:pt x="544" y="295"/>
                      <a:pt x="545" y="286"/>
                    </a:cubicBezTo>
                    <a:cubicBezTo>
                      <a:pt x="545" y="282"/>
                      <a:pt x="545" y="277"/>
                      <a:pt x="545" y="273"/>
                    </a:cubicBezTo>
                    <a:cubicBezTo>
                      <a:pt x="545" y="225"/>
                      <a:pt x="533" y="181"/>
                      <a:pt x="512" y="143"/>
                    </a:cubicBezTo>
                    <a:cubicBezTo>
                      <a:pt x="466" y="58"/>
                      <a:pt x="376" y="0"/>
                      <a:pt x="272" y="0"/>
                    </a:cubicBezTo>
                    <a:close/>
                    <a:moveTo>
                      <a:pt x="376" y="286"/>
                    </a:moveTo>
                    <a:cubicBezTo>
                      <a:pt x="370" y="338"/>
                      <a:pt x="326" y="377"/>
                      <a:pt x="272" y="377"/>
                    </a:cubicBezTo>
                    <a:cubicBezTo>
                      <a:pt x="219" y="377"/>
                      <a:pt x="175" y="337"/>
                      <a:pt x="168" y="286"/>
                    </a:cubicBezTo>
                    <a:cubicBezTo>
                      <a:pt x="168" y="281"/>
                      <a:pt x="167" y="277"/>
                      <a:pt x="167" y="273"/>
                    </a:cubicBezTo>
                    <a:cubicBezTo>
                      <a:pt x="167" y="215"/>
                      <a:pt x="215" y="168"/>
                      <a:pt x="272" y="168"/>
                    </a:cubicBezTo>
                    <a:cubicBezTo>
                      <a:pt x="330" y="168"/>
                      <a:pt x="377" y="215"/>
                      <a:pt x="377" y="273"/>
                    </a:cubicBezTo>
                    <a:cubicBezTo>
                      <a:pt x="377" y="277"/>
                      <a:pt x="377" y="282"/>
                      <a:pt x="376"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24" name="Freeform 59">
                <a:extLst>
                  <a:ext uri="{FF2B5EF4-FFF2-40B4-BE49-F238E27FC236}">
                    <a16:creationId xmlns:a16="http://schemas.microsoft.com/office/drawing/2014/main" id="{FA53048C-CF03-4AE0-AFC5-8B1D737C11A8}"/>
                  </a:ext>
                </a:extLst>
              </p:cNvPr>
              <p:cNvSpPr>
                <a:spLocks noEditPoints="1"/>
              </p:cNvSpPr>
              <p:nvPr/>
            </p:nvSpPr>
            <p:spPr bwMode="auto">
              <a:xfrm>
                <a:off x="5820290" y="5139474"/>
                <a:ext cx="184042" cy="184041"/>
              </a:xfrm>
              <a:custGeom>
                <a:avLst/>
                <a:gdLst>
                  <a:gd name="T0" fmla="*/ 272 w 545"/>
                  <a:gd name="T1" fmla="*/ 0 h 545"/>
                  <a:gd name="T2" fmla="*/ 16 w 545"/>
                  <a:gd name="T3" fmla="*/ 181 h 545"/>
                  <a:gd name="T4" fmla="*/ 0 w 545"/>
                  <a:gd name="T5" fmla="*/ 273 h 545"/>
                  <a:gd name="T6" fmla="*/ 272 w 545"/>
                  <a:gd name="T7" fmla="*/ 545 h 545"/>
                  <a:gd name="T8" fmla="*/ 542 w 545"/>
                  <a:gd name="T9" fmla="*/ 312 h 545"/>
                  <a:gd name="T10" fmla="*/ 544 w 545"/>
                  <a:gd name="T11" fmla="*/ 286 h 545"/>
                  <a:gd name="T12" fmla="*/ 545 w 545"/>
                  <a:gd name="T13" fmla="*/ 273 h 545"/>
                  <a:gd name="T14" fmla="*/ 512 w 545"/>
                  <a:gd name="T15" fmla="*/ 143 h 545"/>
                  <a:gd name="T16" fmla="*/ 272 w 545"/>
                  <a:gd name="T17" fmla="*/ 0 h 545"/>
                  <a:gd name="T18" fmla="*/ 376 w 545"/>
                  <a:gd name="T19" fmla="*/ 286 h 545"/>
                  <a:gd name="T20" fmla="*/ 272 w 545"/>
                  <a:gd name="T21" fmla="*/ 377 h 545"/>
                  <a:gd name="T22" fmla="*/ 168 w 545"/>
                  <a:gd name="T23" fmla="*/ 286 h 545"/>
                  <a:gd name="T24" fmla="*/ 167 w 545"/>
                  <a:gd name="T25" fmla="*/ 273 h 545"/>
                  <a:gd name="T26" fmla="*/ 272 w 545"/>
                  <a:gd name="T27" fmla="*/ 168 h 545"/>
                  <a:gd name="T28" fmla="*/ 377 w 545"/>
                  <a:gd name="T29" fmla="*/ 273 h 545"/>
                  <a:gd name="T30" fmla="*/ 376 w 545"/>
                  <a:gd name="T31" fmla="*/ 286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5" h="545">
                    <a:moveTo>
                      <a:pt x="272" y="0"/>
                    </a:moveTo>
                    <a:cubicBezTo>
                      <a:pt x="154" y="0"/>
                      <a:pt x="54" y="76"/>
                      <a:pt x="16" y="181"/>
                    </a:cubicBezTo>
                    <a:cubicBezTo>
                      <a:pt x="6" y="210"/>
                      <a:pt x="0" y="240"/>
                      <a:pt x="0" y="273"/>
                    </a:cubicBezTo>
                    <a:cubicBezTo>
                      <a:pt x="0" y="423"/>
                      <a:pt x="122" y="545"/>
                      <a:pt x="272" y="545"/>
                    </a:cubicBezTo>
                    <a:cubicBezTo>
                      <a:pt x="409" y="545"/>
                      <a:pt x="523" y="444"/>
                      <a:pt x="542" y="312"/>
                    </a:cubicBezTo>
                    <a:cubicBezTo>
                      <a:pt x="543" y="303"/>
                      <a:pt x="544" y="295"/>
                      <a:pt x="544" y="286"/>
                    </a:cubicBezTo>
                    <a:cubicBezTo>
                      <a:pt x="545" y="282"/>
                      <a:pt x="545" y="277"/>
                      <a:pt x="545" y="273"/>
                    </a:cubicBezTo>
                    <a:cubicBezTo>
                      <a:pt x="545" y="225"/>
                      <a:pt x="533" y="181"/>
                      <a:pt x="512" y="143"/>
                    </a:cubicBezTo>
                    <a:cubicBezTo>
                      <a:pt x="466" y="58"/>
                      <a:pt x="376" y="0"/>
                      <a:pt x="272" y="0"/>
                    </a:cubicBezTo>
                    <a:close/>
                    <a:moveTo>
                      <a:pt x="376" y="286"/>
                    </a:moveTo>
                    <a:cubicBezTo>
                      <a:pt x="370" y="338"/>
                      <a:pt x="326" y="377"/>
                      <a:pt x="272" y="377"/>
                    </a:cubicBezTo>
                    <a:cubicBezTo>
                      <a:pt x="219" y="377"/>
                      <a:pt x="175" y="337"/>
                      <a:pt x="168" y="286"/>
                    </a:cubicBezTo>
                    <a:cubicBezTo>
                      <a:pt x="168" y="281"/>
                      <a:pt x="167" y="277"/>
                      <a:pt x="167" y="273"/>
                    </a:cubicBezTo>
                    <a:cubicBezTo>
                      <a:pt x="167" y="215"/>
                      <a:pt x="215" y="168"/>
                      <a:pt x="272" y="168"/>
                    </a:cubicBezTo>
                    <a:cubicBezTo>
                      <a:pt x="330" y="168"/>
                      <a:pt x="377" y="215"/>
                      <a:pt x="377" y="273"/>
                    </a:cubicBezTo>
                    <a:cubicBezTo>
                      <a:pt x="377" y="277"/>
                      <a:pt x="377" y="282"/>
                      <a:pt x="376"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62" name="Group 61">
            <a:extLst>
              <a:ext uri="{FF2B5EF4-FFF2-40B4-BE49-F238E27FC236}">
                <a16:creationId xmlns:a16="http://schemas.microsoft.com/office/drawing/2014/main" id="{FD80DAF2-A390-4227-AD97-A8AE76462E14}"/>
              </a:ext>
              <a:ext uri="{C183D7F6-B498-43B3-948B-1728B52AA6E4}">
                <adec:decorative xmlns:adec="http://schemas.microsoft.com/office/drawing/2017/decorative" val="1"/>
              </a:ext>
            </a:extLst>
          </p:cNvPr>
          <p:cNvGrpSpPr/>
          <p:nvPr/>
        </p:nvGrpSpPr>
        <p:grpSpPr>
          <a:xfrm>
            <a:off x="8807034" y="1451343"/>
            <a:ext cx="678087" cy="633600"/>
            <a:chOff x="8874650" y="1146029"/>
            <a:chExt cx="678087" cy="633600"/>
          </a:xfrm>
        </p:grpSpPr>
        <p:sp>
          <p:nvSpPr>
            <p:cNvPr id="326" name="Freeform 164">
              <a:extLst>
                <a:ext uri="{FF2B5EF4-FFF2-40B4-BE49-F238E27FC236}">
                  <a16:creationId xmlns:a16="http://schemas.microsoft.com/office/drawing/2014/main" id="{28AD7E0E-7956-41E8-8DCA-819DE217CC5A}"/>
                </a:ext>
              </a:extLst>
            </p:cNvPr>
            <p:cNvSpPr>
              <a:spLocks/>
            </p:cNvSpPr>
            <p:nvPr/>
          </p:nvSpPr>
          <p:spPr bwMode="auto">
            <a:xfrm>
              <a:off x="8874650" y="1146029"/>
              <a:ext cx="678087" cy="633600"/>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27" name="Group 1">
              <a:extLst>
                <a:ext uri="{FF2B5EF4-FFF2-40B4-BE49-F238E27FC236}">
                  <a16:creationId xmlns:a16="http://schemas.microsoft.com/office/drawing/2014/main" id="{DC297493-A0BB-4398-B512-652FB9A1857E}"/>
                </a:ext>
              </a:extLst>
            </p:cNvPr>
            <p:cNvGrpSpPr>
              <a:grpSpLocks noChangeAspect="1"/>
            </p:cNvGrpSpPr>
            <p:nvPr/>
          </p:nvGrpSpPr>
          <p:grpSpPr>
            <a:xfrm>
              <a:off x="9000049" y="1338035"/>
              <a:ext cx="396000" cy="284132"/>
              <a:chOff x="6991593" y="4420843"/>
              <a:chExt cx="915988" cy="657226"/>
            </a:xfrm>
          </p:grpSpPr>
          <p:sp>
            <p:nvSpPr>
              <p:cNvPr id="328" name="Freeform 67">
                <a:extLst>
                  <a:ext uri="{FF2B5EF4-FFF2-40B4-BE49-F238E27FC236}">
                    <a16:creationId xmlns:a16="http://schemas.microsoft.com/office/drawing/2014/main" id="{F2965014-FE8E-48FC-B1AE-955A0AAEACA6}"/>
                  </a:ext>
                </a:extLst>
              </p:cNvPr>
              <p:cNvSpPr>
                <a:spLocks noEditPoints="1"/>
              </p:cNvSpPr>
              <p:nvPr/>
            </p:nvSpPr>
            <p:spPr bwMode="auto">
              <a:xfrm>
                <a:off x="7085256" y="4816131"/>
                <a:ext cx="261938" cy="261938"/>
              </a:xfrm>
              <a:custGeom>
                <a:avLst/>
                <a:gdLst>
                  <a:gd name="T0" fmla="*/ 268 w 536"/>
                  <a:gd name="T1" fmla="*/ 0 h 536"/>
                  <a:gd name="T2" fmla="*/ 16 w 536"/>
                  <a:gd name="T3" fmla="*/ 178 h 536"/>
                  <a:gd name="T4" fmla="*/ 0 w 536"/>
                  <a:gd name="T5" fmla="*/ 268 h 536"/>
                  <a:gd name="T6" fmla="*/ 268 w 536"/>
                  <a:gd name="T7" fmla="*/ 536 h 536"/>
                  <a:gd name="T8" fmla="*/ 533 w 536"/>
                  <a:gd name="T9" fmla="*/ 307 h 536"/>
                  <a:gd name="T10" fmla="*/ 536 w 536"/>
                  <a:gd name="T11" fmla="*/ 282 h 536"/>
                  <a:gd name="T12" fmla="*/ 536 w 536"/>
                  <a:gd name="T13" fmla="*/ 268 h 536"/>
                  <a:gd name="T14" fmla="*/ 504 w 536"/>
                  <a:gd name="T15" fmla="*/ 140 h 536"/>
                  <a:gd name="T16" fmla="*/ 268 w 536"/>
                  <a:gd name="T17" fmla="*/ 0 h 536"/>
                  <a:gd name="T18" fmla="*/ 371 w 536"/>
                  <a:gd name="T19" fmla="*/ 282 h 536"/>
                  <a:gd name="T20" fmla="*/ 268 w 536"/>
                  <a:gd name="T21" fmla="*/ 372 h 536"/>
                  <a:gd name="T22" fmla="*/ 166 w 536"/>
                  <a:gd name="T23" fmla="*/ 281 h 536"/>
                  <a:gd name="T24" fmla="*/ 165 w 536"/>
                  <a:gd name="T25" fmla="*/ 268 h 536"/>
                  <a:gd name="T26" fmla="*/ 268 w 536"/>
                  <a:gd name="T27" fmla="*/ 165 h 536"/>
                  <a:gd name="T28" fmla="*/ 372 w 536"/>
                  <a:gd name="T29" fmla="*/ 268 h 536"/>
                  <a:gd name="T30" fmla="*/ 371 w 536"/>
                  <a:gd name="T31" fmla="*/ 28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6" h="536">
                    <a:moveTo>
                      <a:pt x="268" y="0"/>
                    </a:moveTo>
                    <a:cubicBezTo>
                      <a:pt x="152" y="0"/>
                      <a:pt x="53" y="75"/>
                      <a:pt x="16" y="178"/>
                    </a:cubicBezTo>
                    <a:cubicBezTo>
                      <a:pt x="6" y="206"/>
                      <a:pt x="0" y="237"/>
                      <a:pt x="0" y="268"/>
                    </a:cubicBezTo>
                    <a:cubicBezTo>
                      <a:pt x="0" y="416"/>
                      <a:pt x="121" y="536"/>
                      <a:pt x="268" y="536"/>
                    </a:cubicBezTo>
                    <a:cubicBezTo>
                      <a:pt x="403" y="536"/>
                      <a:pt x="515" y="437"/>
                      <a:pt x="533" y="307"/>
                    </a:cubicBezTo>
                    <a:cubicBezTo>
                      <a:pt x="535" y="299"/>
                      <a:pt x="536" y="290"/>
                      <a:pt x="536" y="282"/>
                    </a:cubicBezTo>
                    <a:cubicBezTo>
                      <a:pt x="536" y="277"/>
                      <a:pt x="536" y="273"/>
                      <a:pt x="536" y="268"/>
                    </a:cubicBezTo>
                    <a:cubicBezTo>
                      <a:pt x="536" y="222"/>
                      <a:pt x="525" y="178"/>
                      <a:pt x="504" y="140"/>
                    </a:cubicBezTo>
                    <a:cubicBezTo>
                      <a:pt x="458" y="57"/>
                      <a:pt x="370" y="0"/>
                      <a:pt x="268" y="0"/>
                    </a:cubicBezTo>
                    <a:close/>
                    <a:moveTo>
                      <a:pt x="371" y="282"/>
                    </a:moveTo>
                    <a:cubicBezTo>
                      <a:pt x="364" y="332"/>
                      <a:pt x="321" y="372"/>
                      <a:pt x="268" y="372"/>
                    </a:cubicBezTo>
                    <a:cubicBezTo>
                      <a:pt x="216" y="372"/>
                      <a:pt x="172" y="332"/>
                      <a:pt x="166" y="281"/>
                    </a:cubicBezTo>
                    <a:cubicBezTo>
                      <a:pt x="165" y="277"/>
                      <a:pt x="165" y="273"/>
                      <a:pt x="165" y="268"/>
                    </a:cubicBezTo>
                    <a:cubicBezTo>
                      <a:pt x="165" y="211"/>
                      <a:pt x="211" y="165"/>
                      <a:pt x="268" y="165"/>
                    </a:cubicBezTo>
                    <a:cubicBezTo>
                      <a:pt x="325" y="165"/>
                      <a:pt x="372" y="211"/>
                      <a:pt x="372" y="268"/>
                    </a:cubicBezTo>
                    <a:cubicBezTo>
                      <a:pt x="372" y="273"/>
                      <a:pt x="371" y="277"/>
                      <a:pt x="371" y="2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29" name="Freeform 68">
                <a:extLst>
                  <a:ext uri="{FF2B5EF4-FFF2-40B4-BE49-F238E27FC236}">
                    <a16:creationId xmlns:a16="http://schemas.microsoft.com/office/drawing/2014/main" id="{798E514E-92EF-4A22-B755-8A5E56FFB573}"/>
                  </a:ext>
                </a:extLst>
              </p:cNvPr>
              <p:cNvSpPr>
                <a:spLocks noEditPoints="1"/>
              </p:cNvSpPr>
              <p:nvPr/>
            </p:nvSpPr>
            <p:spPr bwMode="auto">
              <a:xfrm>
                <a:off x="6991593" y="4420843"/>
                <a:ext cx="915988" cy="490538"/>
              </a:xfrm>
              <a:custGeom>
                <a:avLst/>
                <a:gdLst>
                  <a:gd name="T0" fmla="*/ 1870 w 1876"/>
                  <a:gd name="T1" fmla="*/ 594 h 1003"/>
                  <a:gd name="T2" fmla="*/ 1721 w 1876"/>
                  <a:gd name="T3" fmla="*/ 264 h 1003"/>
                  <a:gd name="T4" fmla="*/ 1661 w 1876"/>
                  <a:gd name="T5" fmla="*/ 225 h 1003"/>
                  <a:gd name="T6" fmla="*/ 1382 w 1876"/>
                  <a:gd name="T7" fmla="*/ 225 h 1003"/>
                  <a:gd name="T8" fmla="*/ 1321 w 1876"/>
                  <a:gd name="T9" fmla="*/ 265 h 1003"/>
                  <a:gd name="T10" fmla="*/ 1086 w 1876"/>
                  <a:gd name="T11" fmla="*/ 814 h 1003"/>
                  <a:gd name="T12" fmla="*/ 1004 w 1876"/>
                  <a:gd name="T13" fmla="*/ 814 h 1003"/>
                  <a:gd name="T14" fmla="*/ 1285 w 1876"/>
                  <a:gd name="T15" fmla="*/ 152 h 1003"/>
                  <a:gd name="T16" fmla="*/ 1750 w 1876"/>
                  <a:gd name="T17" fmla="*/ 152 h 1003"/>
                  <a:gd name="T18" fmla="*/ 1826 w 1876"/>
                  <a:gd name="T19" fmla="*/ 76 h 1003"/>
                  <a:gd name="T20" fmla="*/ 1750 w 1876"/>
                  <a:gd name="T21" fmla="*/ 0 h 1003"/>
                  <a:gd name="T22" fmla="*/ 1235 w 1876"/>
                  <a:gd name="T23" fmla="*/ 0 h 1003"/>
                  <a:gd name="T24" fmla="*/ 1165 w 1876"/>
                  <a:gd name="T25" fmla="*/ 46 h 1003"/>
                  <a:gd name="T26" fmla="*/ 1098 w 1876"/>
                  <a:gd name="T27" fmla="*/ 205 h 1003"/>
                  <a:gd name="T28" fmla="*/ 76 w 1876"/>
                  <a:gd name="T29" fmla="*/ 205 h 1003"/>
                  <a:gd name="T30" fmla="*/ 0 w 1876"/>
                  <a:gd name="T31" fmla="*/ 281 h 1003"/>
                  <a:gd name="T32" fmla="*/ 76 w 1876"/>
                  <a:gd name="T33" fmla="*/ 357 h 1003"/>
                  <a:gd name="T34" fmla="*/ 89 w 1876"/>
                  <a:gd name="T35" fmla="*/ 357 h 1003"/>
                  <a:gd name="T36" fmla="*/ 89 w 1876"/>
                  <a:gd name="T37" fmla="*/ 527 h 1003"/>
                  <a:gd name="T38" fmla="*/ 139 w 1876"/>
                  <a:gd name="T39" fmla="*/ 599 h 1003"/>
                  <a:gd name="T40" fmla="*/ 712 w 1876"/>
                  <a:gd name="T41" fmla="*/ 809 h 1003"/>
                  <a:gd name="T42" fmla="*/ 797 w 1876"/>
                  <a:gd name="T43" fmla="*/ 968 h 1003"/>
                  <a:gd name="T44" fmla="*/ 855 w 1876"/>
                  <a:gd name="T45" fmla="*/ 1003 h 1003"/>
                  <a:gd name="T46" fmla="*/ 1126 w 1876"/>
                  <a:gd name="T47" fmla="*/ 1003 h 1003"/>
                  <a:gd name="T48" fmla="*/ 1136 w 1876"/>
                  <a:gd name="T49" fmla="*/ 966 h 1003"/>
                  <a:gd name="T50" fmla="*/ 1445 w 1876"/>
                  <a:gd name="T51" fmla="*/ 748 h 1003"/>
                  <a:gd name="T52" fmla="*/ 1733 w 1876"/>
                  <a:gd name="T53" fmla="*/ 920 h 1003"/>
                  <a:gd name="T54" fmla="*/ 1756 w 1876"/>
                  <a:gd name="T55" fmla="*/ 971 h 1003"/>
                  <a:gd name="T56" fmla="*/ 1810 w 1876"/>
                  <a:gd name="T57" fmla="*/ 971 h 1003"/>
                  <a:gd name="T58" fmla="*/ 1876 w 1876"/>
                  <a:gd name="T59" fmla="*/ 905 h 1003"/>
                  <a:gd name="T60" fmla="*/ 1876 w 1876"/>
                  <a:gd name="T61" fmla="*/ 621 h 1003"/>
                  <a:gd name="T62" fmla="*/ 1870 w 1876"/>
                  <a:gd name="T63" fmla="*/ 594 h 1003"/>
                  <a:gd name="T64" fmla="*/ 379 w 1876"/>
                  <a:gd name="T65" fmla="*/ 499 h 1003"/>
                  <a:gd name="T66" fmla="*/ 342 w 1876"/>
                  <a:gd name="T67" fmla="*/ 523 h 1003"/>
                  <a:gd name="T68" fmla="*/ 326 w 1876"/>
                  <a:gd name="T69" fmla="*/ 520 h 1003"/>
                  <a:gd name="T70" fmla="*/ 305 w 1876"/>
                  <a:gd name="T71" fmla="*/ 467 h 1003"/>
                  <a:gd name="T72" fmla="*/ 352 w 1876"/>
                  <a:gd name="T73" fmla="*/ 357 h 1003"/>
                  <a:gd name="T74" fmla="*/ 439 w 1876"/>
                  <a:gd name="T75" fmla="*/ 357 h 1003"/>
                  <a:gd name="T76" fmla="*/ 379 w 1876"/>
                  <a:gd name="T77" fmla="*/ 499 h 1003"/>
                  <a:gd name="T78" fmla="*/ 600 w 1876"/>
                  <a:gd name="T79" fmla="*/ 580 h 1003"/>
                  <a:gd name="T80" fmla="*/ 563 w 1876"/>
                  <a:gd name="T81" fmla="*/ 604 h 1003"/>
                  <a:gd name="T82" fmla="*/ 547 w 1876"/>
                  <a:gd name="T83" fmla="*/ 601 h 1003"/>
                  <a:gd name="T84" fmla="*/ 526 w 1876"/>
                  <a:gd name="T85" fmla="*/ 548 h 1003"/>
                  <a:gd name="T86" fmla="*/ 607 w 1876"/>
                  <a:gd name="T87" fmla="*/ 357 h 1003"/>
                  <a:gd name="T88" fmla="*/ 694 w 1876"/>
                  <a:gd name="T89" fmla="*/ 357 h 1003"/>
                  <a:gd name="T90" fmla="*/ 600 w 1876"/>
                  <a:gd name="T91" fmla="*/ 580 h 1003"/>
                  <a:gd name="T92" fmla="*/ 821 w 1876"/>
                  <a:gd name="T93" fmla="*/ 660 h 1003"/>
                  <a:gd name="T94" fmla="*/ 784 w 1876"/>
                  <a:gd name="T95" fmla="*/ 685 h 1003"/>
                  <a:gd name="T96" fmla="*/ 768 w 1876"/>
                  <a:gd name="T97" fmla="*/ 682 h 1003"/>
                  <a:gd name="T98" fmla="*/ 747 w 1876"/>
                  <a:gd name="T99" fmla="*/ 629 h 1003"/>
                  <a:gd name="T100" fmla="*/ 863 w 1876"/>
                  <a:gd name="T101" fmla="*/ 357 h 1003"/>
                  <a:gd name="T102" fmla="*/ 950 w 1876"/>
                  <a:gd name="T103" fmla="*/ 357 h 1003"/>
                  <a:gd name="T104" fmla="*/ 821 w 1876"/>
                  <a:gd name="T105" fmla="*/ 660 h 1003"/>
                  <a:gd name="T106" fmla="*/ 1324 w 1876"/>
                  <a:gd name="T107" fmla="*/ 595 h 1003"/>
                  <a:gd name="T108" fmla="*/ 1425 w 1876"/>
                  <a:gd name="T109" fmla="*/ 357 h 1003"/>
                  <a:gd name="T110" fmla="*/ 1619 w 1876"/>
                  <a:gd name="T111" fmla="*/ 357 h 1003"/>
                  <a:gd name="T112" fmla="*/ 1726 w 1876"/>
                  <a:gd name="T113" fmla="*/ 595 h 1003"/>
                  <a:gd name="T114" fmla="*/ 1324 w 1876"/>
                  <a:gd name="T115" fmla="*/ 595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76" h="1003">
                    <a:moveTo>
                      <a:pt x="1870" y="594"/>
                    </a:moveTo>
                    <a:cubicBezTo>
                      <a:pt x="1721" y="264"/>
                      <a:pt x="1721" y="264"/>
                      <a:pt x="1721" y="264"/>
                    </a:cubicBezTo>
                    <a:cubicBezTo>
                      <a:pt x="1711" y="240"/>
                      <a:pt x="1687" y="225"/>
                      <a:pt x="1661" y="225"/>
                    </a:cubicBezTo>
                    <a:cubicBezTo>
                      <a:pt x="1382" y="225"/>
                      <a:pt x="1382" y="225"/>
                      <a:pt x="1382" y="225"/>
                    </a:cubicBezTo>
                    <a:cubicBezTo>
                      <a:pt x="1355" y="225"/>
                      <a:pt x="1332" y="240"/>
                      <a:pt x="1321" y="265"/>
                    </a:cubicBezTo>
                    <a:cubicBezTo>
                      <a:pt x="1086" y="814"/>
                      <a:pt x="1086" y="814"/>
                      <a:pt x="1086" y="814"/>
                    </a:cubicBezTo>
                    <a:cubicBezTo>
                      <a:pt x="1004" y="814"/>
                      <a:pt x="1004" y="814"/>
                      <a:pt x="1004" y="814"/>
                    </a:cubicBezTo>
                    <a:cubicBezTo>
                      <a:pt x="1285" y="152"/>
                      <a:pt x="1285" y="152"/>
                      <a:pt x="1285" y="152"/>
                    </a:cubicBezTo>
                    <a:cubicBezTo>
                      <a:pt x="1750" y="152"/>
                      <a:pt x="1750" y="152"/>
                      <a:pt x="1750" y="152"/>
                    </a:cubicBezTo>
                    <a:cubicBezTo>
                      <a:pt x="1792" y="152"/>
                      <a:pt x="1826" y="118"/>
                      <a:pt x="1826" y="76"/>
                    </a:cubicBezTo>
                    <a:cubicBezTo>
                      <a:pt x="1826" y="34"/>
                      <a:pt x="1792" y="0"/>
                      <a:pt x="1750" y="0"/>
                    </a:cubicBezTo>
                    <a:cubicBezTo>
                      <a:pt x="1235" y="0"/>
                      <a:pt x="1235" y="0"/>
                      <a:pt x="1235" y="0"/>
                    </a:cubicBezTo>
                    <a:cubicBezTo>
                      <a:pt x="1205" y="0"/>
                      <a:pt x="1177" y="18"/>
                      <a:pt x="1165" y="46"/>
                    </a:cubicBezTo>
                    <a:cubicBezTo>
                      <a:pt x="1098" y="205"/>
                      <a:pt x="1098" y="205"/>
                      <a:pt x="1098" y="205"/>
                    </a:cubicBezTo>
                    <a:cubicBezTo>
                      <a:pt x="76" y="205"/>
                      <a:pt x="76" y="205"/>
                      <a:pt x="76" y="205"/>
                    </a:cubicBezTo>
                    <a:cubicBezTo>
                      <a:pt x="34" y="205"/>
                      <a:pt x="0" y="239"/>
                      <a:pt x="0" y="281"/>
                    </a:cubicBezTo>
                    <a:cubicBezTo>
                      <a:pt x="0" y="323"/>
                      <a:pt x="34" y="357"/>
                      <a:pt x="76" y="357"/>
                    </a:cubicBezTo>
                    <a:cubicBezTo>
                      <a:pt x="89" y="357"/>
                      <a:pt x="89" y="357"/>
                      <a:pt x="89" y="357"/>
                    </a:cubicBezTo>
                    <a:cubicBezTo>
                      <a:pt x="89" y="527"/>
                      <a:pt x="89" y="527"/>
                      <a:pt x="89" y="527"/>
                    </a:cubicBezTo>
                    <a:cubicBezTo>
                      <a:pt x="89" y="559"/>
                      <a:pt x="109" y="588"/>
                      <a:pt x="139" y="599"/>
                    </a:cubicBezTo>
                    <a:cubicBezTo>
                      <a:pt x="712" y="809"/>
                      <a:pt x="712" y="809"/>
                      <a:pt x="712" y="809"/>
                    </a:cubicBezTo>
                    <a:cubicBezTo>
                      <a:pt x="797" y="968"/>
                      <a:pt x="797" y="968"/>
                      <a:pt x="797" y="968"/>
                    </a:cubicBezTo>
                    <a:cubicBezTo>
                      <a:pt x="808" y="990"/>
                      <a:pt x="831" y="1003"/>
                      <a:pt x="855" y="1003"/>
                    </a:cubicBezTo>
                    <a:cubicBezTo>
                      <a:pt x="1126" y="1003"/>
                      <a:pt x="1126" y="1003"/>
                      <a:pt x="1126" y="1003"/>
                    </a:cubicBezTo>
                    <a:cubicBezTo>
                      <a:pt x="1128" y="991"/>
                      <a:pt x="1132" y="978"/>
                      <a:pt x="1136" y="966"/>
                    </a:cubicBezTo>
                    <a:cubicBezTo>
                      <a:pt x="1183" y="836"/>
                      <a:pt x="1307" y="748"/>
                      <a:pt x="1445" y="748"/>
                    </a:cubicBezTo>
                    <a:cubicBezTo>
                      <a:pt x="1565" y="748"/>
                      <a:pt x="1676" y="814"/>
                      <a:pt x="1733" y="920"/>
                    </a:cubicBezTo>
                    <a:cubicBezTo>
                      <a:pt x="1742" y="936"/>
                      <a:pt x="1750" y="953"/>
                      <a:pt x="1756" y="971"/>
                    </a:cubicBezTo>
                    <a:cubicBezTo>
                      <a:pt x="1810" y="971"/>
                      <a:pt x="1810" y="971"/>
                      <a:pt x="1810" y="971"/>
                    </a:cubicBezTo>
                    <a:cubicBezTo>
                      <a:pt x="1846" y="971"/>
                      <a:pt x="1876" y="941"/>
                      <a:pt x="1876" y="905"/>
                    </a:cubicBezTo>
                    <a:cubicBezTo>
                      <a:pt x="1876" y="621"/>
                      <a:pt x="1876" y="621"/>
                      <a:pt x="1876" y="621"/>
                    </a:cubicBezTo>
                    <a:cubicBezTo>
                      <a:pt x="1876" y="612"/>
                      <a:pt x="1874" y="602"/>
                      <a:pt x="1870" y="594"/>
                    </a:cubicBezTo>
                    <a:close/>
                    <a:moveTo>
                      <a:pt x="379" y="499"/>
                    </a:moveTo>
                    <a:cubicBezTo>
                      <a:pt x="372" y="514"/>
                      <a:pt x="357" y="523"/>
                      <a:pt x="342" y="523"/>
                    </a:cubicBezTo>
                    <a:cubicBezTo>
                      <a:pt x="336" y="523"/>
                      <a:pt x="331" y="522"/>
                      <a:pt x="326" y="520"/>
                    </a:cubicBezTo>
                    <a:cubicBezTo>
                      <a:pt x="306" y="511"/>
                      <a:pt x="296" y="488"/>
                      <a:pt x="305" y="467"/>
                    </a:cubicBezTo>
                    <a:cubicBezTo>
                      <a:pt x="352" y="357"/>
                      <a:pt x="352" y="357"/>
                      <a:pt x="352" y="357"/>
                    </a:cubicBezTo>
                    <a:cubicBezTo>
                      <a:pt x="439" y="357"/>
                      <a:pt x="439" y="357"/>
                      <a:pt x="439" y="357"/>
                    </a:cubicBezTo>
                    <a:lnTo>
                      <a:pt x="379" y="499"/>
                    </a:lnTo>
                    <a:close/>
                    <a:moveTo>
                      <a:pt x="600" y="580"/>
                    </a:moveTo>
                    <a:cubicBezTo>
                      <a:pt x="593" y="595"/>
                      <a:pt x="578" y="604"/>
                      <a:pt x="563" y="604"/>
                    </a:cubicBezTo>
                    <a:cubicBezTo>
                      <a:pt x="558" y="604"/>
                      <a:pt x="552" y="603"/>
                      <a:pt x="547" y="601"/>
                    </a:cubicBezTo>
                    <a:cubicBezTo>
                      <a:pt x="527" y="592"/>
                      <a:pt x="517" y="569"/>
                      <a:pt x="526" y="548"/>
                    </a:cubicBezTo>
                    <a:cubicBezTo>
                      <a:pt x="607" y="357"/>
                      <a:pt x="607" y="357"/>
                      <a:pt x="607" y="357"/>
                    </a:cubicBezTo>
                    <a:cubicBezTo>
                      <a:pt x="694" y="357"/>
                      <a:pt x="694" y="357"/>
                      <a:pt x="694" y="357"/>
                    </a:cubicBezTo>
                    <a:lnTo>
                      <a:pt x="600" y="580"/>
                    </a:lnTo>
                    <a:close/>
                    <a:moveTo>
                      <a:pt x="821" y="660"/>
                    </a:moveTo>
                    <a:cubicBezTo>
                      <a:pt x="814" y="676"/>
                      <a:pt x="799" y="685"/>
                      <a:pt x="784" y="685"/>
                    </a:cubicBezTo>
                    <a:cubicBezTo>
                      <a:pt x="779" y="685"/>
                      <a:pt x="773" y="684"/>
                      <a:pt x="768" y="682"/>
                    </a:cubicBezTo>
                    <a:cubicBezTo>
                      <a:pt x="748" y="673"/>
                      <a:pt x="738" y="650"/>
                      <a:pt x="747" y="629"/>
                    </a:cubicBezTo>
                    <a:cubicBezTo>
                      <a:pt x="863" y="357"/>
                      <a:pt x="863" y="357"/>
                      <a:pt x="863" y="357"/>
                    </a:cubicBezTo>
                    <a:cubicBezTo>
                      <a:pt x="950" y="357"/>
                      <a:pt x="950" y="357"/>
                      <a:pt x="950" y="357"/>
                    </a:cubicBezTo>
                    <a:lnTo>
                      <a:pt x="821" y="660"/>
                    </a:lnTo>
                    <a:close/>
                    <a:moveTo>
                      <a:pt x="1324" y="595"/>
                    </a:moveTo>
                    <a:cubicBezTo>
                      <a:pt x="1425" y="357"/>
                      <a:pt x="1425" y="357"/>
                      <a:pt x="1425" y="357"/>
                    </a:cubicBezTo>
                    <a:cubicBezTo>
                      <a:pt x="1619" y="357"/>
                      <a:pt x="1619" y="357"/>
                      <a:pt x="1619" y="357"/>
                    </a:cubicBezTo>
                    <a:cubicBezTo>
                      <a:pt x="1726" y="595"/>
                      <a:pt x="1726" y="595"/>
                      <a:pt x="1726" y="595"/>
                    </a:cubicBezTo>
                    <a:lnTo>
                      <a:pt x="1324" y="5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0" name="Freeform 69">
                <a:extLst>
                  <a:ext uri="{FF2B5EF4-FFF2-40B4-BE49-F238E27FC236}">
                    <a16:creationId xmlns:a16="http://schemas.microsoft.com/office/drawing/2014/main" id="{E68898B7-60F1-4B2C-B245-552BC8AECF8B}"/>
                  </a:ext>
                </a:extLst>
              </p:cNvPr>
              <p:cNvSpPr>
                <a:spLocks noEditPoints="1"/>
              </p:cNvSpPr>
              <p:nvPr/>
            </p:nvSpPr>
            <p:spPr bwMode="auto">
              <a:xfrm>
                <a:off x="7566268" y="4816131"/>
                <a:ext cx="261938" cy="261938"/>
              </a:xfrm>
              <a:custGeom>
                <a:avLst/>
                <a:gdLst>
                  <a:gd name="T0" fmla="*/ 268 w 536"/>
                  <a:gd name="T1" fmla="*/ 0 h 536"/>
                  <a:gd name="T2" fmla="*/ 16 w 536"/>
                  <a:gd name="T3" fmla="*/ 178 h 536"/>
                  <a:gd name="T4" fmla="*/ 0 w 536"/>
                  <a:gd name="T5" fmla="*/ 268 h 536"/>
                  <a:gd name="T6" fmla="*/ 268 w 536"/>
                  <a:gd name="T7" fmla="*/ 536 h 536"/>
                  <a:gd name="T8" fmla="*/ 533 w 536"/>
                  <a:gd name="T9" fmla="*/ 307 h 536"/>
                  <a:gd name="T10" fmla="*/ 536 w 536"/>
                  <a:gd name="T11" fmla="*/ 282 h 536"/>
                  <a:gd name="T12" fmla="*/ 536 w 536"/>
                  <a:gd name="T13" fmla="*/ 268 h 536"/>
                  <a:gd name="T14" fmla="*/ 504 w 536"/>
                  <a:gd name="T15" fmla="*/ 140 h 536"/>
                  <a:gd name="T16" fmla="*/ 268 w 536"/>
                  <a:gd name="T17" fmla="*/ 0 h 536"/>
                  <a:gd name="T18" fmla="*/ 371 w 536"/>
                  <a:gd name="T19" fmla="*/ 282 h 536"/>
                  <a:gd name="T20" fmla="*/ 268 w 536"/>
                  <a:gd name="T21" fmla="*/ 372 h 536"/>
                  <a:gd name="T22" fmla="*/ 166 w 536"/>
                  <a:gd name="T23" fmla="*/ 281 h 536"/>
                  <a:gd name="T24" fmla="*/ 165 w 536"/>
                  <a:gd name="T25" fmla="*/ 268 h 536"/>
                  <a:gd name="T26" fmla="*/ 268 w 536"/>
                  <a:gd name="T27" fmla="*/ 165 h 536"/>
                  <a:gd name="T28" fmla="*/ 372 w 536"/>
                  <a:gd name="T29" fmla="*/ 268 h 536"/>
                  <a:gd name="T30" fmla="*/ 371 w 536"/>
                  <a:gd name="T31" fmla="*/ 28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6" h="536">
                    <a:moveTo>
                      <a:pt x="268" y="0"/>
                    </a:moveTo>
                    <a:cubicBezTo>
                      <a:pt x="152" y="0"/>
                      <a:pt x="53" y="75"/>
                      <a:pt x="16" y="178"/>
                    </a:cubicBezTo>
                    <a:cubicBezTo>
                      <a:pt x="6" y="206"/>
                      <a:pt x="0" y="237"/>
                      <a:pt x="0" y="268"/>
                    </a:cubicBezTo>
                    <a:cubicBezTo>
                      <a:pt x="0" y="416"/>
                      <a:pt x="120" y="536"/>
                      <a:pt x="268" y="536"/>
                    </a:cubicBezTo>
                    <a:cubicBezTo>
                      <a:pt x="403" y="536"/>
                      <a:pt x="515" y="437"/>
                      <a:pt x="533" y="307"/>
                    </a:cubicBezTo>
                    <a:cubicBezTo>
                      <a:pt x="535" y="299"/>
                      <a:pt x="535" y="290"/>
                      <a:pt x="536" y="282"/>
                    </a:cubicBezTo>
                    <a:cubicBezTo>
                      <a:pt x="536" y="277"/>
                      <a:pt x="536" y="273"/>
                      <a:pt x="536" y="268"/>
                    </a:cubicBezTo>
                    <a:cubicBezTo>
                      <a:pt x="536" y="222"/>
                      <a:pt x="524" y="178"/>
                      <a:pt x="504" y="140"/>
                    </a:cubicBezTo>
                    <a:cubicBezTo>
                      <a:pt x="458" y="57"/>
                      <a:pt x="370" y="0"/>
                      <a:pt x="268" y="0"/>
                    </a:cubicBezTo>
                    <a:close/>
                    <a:moveTo>
                      <a:pt x="371" y="282"/>
                    </a:moveTo>
                    <a:cubicBezTo>
                      <a:pt x="364" y="332"/>
                      <a:pt x="321" y="372"/>
                      <a:pt x="268" y="372"/>
                    </a:cubicBezTo>
                    <a:cubicBezTo>
                      <a:pt x="216" y="372"/>
                      <a:pt x="172" y="332"/>
                      <a:pt x="166" y="281"/>
                    </a:cubicBezTo>
                    <a:cubicBezTo>
                      <a:pt x="165" y="277"/>
                      <a:pt x="165" y="273"/>
                      <a:pt x="165" y="268"/>
                    </a:cubicBezTo>
                    <a:cubicBezTo>
                      <a:pt x="165" y="211"/>
                      <a:pt x="211" y="165"/>
                      <a:pt x="268" y="165"/>
                    </a:cubicBezTo>
                    <a:cubicBezTo>
                      <a:pt x="325" y="165"/>
                      <a:pt x="372" y="211"/>
                      <a:pt x="372" y="268"/>
                    </a:cubicBezTo>
                    <a:cubicBezTo>
                      <a:pt x="372" y="273"/>
                      <a:pt x="371" y="277"/>
                      <a:pt x="371" y="2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3" name="Group 2">
            <a:extLst>
              <a:ext uri="{FF2B5EF4-FFF2-40B4-BE49-F238E27FC236}">
                <a16:creationId xmlns:a16="http://schemas.microsoft.com/office/drawing/2014/main" id="{9CEC0157-FACD-4F2C-BC2A-2FEFEC79B1F1}"/>
              </a:ext>
              <a:ext uri="{C183D7F6-B498-43B3-948B-1728B52AA6E4}">
                <adec:decorative xmlns:adec="http://schemas.microsoft.com/office/drawing/2017/decorative" val="1"/>
              </a:ext>
            </a:extLst>
          </p:cNvPr>
          <p:cNvGrpSpPr>
            <a:grpSpLocks noChangeAspect="1"/>
          </p:cNvGrpSpPr>
          <p:nvPr/>
        </p:nvGrpSpPr>
        <p:grpSpPr>
          <a:xfrm>
            <a:off x="3719438" y="3828093"/>
            <a:ext cx="678086" cy="633600"/>
            <a:chOff x="10450020" y="1277917"/>
            <a:chExt cx="678086" cy="633600"/>
          </a:xfrm>
        </p:grpSpPr>
        <p:sp>
          <p:nvSpPr>
            <p:cNvPr id="350" name="Freeform 164">
              <a:extLst>
                <a:ext uri="{FF2B5EF4-FFF2-40B4-BE49-F238E27FC236}">
                  <a16:creationId xmlns:a16="http://schemas.microsoft.com/office/drawing/2014/main" id="{A2C3C96D-5D90-4922-8ACD-81426CE9DC08}"/>
                </a:ext>
              </a:extLst>
            </p:cNvPr>
            <p:cNvSpPr>
              <a:spLocks/>
            </p:cNvSpPr>
            <p:nvPr/>
          </p:nvSpPr>
          <p:spPr bwMode="auto">
            <a:xfrm>
              <a:off x="10450020" y="1277917"/>
              <a:ext cx="678086" cy="633600"/>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51" name="Groupe 20">
              <a:extLst>
                <a:ext uri="{FF2B5EF4-FFF2-40B4-BE49-F238E27FC236}">
                  <a16:creationId xmlns:a16="http://schemas.microsoft.com/office/drawing/2014/main" id="{0CE7452B-2A38-420D-A36D-8BE6B48D4ED2}"/>
                </a:ext>
              </a:extLst>
            </p:cNvPr>
            <p:cNvGrpSpPr/>
            <p:nvPr/>
          </p:nvGrpSpPr>
          <p:grpSpPr>
            <a:xfrm>
              <a:off x="10662010" y="1392312"/>
              <a:ext cx="254103" cy="398389"/>
              <a:chOff x="3701806" y="2226595"/>
              <a:chExt cx="323571" cy="507302"/>
            </a:xfrm>
            <a:solidFill>
              <a:schemeClr val="bg1"/>
            </a:solidFill>
          </p:grpSpPr>
          <p:sp>
            <p:nvSpPr>
              <p:cNvPr id="352" name="Freeform 138">
                <a:extLst>
                  <a:ext uri="{FF2B5EF4-FFF2-40B4-BE49-F238E27FC236}">
                    <a16:creationId xmlns:a16="http://schemas.microsoft.com/office/drawing/2014/main" id="{9DAE1250-CA9F-455F-87C6-C0AD35C2CCA0}"/>
                  </a:ext>
                </a:extLst>
              </p:cNvPr>
              <p:cNvSpPr>
                <a:spLocks noEditPoints="1"/>
              </p:cNvSpPr>
              <p:nvPr/>
            </p:nvSpPr>
            <p:spPr bwMode="auto">
              <a:xfrm>
                <a:off x="3701806" y="2226595"/>
                <a:ext cx="245467" cy="379429"/>
              </a:xfrm>
              <a:custGeom>
                <a:avLst/>
                <a:gdLst>
                  <a:gd name="T0" fmla="*/ 138 w 276"/>
                  <a:gd name="T1" fmla="*/ 410 h 414"/>
                  <a:gd name="T2" fmla="*/ 177 w 276"/>
                  <a:gd name="T3" fmla="*/ 414 h 414"/>
                  <a:gd name="T4" fmla="*/ 265 w 276"/>
                  <a:gd name="T5" fmla="*/ 388 h 414"/>
                  <a:gd name="T6" fmla="*/ 270 w 276"/>
                  <a:gd name="T7" fmla="*/ 368 h 414"/>
                  <a:gd name="T8" fmla="*/ 250 w 276"/>
                  <a:gd name="T9" fmla="*/ 363 h 414"/>
                  <a:gd name="T10" fmla="*/ 144 w 276"/>
                  <a:gd name="T11" fmla="*/ 382 h 414"/>
                  <a:gd name="T12" fmla="*/ 57 w 276"/>
                  <a:gd name="T13" fmla="*/ 320 h 414"/>
                  <a:gd name="T14" fmla="*/ 38 w 276"/>
                  <a:gd name="T15" fmla="*/ 214 h 414"/>
                  <a:gd name="T16" fmla="*/ 91 w 276"/>
                  <a:gd name="T17" fmla="*/ 133 h 414"/>
                  <a:gd name="T18" fmla="*/ 188 w 276"/>
                  <a:gd name="T19" fmla="*/ 285 h 414"/>
                  <a:gd name="T20" fmla="*/ 188 w 276"/>
                  <a:gd name="T21" fmla="*/ 285 h 414"/>
                  <a:gd name="T22" fmla="*/ 188 w 276"/>
                  <a:gd name="T23" fmla="*/ 285 h 414"/>
                  <a:gd name="T24" fmla="*/ 189 w 276"/>
                  <a:gd name="T25" fmla="*/ 287 h 414"/>
                  <a:gd name="T26" fmla="*/ 189 w 276"/>
                  <a:gd name="T27" fmla="*/ 287 h 414"/>
                  <a:gd name="T28" fmla="*/ 242 w 276"/>
                  <a:gd name="T29" fmla="*/ 280 h 414"/>
                  <a:gd name="T30" fmla="*/ 271 w 276"/>
                  <a:gd name="T31" fmla="*/ 235 h 414"/>
                  <a:gd name="T32" fmla="*/ 271 w 276"/>
                  <a:gd name="T33" fmla="*/ 235 h 414"/>
                  <a:gd name="T34" fmla="*/ 130 w 276"/>
                  <a:gd name="T35" fmla="*/ 12 h 414"/>
                  <a:gd name="T36" fmla="*/ 130 w 276"/>
                  <a:gd name="T37" fmla="*/ 12 h 414"/>
                  <a:gd name="T38" fmla="*/ 130 w 276"/>
                  <a:gd name="T39" fmla="*/ 11 h 414"/>
                  <a:gd name="T40" fmla="*/ 76 w 276"/>
                  <a:gd name="T41" fmla="*/ 17 h 414"/>
                  <a:gd name="T42" fmla="*/ 47 w 276"/>
                  <a:gd name="T43" fmla="*/ 63 h 414"/>
                  <a:gd name="T44" fmla="*/ 48 w 276"/>
                  <a:gd name="T45" fmla="*/ 64 h 414"/>
                  <a:gd name="T46" fmla="*/ 48 w 276"/>
                  <a:gd name="T47" fmla="*/ 64 h 414"/>
                  <a:gd name="T48" fmla="*/ 76 w 276"/>
                  <a:gd name="T49" fmla="*/ 108 h 414"/>
                  <a:gd name="T50" fmla="*/ 10 w 276"/>
                  <a:gd name="T51" fmla="*/ 208 h 414"/>
                  <a:gd name="T52" fmla="*/ 32 w 276"/>
                  <a:gd name="T53" fmla="*/ 335 h 414"/>
                  <a:gd name="T54" fmla="*/ 138 w 276"/>
                  <a:gd name="T55" fmla="*/ 410 h 414"/>
                  <a:gd name="T56" fmla="*/ 63 w 276"/>
                  <a:gd name="T57" fmla="*/ 54 h 414"/>
                  <a:gd name="T58" fmla="*/ 80 w 276"/>
                  <a:gd name="T59" fmla="*/ 24 h 414"/>
                  <a:gd name="T60" fmla="*/ 114 w 276"/>
                  <a:gd name="T61" fmla="*/ 21 h 414"/>
                  <a:gd name="T62" fmla="*/ 97 w 276"/>
                  <a:gd name="T63" fmla="*/ 50 h 414"/>
                  <a:gd name="T64" fmla="*/ 63 w 276"/>
                  <a:gd name="T65" fmla="*/ 5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 h="414">
                    <a:moveTo>
                      <a:pt x="138" y="410"/>
                    </a:moveTo>
                    <a:cubicBezTo>
                      <a:pt x="151" y="413"/>
                      <a:pt x="164" y="414"/>
                      <a:pt x="177" y="414"/>
                    </a:cubicBezTo>
                    <a:cubicBezTo>
                      <a:pt x="208" y="414"/>
                      <a:pt x="239" y="405"/>
                      <a:pt x="265" y="388"/>
                    </a:cubicBezTo>
                    <a:cubicBezTo>
                      <a:pt x="272" y="384"/>
                      <a:pt x="274" y="375"/>
                      <a:pt x="270" y="368"/>
                    </a:cubicBezTo>
                    <a:cubicBezTo>
                      <a:pt x="266" y="361"/>
                      <a:pt x="257" y="359"/>
                      <a:pt x="250" y="363"/>
                    </a:cubicBezTo>
                    <a:cubicBezTo>
                      <a:pt x="218" y="383"/>
                      <a:pt x="181" y="390"/>
                      <a:pt x="144" y="382"/>
                    </a:cubicBezTo>
                    <a:cubicBezTo>
                      <a:pt x="108" y="373"/>
                      <a:pt x="77" y="352"/>
                      <a:pt x="57" y="320"/>
                    </a:cubicBezTo>
                    <a:cubicBezTo>
                      <a:pt x="37" y="288"/>
                      <a:pt x="30" y="251"/>
                      <a:pt x="38" y="214"/>
                    </a:cubicBezTo>
                    <a:cubicBezTo>
                      <a:pt x="46" y="181"/>
                      <a:pt x="64" y="153"/>
                      <a:pt x="91" y="133"/>
                    </a:cubicBezTo>
                    <a:cubicBezTo>
                      <a:pt x="188" y="285"/>
                      <a:pt x="188" y="285"/>
                      <a:pt x="188" y="285"/>
                    </a:cubicBezTo>
                    <a:cubicBezTo>
                      <a:pt x="188" y="285"/>
                      <a:pt x="188" y="285"/>
                      <a:pt x="188" y="285"/>
                    </a:cubicBezTo>
                    <a:cubicBezTo>
                      <a:pt x="188" y="285"/>
                      <a:pt x="188" y="285"/>
                      <a:pt x="188" y="285"/>
                    </a:cubicBezTo>
                    <a:cubicBezTo>
                      <a:pt x="189" y="287"/>
                      <a:pt x="189" y="287"/>
                      <a:pt x="189" y="287"/>
                    </a:cubicBezTo>
                    <a:cubicBezTo>
                      <a:pt x="189" y="287"/>
                      <a:pt x="189" y="287"/>
                      <a:pt x="189" y="287"/>
                    </a:cubicBezTo>
                    <a:cubicBezTo>
                      <a:pt x="197" y="296"/>
                      <a:pt x="220" y="293"/>
                      <a:pt x="242" y="280"/>
                    </a:cubicBezTo>
                    <a:cubicBezTo>
                      <a:pt x="263" y="266"/>
                      <a:pt x="276" y="246"/>
                      <a:pt x="271" y="235"/>
                    </a:cubicBezTo>
                    <a:cubicBezTo>
                      <a:pt x="271" y="235"/>
                      <a:pt x="271" y="235"/>
                      <a:pt x="271" y="235"/>
                    </a:cubicBezTo>
                    <a:cubicBezTo>
                      <a:pt x="130" y="12"/>
                      <a:pt x="130" y="12"/>
                      <a:pt x="130" y="12"/>
                    </a:cubicBezTo>
                    <a:cubicBezTo>
                      <a:pt x="130" y="12"/>
                      <a:pt x="130" y="12"/>
                      <a:pt x="130" y="12"/>
                    </a:cubicBezTo>
                    <a:cubicBezTo>
                      <a:pt x="130" y="12"/>
                      <a:pt x="130" y="12"/>
                      <a:pt x="130" y="11"/>
                    </a:cubicBezTo>
                    <a:cubicBezTo>
                      <a:pt x="122" y="0"/>
                      <a:pt x="98" y="2"/>
                      <a:pt x="76" y="17"/>
                    </a:cubicBezTo>
                    <a:cubicBezTo>
                      <a:pt x="53" y="31"/>
                      <a:pt x="40" y="52"/>
                      <a:pt x="47" y="63"/>
                    </a:cubicBezTo>
                    <a:cubicBezTo>
                      <a:pt x="48" y="64"/>
                      <a:pt x="48" y="64"/>
                      <a:pt x="48" y="64"/>
                    </a:cubicBezTo>
                    <a:cubicBezTo>
                      <a:pt x="48" y="64"/>
                      <a:pt x="48" y="64"/>
                      <a:pt x="48" y="64"/>
                    </a:cubicBezTo>
                    <a:cubicBezTo>
                      <a:pt x="76" y="108"/>
                      <a:pt x="76" y="108"/>
                      <a:pt x="76" y="108"/>
                    </a:cubicBezTo>
                    <a:cubicBezTo>
                      <a:pt x="42" y="132"/>
                      <a:pt x="19" y="167"/>
                      <a:pt x="10" y="208"/>
                    </a:cubicBezTo>
                    <a:cubicBezTo>
                      <a:pt x="0" y="252"/>
                      <a:pt x="8" y="297"/>
                      <a:pt x="32" y="335"/>
                    </a:cubicBezTo>
                    <a:cubicBezTo>
                      <a:pt x="56" y="374"/>
                      <a:pt x="94" y="400"/>
                      <a:pt x="138" y="410"/>
                    </a:cubicBezTo>
                    <a:close/>
                    <a:moveTo>
                      <a:pt x="63" y="54"/>
                    </a:moveTo>
                    <a:cubicBezTo>
                      <a:pt x="58" y="47"/>
                      <a:pt x="66" y="33"/>
                      <a:pt x="80" y="24"/>
                    </a:cubicBezTo>
                    <a:cubicBezTo>
                      <a:pt x="95" y="15"/>
                      <a:pt x="110" y="14"/>
                      <a:pt x="114" y="21"/>
                    </a:cubicBezTo>
                    <a:cubicBezTo>
                      <a:pt x="119" y="28"/>
                      <a:pt x="111" y="41"/>
                      <a:pt x="97" y="50"/>
                    </a:cubicBezTo>
                    <a:cubicBezTo>
                      <a:pt x="82" y="59"/>
                      <a:pt x="67" y="61"/>
                      <a:pt x="63" y="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53" name="Freeform 139">
                <a:extLst>
                  <a:ext uri="{FF2B5EF4-FFF2-40B4-BE49-F238E27FC236}">
                    <a16:creationId xmlns:a16="http://schemas.microsoft.com/office/drawing/2014/main" id="{CAD3B037-1B76-4C82-BAB6-6DBC3184AA2B}"/>
                  </a:ext>
                </a:extLst>
              </p:cNvPr>
              <p:cNvSpPr>
                <a:spLocks/>
              </p:cNvSpPr>
              <p:nvPr/>
            </p:nvSpPr>
            <p:spPr bwMode="auto">
              <a:xfrm>
                <a:off x="3821497" y="2520075"/>
                <a:ext cx="203880" cy="27252"/>
              </a:xfrm>
              <a:custGeom>
                <a:avLst/>
                <a:gdLst>
                  <a:gd name="T0" fmla="*/ 215 w 229"/>
                  <a:gd name="T1" fmla="*/ 0 h 30"/>
                  <a:gd name="T2" fmla="*/ 13 w 229"/>
                  <a:gd name="T3" fmla="*/ 2 h 30"/>
                  <a:gd name="T4" fmla="*/ 0 w 229"/>
                  <a:gd name="T5" fmla="*/ 16 h 30"/>
                  <a:gd name="T6" fmla="*/ 14 w 229"/>
                  <a:gd name="T7" fmla="*/ 30 h 30"/>
                  <a:gd name="T8" fmla="*/ 215 w 229"/>
                  <a:gd name="T9" fmla="*/ 27 h 30"/>
                  <a:gd name="T10" fmla="*/ 229 w 229"/>
                  <a:gd name="T11" fmla="*/ 13 h 30"/>
                  <a:gd name="T12" fmla="*/ 215 w 22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29" h="30">
                    <a:moveTo>
                      <a:pt x="215" y="0"/>
                    </a:moveTo>
                    <a:cubicBezTo>
                      <a:pt x="13" y="2"/>
                      <a:pt x="13" y="2"/>
                      <a:pt x="13" y="2"/>
                    </a:cubicBezTo>
                    <a:cubicBezTo>
                      <a:pt x="6" y="2"/>
                      <a:pt x="0" y="8"/>
                      <a:pt x="0" y="16"/>
                    </a:cubicBezTo>
                    <a:cubicBezTo>
                      <a:pt x="0" y="24"/>
                      <a:pt x="6" y="30"/>
                      <a:pt x="14" y="30"/>
                    </a:cubicBezTo>
                    <a:cubicBezTo>
                      <a:pt x="215" y="27"/>
                      <a:pt x="215" y="27"/>
                      <a:pt x="215" y="27"/>
                    </a:cubicBezTo>
                    <a:cubicBezTo>
                      <a:pt x="223" y="27"/>
                      <a:pt x="229" y="21"/>
                      <a:pt x="229" y="13"/>
                    </a:cubicBezTo>
                    <a:cubicBezTo>
                      <a:pt x="229" y="6"/>
                      <a:pt x="223" y="0"/>
                      <a:pt x="21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54" name="Freeform 140">
                <a:extLst>
                  <a:ext uri="{FF2B5EF4-FFF2-40B4-BE49-F238E27FC236}">
                    <a16:creationId xmlns:a16="http://schemas.microsoft.com/office/drawing/2014/main" id="{AFD1F9A8-3CAB-436B-BDCD-2964DD43A7F4}"/>
                  </a:ext>
                </a:extLst>
              </p:cNvPr>
              <p:cNvSpPr>
                <a:spLocks noEditPoints="1"/>
              </p:cNvSpPr>
              <p:nvPr/>
            </p:nvSpPr>
            <p:spPr bwMode="auto">
              <a:xfrm>
                <a:off x="3818454" y="2613361"/>
                <a:ext cx="65932" cy="67081"/>
              </a:xfrm>
              <a:custGeom>
                <a:avLst/>
                <a:gdLst>
                  <a:gd name="T0" fmla="*/ 0 w 74"/>
                  <a:gd name="T1" fmla="*/ 37 h 74"/>
                  <a:gd name="T2" fmla="*/ 37 w 74"/>
                  <a:gd name="T3" fmla="*/ 73 h 74"/>
                  <a:gd name="T4" fmla="*/ 73 w 74"/>
                  <a:gd name="T5" fmla="*/ 36 h 74"/>
                  <a:gd name="T6" fmla="*/ 36 w 74"/>
                  <a:gd name="T7" fmla="*/ 0 h 74"/>
                  <a:gd name="T8" fmla="*/ 0 w 74"/>
                  <a:gd name="T9" fmla="*/ 37 h 74"/>
                  <a:gd name="T10" fmla="*/ 54 w 74"/>
                  <a:gd name="T11" fmla="*/ 36 h 74"/>
                  <a:gd name="T12" fmla="*/ 37 w 74"/>
                  <a:gd name="T13" fmla="*/ 54 h 74"/>
                  <a:gd name="T14" fmla="*/ 19 w 74"/>
                  <a:gd name="T15" fmla="*/ 37 h 74"/>
                  <a:gd name="T16" fmla="*/ 36 w 74"/>
                  <a:gd name="T17" fmla="*/ 19 h 74"/>
                  <a:gd name="T18" fmla="*/ 54 w 74"/>
                  <a:gd name="T19"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0" y="37"/>
                    </a:moveTo>
                    <a:cubicBezTo>
                      <a:pt x="0" y="57"/>
                      <a:pt x="17" y="74"/>
                      <a:pt x="37" y="73"/>
                    </a:cubicBezTo>
                    <a:cubicBezTo>
                      <a:pt x="57" y="73"/>
                      <a:pt x="74" y="57"/>
                      <a:pt x="73" y="36"/>
                    </a:cubicBezTo>
                    <a:cubicBezTo>
                      <a:pt x="73" y="16"/>
                      <a:pt x="57" y="0"/>
                      <a:pt x="36" y="0"/>
                    </a:cubicBezTo>
                    <a:cubicBezTo>
                      <a:pt x="16" y="0"/>
                      <a:pt x="0" y="17"/>
                      <a:pt x="0" y="37"/>
                    </a:cubicBezTo>
                    <a:close/>
                    <a:moveTo>
                      <a:pt x="54" y="36"/>
                    </a:moveTo>
                    <a:cubicBezTo>
                      <a:pt x="55" y="46"/>
                      <a:pt x="47" y="54"/>
                      <a:pt x="37" y="54"/>
                    </a:cubicBezTo>
                    <a:cubicBezTo>
                      <a:pt x="27" y="54"/>
                      <a:pt x="19" y="47"/>
                      <a:pt x="19" y="37"/>
                    </a:cubicBezTo>
                    <a:cubicBezTo>
                      <a:pt x="19" y="27"/>
                      <a:pt x="27" y="19"/>
                      <a:pt x="36" y="19"/>
                    </a:cubicBezTo>
                    <a:cubicBezTo>
                      <a:pt x="46" y="19"/>
                      <a:pt x="54" y="27"/>
                      <a:pt x="54" y="3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55" name="Freeform 141">
                <a:extLst>
                  <a:ext uri="{FF2B5EF4-FFF2-40B4-BE49-F238E27FC236}">
                    <a16:creationId xmlns:a16="http://schemas.microsoft.com/office/drawing/2014/main" id="{7A65E0D5-1507-4776-81EA-7D5A6C35D705}"/>
                  </a:ext>
                </a:extLst>
              </p:cNvPr>
              <p:cNvSpPr>
                <a:spLocks/>
              </p:cNvSpPr>
              <p:nvPr/>
            </p:nvSpPr>
            <p:spPr bwMode="auto">
              <a:xfrm>
                <a:off x="3747451" y="2661575"/>
                <a:ext cx="207937" cy="72322"/>
              </a:xfrm>
              <a:custGeom>
                <a:avLst/>
                <a:gdLst>
                  <a:gd name="T0" fmla="*/ 166 w 235"/>
                  <a:gd name="T1" fmla="*/ 0 h 79"/>
                  <a:gd name="T2" fmla="*/ 117 w 235"/>
                  <a:gd name="T3" fmla="*/ 36 h 79"/>
                  <a:gd name="T4" fmla="*/ 68 w 235"/>
                  <a:gd name="T5" fmla="*/ 2 h 79"/>
                  <a:gd name="T6" fmla="*/ 2 w 235"/>
                  <a:gd name="T7" fmla="*/ 64 h 79"/>
                  <a:gd name="T8" fmla="*/ 1 w 235"/>
                  <a:gd name="T9" fmla="*/ 74 h 79"/>
                  <a:gd name="T10" fmla="*/ 10 w 235"/>
                  <a:gd name="T11" fmla="*/ 79 h 79"/>
                  <a:gd name="T12" fmla="*/ 226 w 235"/>
                  <a:gd name="T13" fmla="*/ 76 h 79"/>
                  <a:gd name="T14" fmla="*/ 226 w 235"/>
                  <a:gd name="T15" fmla="*/ 76 h 79"/>
                  <a:gd name="T16" fmla="*/ 235 w 235"/>
                  <a:gd name="T17" fmla="*/ 67 h 79"/>
                  <a:gd name="T18" fmla="*/ 233 w 235"/>
                  <a:gd name="T19" fmla="*/ 61 h 79"/>
                  <a:gd name="T20" fmla="*/ 166 w 235"/>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79">
                    <a:moveTo>
                      <a:pt x="166" y="0"/>
                    </a:moveTo>
                    <a:cubicBezTo>
                      <a:pt x="159" y="21"/>
                      <a:pt x="140" y="36"/>
                      <a:pt x="117" y="36"/>
                    </a:cubicBezTo>
                    <a:cubicBezTo>
                      <a:pt x="94" y="36"/>
                      <a:pt x="75" y="22"/>
                      <a:pt x="68" y="2"/>
                    </a:cubicBezTo>
                    <a:cubicBezTo>
                      <a:pt x="28" y="23"/>
                      <a:pt x="3" y="62"/>
                      <a:pt x="2" y="64"/>
                    </a:cubicBezTo>
                    <a:cubicBezTo>
                      <a:pt x="0" y="67"/>
                      <a:pt x="0" y="71"/>
                      <a:pt x="1" y="74"/>
                    </a:cubicBezTo>
                    <a:cubicBezTo>
                      <a:pt x="3" y="77"/>
                      <a:pt x="6" y="79"/>
                      <a:pt x="10" y="79"/>
                    </a:cubicBezTo>
                    <a:cubicBezTo>
                      <a:pt x="226" y="76"/>
                      <a:pt x="226" y="76"/>
                      <a:pt x="226" y="76"/>
                    </a:cubicBezTo>
                    <a:cubicBezTo>
                      <a:pt x="226" y="76"/>
                      <a:pt x="226" y="76"/>
                      <a:pt x="226" y="76"/>
                    </a:cubicBezTo>
                    <a:cubicBezTo>
                      <a:pt x="231" y="76"/>
                      <a:pt x="235" y="72"/>
                      <a:pt x="235" y="67"/>
                    </a:cubicBezTo>
                    <a:cubicBezTo>
                      <a:pt x="235" y="64"/>
                      <a:pt x="235" y="62"/>
                      <a:pt x="233" y="61"/>
                    </a:cubicBezTo>
                    <a:cubicBezTo>
                      <a:pt x="229" y="55"/>
                      <a:pt x="204" y="20"/>
                      <a:pt x="16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380" name="Graphic 215">
            <a:extLst>
              <a:ext uri="{FF2B5EF4-FFF2-40B4-BE49-F238E27FC236}">
                <a16:creationId xmlns:a16="http://schemas.microsoft.com/office/drawing/2014/main" id="{37F22A54-7732-4EF5-BEC9-A3DC2EEBBA92}"/>
              </a:ext>
              <a:ext uri="{C183D7F6-B498-43B3-948B-1728B52AA6E4}">
                <adec:decorative xmlns:adec="http://schemas.microsoft.com/office/drawing/2017/decorative" val="1"/>
              </a:ext>
            </a:extLst>
          </p:cNvPr>
          <p:cNvGrpSpPr>
            <a:grpSpLocks noChangeAspect="1"/>
          </p:cNvGrpSpPr>
          <p:nvPr/>
        </p:nvGrpSpPr>
        <p:grpSpPr>
          <a:xfrm>
            <a:off x="2876058" y="2634235"/>
            <a:ext cx="665280" cy="633600"/>
            <a:chOff x="5772171" y="3124145"/>
            <a:chExt cx="643175" cy="609610"/>
          </a:xfrm>
        </p:grpSpPr>
        <p:sp>
          <p:nvSpPr>
            <p:cNvPr id="381" name="Freeform 127">
              <a:extLst>
                <a:ext uri="{FF2B5EF4-FFF2-40B4-BE49-F238E27FC236}">
                  <a16:creationId xmlns:a16="http://schemas.microsoft.com/office/drawing/2014/main" id="{0842D7F4-8F04-4521-BE3C-E2F625D44C61}"/>
                </a:ext>
              </a:extLst>
            </p:cNvPr>
            <p:cNvSpPr/>
            <p:nvPr/>
          </p:nvSpPr>
          <p:spPr>
            <a:xfrm>
              <a:off x="5772171" y="3124145"/>
              <a:ext cx="643175" cy="609610"/>
            </a:xfrm>
            <a:custGeom>
              <a:avLst/>
              <a:gdLst>
                <a:gd name="connsiteX0" fmla="*/ 62367 w 643175"/>
                <a:gd name="connsiteY0" fmla="*/ 494783 h 609610"/>
                <a:gd name="connsiteX1" fmla="*/ 132661 w 643175"/>
                <a:gd name="connsiteY1" fmla="*/ 61205 h 609610"/>
                <a:gd name="connsiteX2" fmla="*/ 584813 w 643175"/>
                <a:gd name="connsiteY2" fmla="*/ 125117 h 609610"/>
                <a:gd name="connsiteX3" fmla="*/ 502612 w 643175"/>
                <a:gd name="connsiteY3" fmla="*/ 542122 h 609610"/>
                <a:gd name="connsiteX4" fmla="*/ 62367 w 643175"/>
                <a:gd name="connsiteY4" fmla="*/ 494497 h 609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175" h="609610">
                  <a:moveTo>
                    <a:pt x="62367" y="494783"/>
                  </a:moveTo>
                  <a:cubicBezTo>
                    <a:pt x="-43075" y="357432"/>
                    <a:pt x="-11642" y="163313"/>
                    <a:pt x="132661" y="61205"/>
                  </a:cubicBezTo>
                  <a:cubicBezTo>
                    <a:pt x="276965" y="-40903"/>
                    <a:pt x="479467" y="-12328"/>
                    <a:pt x="584813" y="125117"/>
                  </a:cubicBezTo>
                  <a:cubicBezTo>
                    <a:pt x="690160" y="262563"/>
                    <a:pt x="647011" y="440014"/>
                    <a:pt x="502612" y="542122"/>
                  </a:cubicBezTo>
                  <a:cubicBezTo>
                    <a:pt x="358213" y="644230"/>
                    <a:pt x="167713" y="632133"/>
                    <a:pt x="62367" y="494497"/>
                  </a:cubicBezTo>
                </a:path>
              </a:pathLst>
            </a:custGeom>
            <a:solidFill>
              <a:schemeClr val="accent2"/>
            </a:solidFill>
            <a:ln w="9525" cap="flat">
              <a:noFill/>
              <a:prstDash val="solid"/>
              <a:miter/>
            </a:ln>
          </p:spPr>
          <p:txBody>
            <a:bodyPr rtlCol="0" anchor="ctr"/>
            <a:lstStyle/>
            <a:p>
              <a:endParaRPr lang="fr-FR"/>
            </a:p>
          </p:txBody>
        </p:sp>
        <p:sp>
          <p:nvSpPr>
            <p:cNvPr id="382" name="Freeform 128">
              <a:extLst>
                <a:ext uri="{FF2B5EF4-FFF2-40B4-BE49-F238E27FC236}">
                  <a16:creationId xmlns:a16="http://schemas.microsoft.com/office/drawing/2014/main" id="{21E886F9-CFEF-49E4-A33D-8A2F241185E2}"/>
                </a:ext>
              </a:extLst>
            </p:cNvPr>
            <p:cNvSpPr/>
            <p:nvPr/>
          </p:nvSpPr>
          <p:spPr>
            <a:xfrm>
              <a:off x="5904814" y="3237646"/>
              <a:ext cx="379703" cy="380992"/>
            </a:xfrm>
            <a:custGeom>
              <a:avLst/>
              <a:gdLst>
                <a:gd name="connsiteX0" fmla="*/ 336537 w 379703"/>
                <a:gd name="connsiteY0" fmla="*/ 74005 h 380992"/>
                <a:gd name="connsiteX1" fmla="*/ 74005 w 379703"/>
                <a:gd name="connsiteY1" fmla="*/ 38197 h 380992"/>
                <a:gd name="connsiteX2" fmla="*/ 38197 w 379703"/>
                <a:gd name="connsiteY2" fmla="*/ 300728 h 380992"/>
                <a:gd name="connsiteX3" fmla="*/ 43167 w 379703"/>
                <a:gd name="connsiteY3" fmla="*/ 306987 h 380992"/>
                <a:gd name="connsiteX4" fmla="*/ 305699 w 379703"/>
                <a:gd name="connsiteY4" fmla="*/ 342795 h 380992"/>
                <a:gd name="connsiteX5" fmla="*/ 341507 w 379703"/>
                <a:gd name="connsiteY5" fmla="*/ 80264 h 380992"/>
                <a:gd name="connsiteX6" fmla="*/ 336537 w 379703"/>
                <a:gd name="connsiteY6" fmla="*/ 74005 h 380992"/>
                <a:gd name="connsiteX7" fmla="*/ 59455 w 379703"/>
                <a:gd name="connsiteY7" fmla="*/ 282698 h 380992"/>
                <a:gd name="connsiteX8" fmla="*/ 44691 w 379703"/>
                <a:gd name="connsiteY8" fmla="*/ 131155 h 380992"/>
                <a:gd name="connsiteX9" fmla="*/ 59455 w 379703"/>
                <a:gd name="connsiteY9" fmla="*/ 104009 h 380992"/>
                <a:gd name="connsiteX10" fmla="*/ 102603 w 379703"/>
                <a:gd name="connsiteY10" fmla="*/ 60766 h 380992"/>
                <a:gd name="connsiteX11" fmla="*/ 129749 w 379703"/>
                <a:gd name="connsiteY11" fmla="*/ 46097 h 380992"/>
                <a:gd name="connsiteX12" fmla="*/ 254146 w 379703"/>
                <a:gd name="connsiteY12" fmla="*/ 46097 h 380992"/>
                <a:gd name="connsiteX13" fmla="*/ 281387 w 379703"/>
                <a:gd name="connsiteY13" fmla="*/ 60766 h 380992"/>
                <a:gd name="connsiteX14" fmla="*/ 305485 w 379703"/>
                <a:gd name="connsiteY14" fmla="*/ 80292 h 380992"/>
                <a:gd name="connsiteX15" fmla="*/ 315773 w 379703"/>
                <a:gd name="connsiteY15" fmla="*/ 91627 h 380992"/>
                <a:gd name="connsiteX16" fmla="*/ 320725 w 379703"/>
                <a:gd name="connsiteY16" fmla="*/ 98294 h 380992"/>
                <a:gd name="connsiteX17" fmla="*/ 278274 w 379703"/>
                <a:gd name="connsiteY17" fmla="*/ 320305 h 380992"/>
                <a:gd name="connsiteX18" fmla="*/ 125558 w 379703"/>
                <a:gd name="connsiteY18" fmla="*/ 334990 h 380992"/>
                <a:gd name="connsiteX19" fmla="*/ 98412 w 379703"/>
                <a:gd name="connsiteY19" fmla="*/ 320227 h 380992"/>
                <a:gd name="connsiteX20" fmla="*/ 74695 w 379703"/>
                <a:gd name="connsiteY20" fmla="*/ 300700 h 380992"/>
                <a:gd name="connsiteX21" fmla="*/ 64408 w 379703"/>
                <a:gd name="connsiteY21" fmla="*/ 289461 h 380992"/>
                <a:gd name="connsiteX22" fmla="*/ 59455 w 379703"/>
                <a:gd name="connsiteY22" fmla="*/ 282698 h 38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9703" h="380992">
                  <a:moveTo>
                    <a:pt x="336537" y="74005"/>
                  </a:moveTo>
                  <a:cubicBezTo>
                    <a:pt x="273929" y="-8379"/>
                    <a:pt x="156390" y="-24411"/>
                    <a:pt x="74005" y="38197"/>
                  </a:cubicBezTo>
                  <a:cubicBezTo>
                    <a:pt x="-8379" y="100805"/>
                    <a:pt x="-24411" y="218344"/>
                    <a:pt x="38197" y="300728"/>
                  </a:cubicBezTo>
                  <a:cubicBezTo>
                    <a:pt x="39809" y="302850"/>
                    <a:pt x="41466" y="304936"/>
                    <a:pt x="43167" y="306987"/>
                  </a:cubicBezTo>
                  <a:cubicBezTo>
                    <a:pt x="105775" y="389371"/>
                    <a:pt x="223314" y="405403"/>
                    <a:pt x="305699" y="342795"/>
                  </a:cubicBezTo>
                  <a:cubicBezTo>
                    <a:pt x="388083" y="280188"/>
                    <a:pt x="404115" y="162648"/>
                    <a:pt x="341507" y="80264"/>
                  </a:cubicBezTo>
                  <a:cubicBezTo>
                    <a:pt x="339895" y="78143"/>
                    <a:pt x="338238" y="76056"/>
                    <a:pt x="336537" y="74005"/>
                  </a:cubicBezTo>
                  <a:close/>
                  <a:moveTo>
                    <a:pt x="59455" y="282698"/>
                  </a:moveTo>
                  <a:cubicBezTo>
                    <a:pt x="29243" y="237924"/>
                    <a:pt x="23689" y="180919"/>
                    <a:pt x="44691" y="131155"/>
                  </a:cubicBezTo>
                  <a:cubicBezTo>
                    <a:pt x="48680" y="121630"/>
                    <a:pt x="53626" y="112534"/>
                    <a:pt x="59455" y="104009"/>
                  </a:cubicBezTo>
                  <a:cubicBezTo>
                    <a:pt x="70940" y="86968"/>
                    <a:pt x="85587" y="72288"/>
                    <a:pt x="102603" y="60766"/>
                  </a:cubicBezTo>
                  <a:cubicBezTo>
                    <a:pt x="111177" y="55044"/>
                    <a:pt x="120265" y="50133"/>
                    <a:pt x="129749" y="46097"/>
                  </a:cubicBezTo>
                  <a:cubicBezTo>
                    <a:pt x="169520" y="29331"/>
                    <a:pt x="214375" y="29331"/>
                    <a:pt x="254146" y="46097"/>
                  </a:cubicBezTo>
                  <a:cubicBezTo>
                    <a:pt x="263671" y="50112"/>
                    <a:pt x="272792" y="55024"/>
                    <a:pt x="281387" y="60766"/>
                  </a:cubicBezTo>
                  <a:cubicBezTo>
                    <a:pt x="290016" y="66503"/>
                    <a:pt x="298084" y="73040"/>
                    <a:pt x="305485" y="80292"/>
                  </a:cubicBezTo>
                  <a:cubicBezTo>
                    <a:pt x="309105" y="83911"/>
                    <a:pt x="312534" y="87721"/>
                    <a:pt x="315773" y="91627"/>
                  </a:cubicBezTo>
                  <a:cubicBezTo>
                    <a:pt x="317392" y="93817"/>
                    <a:pt x="319201" y="96008"/>
                    <a:pt x="320725" y="98294"/>
                  </a:cubicBezTo>
                  <a:cubicBezTo>
                    <a:pt x="370309" y="171323"/>
                    <a:pt x="351303" y="270721"/>
                    <a:pt x="278274" y="320305"/>
                  </a:cubicBezTo>
                  <a:cubicBezTo>
                    <a:pt x="233199" y="350909"/>
                    <a:pt x="175639" y="356444"/>
                    <a:pt x="125558" y="334990"/>
                  </a:cubicBezTo>
                  <a:cubicBezTo>
                    <a:pt x="116033" y="331002"/>
                    <a:pt x="106937" y="326055"/>
                    <a:pt x="98412" y="320227"/>
                  </a:cubicBezTo>
                  <a:cubicBezTo>
                    <a:pt x="89900" y="314491"/>
                    <a:pt x="81958" y="307952"/>
                    <a:pt x="74695" y="300700"/>
                  </a:cubicBezTo>
                  <a:cubicBezTo>
                    <a:pt x="71075" y="297081"/>
                    <a:pt x="67646" y="293366"/>
                    <a:pt x="64408" y="289461"/>
                  </a:cubicBezTo>
                  <a:cubicBezTo>
                    <a:pt x="62788" y="287175"/>
                    <a:pt x="60979" y="284984"/>
                    <a:pt x="59455" y="282698"/>
                  </a:cubicBezTo>
                  <a:close/>
                </a:path>
              </a:pathLst>
            </a:custGeom>
            <a:solidFill>
              <a:srgbClr val="FFFFFF"/>
            </a:solidFill>
            <a:ln w="9525" cap="flat">
              <a:noFill/>
              <a:prstDash val="solid"/>
              <a:miter/>
            </a:ln>
          </p:spPr>
          <p:txBody>
            <a:bodyPr rtlCol="0" anchor="ctr"/>
            <a:lstStyle/>
            <a:p>
              <a:endParaRPr lang="fr-FR"/>
            </a:p>
          </p:txBody>
        </p:sp>
        <p:sp>
          <p:nvSpPr>
            <p:cNvPr id="383" name="Freeform 129">
              <a:extLst>
                <a:ext uri="{FF2B5EF4-FFF2-40B4-BE49-F238E27FC236}">
                  <a16:creationId xmlns:a16="http://schemas.microsoft.com/office/drawing/2014/main" id="{25E1F4AF-D13D-41C5-90E1-EB2C14A7AB64}"/>
                </a:ext>
              </a:extLst>
            </p:cNvPr>
            <p:cNvSpPr/>
            <p:nvPr/>
          </p:nvSpPr>
          <p:spPr>
            <a:xfrm>
              <a:off x="5911582" y="3242595"/>
              <a:ext cx="361969" cy="361287"/>
            </a:xfrm>
            <a:custGeom>
              <a:avLst/>
              <a:gdLst>
                <a:gd name="connsiteX0" fmla="*/ 180988 w 361969"/>
                <a:gd name="connsiteY0" fmla="*/ 13145 h 361287"/>
                <a:gd name="connsiteX1" fmla="*/ 60592 w 361969"/>
                <a:gd name="connsiteY1" fmla="*/ 62580 h 361287"/>
                <a:gd name="connsiteX2" fmla="*/ 58062 w 361969"/>
                <a:gd name="connsiteY2" fmla="*/ 305033 h 361287"/>
                <a:gd name="connsiteX3" fmla="*/ 180988 w 361969"/>
                <a:gd name="connsiteY3" fmla="*/ 356521 h 361287"/>
                <a:gd name="connsiteX4" fmla="*/ 247663 w 361969"/>
                <a:gd name="connsiteY4" fmla="*/ 344805 h 361287"/>
                <a:gd name="connsiteX5" fmla="*/ 303194 w 361969"/>
                <a:gd name="connsiteY5" fmla="*/ 305467 h 361287"/>
                <a:gd name="connsiteX6" fmla="*/ 339294 w 361969"/>
                <a:gd name="connsiteY6" fmla="*/ 248317 h 361287"/>
                <a:gd name="connsiteX7" fmla="*/ 245029 w 361969"/>
                <a:gd name="connsiteY7" fmla="*/ 25655 h 361287"/>
                <a:gd name="connsiteX8" fmla="*/ 180988 w 361969"/>
                <a:gd name="connsiteY8" fmla="*/ 13145 h 361287"/>
                <a:gd name="connsiteX9" fmla="*/ 180988 w 361969"/>
                <a:gd name="connsiteY9" fmla="*/ 0 h 361287"/>
                <a:gd name="connsiteX10" fmla="*/ 309671 w 361969"/>
                <a:gd name="connsiteY10" fmla="*/ 54007 h 361287"/>
                <a:gd name="connsiteX11" fmla="*/ 361963 w 361969"/>
                <a:gd name="connsiteY11" fmla="*/ 182785 h 361287"/>
                <a:gd name="connsiteX12" fmla="*/ 307385 w 361969"/>
                <a:gd name="connsiteY12" fmla="*/ 309182 h 361287"/>
                <a:gd name="connsiteX13" fmla="*/ 248616 w 361969"/>
                <a:gd name="connsiteY13" fmla="*/ 346139 h 361287"/>
                <a:gd name="connsiteX14" fmla="*/ 180988 w 361969"/>
                <a:gd name="connsiteY14" fmla="*/ 361284 h 361287"/>
                <a:gd name="connsiteX15" fmla="*/ 13 w 361969"/>
                <a:gd name="connsiteY15" fmla="*/ 182785 h 361287"/>
                <a:gd name="connsiteX16" fmla="*/ 110979 w 361969"/>
                <a:gd name="connsiteY16" fmla="*/ 13716 h 361287"/>
                <a:gd name="connsiteX17" fmla="*/ 180988 w 361969"/>
                <a:gd name="connsiteY17" fmla="*/ 0 h 36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969" h="361287">
                  <a:moveTo>
                    <a:pt x="180988" y="13145"/>
                  </a:moveTo>
                  <a:cubicBezTo>
                    <a:pt x="135983" y="13480"/>
                    <a:pt x="92847" y="31192"/>
                    <a:pt x="60592" y="62580"/>
                  </a:cubicBezTo>
                  <a:cubicBezTo>
                    <a:pt x="-7058" y="128833"/>
                    <a:pt x="-8191" y="237383"/>
                    <a:pt x="58062" y="305033"/>
                  </a:cubicBezTo>
                  <a:cubicBezTo>
                    <a:pt x="90417" y="338071"/>
                    <a:pt x="134746" y="356638"/>
                    <a:pt x="180988" y="356521"/>
                  </a:cubicBezTo>
                  <a:cubicBezTo>
                    <a:pt x="203775" y="357140"/>
                    <a:pt x="226452" y="353156"/>
                    <a:pt x="247663" y="344805"/>
                  </a:cubicBezTo>
                  <a:cubicBezTo>
                    <a:pt x="268824" y="335906"/>
                    <a:pt x="287779" y="322478"/>
                    <a:pt x="303194" y="305467"/>
                  </a:cubicBezTo>
                  <a:cubicBezTo>
                    <a:pt x="318504" y="288695"/>
                    <a:pt x="330726" y="269347"/>
                    <a:pt x="339294" y="248317"/>
                  </a:cubicBezTo>
                  <a:cubicBezTo>
                    <a:pt x="374750" y="160800"/>
                    <a:pt x="332546" y="61111"/>
                    <a:pt x="245029" y="25655"/>
                  </a:cubicBezTo>
                  <a:cubicBezTo>
                    <a:pt x="224683" y="17413"/>
                    <a:pt x="202940" y="13165"/>
                    <a:pt x="180988" y="13145"/>
                  </a:cubicBezTo>
                  <a:close/>
                  <a:moveTo>
                    <a:pt x="180988" y="0"/>
                  </a:moveTo>
                  <a:cubicBezTo>
                    <a:pt x="229333" y="295"/>
                    <a:pt x="275596" y="19712"/>
                    <a:pt x="309671" y="54007"/>
                  </a:cubicBezTo>
                  <a:cubicBezTo>
                    <a:pt x="343548" y="88262"/>
                    <a:pt x="362368" y="134610"/>
                    <a:pt x="361963" y="182785"/>
                  </a:cubicBezTo>
                  <a:cubicBezTo>
                    <a:pt x="361896" y="230624"/>
                    <a:pt x="342160" y="276330"/>
                    <a:pt x="307385" y="309182"/>
                  </a:cubicBezTo>
                  <a:cubicBezTo>
                    <a:pt x="290076" y="324801"/>
                    <a:pt x="270192" y="337305"/>
                    <a:pt x="248616" y="346139"/>
                  </a:cubicBezTo>
                  <a:cubicBezTo>
                    <a:pt x="227229" y="355403"/>
                    <a:pt x="204284" y="360541"/>
                    <a:pt x="180988" y="361284"/>
                  </a:cubicBezTo>
                  <a:cubicBezTo>
                    <a:pt x="81743" y="361917"/>
                    <a:pt x="747" y="282030"/>
                    <a:pt x="13" y="182785"/>
                  </a:cubicBezTo>
                  <a:cubicBezTo>
                    <a:pt x="-874" y="109091"/>
                    <a:pt x="43016" y="42221"/>
                    <a:pt x="110979" y="13716"/>
                  </a:cubicBezTo>
                  <a:cubicBezTo>
                    <a:pt x="133195" y="4614"/>
                    <a:pt x="156980" y="-45"/>
                    <a:pt x="180988" y="0"/>
                  </a:cubicBezTo>
                  <a:close/>
                </a:path>
              </a:pathLst>
            </a:custGeom>
            <a:solidFill>
              <a:srgbClr val="FFFFFF"/>
            </a:solidFill>
            <a:ln w="9525" cap="flat">
              <a:noFill/>
              <a:prstDash val="solid"/>
              <a:miter/>
            </a:ln>
          </p:spPr>
          <p:txBody>
            <a:bodyPr rtlCol="0" anchor="ctr"/>
            <a:lstStyle/>
            <a:p>
              <a:endParaRPr lang="fr-FR"/>
            </a:p>
          </p:txBody>
        </p:sp>
        <p:sp>
          <p:nvSpPr>
            <p:cNvPr id="384" name="Freeform 130">
              <a:extLst>
                <a:ext uri="{FF2B5EF4-FFF2-40B4-BE49-F238E27FC236}">
                  <a16:creationId xmlns:a16="http://schemas.microsoft.com/office/drawing/2014/main" id="{69E65822-C4A4-426D-8F29-9EC6125B6824}"/>
                </a:ext>
              </a:extLst>
            </p:cNvPr>
            <p:cNvSpPr/>
            <p:nvPr/>
          </p:nvSpPr>
          <p:spPr>
            <a:xfrm>
              <a:off x="5931217" y="3378898"/>
              <a:ext cx="323278" cy="209645"/>
            </a:xfrm>
            <a:custGeom>
              <a:avLst/>
              <a:gdLst>
                <a:gd name="connsiteX0" fmla="*/ 323279 w 323278"/>
                <a:gd name="connsiteY0" fmla="*/ 46387 h 209645"/>
                <a:gd name="connsiteX1" fmla="*/ 323279 w 323278"/>
                <a:gd name="connsiteY1" fmla="*/ 27337 h 209645"/>
                <a:gd name="connsiteX2" fmla="*/ 321469 w 323278"/>
                <a:gd name="connsiteY2" fmla="*/ 27337 h 209645"/>
                <a:gd name="connsiteX3" fmla="*/ 321469 w 323278"/>
                <a:gd name="connsiteY3" fmla="*/ 27337 h 209645"/>
                <a:gd name="connsiteX4" fmla="*/ 301657 w 323278"/>
                <a:gd name="connsiteY4" fmla="*/ 27337 h 209645"/>
                <a:gd name="connsiteX5" fmla="*/ 300799 w 323278"/>
                <a:gd name="connsiteY5" fmla="*/ 27337 h 209645"/>
                <a:gd name="connsiteX6" fmla="*/ 299466 w 323278"/>
                <a:gd name="connsiteY6" fmla="*/ 27337 h 209645"/>
                <a:gd name="connsiteX7" fmla="*/ 298037 w 323278"/>
                <a:gd name="connsiteY7" fmla="*/ 27337 h 209645"/>
                <a:gd name="connsiteX8" fmla="*/ 296418 w 323278"/>
                <a:gd name="connsiteY8" fmla="*/ 26860 h 209645"/>
                <a:gd name="connsiteX9" fmla="*/ 294704 w 323278"/>
                <a:gd name="connsiteY9" fmla="*/ 26384 h 209645"/>
                <a:gd name="connsiteX10" fmla="*/ 292989 w 323278"/>
                <a:gd name="connsiteY10" fmla="*/ 25813 h 209645"/>
                <a:gd name="connsiteX11" fmla="*/ 291274 w 323278"/>
                <a:gd name="connsiteY11" fmla="*/ 25336 h 209645"/>
                <a:gd name="connsiteX12" fmla="*/ 289370 w 323278"/>
                <a:gd name="connsiteY12" fmla="*/ 24765 h 209645"/>
                <a:gd name="connsiteX13" fmla="*/ 287465 w 323278"/>
                <a:gd name="connsiteY13" fmla="*/ 24194 h 209645"/>
                <a:gd name="connsiteX14" fmla="*/ 285464 w 323278"/>
                <a:gd name="connsiteY14" fmla="*/ 23622 h 209645"/>
                <a:gd name="connsiteX15" fmla="*/ 283369 w 323278"/>
                <a:gd name="connsiteY15" fmla="*/ 22955 h 209645"/>
                <a:gd name="connsiteX16" fmla="*/ 281273 w 323278"/>
                <a:gd name="connsiteY16" fmla="*/ 22384 h 209645"/>
                <a:gd name="connsiteX17" fmla="*/ 279083 w 323278"/>
                <a:gd name="connsiteY17" fmla="*/ 22193 h 209645"/>
                <a:gd name="connsiteX18" fmla="*/ 276511 w 323278"/>
                <a:gd name="connsiteY18" fmla="*/ 21527 h 209645"/>
                <a:gd name="connsiteX19" fmla="*/ 273939 w 323278"/>
                <a:gd name="connsiteY19" fmla="*/ 20860 h 209645"/>
                <a:gd name="connsiteX20" fmla="*/ 271272 w 323278"/>
                <a:gd name="connsiteY20" fmla="*/ 20098 h 209645"/>
                <a:gd name="connsiteX21" fmla="*/ 268319 w 323278"/>
                <a:gd name="connsiteY21" fmla="*/ 19241 h 209645"/>
                <a:gd name="connsiteX22" fmla="*/ 265271 w 323278"/>
                <a:gd name="connsiteY22" fmla="*/ 18383 h 209645"/>
                <a:gd name="connsiteX23" fmla="*/ 261747 w 323278"/>
                <a:gd name="connsiteY23" fmla="*/ 17431 h 209645"/>
                <a:gd name="connsiteX24" fmla="*/ 257937 w 323278"/>
                <a:gd name="connsiteY24" fmla="*/ 16383 h 209645"/>
                <a:gd name="connsiteX25" fmla="*/ 253555 w 323278"/>
                <a:gd name="connsiteY25" fmla="*/ 15240 h 209645"/>
                <a:gd name="connsiteX26" fmla="*/ 248126 w 323278"/>
                <a:gd name="connsiteY26" fmla="*/ 13907 h 209645"/>
                <a:gd name="connsiteX27" fmla="*/ 240983 w 323278"/>
                <a:gd name="connsiteY27" fmla="*/ 12002 h 209645"/>
                <a:gd name="connsiteX28" fmla="*/ 205740 w 323278"/>
                <a:gd name="connsiteY28" fmla="*/ 4477 h 209645"/>
                <a:gd name="connsiteX29" fmla="*/ 195453 w 323278"/>
                <a:gd name="connsiteY29" fmla="*/ 2858 h 209645"/>
                <a:gd name="connsiteX30" fmla="*/ 186785 w 323278"/>
                <a:gd name="connsiteY30" fmla="*/ 1715 h 209645"/>
                <a:gd name="connsiteX31" fmla="*/ 177260 w 323278"/>
                <a:gd name="connsiteY31" fmla="*/ 667 h 209645"/>
                <a:gd name="connsiteX32" fmla="*/ 161449 w 323278"/>
                <a:gd name="connsiteY32" fmla="*/ 0 h 209645"/>
                <a:gd name="connsiteX33" fmla="*/ 148019 w 323278"/>
                <a:gd name="connsiteY33" fmla="*/ 0 h 209645"/>
                <a:gd name="connsiteX34" fmla="*/ 124682 w 323278"/>
                <a:gd name="connsiteY34" fmla="*/ 1810 h 209645"/>
                <a:gd name="connsiteX35" fmla="*/ 102775 w 323278"/>
                <a:gd name="connsiteY35" fmla="*/ 5144 h 209645"/>
                <a:gd name="connsiteX36" fmla="*/ 80486 w 323278"/>
                <a:gd name="connsiteY36" fmla="*/ 10192 h 209645"/>
                <a:gd name="connsiteX37" fmla="*/ 57055 w 323278"/>
                <a:gd name="connsiteY37" fmla="*/ 17526 h 209645"/>
                <a:gd name="connsiteX38" fmla="*/ 50673 w 323278"/>
                <a:gd name="connsiteY38" fmla="*/ 19907 h 209645"/>
                <a:gd name="connsiteX39" fmla="*/ 46577 w 323278"/>
                <a:gd name="connsiteY39" fmla="*/ 21717 h 209645"/>
                <a:gd name="connsiteX40" fmla="*/ 44577 w 323278"/>
                <a:gd name="connsiteY40" fmla="*/ 22479 h 209645"/>
                <a:gd name="connsiteX41" fmla="*/ 41719 w 323278"/>
                <a:gd name="connsiteY41" fmla="*/ 23622 h 209645"/>
                <a:gd name="connsiteX42" fmla="*/ 37719 w 323278"/>
                <a:gd name="connsiteY42" fmla="*/ 25051 h 209645"/>
                <a:gd name="connsiteX43" fmla="*/ 35528 w 323278"/>
                <a:gd name="connsiteY43" fmla="*/ 25622 h 209645"/>
                <a:gd name="connsiteX44" fmla="*/ 33909 w 323278"/>
                <a:gd name="connsiteY44" fmla="*/ 26098 h 209645"/>
                <a:gd name="connsiteX45" fmla="*/ 32385 w 323278"/>
                <a:gd name="connsiteY45" fmla="*/ 26098 h 209645"/>
                <a:gd name="connsiteX46" fmla="*/ 31051 w 323278"/>
                <a:gd name="connsiteY46" fmla="*/ 26098 h 209645"/>
                <a:gd name="connsiteX47" fmla="*/ 29718 w 323278"/>
                <a:gd name="connsiteY47" fmla="*/ 26098 h 209645"/>
                <a:gd name="connsiteX48" fmla="*/ 28575 w 323278"/>
                <a:gd name="connsiteY48" fmla="*/ 26098 h 209645"/>
                <a:gd name="connsiteX49" fmla="*/ 27432 w 323278"/>
                <a:gd name="connsiteY49" fmla="*/ 26098 h 209645"/>
                <a:gd name="connsiteX50" fmla="*/ 26384 w 323278"/>
                <a:gd name="connsiteY50" fmla="*/ 26098 h 209645"/>
                <a:gd name="connsiteX51" fmla="*/ 25241 w 323278"/>
                <a:gd name="connsiteY51" fmla="*/ 26098 h 209645"/>
                <a:gd name="connsiteX52" fmla="*/ 24193 w 323278"/>
                <a:gd name="connsiteY52" fmla="*/ 26098 h 209645"/>
                <a:gd name="connsiteX53" fmla="*/ 23241 w 323278"/>
                <a:gd name="connsiteY53" fmla="*/ 26098 h 209645"/>
                <a:gd name="connsiteX54" fmla="*/ 22289 w 323278"/>
                <a:gd name="connsiteY54" fmla="*/ 26098 h 209645"/>
                <a:gd name="connsiteX55" fmla="*/ 2857 w 323278"/>
                <a:gd name="connsiteY55" fmla="*/ 26098 h 209645"/>
                <a:gd name="connsiteX56" fmla="*/ 2857 w 323278"/>
                <a:gd name="connsiteY56" fmla="*/ 26098 h 209645"/>
                <a:gd name="connsiteX57" fmla="*/ 0 w 323278"/>
                <a:gd name="connsiteY57" fmla="*/ 26098 h 209645"/>
                <a:gd name="connsiteX58" fmla="*/ 0 w 323278"/>
                <a:gd name="connsiteY58" fmla="*/ 45148 h 209645"/>
                <a:gd name="connsiteX59" fmla="*/ 0 w 323278"/>
                <a:gd name="connsiteY59" fmla="*/ 45148 h 209645"/>
                <a:gd name="connsiteX60" fmla="*/ 0 w 323278"/>
                <a:gd name="connsiteY60" fmla="*/ 64198 h 209645"/>
                <a:gd name="connsiteX61" fmla="*/ 0 w 323278"/>
                <a:gd name="connsiteY61" fmla="*/ 64198 h 209645"/>
                <a:gd name="connsiteX62" fmla="*/ 857 w 323278"/>
                <a:gd name="connsiteY62" fmla="*/ 64198 h 209645"/>
                <a:gd name="connsiteX63" fmla="*/ 1619 w 323278"/>
                <a:gd name="connsiteY63" fmla="*/ 64198 h 209645"/>
                <a:gd name="connsiteX64" fmla="*/ 2381 w 323278"/>
                <a:gd name="connsiteY64" fmla="*/ 64198 h 209645"/>
                <a:gd name="connsiteX65" fmla="*/ 3143 w 323278"/>
                <a:gd name="connsiteY65" fmla="*/ 64198 h 209645"/>
                <a:gd name="connsiteX66" fmla="*/ 3905 w 323278"/>
                <a:gd name="connsiteY66" fmla="*/ 64198 h 209645"/>
                <a:gd name="connsiteX67" fmla="*/ 4667 w 323278"/>
                <a:gd name="connsiteY67" fmla="*/ 64198 h 209645"/>
                <a:gd name="connsiteX68" fmla="*/ 5334 w 323278"/>
                <a:gd name="connsiteY68" fmla="*/ 64198 h 209645"/>
                <a:gd name="connsiteX69" fmla="*/ 6001 w 323278"/>
                <a:gd name="connsiteY69" fmla="*/ 64198 h 209645"/>
                <a:gd name="connsiteX70" fmla="*/ 29908 w 323278"/>
                <a:gd name="connsiteY70" fmla="*/ 64198 h 209645"/>
                <a:gd name="connsiteX71" fmla="*/ 29908 w 323278"/>
                <a:gd name="connsiteY71" fmla="*/ 64198 h 209645"/>
                <a:gd name="connsiteX72" fmla="*/ 32861 w 323278"/>
                <a:gd name="connsiteY72" fmla="*/ 64198 h 209645"/>
                <a:gd name="connsiteX73" fmla="*/ 32861 w 323278"/>
                <a:gd name="connsiteY73" fmla="*/ 64198 h 209645"/>
                <a:gd name="connsiteX74" fmla="*/ 34480 w 323278"/>
                <a:gd name="connsiteY74" fmla="*/ 64198 h 209645"/>
                <a:gd name="connsiteX75" fmla="*/ 34480 w 323278"/>
                <a:gd name="connsiteY75" fmla="*/ 64198 h 209645"/>
                <a:gd name="connsiteX76" fmla="*/ 35242 w 323278"/>
                <a:gd name="connsiteY76" fmla="*/ 64198 h 209645"/>
                <a:gd name="connsiteX77" fmla="*/ 35242 w 323278"/>
                <a:gd name="connsiteY77" fmla="*/ 64198 h 209645"/>
                <a:gd name="connsiteX78" fmla="*/ 40957 w 323278"/>
                <a:gd name="connsiteY78" fmla="*/ 69152 h 209645"/>
                <a:gd name="connsiteX79" fmla="*/ 45053 w 323278"/>
                <a:gd name="connsiteY79" fmla="*/ 70771 h 209645"/>
                <a:gd name="connsiteX80" fmla="*/ 48958 w 323278"/>
                <a:gd name="connsiteY80" fmla="*/ 72390 h 209645"/>
                <a:gd name="connsiteX81" fmla="*/ 52864 w 323278"/>
                <a:gd name="connsiteY81" fmla="*/ 74200 h 209645"/>
                <a:gd name="connsiteX82" fmla="*/ 56483 w 323278"/>
                <a:gd name="connsiteY82" fmla="*/ 76010 h 209645"/>
                <a:gd name="connsiteX83" fmla="*/ 60103 w 323278"/>
                <a:gd name="connsiteY83" fmla="*/ 78010 h 209645"/>
                <a:gd name="connsiteX84" fmla="*/ 63627 w 323278"/>
                <a:gd name="connsiteY84" fmla="*/ 80010 h 209645"/>
                <a:gd name="connsiteX85" fmla="*/ 66961 w 323278"/>
                <a:gd name="connsiteY85" fmla="*/ 82010 h 209645"/>
                <a:gd name="connsiteX86" fmla="*/ 70199 w 323278"/>
                <a:gd name="connsiteY86" fmla="*/ 84106 h 209645"/>
                <a:gd name="connsiteX87" fmla="*/ 73438 w 323278"/>
                <a:gd name="connsiteY87" fmla="*/ 86296 h 209645"/>
                <a:gd name="connsiteX88" fmla="*/ 76486 w 323278"/>
                <a:gd name="connsiteY88" fmla="*/ 88487 h 209645"/>
                <a:gd name="connsiteX89" fmla="*/ 79534 w 323278"/>
                <a:gd name="connsiteY89" fmla="*/ 90773 h 209645"/>
                <a:gd name="connsiteX90" fmla="*/ 82487 w 323278"/>
                <a:gd name="connsiteY90" fmla="*/ 93059 h 209645"/>
                <a:gd name="connsiteX91" fmla="*/ 85439 w 323278"/>
                <a:gd name="connsiteY91" fmla="*/ 95440 h 209645"/>
                <a:gd name="connsiteX92" fmla="*/ 88582 w 323278"/>
                <a:gd name="connsiteY92" fmla="*/ 97727 h 209645"/>
                <a:gd name="connsiteX93" fmla="*/ 91345 w 323278"/>
                <a:gd name="connsiteY93" fmla="*/ 100203 h 209645"/>
                <a:gd name="connsiteX94" fmla="*/ 94012 w 323278"/>
                <a:gd name="connsiteY94" fmla="*/ 102680 h 209645"/>
                <a:gd name="connsiteX95" fmla="*/ 96583 w 323278"/>
                <a:gd name="connsiteY95" fmla="*/ 105061 h 209645"/>
                <a:gd name="connsiteX96" fmla="*/ 99155 w 323278"/>
                <a:gd name="connsiteY96" fmla="*/ 107633 h 209645"/>
                <a:gd name="connsiteX97" fmla="*/ 101632 w 323278"/>
                <a:gd name="connsiteY97" fmla="*/ 110109 h 209645"/>
                <a:gd name="connsiteX98" fmla="*/ 104013 w 323278"/>
                <a:gd name="connsiteY98" fmla="*/ 112681 h 209645"/>
                <a:gd name="connsiteX99" fmla="*/ 106394 w 323278"/>
                <a:gd name="connsiteY99" fmla="*/ 115253 h 209645"/>
                <a:gd name="connsiteX100" fmla="*/ 108680 w 323278"/>
                <a:gd name="connsiteY100" fmla="*/ 117919 h 209645"/>
                <a:gd name="connsiteX101" fmla="*/ 110966 w 323278"/>
                <a:gd name="connsiteY101" fmla="*/ 120587 h 209645"/>
                <a:gd name="connsiteX102" fmla="*/ 113062 w 323278"/>
                <a:gd name="connsiteY102" fmla="*/ 123254 h 209645"/>
                <a:gd name="connsiteX103" fmla="*/ 115157 w 323278"/>
                <a:gd name="connsiteY103" fmla="*/ 125920 h 209645"/>
                <a:gd name="connsiteX104" fmla="*/ 117253 w 323278"/>
                <a:gd name="connsiteY104" fmla="*/ 128683 h 209645"/>
                <a:gd name="connsiteX105" fmla="*/ 119253 w 323278"/>
                <a:gd name="connsiteY105" fmla="*/ 131445 h 209645"/>
                <a:gd name="connsiteX106" fmla="*/ 121158 w 323278"/>
                <a:gd name="connsiteY106" fmla="*/ 134207 h 209645"/>
                <a:gd name="connsiteX107" fmla="*/ 123063 w 323278"/>
                <a:gd name="connsiteY107" fmla="*/ 136969 h 209645"/>
                <a:gd name="connsiteX108" fmla="*/ 124873 w 323278"/>
                <a:gd name="connsiteY108" fmla="*/ 139827 h 209645"/>
                <a:gd name="connsiteX109" fmla="*/ 126587 w 323278"/>
                <a:gd name="connsiteY109" fmla="*/ 142780 h 209645"/>
                <a:gd name="connsiteX110" fmla="*/ 128302 w 323278"/>
                <a:gd name="connsiteY110" fmla="*/ 145637 h 209645"/>
                <a:gd name="connsiteX111" fmla="*/ 129921 w 323278"/>
                <a:gd name="connsiteY111" fmla="*/ 148590 h 209645"/>
                <a:gd name="connsiteX112" fmla="*/ 131445 w 323278"/>
                <a:gd name="connsiteY112" fmla="*/ 151638 h 209645"/>
                <a:gd name="connsiteX113" fmla="*/ 132969 w 323278"/>
                <a:gd name="connsiteY113" fmla="*/ 154686 h 209645"/>
                <a:gd name="connsiteX114" fmla="*/ 134398 w 323278"/>
                <a:gd name="connsiteY114" fmla="*/ 157829 h 209645"/>
                <a:gd name="connsiteX115" fmla="*/ 135731 w 323278"/>
                <a:gd name="connsiteY115" fmla="*/ 161068 h 209645"/>
                <a:gd name="connsiteX116" fmla="*/ 137065 w 323278"/>
                <a:gd name="connsiteY116" fmla="*/ 164497 h 209645"/>
                <a:gd name="connsiteX117" fmla="*/ 138398 w 323278"/>
                <a:gd name="connsiteY117" fmla="*/ 168116 h 209645"/>
                <a:gd name="connsiteX118" fmla="*/ 139732 w 323278"/>
                <a:gd name="connsiteY118" fmla="*/ 172307 h 209645"/>
                <a:gd name="connsiteX119" fmla="*/ 140589 w 323278"/>
                <a:gd name="connsiteY119" fmla="*/ 175451 h 209645"/>
                <a:gd name="connsiteX120" fmla="*/ 141446 w 323278"/>
                <a:gd name="connsiteY120" fmla="*/ 179261 h 209645"/>
                <a:gd name="connsiteX121" fmla="*/ 142208 w 323278"/>
                <a:gd name="connsiteY121" fmla="*/ 183547 h 209645"/>
                <a:gd name="connsiteX122" fmla="*/ 142780 w 323278"/>
                <a:gd name="connsiteY122" fmla="*/ 190405 h 209645"/>
                <a:gd name="connsiteX123" fmla="*/ 142780 w 323278"/>
                <a:gd name="connsiteY123" fmla="*/ 194691 h 209645"/>
                <a:gd name="connsiteX124" fmla="*/ 142780 w 323278"/>
                <a:gd name="connsiteY124" fmla="*/ 198311 h 209645"/>
                <a:gd name="connsiteX125" fmla="*/ 142780 w 323278"/>
                <a:gd name="connsiteY125" fmla="*/ 201835 h 209645"/>
                <a:gd name="connsiteX126" fmla="*/ 142113 w 323278"/>
                <a:gd name="connsiteY126" fmla="*/ 205073 h 209645"/>
                <a:gd name="connsiteX127" fmla="*/ 141351 w 323278"/>
                <a:gd name="connsiteY127" fmla="*/ 208216 h 209645"/>
                <a:gd name="connsiteX128" fmla="*/ 162020 w 323278"/>
                <a:gd name="connsiteY128" fmla="*/ 209645 h 209645"/>
                <a:gd name="connsiteX129" fmla="*/ 175260 w 323278"/>
                <a:gd name="connsiteY129" fmla="*/ 209074 h 209645"/>
                <a:gd name="connsiteX130" fmla="*/ 182594 w 323278"/>
                <a:gd name="connsiteY130" fmla="*/ 208216 h 209645"/>
                <a:gd name="connsiteX131" fmla="*/ 182118 w 323278"/>
                <a:gd name="connsiteY131" fmla="*/ 206407 h 209645"/>
                <a:gd name="connsiteX132" fmla="*/ 181451 w 323278"/>
                <a:gd name="connsiteY132" fmla="*/ 202978 h 209645"/>
                <a:gd name="connsiteX133" fmla="*/ 180880 w 323278"/>
                <a:gd name="connsiteY133" fmla="*/ 199358 h 209645"/>
                <a:gd name="connsiteX134" fmla="*/ 180880 w 323278"/>
                <a:gd name="connsiteY134" fmla="*/ 195358 h 209645"/>
                <a:gd name="connsiteX135" fmla="*/ 180880 w 323278"/>
                <a:gd name="connsiteY135" fmla="*/ 190500 h 209645"/>
                <a:gd name="connsiteX136" fmla="*/ 183070 w 323278"/>
                <a:gd name="connsiteY136" fmla="*/ 175451 h 209645"/>
                <a:gd name="connsiteX137" fmla="*/ 183737 w 323278"/>
                <a:gd name="connsiteY137" fmla="*/ 173260 h 209645"/>
                <a:gd name="connsiteX138" fmla="*/ 185261 w 323278"/>
                <a:gd name="connsiteY138" fmla="*/ 168402 h 209645"/>
                <a:gd name="connsiteX139" fmla="*/ 186690 w 323278"/>
                <a:gd name="connsiteY139" fmla="*/ 164402 h 209645"/>
                <a:gd name="connsiteX140" fmla="*/ 188023 w 323278"/>
                <a:gd name="connsiteY140" fmla="*/ 160782 h 209645"/>
                <a:gd name="connsiteX141" fmla="*/ 189547 w 323278"/>
                <a:gd name="connsiteY141" fmla="*/ 157448 h 209645"/>
                <a:gd name="connsiteX142" fmla="*/ 190976 w 323278"/>
                <a:gd name="connsiteY142" fmla="*/ 154210 h 209645"/>
                <a:gd name="connsiteX143" fmla="*/ 192595 w 323278"/>
                <a:gd name="connsiteY143" fmla="*/ 151066 h 209645"/>
                <a:gd name="connsiteX144" fmla="*/ 194120 w 323278"/>
                <a:gd name="connsiteY144" fmla="*/ 148018 h 209645"/>
                <a:gd name="connsiteX145" fmla="*/ 195834 w 323278"/>
                <a:gd name="connsiteY145" fmla="*/ 144971 h 209645"/>
                <a:gd name="connsiteX146" fmla="*/ 197548 w 323278"/>
                <a:gd name="connsiteY146" fmla="*/ 142113 h 209645"/>
                <a:gd name="connsiteX147" fmla="*/ 199263 w 323278"/>
                <a:gd name="connsiteY147" fmla="*/ 139160 h 209645"/>
                <a:gd name="connsiteX148" fmla="*/ 201168 w 323278"/>
                <a:gd name="connsiteY148" fmla="*/ 136303 h 209645"/>
                <a:gd name="connsiteX149" fmla="*/ 202978 w 323278"/>
                <a:gd name="connsiteY149" fmla="*/ 133540 h 209645"/>
                <a:gd name="connsiteX150" fmla="*/ 204978 w 323278"/>
                <a:gd name="connsiteY150" fmla="*/ 130683 h 209645"/>
                <a:gd name="connsiteX151" fmla="*/ 206978 w 323278"/>
                <a:gd name="connsiteY151" fmla="*/ 127921 h 209645"/>
                <a:gd name="connsiteX152" fmla="*/ 209074 w 323278"/>
                <a:gd name="connsiteY152" fmla="*/ 125254 h 209645"/>
                <a:gd name="connsiteX153" fmla="*/ 211169 w 323278"/>
                <a:gd name="connsiteY153" fmla="*/ 122587 h 209645"/>
                <a:gd name="connsiteX154" fmla="*/ 213360 w 323278"/>
                <a:gd name="connsiteY154" fmla="*/ 119920 h 209645"/>
                <a:gd name="connsiteX155" fmla="*/ 215551 w 323278"/>
                <a:gd name="connsiteY155" fmla="*/ 117253 h 209645"/>
                <a:gd name="connsiteX156" fmla="*/ 217837 w 323278"/>
                <a:gd name="connsiteY156" fmla="*/ 114681 h 209645"/>
                <a:gd name="connsiteX157" fmla="*/ 220218 w 323278"/>
                <a:gd name="connsiteY157" fmla="*/ 112109 h 209645"/>
                <a:gd name="connsiteX158" fmla="*/ 222695 w 323278"/>
                <a:gd name="connsiteY158" fmla="*/ 109538 h 209645"/>
                <a:gd name="connsiteX159" fmla="*/ 223838 w 323278"/>
                <a:gd name="connsiteY159" fmla="*/ 107252 h 209645"/>
                <a:gd name="connsiteX160" fmla="*/ 226314 w 323278"/>
                <a:gd name="connsiteY160" fmla="*/ 104775 h 209645"/>
                <a:gd name="connsiteX161" fmla="*/ 228981 w 323278"/>
                <a:gd name="connsiteY161" fmla="*/ 102299 h 209645"/>
                <a:gd name="connsiteX162" fmla="*/ 231458 w 323278"/>
                <a:gd name="connsiteY162" fmla="*/ 99632 h 209645"/>
                <a:gd name="connsiteX163" fmla="*/ 234315 w 323278"/>
                <a:gd name="connsiteY163" fmla="*/ 97727 h 209645"/>
                <a:gd name="connsiteX164" fmla="*/ 237172 w 323278"/>
                <a:gd name="connsiteY164" fmla="*/ 95345 h 209645"/>
                <a:gd name="connsiteX165" fmla="*/ 240030 w 323278"/>
                <a:gd name="connsiteY165" fmla="*/ 93059 h 209645"/>
                <a:gd name="connsiteX166" fmla="*/ 242983 w 323278"/>
                <a:gd name="connsiteY166" fmla="*/ 90773 h 209645"/>
                <a:gd name="connsiteX167" fmla="*/ 245936 w 323278"/>
                <a:gd name="connsiteY167" fmla="*/ 88583 h 209645"/>
                <a:gd name="connsiteX168" fmla="*/ 249079 w 323278"/>
                <a:gd name="connsiteY168" fmla="*/ 86392 h 209645"/>
                <a:gd name="connsiteX169" fmla="*/ 252222 w 323278"/>
                <a:gd name="connsiteY169" fmla="*/ 84201 h 209645"/>
                <a:gd name="connsiteX170" fmla="*/ 255461 w 323278"/>
                <a:gd name="connsiteY170" fmla="*/ 82106 h 209645"/>
                <a:gd name="connsiteX171" fmla="*/ 258794 w 323278"/>
                <a:gd name="connsiteY171" fmla="*/ 80105 h 209645"/>
                <a:gd name="connsiteX172" fmla="*/ 262319 w 323278"/>
                <a:gd name="connsiteY172" fmla="*/ 78105 h 209645"/>
                <a:gd name="connsiteX173" fmla="*/ 265843 w 323278"/>
                <a:gd name="connsiteY173" fmla="*/ 76295 h 209645"/>
                <a:gd name="connsiteX174" fmla="*/ 269462 w 323278"/>
                <a:gd name="connsiteY174" fmla="*/ 74390 h 209645"/>
                <a:gd name="connsiteX175" fmla="*/ 273272 w 323278"/>
                <a:gd name="connsiteY175" fmla="*/ 72676 h 209645"/>
                <a:gd name="connsiteX176" fmla="*/ 277178 w 323278"/>
                <a:gd name="connsiteY176" fmla="*/ 71057 h 209645"/>
                <a:gd name="connsiteX177" fmla="*/ 281273 w 323278"/>
                <a:gd name="connsiteY177" fmla="*/ 69437 h 209645"/>
                <a:gd name="connsiteX178" fmla="*/ 281940 w 323278"/>
                <a:gd name="connsiteY178" fmla="*/ 69437 h 209645"/>
                <a:gd name="connsiteX179" fmla="*/ 281940 w 323278"/>
                <a:gd name="connsiteY179" fmla="*/ 69437 h 209645"/>
                <a:gd name="connsiteX180" fmla="*/ 281940 w 323278"/>
                <a:gd name="connsiteY180" fmla="*/ 69437 h 209645"/>
                <a:gd name="connsiteX181" fmla="*/ 281940 w 323278"/>
                <a:gd name="connsiteY181" fmla="*/ 69437 h 209645"/>
                <a:gd name="connsiteX182" fmla="*/ 282702 w 323278"/>
                <a:gd name="connsiteY182" fmla="*/ 69437 h 209645"/>
                <a:gd name="connsiteX183" fmla="*/ 282702 w 323278"/>
                <a:gd name="connsiteY183" fmla="*/ 69437 h 209645"/>
                <a:gd name="connsiteX184" fmla="*/ 283845 w 323278"/>
                <a:gd name="connsiteY184" fmla="*/ 69437 h 209645"/>
                <a:gd name="connsiteX185" fmla="*/ 283845 w 323278"/>
                <a:gd name="connsiteY185" fmla="*/ 69437 h 209645"/>
                <a:gd name="connsiteX186" fmla="*/ 284607 w 323278"/>
                <a:gd name="connsiteY186" fmla="*/ 69437 h 209645"/>
                <a:gd name="connsiteX187" fmla="*/ 284607 w 323278"/>
                <a:gd name="connsiteY187" fmla="*/ 69437 h 209645"/>
                <a:gd name="connsiteX188" fmla="*/ 288608 w 323278"/>
                <a:gd name="connsiteY188" fmla="*/ 69437 h 209645"/>
                <a:gd name="connsiteX189" fmla="*/ 288608 w 323278"/>
                <a:gd name="connsiteY189" fmla="*/ 69437 h 209645"/>
                <a:gd name="connsiteX190" fmla="*/ 315659 w 323278"/>
                <a:gd name="connsiteY190" fmla="*/ 69437 h 209645"/>
                <a:gd name="connsiteX191" fmla="*/ 317087 w 323278"/>
                <a:gd name="connsiteY191" fmla="*/ 69437 h 209645"/>
                <a:gd name="connsiteX192" fmla="*/ 317754 w 323278"/>
                <a:gd name="connsiteY192" fmla="*/ 69437 h 209645"/>
                <a:gd name="connsiteX193" fmla="*/ 318421 w 323278"/>
                <a:gd name="connsiteY193" fmla="*/ 69437 h 209645"/>
                <a:gd name="connsiteX194" fmla="*/ 319183 w 323278"/>
                <a:gd name="connsiteY194" fmla="*/ 69437 h 209645"/>
                <a:gd name="connsiteX195" fmla="*/ 319945 w 323278"/>
                <a:gd name="connsiteY195" fmla="*/ 69437 h 209645"/>
                <a:gd name="connsiteX196" fmla="*/ 320707 w 323278"/>
                <a:gd name="connsiteY196" fmla="*/ 69437 h 209645"/>
                <a:gd name="connsiteX197" fmla="*/ 321469 w 323278"/>
                <a:gd name="connsiteY197" fmla="*/ 69437 h 209645"/>
                <a:gd name="connsiteX198" fmla="*/ 321469 w 323278"/>
                <a:gd name="connsiteY198" fmla="*/ 69437 h 209645"/>
                <a:gd name="connsiteX199" fmla="*/ 321469 w 323278"/>
                <a:gd name="connsiteY199" fmla="*/ 50387 h 209645"/>
                <a:gd name="connsiteX200" fmla="*/ 321469 w 323278"/>
                <a:gd name="connsiteY200" fmla="*/ 50387 h 209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323278" h="209645">
                  <a:moveTo>
                    <a:pt x="323279" y="46387"/>
                  </a:moveTo>
                  <a:lnTo>
                    <a:pt x="323279" y="27337"/>
                  </a:lnTo>
                  <a:lnTo>
                    <a:pt x="321469" y="27337"/>
                  </a:lnTo>
                  <a:lnTo>
                    <a:pt x="321469" y="27337"/>
                  </a:lnTo>
                  <a:lnTo>
                    <a:pt x="301657" y="27337"/>
                  </a:lnTo>
                  <a:lnTo>
                    <a:pt x="300799" y="27337"/>
                  </a:lnTo>
                  <a:lnTo>
                    <a:pt x="299466" y="27337"/>
                  </a:lnTo>
                  <a:lnTo>
                    <a:pt x="298037" y="27337"/>
                  </a:lnTo>
                  <a:lnTo>
                    <a:pt x="296418" y="26860"/>
                  </a:lnTo>
                  <a:lnTo>
                    <a:pt x="294704" y="26384"/>
                  </a:lnTo>
                  <a:lnTo>
                    <a:pt x="292989" y="25813"/>
                  </a:lnTo>
                  <a:lnTo>
                    <a:pt x="291274" y="25336"/>
                  </a:lnTo>
                  <a:lnTo>
                    <a:pt x="289370" y="24765"/>
                  </a:lnTo>
                  <a:lnTo>
                    <a:pt x="287465" y="24194"/>
                  </a:lnTo>
                  <a:lnTo>
                    <a:pt x="285464" y="23622"/>
                  </a:lnTo>
                  <a:lnTo>
                    <a:pt x="283369" y="22955"/>
                  </a:lnTo>
                  <a:lnTo>
                    <a:pt x="281273" y="22384"/>
                  </a:lnTo>
                  <a:lnTo>
                    <a:pt x="279083" y="22193"/>
                  </a:lnTo>
                  <a:lnTo>
                    <a:pt x="276511" y="21527"/>
                  </a:lnTo>
                  <a:lnTo>
                    <a:pt x="273939" y="20860"/>
                  </a:lnTo>
                  <a:lnTo>
                    <a:pt x="271272" y="20098"/>
                  </a:lnTo>
                  <a:lnTo>
                    <a:pt x="268319" y="19241"/>
                  </a:lnTo>
                  <a:lnTo>
                    <a:pt x="265271" y="18383"/>
                  </a:lnTo>
                  <a:lnTo>
                    <a:pt x="261747" y="17431"/>
                  </a:lnTo>
                  <a:lnTo>
                    <a:pt x="257937" y="16383"/>
                  </a:lnTo>
                  <a:lnTo>
                    <a:pt x="253555" y="15240"/>
                  </a:lnTo>
                  <a:lnTo>
                    <a:pt x="248126" y="13907"/>
                  </a:lnTo>
                  <a:lnTo>
                    <a:pt x="240983" y="12002"/>
                  </a:lnTo>
                  <a:cubicBezTo>
                    <a:pt x="229648" y="9239"/>
                    <a:pt x="217646" y="6572"/>
                    <a:pt x="205740" y="4477"/>
                  </a:cubicBezTo>
                  <a:lnTo>
                    <a:pt x="195453" y="2858"/>
                  </a:lnTo>
                  <a:lnTo>
                    <a:pt x="186785" y="1715"/>
                  </a:lnTo>
                  <a:lnTo>
                    <a:pt x="177260" y="667"/>
                  </a:lnTo>
                  <a:cubicBezTo>
                    <a:pt x="171831" y="191"/>
                    <a:pt x="166497" y="0"/>
                    <a:pt x="161449" y="0"/>
                  </a:cubicBezTo>
                  <a:cubicBezTo>
                    <a:pt x="156400" y="0"/>
                    <a:pt x="152495" y="0"/>
                    <a:pt x="148019" y="0"/>
                  </a:cubicBezTo>
                  <a:cubicBezTo>
                    <a:pt x="140208" y="0"/>
                    <a:pt x="132398" y="953"/>
                    <a:pt x="124682" y="1810"/>
                  </a:cubicBezTo>
                  <a:cubicBezTo>
                    <a:pt x="116967" y="2667"/>
                    <a:pt x="109918" y="3810"/>
                    <a:pt x="102775" y="5144"/>
                  </a:cubicBezTo>
                  <a:cubicBezTo>
                    <a:pt x="95631" y="6477"/>
                    <a:pt x="87820" y="8287"/>
                    <a:pt x="80486" y="10192"/>
                  </a:cubicBezTo>
                  <a:cubicBezTo>
                    <a:pt x="73152" y="12097"/>
                    <a:pt x="64675" y="14764"/>
                    <a:pt x="57055" y="17526"/>
                  </a:cubicBezTo>
                  <a:lnTo>
                    <a:pt x="50673" y="19907"/>
                  </a:lnTo>
                  <a:lnTo>
                    <a:pt x="46577" y="21717"/>
                  </a:lnTo>
                  <a:lnTo>
                    <a:pt x="44577" y="22479"/>
                  </a:lnTo>
                  <a:lnTo>
                    <a:pt x="41719" y="23622"/>
                  </a:lnTo>
                  <a:lnTo>
                    <a:pt x="37719" y="25051"/>
                  </a:lnTo>
                  <a:lnTo>
                    <a:pt x="35528" y="25622"/>
                  </a:lnTo>
                  <a:lnTo>
                    <a:pt x="33909" y="26098"/>
                  </a:lnTo>
                  <a:lnTo>
                    <a:pt x="32385" y="26098"/>
                  </a:lnTo>
                  <a:lnTo>
                    <a:pt x="31051" y="26098"/>
                  </a:lnTo>
                  <a:lnTo>
                    <a:pt x="29718" y="26098"/>
                  </a:lnTo>
                  <a:lnTo>
                    <a:pt x="28575" y="26098"/>
                  </a:lnTo>
                  <a:lnTo>
                    <a:pt x="27432" y="26098"/>
                  </a:lnTo>
                  <a:lnTo>
                    <a:pt x="26384" y="26098"/>
                  </a:lnTo>
                  <a:lnTo>
                    <a:pt x="25241" y="26098"/>
                  </a:lnTo>
                  <a:lnTo>
                    <a:pt x="24193" y="26098"/>
                  </a:lnTo>
                  <a:lnTo>
                    <a:pt x="23241" y="26098"/>
                  </a:lnTo>
                  <a:lnTo>
                    <a:pt x="22289" y="26098"/>
                  </a:lnTo>
                  <a:lnTo>
                    <a:pt x="2857" y="26098"/>
                  </a:lnTo>
                  <a:lnTo>
                    <a:pt x="2857" y="26098"/>
                  </a:lnTo>
                  <a:lnTo>
                    <a:pt x="0" y="26098"/>
                  </a:lnTo>
                  <a:lnTo>
                    <a:pt x="0" y="45148"/>
                  </a:lnTo>
                  <a:lnTo>
                    <a:pt x="0" y="45148"/>
                  </a:lnTo>
                  <a:lnTo>
                    <a:pt x="0" y="64198"/>
                  </a:lnTo>
                  <a:lnTo>
                    <a:pt x="0" y="64198"/>
                  </a:lnTo>
                  <a:lnTo>
                    <a:pt x="857" y="64198"/>
                  </a:lnTo>
                  <a:lnTo>
                    <a:pt x="1619" y="64198"/>
                  </a:lnTo>
                  <a:lnTo>
                    <a:pt x="2381" y="64198"/>
                  </a:lnTo>
                  <a:lnTo>
                    <a:pt x="3143" y="64198"/>
                  </a:lnTo>
                  <a:lnTo>
                    <a:pt x="3905" y="64198"/>
                  </a:lnTo>
                  <a:lnTo>
                    <a:pt x="4667" y="64198"/>
                  </a:lnTo>
                  <a:lnTo>
                    <a:pt x="5334" y="64198"/>
                  </a:lnTo>
                  <a:lnTo>
                    <a:pt x="6001" y="64198"/>
                  </a:lnTo>
                  <a:lnTo>
                    <a:pt x="29908" y="64198"/>
                  </a:lnTo>
                  <a:lnTo>
                    <a:pt x="29908" y="64198"/>
                  </a:lnTo>
                  <a:lnTo>
                    <a:pt x="32861" y="64198"/>
                  </a:lnTo>
                  <a:lnTo>
                    <a:pt x="32861" y="64198"/>
                  </a:lnTo>
                  <a:lnTo>
                    <a:pt x="34480" y="64198"/>
                  </a:lnTo>
                  <a:lnTo>
                    <a:pt x="34480" y="64198"/>
                  </a:lnTo>
                  <a:lnTo>
                    <a:pt x="35242" y="64198"/>
                  </a:lnTo>
                  <a:lnTo>
                    <a:pt x="35242" y="64198"/>
                  </a:lnTo>
                  <a:lnTo>
                    <a:pt x="40957" y="69152"/>
                  </a:lnTo>
                  <a:lnTo>
                    <a:pt x="45053" y="70771"/>
                  </a:lnTo>
                  <a:lnTo>
                    <a:pt x="48958" y="72390"/>
                  </a:lnTo>
                  <a:lnTo>
                    <a:pt x="52864" y="74200"/>
                  </a:lnTo>
                  <a:lnTo>
                    <a:pt x="56483" y="76010"/>
                  </a:lnTo>
                  <a:lnTo>
                    <a:pt x="60103" y="78010"/>
                  </a:lnTo>
                  <a:lnTo>
                    <a:pt x="63627" y="80010"/>
                  </a:lnTo>
                  <a:lnTo>
                    <a:pt x="66961" y="82010"/>
                  </a:lnTo>
                  <a:lnTo>
                    <a:pt x="70199" y="84106"/>
                  </a:lnTo>
                  <a:lnTo>
                    <a:pt x="73438" y="86296"/>
                  </a:lnTo>
                  <a:lnTo>
                    <a:pt x="76486" y="88487"/>
                  </a:lnTo>
                  <a:lnTo>
                    <a:pt x="79534" y="90773"/>
                  </a:lnTo>
                  <a:lnTo>
                    <a:pt x="82487" y="93059"/>
                  </a:lnTo>
                  <a:lnTo>
                    <a:pt x="85439" y="95440"/>
                  </a:lnTo>
                  <a:lnTo>
                    <a:pt x="88582" y="97727"/>
                  </a:lnTo>
                  <a:lnTo>
                    <a:pt x="91345" y="100203"/>
                  </a:lnTo>
                  <a:lnTo>
                    <a:pt x="94012" y="102680"/>
                  </a:lnTo>
                  <a:lnTo>
                    <a:pt x="96583" y="105061"/>
                  </a:lnTo>
                  <a:lnTo>
                    <a:pt x="99155" y="107633"/>
                  </a:lnTo>
                  <a:lnTo>
                    <a:pt x="101632" y="110109"/>
                  </a:lnTo>
                  <a:lnTo>
                    <a:pt x="104013" y="112681"/>
                  </a:lnTo>
                  <a:lnTo>
                    <a:pt x="106394" y="115253"/>
                  </a:lnTo>
                  <a:lnTo>
                    <a:pt x="108680" y="117919"/>
                  </a:lnTo>
                  <a:lnTo>
                    <a:pt x="110966" y="120587"/>
                  </a:lnTo>
                  <a:cubicBezTo>
                    <a:pt x="111633" y="121444"/>
                    <a:pt x="112395" y="122301"/>
                    <a:pt x="113062" y="123254"/>
                  </a:cubicBezTo>
                  <a:cubicBezTo>
                    <a:pt x="113728" y="124206"/>
                    <a:pt x="114490" y="125063"/>
                    <a:pt x="115157" y="125920"/>
                  </a:cubicBezTo>
                  <a:lnTo>
                    <a:pt x="117253" y="128683"/>
                  </a:lnTo>
                  <a:lnTo>
                    <a:pt x="119253" y="131445"/>
                  </a:lnTo>
                  <a:cubicBezTo>
                    <a:pt x="119920" y="132302"/>
                    <a:pt x="120491" y="133255"/>
                    <a:pt x="121158" y="134207"/>
                  </a:cubicBezTo>
                  <a:cubicBezTo>
                    <a:pt x="121825" y="135160"/>
                    <a:pt x="122396" y="136112"/>
                    <a:pt x="123063" y="136969"/>
                  </a:cubicBezTo>
                  <a:cubicBezTo>
                    <a:pt x="123730" y="137827"/>
                    <a:pt x="124206" y="138875"/>
                    <a:pt x="124873" y="139827"/>
                  </a:cubicBezTo>
                  <a:lnTo>
                    <a:pt x="126587" y="142780"/>
                  </a:lnTo>
                  <a:lnTo>
                    <a:pt x="128302" y="145637"/>
                  </a:lnTo>
                  <a:lnTo>
                    <a:pt x="129921" y="148590"/>
                  </a:lnTo>
                  <a:cubicBezTo>
                    <a:pt x="130397" y="149638"/>
                    <a:pt x="130969" y="150590"/>
                    <a:pt x="131445" y="151638"/>
                  </a:cubicBezTo>
                  <a:lnTo>
                    <a:pt x="132969" y="154686"/>
                  </a:lnTo>
                  <a:lnTo>
                    <a:pt x="134398" y="157829"/>
                  </a:lnTo>
                  <a:cubicBezTo>
                    <a:pt x="134899" y="158884"/>
                    <a:pt x="135345" y="159965"/>
                    <a:pt x="135731" y="161068"/>
                  </a:cubicBezTo>
                  <a:cubicBezTo>
                    <a:pt x="135731" y="162211"/>
                    <a:pt x="136684" y="163354"/>
                    <a:pt x="137065" y="164497"/>
                  </a:cubicBezTo>
                  <a:cubicBezTo>
                    <a:pt x="137446" y="165640"/>
                    <a:pt x="138017" y="166878"/>
                    <a:pt x="138398" y="168116"/>
                  </a:cubicBezTo>
                  <a:cubicBezTo>
                    <a:pt x="138779" y="169355"/>
                    <a:pt x="139351" y="170879"/>
                    <a:pt x="139732" y="172307"/>
                  </a:cubicBezTo>
                  <a:lnTo>
                    <a:pt x="140589" y="175451"/>
                  </a:lnTo>
                  <a:cubicBezTo>
                    <a:pt x="140975" y="176696"/>
                    <a:pt x="141262" y="177970"/>
                    <a:pt x="141446" y="179261"/>
                  </a:cubicBezTo>
                  <a:cubicBezTo>
                    <a:pt x="141446" y="180689"/>
                    <a:pt x="142018" y="182118"/>
                    <a:pt x="142208" y="183547"/>
                  </a:cubicBezTo>
                  <a:cubicBezTo>
                    <a:pt x="142399" y="184976"/>
                    <a:pt x="142208" y="188119"/>
                    <a:pt x="142780" y="190405"/>
                  </a:cubicBezTo>
                  <a:cubicBezTo>
                    <a:pt x="142875" y="191832"/>
                    <a:pt x="142875" y="193264"/>
                    <a:pt x="142780" y="194691"/>
                  </a:cubicBezTo>
                  <a:cubicBezTo>
                    <a:pt x="142878" y="195896"/>
                    <a:pt x="142878" y="197106"/>
                    <a:pt x="142780" y="198311"/>
                  </a:cubicBezTo>
                  <a:cubicBezTo>
                    <a:pt x="142780" y="199549"/>
                    <a:pt x="142780" y="200692"/>
                    <a:pt x="142780" y="201835"/>
                  </a:cubicBezTo>
                  <a:cubicBezTo>
                    <a:pt x="142780" y="202978"/>
                    <a:pt x="142780" y="204026"/>
                    <a:pt x="142113" y="205073"/>
                  </a:cubicBezTo>
                  <a:cubicBezTo>
                    <a:pt x="141446" y="206121"/>
                    <a:pt x="141637" y="207169"/>
                    <a:pt x="141351" y="208216"/>
                  </a:cubicBezTo>
                  <a:cubicBezTo>
                    <a:pt x="148199" y="209176"/>
                    <a:pt x="155106" y="209653"/>
                    <a:pt x="162020" y="209645"/>
                  </a:cubicBezTo>
                  <a:cubicBezTo>
                    <a:pt x="166497" y="209645"/>
                    <a:pt x="170878" y="209645"/>
                    <a:pt x="175260" y="209074"/>
                  </a:cubicBezTo>
                  <a:cubicBezTo>
                    <a:pt x="177737" y="209074"/>
                    <a:pt x="180213" y="209074"/>
                    <a:pt x="182594" y="208216"/>
                  </a:cubicBezTo>
                  <a:cubicBezTo>
                    <a:pt x="182594" y="207645"/>
                    <a:pt x="182594" y="206978"/>
                    <a:pt x="182118" y="206407"/>
                  </a:cubicBezTo>
                  <a:cubicBezTo>
                    <a:pt x="181642" y="205835"/>
                    <a:pt x="182118" y="204121"/>
                    <a:pt x="181451" y="202978"/>
                  </a:cubicBezTo>
                  <a:lnTo>
                    <a:pt x="180880" y="199358"/>
                  </a:lnTo>
                  <a:cubicBezTo>
                    <a:pt x="180880" y="198025"/>
                    <a:pt x="180880" y="196691"/>
                    <a:pt x="180880" y="195358"/>
                  </a:cubicBezTo>
                  <a:cubicBezTo>
                    <a:pt x="180880" y="194024"/>
                    <a:pt x="180880" y="192119"/>
                    <a:pt x="180880" y="190500"/>
                  </a:cubicBezTo>
                  <a:cubicBezTo>
                    <a:pt x="181068" y="185419"/>
                    <a:pt x="181803" y="180374"/>
                    <a:pt x="183070" y="175451"/>
                  </a:cubicBezTo>
                  <a:cubicBezTo>
                    <a:pt x="183070" y="174689"/>
                    <a:pt x="183070" y="173927"/>
                    <a:pt x="183737" y="173260"/>
                  </a:cubicBezTo>
                  <a:cubicBezTo>
                    <a:pt x="184404" y="172593"/>
                    <a:pt x="184690" y="170021"/>
                    <a:pt x="185261" y="168402"/>
                  </a:cubicBezTo>
                  <a:cubicBezTo>
                    <a:pt x="185652" y="167040"/>
                    <a:pt x="186130" y="165703"/>
                    <a:pt x="186690" y="164402"/>
                  </a:cubicBezTo>
                  <a:cubicBezTo>
                    <a:pt x="186690" y="163259"/>
                    <a:pt x="187547" y="162020"/>
                    <a:pt x="188023" y="160782"/>
                  </a:cubicBezTo>
                  <a:cubicBezTo>
                    <a:pt x="188500" y="159544"/>
                    <a:pt x="188976" y="158591"/>
                    <a:pt x="189547" y="157448"/>
                  </a:cubicBezTo>
                  <a:lnTo>
                    <a:pt x="190976" y="154210"/>
                  </a:lnTo>
                  <a:lnTo>
                    <a:pt x="192595" y="151066"/>
                  </a:lnTo>
                  <a:cubicBezTo>
                    <a:pt x="192595" y="150019"/>
                    <a:pt x="193643" y="149066"/>
                    <a:pt x="194120" y="148018"/>
                  </a:cubicBezTo>
                  <a:lnTo>
                    <a:pt x="195834" y="144971"/>
                  </a:lnTo>
                  <a:lnTo>
                    <a:pt x="197548" y="142113"/>
                  </a:lnTo>
                  <a:lnTo>
                    <a:pt x="199263" y="139160"/>
                  </a:lnTo>
                  <a:lnTo>
                    <a:pt x="201168" y="136303"/>
                  </a:lnTo>
                  <a:lnTo>
                    <a:pt x="202978" y="133540"/>
                  </a:lnTo>
                  <a:lnTo>
                    <a:pt x="204978" y="130683"/>
                  </a:lnTo>
                  <a:lnTo>
                    <a:pt x="206978" y="127921"/>
                  </a:lnTo>
                  <a:cubicBezTo>
                    <a:pt x="207645" y="127064"/>
                    <a:pt x="208312" y="126111"/>
                    <a:pt x="209074" y="125254"/>
                  </a:cubicBezTo>
                  <a:cubicBezTo>
                    <a:pt x="209836" y="124396"/>
                    <a:pt x="210407" y="123444"/>
                    <a:pt x="211169" y="122587"/>
                  </a:cubicBezTo>
                  <a:cubicBezTo>
                    <a:pt x="211847" y="121656"/>
                    <a:pt x="212579" y="120765"/>
                    <a:pt x="213360" y="119920"/>
                  </a:cubicBezTo>
                  <a:lnTo>
                    <a:pt x="215551" y="117253"/>
                  </a:lnTo>
                  <a:lnTo>
                    <a:pt x="217837" y="114681"/>
                  </a:lnTo>
                  <a:lnTo>
                    <a:pt x="220218" y="112109"/>
                  </a:lnTo>
                  <a:lnTo>
                    <a:pt x="222695" y="109538"/>
                  </a:lnTo>
                  <a:lnTo>
                    <a:pt x="223838" y="107252"/>
                  </a:lnTo>
                  <a:cubicBezTo>
                    <a:pt x="224615" y="106379"/>
                    <a:pt x="225442" y="105552"/>
                    <a:pt x="226314" y="104775"/>
                  </a:cubicBezTo>
                  <a:cubicBezTo>
                    <a:pt x="227157" y="103901"/>
                    <a:pt x="228047" y="103074"/>
                    <a:pt x="228981" y="102299"/>
                  </a:cubicBezTo>
                  <a:lnTo>
                    <a:pt x="231458" y="99632"/>
                  </a:lnTo>
                  <a:lnTo>
                    <a:pt x="234315" y="97727"/>
                  </a:lnTo>
                  <a:lnTo>
                    <a:pt x="237172" y="95345"/>
                  </a:lnTo>
                  <a:lnTo>
                    <a:pt x="240030" y="93059"/>
                  </a:lnTo>
                  <a:lnTo>
                    <a:pt x="242983" y="90773"/>
                  </a:lnTo>
                  <a:lnTo>
                    <a:pt x="245936" y="88583"/>
                  </a:lnTo>
                  <a:lnTo>
                    <a:pt x="249079" y="86392"/>
                  </a:lnTo>
                  <a:lnTo>
                    <a:pt x="252222" y="84201"/>
                  </a:lnTo>
                  <a:lnTo>
                    <a:pt x="255461" y="82106"/>
                  </a:lnTo>
                  <a:lnTo>
                    <a:pt x="258794" y="80105"/>
                  </a:lnTo>
                  <a:lnTo>
                    <a:pt x="262319" y="78105"/>
                  </a:lnTo>
                  <a:lnTo>
                    <a:pt x="265843" y="76295"/>
                  </a:lnTo>
                  <a:lnTo>
                    <a:pt x="269462" y="74390"/>
                  </a:lnTo>
                  <a:lnTo>
                    <a:pt x="273272" y="72676"/>
                  </a:lnTo>
                  <a:lnTo>
                    <a:pt x="277178" y="71057"/>
                  </a:lnTo>
                  <a:lnTo>
                    <a:pt x="281273" y="69437"/>
                  </a:lnTo>
                  <a:lnTo>
                    <a:pt x="281940" y="69437"/>
                  </a:lnTo>
                  <a:lnTo>
                    <a:pt x="281940" y="69437"/>
                  </a:lnTo>
                  <a:lnTo>
                    <a:pt x="281940" y="69437"/>
                  </a:lnTo>
                  <a:lnTo>
                    <a:pt x="281940" y="69437"/>
                  </a:lnTo>
                  <a:lnTo>
                    <a:pt x="282702" y="69437"/>
                  </a:lnTo>
                  <a:lnTo>
                    <a:pt x="282702" y="69437"/>
                  </a:lnTo>
                  <a:lnTo>
                    <a:pt x="283845" y="69437"/>
                  </a:lnTo>
                  <a:lnTo>
                    <a:pt x="283845" y="69437"/>
                  </a:lnTo>
                  <a:lnTo>
                    <a:pt x="284607" y="69437"/>
                  </a:lnTo>
                  <a:lnTo>
                    <a:pt x="284607" y="69437"/>
                  </a:lnTo>
                  <a:lnTo>
                    <a:pt x="288608" y="69437"/>
                  </a:lnTo>
                  <a:lnTo>
                    <a:pt x="288608" y="69437"/>
                  </a:lnTo>
                  <a:lnTo>
                    <a:pt x="315659" y="69437"/>
                  </a:lnTo>
                  <a:lnTo>
                    <a:pt x="317087" y="69437"/>
                  </a:lnTo>
                  <a:lnTo>
                    <a:pt x="317754" y="69437"/>
                  </a:lnTo>
                  <a:lnTo>
                    <a:pt x="318421" y="69437"/>
                  </a:lnTo>
                  <a:lnTo>
                    <a:pt x="319183" y="69437"/>
                  </a:lnTo>
                  <a:lnTo>
                    <a:pt x="319945" y="69437"/>
                  </a:lnTo>
                  <a:lnTo>
                    <a:pt x="320707" y="69437"/>
                  </a:lnTo>
                  <a:lnTo>
                    <a:pt x="321469" y="69437"/>
                  </a:lnTo>
                  <a:lnTo>
                    <a:pt x="321469" y="69437"/>
                  </a:lnTo>
                  <a:lnTo>
                    <a:pt x="321469" y="50387"/>
                  </a:lnTo>
                  <a:lnTo>
                    <a:pt x="321469" y="50387"/>
                  </a:lnTo>
                  <a:close/>
                </a:path>
              </a:pathLst>
            </a:custGeom>
            <a:solidFill>
              <a:schemeClr val="bg1"/>
            </a:solidFill>
            <a:ln w="9525" cap="flat">
              <a:noFill/>
              <a:prstDash val="solid"/>
              <a:miter/>
            </a:ln>
          </p:spPr>
          <p:txBody>
            <a:bodyPr rtlCol="0" anchor="ctr"/>
            <a:lstStyle/>
            <a:p>
              <a:endParaRPr lang="fr-FR"/>
            </a:p>
          </p:txBody>
        </p:sp>
        <p:sp>
          <p:nvSpPr>
            <p:cNvPr id="385" name="Freeform 131">
              <a:extLst>
                <a:ext uri="{FF2B5EF4-FFF2-40B4-BE49-F238E27FC236}">
                  <a16:creationId xmlns:a16="http://schemas.microsoft.com/office/drawing/2014/main" id="{31433680-8A9F-4CFC-88EF-F00D470F77B0}"/>
                </a:ext>
              </a:extLst>
            </p:cNvPr>
            <p:cNvSpPr/>
            <p:nvPr/>
          </p:nvSpPr>
          <p:spPr>
            <a:xfrm>
              <a:off x="5988939" y="3384804"/>
              <a:ext cx="206120" cy="124301"/>
            </a:xfrm>
            <a:custGeom>
              <a:avLst/>
              <a:gdLst>
                <a:gd name="connsiteX0" fmla="*/ 200311 w 206120"/>
                <a:gd name="connsiteY0" fmla="*/ 15621 h 124301"/>
                <a:gd name="connsiteX1" fmla="*/ 192024 w 206120"/>
                <a:gd name="connsiteY1" fmla="*/ 13430 h 124301"/>
                <a:gd name="connsiteX2" fmla="*/ 185642 w 206120"/>
                <a:gd name="connsiteY2" fmla="*/ 11906 h 124301"/>
                <a:gd name="connsiteX3" fmla="*/ 180308 w 206120"/>
                <a:gd name="connsiteY3" fmla="*/ 10573 h 124301"/>
                <a:gd name="connsiteX4" fmla="*/ 175641 w 206120"/>
                <a:gd name="connsiteY4" fmla="*/ 9430 h 124301"/>
                <a:gd name="connsiteX5" fmla="*/ 175641 w 206120"/>
                <a:gd name="connsiteY5" fmla="*/ 9430 h 124301"/>
                <a:gd name="connsiteX6" fmla="*/ 170974 w 206120"/>
                <a:gd name="connsiteY6" fmla="*/ 8382 h 124301"/>
                <a:gd name="connsiteX7" fmla="*/ 166878 w 206120"/>
                <a:gd name="connsiteY7" fmla="*/ 7429 h 124301"/>
                <a:gd name="connsiteX8" fmla="*/ 162782 w 206120"/>
                <a:gd name="connsiteY8" fmla="*/ 6572 h 124301"/>
                <a:gd name="connsiteX9" fmla="*/ 158591 w 206120"/>
                <a:gd name="connsiteY9" fmla="*/ 6096 h 124301"/>
                <a:gd name="connsiteX10" fmla="*/ 154686 w 206120"/>
                <a:gd name="connsiteY10" fmla="*/ 5429 h 124301"/>
                <a:gd name="connsiteX11" fmla="*/ 150686 w 206120"/>
                <a:gd name="connsiteY11" fmla="*/ 4667 h 124301"/>
                <a:gd name="connsiteX12" fmla="*/ 147161 w 206120"/>
                <a:gd name="connsiteY12" fmla="*/ 4001 h 124301"/>
                <a:gd name="connsiteX13" fmla="*/ 143351 w 206120"/>
                <a:gd name="connsiteY13" fmla="*/ 3429 h 124301"/>
                <a:gd name="connsiteX14" fmla="*/ 139732 w 206120"/>
                <a:gd name="connsiteY14" fmla="*/ 2762 h 124301"/>
                <a:gd name="connsiteX15" fmla="*/ 135636 w 206120"/>
                <a:gd name="connsiteY15" fmla="*/ 2191 h 124301"/>
                <a:gd name="connsiteX16" fmla="*/ 131540 w 206120"/>
                <a:gd name="connsiteY16" fmla="*/ 1619 h 124301"/>
                <a:gd name="connsiteX17" fmla="*/ 127254 w 206120"/>
                <a:gd name="connsiteY17" fmla="*/ 1048 h 124301"/>
                <a:gd name="connsiteX18" fmla="*/ 122301 w 206120"/>
                <a:gd name="connsiteY18" fmla="*/ 1048 h 124301"/>
                <a:gd name="connsiteX19" fmla="*/ 116300 w 206120"/>
                <a:gd name="connsiteY19" fmla="*/ 476 h 124301"/>
                <a:gd name="connsiteX20" fmla="*/ 102965 w 206120"/>
                <a:gd name="connsiteY20" fmla="*/ 0 h 124301"/>
                <a:gd name="connsiteX21" fmla="*/ 88773 w 206120"/>
                <a:gd name="connsiteY21" fmla="*/ 0 h 124301"/>
                <a:gd name="connsiteX22" fmla="*/ 80391 w 206120"/>
                <a:gd name="connsiteY22" fmla="*/ 476 h 124301"/>
                <a:gd name="connsiteX23" fmla="*/ 73342 w 206120"/>
                <a:gd name="connsiteY23" fmla="*/ 1048 h 124301"/>
                <a:gd name="connsiteX24" fmla="*/ 67056 w 206120"/>
                <a:gd name="connsiteY24" fmla="*/ 1715 h 124301"/>
                <a:gd name="connsiteX25" fmla="*/ 62008 w 206120"/>
                <a:gd name="connsiteY25" fmla="*/ 2381 h 124301"/>
                <a:gd name="connsiteX26" fmla="*/ 57341 w 206120"/>
                <a:gd name="connsiteY26" fmla="*/ 3048 h 124301"/>
                <a:gd name="connsiteX27" fmla="*/ 52768 w 206120"/>
                <a:gd name="connsiteY27" fmla="*/ 3715 h 124301"/>
                <a:gd name="connsiteX28" fmla="*/ 48673 w 206120"/>
                <a:gd name="connsiteY28" fmla="*/ 4381 h 124301"/>
                <a:gd name="connsiteX29" fmla="*/ 46196 w 206120"/>
                <a:gd name="connsiteY29" fmla="*/ 4858 h 124301"/>
                <a:gd name="connsiteX30" fmla="*/ 44863 w 206120"/>
                <a:gd name="connsiteY30" fmla="*/ 4858 h 124301"/>
                <a:gd name="connsiteX31" fmla="*/ 41053 w 206120"/>
                <a:gd name="connsiteY31" fmla="*/ 5524 h 124301"/>
                <a:gd name="connsiteX32" fmla="*/ 37624 w 206120"/>
                <a:gd name="connsiteY32" fmla="*/ 6286 h 124301"/>
                <a:gd name="connsiteX33" fmla="*/ 34290 w 206120"/>
                <a:gd name="connsiteY33" fmla="*/ 7048 h 124301"/>
                <a:gd name="connsiteX34" fmla="*/ 31052 w 206120"/>
                <a:gd name="connsiteY34" fmla="*/ 7715 h 124301"/>
                <a:gd name="connsiteX35" fmla="*/ 28004 w 206120"/>
                <a:gd name="connsiteY35" fmla="*/ 8477 h 124301"/>
                <a:gd name="connsiteX36" fmla="*/ 25051 w 206120"/>
                <a:gd name="connsiteY36" fmla="*/ 9239 h 124301"/>
                <a:gd name="connsiteX37" fmla="*/ 22193 w 206120"/>
                <a:gd name="connsiteY37" fmla="*/ 10001 h 124301"/>
                <a:gd name="connsiteX38" fmla="*/ 19336 w 206120"/>
                <a:gd name="connsiteY38" fmla="*/ 10858 h 124301"/>
                <a:gd name="connsiteX39" fmla="*/ 16669 w 206120"/>
                <a:gd name="connsiteY39" fmla="*/ 11620 h 124301"/>
                <a:gd name="connsiteX40" fmla="*/ 14097 w 206120"/>
                <a:gd name="connsiteY40" fmla="*/ 12382 h 124301"/>
                <a:gd name="connsiteX41" fmla="*/ 11525 w 206120"/>
                <a:gd name="connsiteY41" fmla="*/ 13144 h 124301"/>
                <a:gd name="connsiteX42" fmla="*/ 9049 w 206120"/>
                <a:gd name="connsiteY42" fmla="*/ 13906 h 124301"/>
                <a:gd name="connsiteX43" fmla="*/ 6572 w 206120"/>
                <a:gd name="connsiteY43" fmla="*/ 14764 h 124301"/>
                <a:gd name="connsiteX44" fmla="*/ 4286 w 206120"/>
                <a:gd name="connsiteY44" fmla="*/ 15526 h 124301"/>
                <a:gd name="connsiteX45" fmla="*/ 2000 w 206120"/>
                <a:gd name="connsiteY45" fmla="*/ 16288 h 124301"/>
                <a:gd name="connsiteX46" fmla="*/ 0 w 206120"/>
                <a:gd name="connsiteY46" fmla="*/ 17050 h 124301"/>
                <a:gd name="connsiteX47" fmla="*/ 5524 w 206120"/>
                <a:gd name="connsiteY47" fmla="*/ 23336 h 124301"/>
                <a:gd name="connsiteX48" fmla="*/ 103061 w 206120"/>
                <a:gd name="connsiteY48" fmla="*/ 124301 h 124301"/>
                <a:gd name="connsiteX49" fmla="*/ 103727 w 206120"/>
                <a:gd name="connsiteY49" fmla="*/ 124301 h 124301"/>
                <a:gd name="connsiteX50" fmla="*/ 201263 w 206120"/>
                <a:gd name="connsiteY50" fmla="*/ 23336 h 124301"/>
                <a:gd name="connsiteX51" fmla="*/ 206121 w 206120"/>
                <a:gd name="connsiteY51" fmla="*/ 17621 h 124301"/>
                <a:gd name="connsiteX52" fmla="*/ 103632 w 206120"/>
                <a:gd name="connsiteY52" fmla="*/ 61913 h 124301"/>
                <a:gd name="connsiteX53" fmla="*/ 82106 w 206120"/>
                <a:gd name="connsiteY53" fmla="*/ 40577 h 124301"/>
                <a:gd name="connsiteX54" fmla="*/ 103442 w 206120"/>
                <a:gd name="connsiteY54" fmla="*/ 19050 h 124301"/>
                <a:gd name="connsiteX55" fmla="*/ 124968 w 206120"/>
                <a:gd name="connsiteY55" fmla="*/ 40386 h 124301"/>
                <a:gd name="connsiteX56" fmla="*/ 124968 w 206120"/>
                <a:gd name="connsiteY56" fmla="*/ 40577 h 124301"/>
                <a:gd name="connsiteX57" fmla="*/ 103632 w 206120"/>
                <a:gd name="connsiteY57" fmla="*/ 61913 h 12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6120" h="124301">
                  <a:moveTo>
                    <a:pt x="200311" y="15621"/>
                  </a:moveTo>
                  <a:lnTo>
                    <a:pt x="192024" y="13430"/>
                  </a:lnTo>
                  <a:lnTo>
                    <a:pt x="185642" y="11906"/>
                  </a:lnTo>
                  <a:lnTo>
                    <a:pt x="180308" y="10573"/>
                  </a:lnTo>
                  <a:lnTo>
                    <a:pt x="175641" y="9430"/>
                  </a:lnTo>
                  <a:lnTo>
                    <a:pt x="175641" y="9430"/>
                  </a:lnTo>
                  <a:lnTo>
                    <a:pt x="170974" y="8382"/>
                  </a:lnTo>
                  <a:lnTo>
                    <a:pt x="166878" y="7429"/>
                  </a:lnTo>
                  <a:lnTo>
                    <a:pt x="162782" y="6572"/>
                  </a:lnTo>
                  <a:lnTo>
                    <a:pt x="158591" y="6096"/>
                  </a:lnTo>
                  <a:lnTo>
                    <a:pt x="154686" y="5429"/>
                  </a:lnTo>
                  <a:lnTo>
                    <a:pt x="150686" y="4667"/>
                  </a:lnTo>
                  <a:lnTo>
                    <a:pt x="147161" y="4001"/>
                  </a:lnTo>
                  <a:lnTo>
                    <a:pt x="143351" y="3429"/>
                  </a:lnTo>
                  <a:lnTo>
                    <a:pt x="139732" y="2762"/>
                  </a:lnTo>
                  <a:lnTo>
                    <a:pt x="135636" y="2191"/>
                  </a:lnTo>
                  <a:lnTo>
                    <a:pt x="131540" y="1619"/>
                  </a:lnTo>
                  <a:lnTo>
                    <a:pt x="127254" y="1048"/>
                  </a:lnTo>
                  <a:lnTo>
                    <a:pt x="122301" y="1048"/>
                  </a:lnTo>
                  <a:cubicBezTo>
                    <a:pt x="120301" y="1048"/>
                    <a:pt x="118205" y="1048"/>
                    <a:pt x="116300" y="476"/>
                  </a:cubicBezTo>
                  <a:cubicBezTo>
                    <a:pt x="111538" y="476"/>
                    <a:pt x="106775" y="0"/>
                    <a:pt x="102965" y="0"/>
                  </a:cubicBezTo>
                  <a:lnTo>
                    <a:pt x="88773" y="0"/>
                  </a:lnTo>
                  <a:lnTo>
                    <a:pt x="80391" y="476"/>
                  </a:lnTo>
                  <a:lnTo>
                    <a:pt x="73342" y="1048"/>
                  </a:lnTo>
                  <a:lnTo>
                    <a:pt x="67056" y="1715"/>
                  </a:lnTo>
                  <a:lnTo>
                    <a:pt x="62008" y="2381"/>
                  </a:lnTo>
                  <a:lnTo>
                    <a:pt x="57341" y="3048"/>
                  </a:lnTo>
                  <a:lnTo>
                    <a:pt x="52768" y="3715"/>
                  </a:lnTo>
                  <a:lnTo>
                    <a:pt x="48673" y="4381"/>
                  </a:lnTo>
                  <a:lnTo>
                    <a:pt x="46196" y="4858"/>
                  </a:lnTo>
                  <a:lnTo>
                    <a:pt x="44863" y="4858"/>
                  </a:lnTo>
                  <a:lnTo>
                    <a:pt x="41053" y="5524"/>
                  </a:lnTo>
                  <a:lnTo>
                    <a:pt x="37624" y="6286"/>
                  </a:lnTo>
                  <a:lnTo>
                    <a:pt x="34290" y="7048"/>
                  </a:lnTo>
                  <a:lnTo>
                    <a:pt x="31052" y="7715"/>
                  </a:lnTo>
                  <a:lnTo>
                    <a:pt x="28004" y="8477"/>
                  </a:lnTo>
                  <a:lnTo>
                    <a:pt x="25051" y="9239"/>
                  </a:lnTo>
                  <a:lnTo>
                    <a:pt x="22193" y="10001"/>
                  </a:lnTo>
                  <a:lnTo>
                    <a:pt x="19336" y="10858"/>
                  </a:lnTo>
                  <a:lnTo>
                    <a:pt x="16669" y="11620"/>
                  </a:lnTo>
                  <a:lnTo>
                    <a:pt x="14097" y="12382"/>
                  </a:lnTo>
                  <a:lnTo>
                    <a:pt x="11525" y="13144"/>
                  </a:lnTo>
                  <a:lnTo>
                    <a:pt x="9049" y="13906"/>
                  </a:lnTo>
                  <a:lnTo>
                    <a:pt x="6572" y="14764"/>
                  </a:lnTo>
                  <a:lnTo>
                    <a:pt x="4286" y="15526"/>
                  </a:lnTo>
                  <a:lnTo>
                    <a:pt x="2000" y="16288"/>
                  </a:lnTo>
                  <a:lnTo>
                    <a:pt x="0" y="17050"/>
                  </a:lnTo>
                  <a:cubicBezTo>
                    <a:pt x="2114" y="18889"/>
                    <a:pt x="3972" y="21003"/>
                    <a:pt x="5524" y="23336"/>
                  </a:cubicBezTo>
                  <a:cubicBezTo>
                    <a:pt x="26765" y="57626"/>
                    <a:pt x="83820" y="124301"/>
                    <a:pt x="103061" y="124301"/>
                  </a:cubicBezTo>
                  <a:lnTo>
                    <a:pt x="103727" y="124301"/>
                  </a:lnTo>
                  <a:cubicBezTo>
                    <a:pt x="122777" y="124301"/>
                    <a:pt x="179927" y="57626"/>
                    <a:pt x="201263" y="23336"/>
                  </a:cubicBezTo>
                  <a:cubicBezTo>
                    <a:pt x="202635" y="21234"/>
                    <a:pt x="204268" y="19314"/>
                    <a:pt x="206121" y="17621"/>
                  </a:cubicBezTo>
                  <a:close/>
                  <a:moveTo>
                    <a:pt x="103632" y="61913"/>
                  </a:moveTo>
                  <a:cubicBezTo>
                    <a:pt x="91796" y="61965"/>
                    <a:pt x="82158" y="52413"/>
                    <a:pt x="82106" y="40577"/>
                  </a:cubicBezTo>
                  <a:cubicBezTo>
                    <a:pt x="82053" y="28740"/>
                    <a:pt x="91606" y="19103"/>
                    <a:pt x="103442" y="19050"/>
                  </a:cubicBezTo>
                  <a:cubicBezTo>
                    <a:pt x="115278" y="18998"/>
                    <a:pt x="124916" y="28550"/>
                    <a:pt x="124968" y="40386"/>
                  </a:cubicBezTo>
                  <a:cubicBezTo>
                    <a:pt x="124968" y="40450"/>
                    <a:pt x="124968" y="40513"/>
                    <a:pt x="124968" y="40577"/>
                  </a:cubicBezTo>
                  <a:cubicBezTo>
                    <a:pt x="124968" y="52360"/>
                    <a:pt x="115416" y="61913"/>
                    <a:pt x="103632" y="61913"/>
                  </a:cubicBezTo>
                  <a:close/>
                </a:path>
              </a:pathLst>
            </a:custGeom>
            <a:solidFill>
              <a:schemeClr val="accent2"/>
            </a:solidFill>
            <a:ln w="9525" cap="flat">
              <a:noFill/>
              <a:prstDash val="solid"/>
              <a:miter/>
            </a:ln>
          </p:spPr>
          <p:txBody>
            <a:bodyPr rtlCol="0" anchor="ctr"/>
            <a:lstStyle/>
            <a:p>
              <a:endParaRPr lang="fr-FR"/>
            </a:p>
          </p:txBody>
        </p:sp>
        <p:sp>
          <p:nvSpPr>
            <p:cNvPr id="396" name="Freeform 132">
              <a:extLst>
                <a:ext uri="{FF2B5EF4-FFF2-40B4-BE49-F238E27FC236}">
                  <a16:creationId xmlns:a16="http://schemas.microsoft.com/office/drawing/2014/main" id="{00DAD791-126D-45FE-86D9-483D8420594C}"/>
                </a:ext>
              </a:extLst>
            </p:cNvPr>
            <p:cNvSpPr/>
            <p:nvPr/>
          </p:nvSpPr>
          <p:spPr>
            <a:xfrm>
              <a:off x="6071044" y="3403949"/>
              <a:ext cx="42862" cy="42862"/>
            </a:xfrm>
            <a:custGeom>
              <a:avLst/>
              <a:gdLst>
                <a:gd name="connsiteX0" fmla="*/ 21527 w 42862"/>
                <a:gd name="connsiteY0" fmla="*/ 0 h 42862"/>
                <a:gd name="connsiteX1" fmla="*/ 0 w 42862"/>
                <a:gd name="connsiteY1" fmla="*/ 21336 h 42862"/>
                <a:gd name="connsiteX2" fmla="*/ 21336 w 42862"/>
                <a:gd name="connsiteY2" fmla="*/ 42862 h 42862"/>
                <a:gd name="connsiteX3" fmla="*/ 42862 w 42862"/>
                <a:gd name="connsiteY3" fmla="*/ 21527 h 42862"/>
                <a:gd name="connsiteX4" fmla="*/ 42863 w 42862"/>
                <a:gd name="connsiteY4" fmla="*/ 21431 h 42862"/>
                <a:gd name="connsiteX5" fmla="*/ 21622 w 42862"/>
                <a:gd name="connsiteY5" fmla="*/ 0 h 42862"/>
                <a:gd name="connsiteX6" fmla="*/ 21527 w 42862"/>
                <a:gd name="connsiteY6" fmla="*/ 0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862" h="42862">
                  <a:moveTo>
                    <a:pt x="21527" y="0"/>
                  </a:moveTo>
                  <a:cubicBezTo>
                    <a:pt x="9690" y="-52"/>
                    <a:pt x="53" y="9500"/>
                    <a:pt x="0" y="21336"/>
                  </a:cubicBezTo>
                  <a:cubicBezTo>
                    <a:pt x="-52" y="33172"/>
                    <a:pt x="9500" y="42810"/>
                    <a:pt x="21336" y="42862"/>
                  </a:cubicBezTo>
                  <a:cubicBezTo>
                    <a:pt x="33172" y="42915"/>
                    <a:pt x="42810" y="33363"/>
                    <a:pt x="42862" y="21527"/>
                  </a:cubicBezTo>
                  <a:cubicBezTo>
                    <a:pt x="42862" y="21495"/>
                    <a:pt x="42863" y="21463"/>
                    <a:pt x="42863" y="21431"/>
                  </a:cubicBezTo>
                  <a:cubicBezTo>
                    <a:pt x="42915" y="9648"/>
                    <a:pt x="33405" y="53"/>
                    <a:pt x="21622" y="0"/>
                  </a:cubicBezTo>
                  <a:cubicBezTo>
                    <a:pt x="21590" y="0"/>
                    <a:pt x="21558" y="0"/>
                    <a:pt x="21527" y="0"/>
                  </a:cubicBezTo>
                  <a:close/>
                </a:path>
              </a:pathLst>
            </a:custGeom>
            <a:solidFill>
              <a:schemeClr val="bg1">
                <a:lumMod val="95000"/>
              </a:schemeClr>
            </a:solidFill>
            <a:ln w="9525" cap="flat">
              <a:noFill/>
              <a:prstDash val="solid"/>
              <a:miter/>
            </a:ln>
          </p:spPr>
          <p:txBody>
            <a:bodyPr rtlCol="0" anchor="ctr"/>
            <a:lstStyle/>
            <a:p>
              <a:endParaRPr lang="fr-FR"/>
            </a:p>
          </p:txBody>
        </p:sp>
      </p:grpSp>
      <p:grpSp>
        <p:nvGrpSpPr>
          <p:cNvPr id="453" name="Graphic 365">
            <a:extLst>
              <a:ext uri="{FF2B5EF4-FFF2-40B4-BE49-F238E27FC236}">
                <a16:creationId xmlns:a16="http://schemas.microsoft.com/office/drawing/2014/main" id="{362BD8DB-9C80-432F-947E-57DE738CFEDF}"/>
              </a:ext>
              <a:ext uri="{C183D7F6-B498-43B3-948B-1728B52AA6E4}">
                <adec:decorative xmlns:adec="http://schemas.microsoft.com/office/drawing/2017/decorative" val="1"/>
              </a:ext>
            </a:extLst>
          </p:cNvPr>
          <p:cNvGrpSpPr>
            <a:grpSpLocks noChangeAspect="1"/>
          </p:cNvGrpSpPr>
          <p:nvPr/>
        </p:nvGrpSpPr>
        <p:grpSpPr>
          <a:xfrm>
            <a:off x="3714470" y="2634235"/>
            <a:ext cx="668205" cy="633600"/>
            <a:chOff x="6238012" y="4824891"/>
            <a:chExt cx="772624" cy="732611"/>
          </a:xfrm>
        </p:grpSpPr>
        <p:sp>
          <p:nvSpPr>
            <p:cNvPr id="454" name="Graphic 365">
              <a:extLst>
                <a:ext uri="{FF2B5EF4-FFF2-40B4-BE49-F238E27FC236}">
                  <a16:creationId xmlns:a16="http://schemas.microsoft.com/office/drawing/2014/main" id="{A04CE7BD-DF1C-49A7-A90F-318223A0858E}"/>
                </a:ext>
              </a:extLst>
            </p:cNvPr>
            <p:cNvSpPr/>
            <p:nvPr/>
          </p:nvSpPr>
          <p:spPr>
            <a:xfrm>
              <a:off x="6238012" y="4824891"/>
              <a:ext cx="772624" cy="732611"/>
            </a:xfrm>
            <a:custGeom>
              <a:avLst/>
              <a:gdLst>
                <a:gd name="connsiteX0" fmla="*/ 75056 w 772624"/>
                <a:gd name="connsiteY0" fmla="*/ 595047 h 732611"/>
                <a:gd name="connsiteX1" fmla="*/ 159057 w 772624"/>
                <a:gd name="connsiteY1" fmla="*/ 73732 h 732611"/>
                <a:gd name="connsiteX2" fmla="*/ 702338 w 772624"/>
                <a:gd name="connsiteY2" fmla="*/ 151166 h 732611"/>
                <a:gd name="connsiteX3" fmla="*/ 604155 w 772624"/>
                <a:gd name="connsiteY3" fmla="*/ 651759 h 732611"/>
                <a:gd name="connsiteX4" fmla="*/ 75056 w 772624"/>
                <a:gd name="connsiteY4" fmla="*/ 595047 h 73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624" h="732611">
                  <a:moveTo>
                    <a:pt x="75056" y="595047"/>
                  </a:moveTo>
                  <a:cubicBezTo>
                    <a:pt x="-51492" y="430364"/>
                    <a:pt x="-14400" y="196972"/>
                    <a:pt x="159057" y="73732"/>
                  </a:cubicBezTo>
                  <a:cubicBezTo>
                    <a:pt x="332514" y="-49508"/>
                    <a:pt x="575790" y="-14608"/>
                    <a:pt x="702338" y="151166"/>
                  </a:cubicBezTo>
                  <a:cubicBezTo>
                    <a:pt x="828885" y="316940"/>
                    <a:pt x="777612" y="529610"/>
                    <a:pt x="604155" y="651759"/>
                  </a:cubicBezTo>
                  <a:cubicBezTo>
                    <a:pt x="430697" y="773909"/>
                    <a:pt x="201603" y="759731"/>
                    <a:pt x="75056" y="595047"/>
                  </a:cubicBezTo>
                </a:path>
              </a:pathLst>
            </a:custGeom>
            <a:solidFill>
              <a:schemeClr val="accent2"/>
            </a:solidFill>
            <a:ln w="10867" cap="flat">
              <a:noFill/>
              <a:prstDash val="solid"/>
              <a:miter/>
            </a:ln>
          </p:spPr>
          <p:txBody>
            <a:bodyPr rtlCol="0" anchor="ctr"/>
            <a:lstStyle/>
            <a:p>
              <a:endParaRPr lang="en-US"/>
            </a:p>
          </p:txBody>
        </p:sp>
        <p:sp>
          <p:nvSpPr>
            <p:cNvPr id="455" name="Graphic 365">
              <a:extLst>
                <a:ext uri="{FF2B5EF4-FFF2-40B4-BE49-F238E27FC236}">
                  <a16:creationId xmlns:a16="http://schemas.microsoft.com/office/drawing/2014/main" id="{75251E49-A1D4-4B8B-AC53-F6949F279843}"/>
                </a:ext>
              </a:extLst>
            </p:cNvPr>
            <p:cNvSpPr/>
            <p:nvPr/>
          </p:nvSpPr>
          <p:spPr>
            <a:xfrm>
              <a:off x="6451615" y="5016408"/>
              <a:ext cx="345823" cy="334821"/>
            </a:xfrm>
            <a:custGeom>
              <a:avLst/>
              <a:gdLst>
                <a:gd name="connsiteX0" fmla="*/ 36001 w 345823"/>
                <a:gd name="connsiteY0" fmla="*/ 283562 h 334821"/>
                <a:gd name="connsiteX1" fmla="*/ 102547 w 345823"/>
                <a:gd name="connsiteY1" fmla="*/ 334821 h 334821"/>
                <a:gd name="connsiteX2" fmla="*/ 170184 w 345823"/>
                <a:gd name="connsiteY2" fmla="*/ 254116 h 334821"/>
                <a:gd name="connsiteX3" fmla="*/ 242185 w 345823"/>
                <a:gd name="connsiteY3" fmla="*/ 333731 h 334821"/>
                <a:gd name="connsiteX4" fmla="*/ 242185 w 345823"/>
                <a:gd name="connsiteY4" fmla="*/ 333731 h 334821"/>
                <a:gd name="connsiteX5" fmla="*/ 308732 w 345823"/>
                <a:gd name="connsiteY5" fmla="*/ 282472 h 334821"/>
                <a:gd name="connsiteX6" fmla="*/ 250913 w 345823"/>
                <a:gd name="connsiteY6" fmla="*/ 195222 h 334821"/>
                <a:gd name="connsiteX7" fmla="*/ 345823 w 345823"/>
                <a:gd name="connsiteY7" fmla="*/ 148326 h 334821"/>
                <a:gd name="connsiteX8" fmla="*/ 320732 w 345823"/>
                <a:gd name="connsiteY8" fmla="*/ 81798 h 334821"/>
                <a:gd name="connsiteX9" fmla="*/ 226912 w 345823"/>
                <a:gd name="connsiteY9" fmla="*/ 105792 h 334821"/>
                <a:gd name="connsiteX10" fmla="*/ 206185 w 345823"/>
                <a:gd name="connsiteY10" fmla="*/ 3273 h 334821"/>
                <a:gd name="connsiteX11" fmla="*/ 172366 w 345823"/>
                <a:gd name="connsiteY11" fmla="*/ 2 h 334821"/>
                <a:gd name="connsiteX12" fmla="*/ 139638 w 345823"/>
                <a:gd name="connsiteY12" fmla="*/ 3273 h 334821"/>
                <a:gd name="connsiteX13" fmla="*/ 117820 w 345823"/>
                <a:gd name="connsiteY13" fmla="*/ 105792 h 334821"/>
                <a:gd name="connsiteX14" fmla="*/ 25091 w 345823"/>
                <a:gd name="connsiteY14" fmla="*/ 81798 h 334821"/>
                <a:gd name="connsiteX15" fmla="*/ 0 w 345823"/>
                <a:gd name="connsiteY15" fmla="*/ 149416 h 334821"/>
                <a:gd name="connsiteX16" fmla="*/ 94910 w 345823"/>
                <a:gd name="connsiteY16" fmla="*/ 196313 h 334821"/>
                <a:gd name="connsiteX17" fmla="*/ 36001 w 345823"/>
                <a:gd name="connsiteY17" fmla="*/ 283562 h 334821"/>
                <a:gd name="connsiteX18" fmla="*/ 172366 w 345823"/>
                <a:gd name="connsiteY18" fmla="*/ 124332 h 334821"/>
                <a:gd name="connsiteX19" fmla="*/ 216003 w 345823"/>
                <a:gd name="connsiteY19" fmla="*/ 167957 h 334821"/>
                <a:gd name="connsiteX20" fmla="*/ 172366 w 345823"/>
                <a:gd name="connsiteY20" fmla="*/ 211581 h 334821"/>
                <a:gd name="connsiteX21" fmla="*/ 128729 w 345823"/>
                <a:gd name="connsiteY21" fmla="*/ 167957 h 334821"/>
                <a:gd name="connsiteX22" fmla="*/ 172366 w 345823"/>
                <a:gd name="connsiteY22" fmla="*/ 124332 h 33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5823" h="334821">
                  <a:moveTo>
                    <a:pt x="36001" y="283562"/>
                  </a:moveTo>
                  <a:cubicBezTo>
                    <a:pt x="53270" y="306220"/>
                    <a:pt x="76230" y="323904"/>
                    <a:pt x="102547" y="334821"/>
                  </a:cubicBezTo>
                  <a:cubicBezTo>
                    <a:pt x="102547" y="291197"/>
                    <a:pt x="133093" y="255206"/>
                    <a:pt x="170184" y="254116"/>
                  </a:cubicBezTo>
                  <a:cubicBezTo>
                    <a:pt x="207276" y="253025"/>
                    <a:pt x="241095" y="289015"/>
                    <a:pt x="242185" y="333731"/>
                  </a:cubicBezTo>
                  <a:lnTo>
                    <a:pt x="242185" y="333731"/>
                  </a:lnTo>
                  <a:cubicBezTo>
                    <a:pt x="268503" y="322814"/>
                    <a:pt x="291463" y="305129"/>
                    <a:pt x="308732" y="282472"/>
                  </a:cubicBezTo>
                  <a:cubicBezTo>
                    <a:pt x="267277" y="270475"/>
                    <a:pt x="241095" y="232303"/>
                    <a:pt x="250913" y="195222"/>
                  </a:cubicBezTo>
                  <a:cubicBezTo>
                    <a:pt x="260731" y="158141"/>
                    <a:pt x="302186" y="137419"/>
                    <a:pt x="345823" y="148326"/>
                  </a:cubicBezTo>
                  <a:cubicBezTo>
                    <a:pt x="341652" y="124788"/>
                    <a:pt x="333144" y="102230"/>
                    <a:pt x="320732" y="81798"/>
                  </a:cubicBezTo>
                  <a:cubicBezTo>
                    <a:pt x="296732" y="112335"/>
                    <a:pt x="257458" y="123241"/>
                    <a:pt x="226912" y="105792"/>
                  </a:cubicBezTo>
                  <a:cubicBezTo>
                    <a:pt x="196367" y="88342"/>
                    <a:pt x="185457" y="41445"/>
                    <a:pt x="206185" y="3273"/>
                  </a:cubicBezTo>
                  <a:cubicBezTo>
                    <a:pt x="195051" y="1051"/>
                    <a:pt x="183721" y="-45"/>
                    <a:pt x="172366" y="2"/>
                  </a:cubicBezTo>
                  <a:cubicBezTo>
                    <a:pt x="161373" y="-47"/>
                    <a:pt x="150405" y="1049"/>
                    <a:pt x="139638" y="3273"/>
                  </a:cubicBezTo>
                  <a:cubicBezTo>
                    <a:pt x="159275" y="41445"/>
                    <a:pt x="150548" y="87251"/>
                    <a:pt x="117820" y="105792"/>
                  </a:cubicBezTo>
                  <a:cubicBezTo>
                    <a:pt x="85092" y="124332"/>
                    <a:pt x="49092" y="112335"/>
                    <a:pt x="25091" y="81798"/>
                  </a:cubicBezTo>
                  <a:cubicBezTo>
                    <a:pt x="11629" y="102104"/>
                    <a:pt x="3043" y="125246"/>
                    <a:pt x="0" y="149416"/>
                  </a:cubicBezTo>
                  <a:cubicBezTo>
                    <a:pt x="42546" y="138510"/>
                    <a:pt x="85092" y="159232"/>
                    <a:pt x="94910" y="196313"/>
                  </a:cubicBezTo>
                  <a:cubicBezTo>
                    <a:pt x="104729" y="233394"/>
                    <a:pt x="77456" y="271565"/>
                    <a:pt x="36001" y="283562"/>
                  </a:cubicBezTo>
                  <a:close/>
                  <a:moveTo>
                    <a:pt x="172366" y="124332"/>
                  </a:moveTo>
                  <a:cubicBezTo>
                    <a:pt x="196466" y="124332"/>
                    <a:pt x="216003" y="143864"/>
                    <a:pt x="216003" y="167957"/>
                  </a:cubicBezTo>
                  <a:cubicBezTo>
                    <a:pt x="216003" y="192050"/>
                    <a:pt x="196466" y="211581"/>
                    <a:pt x="172366" y="211581"/>
                  </a:cubicBezTo>
                  <a:cubicBezTo>
                    <a:pt x="148267" y="211581"/>
                    <a:pt x="128729" y="192050"/>
                    <a:pt x="128729" y="167957"/>
                  </a:cubicBezTo>
                  <a:cubicBezTo>
                    <a:pt x="128729" y="143864"/>
                    <a:pt x="148267" y="124332"/>
                    <a:pt x="172366" y="124332"/>
                  </a:cubicBezTo>
                  <a:close/>
                </a:path>
              </a:pathLst>
            </a:custGeom>
            <a:solidFill>
              <a:srgbClr val="FFFFFF"/>
            </a:solidFill>
            <a:ln w="10867" cap="flat">
              <a:noFill/>
              <a:prstDash val="solid"/>
              <a:miter/>
            </a:ln>
          </p:spPr>
          <p:txBody>
            <a:bodyPr rtlCol="0" anchor="ctr"/>
            <a:lstStyle/>
            <a:p>
              <a:endParaRPr lang="en-US"/>
            </a:p>
          </p:txBody>
        </p:sp>
        <p:sp>
          <p:nvSpPr>
            <p:cNvPr id="456" name="Graphic 365">
              <a:extLst>
                <a:ext uri="{FF2B5EF4-FFF2-40B4-BE49-F238E27FC236}">
                  <a16:creationId xmlns:a16="http://schemas.microsoft.com/office/drawing/2014/main" id="{D2F19A5A-7B97-48DC-86AA-33FA3F688DD3}"/>
                </a:ext>
              </a:extLst>
            </p:cNvPr>
            <p:cNvSpPr/>
            <p:nvPr/>
          </p:nvSpPr>
          <p:spPr>
            <a:xfrm>
              <a:off x="6354523" y="4921526"/>
              <a:ext cx="538917" cy="538765"/>
            </a:xfrm>
            <a:custGeom>
              <a:avLst/>
              <a:gdLst>
                <a:gd name="connsiteX0" fmla="*/ 269459 w 538917"/>
                <a:gd name="connsiteY0" fmla="*/ 538765 h 538765"/>
                <a:gd name="connsiteX1" fmla="*/ 538917 w 538917"/>
                <a:gd name="connsiteY1" fmla="*/ 269383 h 538765"/>
                <a:gd name="connsiteX2" fmla="*/ 269459 w 538917"/>
                <a:gd name="connsiteY2" fmla="*/ 0 h 538765"/>
                <a:gd name="connsiteX3" fmla="*/ 0 w 538917"/>
                <a:gd name="connsiteY3" fmla="*/ 269383 h 538765"/>
                <a:gd name="connsiteX4" fmla="*/ 269459 w 538917"/>
                <a:gd name="connsiteY4" fmla="*/ 538765 h 538765"/>
                <a:gd name="connsiteX5" fmla="*/ 269459 w 538917"/>
                <a:gd name="connsiteY5" fmla="*/ 80706 h 538765"/>
                <a:gd name="connsiteX6" fmla="*/ 459280 w 538917"/>
                <a:gd name="connsiteY6" fmla="*/ 270473 h 538765"/>
                <a:gd name="connsiteX7" fmla="*/ 269459 w 538917"/>
                <a:gd name="connsiteY7" fmla="*/ 460241 h 538765"/>
                <a:gd name="connsiteX8" fmla="*/ 79638 w 538917"/>
                <a:gd name="connsiteY8" fmla="*/ 270473 h 538765"/>
                <a:gd name="connsiteX9" fmla="*/ 269459 w 538917"/>
                <a:gd name="connsiteY9" fmla="*/ 80706 h 5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917" h="538765">
                  <a:moveTo>
                    <a:pt x="269459" y="538765"/>
                  </a:moveTo>
                  <a:cubicBezTo>
                    <a:pt x="418276" y="538765"/>
                    <a:pt x="538917" y="418158"/>
                    <a:pt x="538917" y="269383"/>
                  </a:cubicBezTo>
                  <a:cubicBezTo>
                    <a:pt x="538917" y="120607"/>
                    <a:pt x="418276" y="0"/>
                    <a:pt x="269459" y="0"/>
                  </a:cubicBezTo>
                  <a:cubicBezTo>
                    <a:pt x="120641" y="0"/>
                    <a:pt x="0" y="120607"/>
                    <a:pt x="0" y="269383"/>
                  </a:cubicBezTo>
                  <a:cubicBezTo>
                    <a:pt x="0" y="418158"/>
                    <a:pt x="120641" y="538765"/>
                    <a:pt x="269459" y="538765"/>
                  </a:cubicBezTo>
                  <a:close/>
                  <a:moveTo>
                    <a:pt x="269459" y="80706"/>
                  </a:moveTo>
                  <a:cubicBezTo>
                    <a:pt x="374294" y="80706"/>
                    <a:pt x="459280" y="165667"/>
                    <a:pt x="459280" y="270473"/>
                  </a:cubicBezTo>
                  <a:cubicBezTo>
                    <a:pt x="459280" y="375279"/>
                    <a:pt x="374294" y="460241"/>
                    <a:pt x="269459" y="460241"/>
                  </a:cubicBezTo>
                  <a:cubicBezTo>
                    <a:pt x="164623" y="460241"/>
                    <a:pt x="79638" y="375279"/>
                    <a:pt x="79638" y="270473"/>
                  </a:cubicBezTo>
                  <a:cubicBezTo>
                    <a:pt x="79638" y="165667"/>
                    <a:pt x="164623" y="80706"/>
                    <a:pt x="269459" y="80706"/>
                  </a:cubicBezTo>
                  <a:close/>
                </a:path>
              </a:pathLst>
            </a:custGeom>
            <a:solidFill>
              <a:schemeClr val="bg1"/>
            </a:solidFill>
            <a:ln w="10867" cap="flat">
              <a:noFill/>
              <a:prstDash val="solid"/>
              <a:miter/>
            </a:ln>
          </p:spPr>
          <p:txBody>
            <a:bodyPr rtlCol="0" anchor="ctr"/>
            <a:lstStyle/>
            <a:p>
              <a:endParaRPr lang="en-US"/>
            </a:p>
          </p:txBody>
        </p:sp>
      </p:grpSp>
      <p:grpSp>
        <p:nvGrpSpPr>
          <p:cNvPr id="45" name="Group 44">
            <a:extLst>
              <a:ext uri="{FF2B5EF4-FFF2-40B4-BE49-F238E27FC236}">
                <a16:creationId xmlns:a16="http://schemas.microsoft.com/office/drawing/2014/main" id="{D44E248F-1198-484E-89F7-17B047B3D48E}"/>
              </a:ext>
              <a:ext uri="{C183D7F6-B498-43B3-948B-1728B52AA6E4}">
                <adec:decorative xmlns:adec="http://schemas.microsoft.com/office/drawing/2017/decorative" val="1"/>
              </a:ext>
            </a:extLst>
          </p:cNvPr>
          <p:cNvGrpSpPr/>
          <p:nvPr/>
        </p:nvGrpSpPr>
        <p:grpSpPr>
          <a:xfrm>
            <a:off x="4555807" y="2634235"/>
            <a:ext cx="680204" cy="633600"/>
            <a:chOff x="5124165" y="2420888"/>
            <a:chExt cx="680204" cy="633600"/>
          </a:xfrm>
        </p:grpSpPr>
        <p:sp>
          <p:nvSpPr>
            <p:cNvPr id="684" name="Freeform 229">
              <a:extLst>
                <a:ext uri="{FF2B5EF4-FFF2-40B4-BE49-F238E27FC236}">
                  <a16:creationId xmlns:a16="http://schemas.microsoft.com/office/drawing/2014/main" id="{BD2796E6-E6E8-4A40-979C-B95D364C1CF4}"/>
                </a:ext>
              </a:extLst>
            </p:cNvPr>
            <p:cNvSpPr>
              <a:spLocks/>
            </p:cNvSpPr>
            <p:nvPr/>
          </p:nvSpPr>
          <p:spPr bwMode="auto">
            <a:xfrm>
              <a:off x="5124165" y="2420888"/>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7" name="Graphic 366">
              <a:extLst>
                <a:ext uri="{FF2B5EF4-FFF2-40B4-BE49-F238E27FC236}">
                  <a16:creationId xmlns:a16="http://schemas.microsoft.com/office/drawing/2014/main" id="{198DE24A-FB3A-4FF4-B513-789C671F1CB0}"/>
                </a:ext>
              </a:extLst>
            </p:cNvPr>
            <p:cNvGrpSpPr>
              <a:grpSpLocks noChangeAspect="1"/>
            </p:cNvGrpSpPr>
            <p:nvPr/>
          </p:nvGrpSpPr>
          <p:grpSpPr>
            <a:xfrm>
              <a:off x="5208412" y="2628626"/>
              <a:ext cx="519907" cy="206608"/>
              <a:chOff x="1621581" y="5099692"/>
              <a:chExt cx="601150" cy="238894"/>
            </a:xfrm>
          </p:grpSpPr>
          <p:sp>
            <p:nvSpPr>
              <p:cNvPr id="464" name="Graphic 366">
                <a:extLst>
                  <a:ext uri="{FF2B5EF4-FFF2-40B4-BE49-F238E27FC236}">
                    <a16:creationId xmlns:a16="http://schemas.microsoft.com/office/drawing/2014/main" id="{E21E8F61-AEFC-4A0C-8BE4-F921D507C254}"/>
                  </a:ext>
                </a:extLst>
              </p:cNvPr>
              <p:cNvSpPr/>
              <p:nvPr/>
            </p:nvSpPr>
            <p:spPr>
              <a:xfrm>
                <a:off x="1621581" y="5156404"/>
                <a:ext cx="111324" cy="126511"/>
              </a:xfrm>
              <a:custGeom>
                <a:avLst/>
                <a:gdLst>
                  <a:gd name="connsiteX0" fmla="*/ 50 w 111324"/>
                  <a:gd name="connsiteY0" fmla="*/ 11997 h 126511"/>
                  <a:gd name="connsiteX1" fmla="*/ 50 w 111324"/>
                  <a:gd name="connsiteY1" fmla="*/ 113424 h 126511"/>
                  <a:gd name="connsiteX2" fmla="*/ 10910 w 111324"/>
                  <a:gd name="connsiteY2" fmla="*/ 126463 h 126511"/>
                  <a:gd name="connsiteX3" fmla="*/ 12051 w 111324"/>
                  <a:gd name="connsiteY3" fmla="*/ 126512 h 126511"/>
                  <a:gd name="connsiteX4" fmla="*/ 111325 w 111324"/>
                  <a:gd name="connsiteY4" fmla="*/ 126512 h 126511"/>
                  <a:gd name="connsiteX5" fmla="*/ 111325 w 111324"/>
                  <a:gd name="connsiteY5" fmla="*/ 0 h 126511"/>
                  <a:gd name="connsiteX6" fmla="*/ 12051 w 111324"/>
                  <a:gd name="connsiteY6" fmla="*/ 0 h 126511"/>
                  <a:gd name="connsiteX7" fmla="*/ 50 w 111324"/>
                  <a:gd name="connsiteY7" fmla="*/ 11997 h 126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324" h="126511">
                    <a:moveTo>
                      <a:pt x="50" y="11997"/>
                    </a:moveTo>
                    <a:lnTo>
                      <a:pt x="50" y="113424"/>
                    </a:lnTo>
                    <a:cubicBezTo>
                      <a:pt x="-552" y="120022"/>
                      <a:pt x="4310" y="125860"/>
                      <a:pt x="10910" y="126463"/>
                    </a:cubicBezTo>
                    <a:cubicBezTo>
                      <a:pt x="11289" y="126496"/>
                      <a:pt x="11670" y="126513"/>
                      <a:pt x="12051" y="126512"/>
                    </a:cubicBezTo>
                    <a:lnTo>
                      <a:pt x="111325" y="126512"/>
                    </a:lnTo>
                    <a:lnTo>
                      <a:pt x="111325" y="0"/>
                    </a:lnTo>
                    <a:lnTo>
                      <a:pt x="12051" y="0"/>
                    </a:lnTo>
                    <a:cubicBezTo>
                      <a:pt x="5423" y="0"/>
                      <a:pt x="50" y="5371"/>
                      <a:pt x="50" y="11997"/>
                    </a:cubicBezTo>
                    <a:close/>
                  </a:path>
                </a:pathLst>
              </a:custGeom>
              <a:solidFill>
                <a:schemeClr val="bg1"/>
              </a:solidFill>
              <a:ln w="10867" cap="flat">
                <a:noFill/>
                <a:prstDash val="solid"/>
                <a:miter/>
              </a:ln>
            </p:spPr>
            <p:txBody>
              <a:bodyPr rtlCol="0" anchor="ctr"/>
              <a:lstStyle/>
              <a:p>
                <a:endParaRPr lang="en-US"/>
              </a:p>
            </p:txBody>
          </p:sp>
          <p:sp>
            <p:nvSpPr>
              <p:cNvPr id="465" name="Graphic 366">
                <a:extLst>
                  <a:ext uri="{FF2B5EF4-FFF2-40B4-BE49-F238E27FC236}">
                    <a16:creationId xmlns:a16="http://schemas.microsoft.com/office/drawing/2014/main" id="{F50B8399-B08F-4B7A-98B3-398D1BA150E7}"/>
                  </a:ext>
                </a:extLst>
              </p:cNvPr>
              <p:cNvSpPr/>
              <p:nvPr/>
            </p:nvSpPr>
            <p:spPr>
              <a:xfrm>
                <a:off x="1993637" y="5143316"/>
                <a:ext cx="51414" cy="151738"/>
              </a:xfrm>
              <a:custGeom>
                <a:avLst/>
                <a:gdLst>
                  <a:gd name="connsiteX0" fmla="*/ 44729 w 51414"/>
                  <a:gd name="connsiteY0" fmla="*/ 0 h 151738"/>
                  <a:gd name="connsiteX1" fmla="*/ 5455 w 51414"/>
                  <a:gd name="connsiteY1" fmla="*/ 0 h 151738"/>
                  <a:gd name="connsiteX2" fmla="*/ 1 w 51414"/>
                  <a:gd name="connsiteY2" fmla="*/ 6544 h 151738"/>
                  <a:gd name="connsiteX3" fmla="*/ 1 w 51414"/>
                  <a:gd name="connsiteY3" fmla="*/ 145052 h 151738"/>
                  <a:gd name="connsiteX4" fmla="*/ 5455 w 51414"/>
                  <a:gd name="connsiteY4" fmla="*/ 151596 h 151738"/>
                  <a:gd name="connsiteX5" fmla="*/ 44729 w 51414"/>
                  <a:gd name="connsiteY5" fmla="*/ 151596 h 151738"/>
                  <a:gd name="connsiteX6" fmla="*/ 51274 w 51414"/>
                  <a:gd name="connsiteY6" fmla="*/ 147515 h 151738"/>
                  <a:gd name="connsiteX7" fmla="*/ 51274 w 51414"/>
                  <a:gd name="connsiteY7" fmla="*/ 145052 h 151738"/>
                  <a:gd name="connsiteX8" fmla="*/ 51274 w 51414"/>
                  <a:gd name="connsiteY8" fmla="*/ 6544 h 151738"/>
                  <a:gd name="connsiteX9" fmla="*/ 44729 w 51414"/>
                  <a:gd name="connsiteY9" fmla="*/ 0 h 15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14" h="151738">
                    <a:moveTo>
                      <a:pt x="44729" y="0"/>
                    </a:moveTo>
                    <a:lnTo>
                      <a:pt x="5455" y="0"/>
                    </a:lnTo>
                    <a:cubicBezTo>
                      <a:pt x="2272" y="538"/>
                      <a:pt x="-44" y="3317"/>
                      <a:pt x="1" y="6544"/>
                    </a:cubicBezTo>
                    <a:lnTo>
                      <a:pt x="1" y="145052"/>
                    </a:lnTo>
                    <a:cubicBezTo>
                      <a:pt x="1" y="149415"/>
                      <a:pt x="2182" y="151596"/>
                      <a:pt x="5455" y="151596"/>
                    </a:cubicBezTo>
                    <a:lnTo>
                      <a:pt x="44729" y="151596"/>
                    </a:lnTo>
                    <a:cubicBezTo>
                      <a:pt x="47663" y="152276"/>
                      <a:pt x="50593" y="150449"/>
                      <a:pt x="51274" y="147515"/>
                    </a:cubicBezTo>
                    <a:cubicBezTo>
                      <a:pt x="51462" y="146704"/>
                      <a:pt x="51462" y="145862"/>
                      <a:pt x="51274" y="145052"/>
                    </a:cubicBezTo>
                    <a:lnTo>
                      <a:pt x="51274" y="6544"/>
                    </a:lnTo>
                    <a:cubicBezTo>
                      <a:pt x="51274" y="2929"/>
                      <a:pt x="48344" y="0"/>
                      <a:pt x="44729" y="0"/>
                    </a:cubicBezTo>
                    <a:close/>
                  </a:path>
                </a:pathLst>
              </a:custGeom>
              <a:solidFill>
                <a:schemeClr val="accent2"/>
              </a:solidFill>
              <a:ln w="10867" cap="flat">
                <a:noFill/>
                <a:prstDash val="solid"/>
                <a:miter/>
              </a:ln>
            </p:spPr>
            <p:txBody>
              <a:bodyPr rtlCol="0" anchor="ctr"/>
              <a:lstStyle/>
              <a:p>
                <a:endParaRPr lang="en-US"/>
              </a:p>
            </p:txBody>
          </p:sp>
          <p:sp>
            <p:nvSpPr>
              <p:cNvPr id="468" name="Graphic 366">
                <a:extLst>
                  <a:ext uri="{FF2B5EF4-FFF2-40B4-BE49-F238E27FC236}">
                    <a16:creationId xmlns:a16="http://schemas.microsoft.com/office/drawing/2014/main" id="{E6818CCC-9517-44ED-B07B-FC3A0DA8538B}"/>
                  </a:ext>
                </a:extLst>
              </p:cNvPr>
              <p:cNvSpPr/>
              <p:nvPr/>
            </p:nvSpPr>
            <p:spPr>
              <a:xfrm>
                <a:off x="1916182" y="5099692"/>
                <a:ext cx="178962" cy="238894"/>
              </a:xfrm>
              <a:custGeom>
                <a:avLst/>
                <a:gdLst>
                  <a:gd name="connsiteX0" fmla="*/ 166912 w 178962"/>
                  <a:gd name="connsiteY0" fmla="*/ 0 h 238894"/>
                  <a:gd name="connsiteX1" fmla="*/ 39273 w 178962"/>
                  <a:gd name="connsiteY1" fmla="*/ 0 h 238894"/>
                  <a:gd name="connsiteX2" fmla="*/ 26182 w 178962"/>
                  <a:gd name="connsiteY2" fmla="*/ 13087 h 238894"/>
                  <a:gd name="connsiteX3" fmla="*/ 26182 w 178962"/>
                  <a:gd name="connsiteY3" fmla="*/ 56712 h 238894"/>
                  <a:gd name="connsiteX4" fmla="*/ 0 w 178962"/>
                  <a:gd name="connsiteY4" fmla="*/ 56712 h 238894"/>
                  <a:gd name="connsiteX5" fmla="*/ 0 w 178962"/>
                  <a:gd name="connsiteY5" fmla="*/ 183224 h 238894"/>
                  <a:gd name="connsiteX6" fmla="*/ 26182 w 178962"/>
                  <a:gd name="connsiteY6" fmla="*/ 183224 h 238894"/>
                  <a:gd name="connsiteX7" fmla="*/ 26182 w 178962"/>
                  <a:gd name="connsiteY7" fmla="*/ 226849 h 238894"/>
                  <a:gd name="connsiteX8" fmla="*/ 38132 w 178962"/>
                  <a:gd name="connsiteY8" fmla="*/ 238894 h 238894"/>
                  <a:gd name="connsiteX9" fmla="*/ 39273 w 178962"/>
                  <a:gd name="connsiteY9" fmla="*/ 238845 h 238894"/>
                  <a:gd name="connsiteX10" fmla="*/ 166912 w 178962"/>
                  <a:gd name="connsiteY10" fmla="*/ 238845 h 238894"/>
                  <a:gd name="connsiteX11" fmla="*/ 178912 w 178962"/>
                  <a:gd name="connsiteY11" fmla="*/ 226849 h 238894"/>
                  <a:gd name="connsiteX12" fmla="*/ 178912 w 178962"/>
                  <a:gd name="connsiteY12" fmla="*/ 13087 h 238894"/>
                  <a:gd name="connsiteX13" fmla="*/ 168053 w 178962"/>
                  <a:gd name="connsiteY13" fmla="*/ 49 h 238894"/>
                  <a:gd name="connsiteX14" fmla="*/ 166912 w 178962"/>
                  <a:gd name="connsiteY14" fmla="*/ 0 h 238894"/>
                  <a:gd name="connsiteX15" fmla="*/ 140729 w 178962"/>
                  <a:gd name="connsiteY15" fmla="*/ 188677 h 238894"/>
                  <a:gd name="connsiteX16" fmla="*/ 124439 w 178962"/>
                  <a:gd name="connsiteY16" fmla="*/ 207217 h 238894"/>
                  <a:gd name="connsiteX17" fmla="*/ 122184 w 178962"/>
                  <a:gd name="connsiteY17" fmla="*/ 207217 h 238894"/>
                  <a:gd name="connsiteX18" fmla="*/ 82910 w 178962"/>
                  <a:gd name="connsiteY18" fmla="*/ 207217 h 238894"/>
                  <a:gd name="connsiteX19" fmla="*/ 64365 w 178962"/>
                  <a:gd name="connsiteY19" fmla="*/ 188677 h 238894"/>
                  <a:gd name="connsiteX20" fmla="*/ 64365 w 178962"/>
                  <a:gd name="connsiteY20" fmla="*/ 50168 h 238894"/>
                  <a:gd name="connsiteX21" fmla="*/ 82910 w 178962"/>
                  <a:gd name="connsiteY21" fmla="*/ 31628 h 238894"/>
                  <a:gd name="connsiteX22" fmla="*/ 122184 w 178962"/>
                  <a:gd name="connsiteY22" fmla="*/ 31628 h 238894"/>
                  <a:gd name="connsiteX23" fmla="*/ 140729 w 178962"/>
                  <a:gd name="connsiteY23" fmla="*/ 50168 h 23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8962" h="238894">
                    <a:moveTo>
                      <a:pt x="166912" y="0"/>
                    </a:moveTo>
                    <a:lnTo>
                      <a:pt x="39273" y="0"/>
                    </a:lnTo>
                    <a:cubicBezTo>
                      <a:pt x="32044" y="0"/>
                      <a:pt x="26182" y="5860"/>
                      <a:pt x="26182" y="13087"/>
                    </a:cubicBezTo>
                    <a:lnTo>
                      <a:pt x="26182" y="56712"/>
                    </a:lnTo>
                    <a:lnTo>
                      <a:pt x="0" y="56712"/>
                    </a:lnTo>
                    <a:lnTo>
                      <a:pt x="0" y="183224"/>
                    </a:lnTo>
                    <a:lnTo>
                      <a:pt x="26182" y="183224"/>
                    </a:lnTo>
                    <a:lnTo>
                      <a:pt x="26182" y="226849"/>
                    </a:lnTo>
                    <a:cubicBezTo>
                      <a:pt x="26155" y="233474"/>
                      <a:pt x="31505" y="238867"/>
                      <a:pt x="38132" y="238894"/>
                    </a:cubicBezTo>
                    <a:cubicBezTo>
                      <a:pt x="38513" y="238897"/>
                      <a:pt x="38894" y="238880"/>
                      <a:pt x="39273" y="238845"/>
                    </a:cubicBezTo>
                    <a:lnTo>
                      <a:pt x="166912" y="238845"/>
                    </a:lnTo>
                    <a:cubicBezTo>
                      <a:pt x="173539" y="238845"/>
                      <a:pt x="178912" y="233474"/>
                      <a:pt x="178912" y="226849"/>
                    </a:cubicBezTo>
                    <a:lnTo>
                      <a:pt x="178912" y="13087"/>
                    </a:lnTo>
                    <a:cubicBezTo>
                      <a:pt x="179514" y="6489"/>
                      <a:pt x="174653" y="652"/>
                      <a:pt x="168053" y="49"/>
                    </a:cubicBezTo>
                    <a:cubicBezTo>
                      <a:pt x="167673" y="15"/>
                      <a:pt x="167292" y="-1"/>
                      <a:pt x="166912" y="0"/>
                    </a:cubicBezTo>
                    <a:close/>
                    <a:moveTo>
                      <a:pt x="140729" y="188677"/>
                    </a:moveTo>
                    <a:cubicBezTo>
                      <a:pt x="141352" y="198294"/>
                      <a:pt x="134058" y="206595"/>
                      <a:pt x="124439" y="207217"/>
                    </a:cubicBezTo>
                    <a:cubicBezTo>
                      <a:pt x="123688" y="207267"/>
                      <a:pt x="122934" y="207267"/>
                      <a:pt x="122184" y="207217"/>
                    </a:cubicBezTo>
                    <a:lnTo>
                      <a:pt x="82910" y="207217"/>
                    </a:lnTo>
                    <a:cubicBezTo>
                      <a:pt x="72668" y="207217"/>
                      <a:pt x="64365" y="198917"/>
                      <a:pt x="64365" y="188677"/>
                    </a:cubicBezTo>
                    <a:lnTo>
                      <a:pt x="64365" y="50168"/>
                    </a:lnTo>
                    <a:cubicBezTo>
                      <a:pt x="64907" y="40162"/>
                      <a:pt x="72901" y="32170"/>
                      <a:pt x="82910" y="31628"/>
                    </a:cubicBezTo>
                    <a:lnTo>
                      <a:pt x="122184" y="31628"/>
                    </a:lnTo>
                    <a:cubicBezTo>
                      <a:pt x="132426" y="31628"/>
                      <a:pt x="140729" y="39929"/>
                      <a:pt x="140729" y="50168"/>
                    </a:cubicBezTo>
                    <a:close/>
                  </a:path>
                </a:pathLst>
              </a:custGeom>
              <a:solidFill>
                <a:srgbClr val="FFFFFF"/>
              </a:solidFill>
              <a:ln w="10867" cap="flat">
                <a:noFill/>
                <a:prstDash val="solid"/>
                <a:miter/>
              </a:ln>
            </p:spPr>
            <p:txBody>
              <a:bodyPr rtlCol="0" anchor="ctr"/>
              <a:lstStyle/>
              <a:p>
                <a:endParaRPr lang="en-US"/>
              </a:p>
            </p:txBody>
          </p:sp>
          <p:sp>
            <p:nvSpPr>
              <p:cNvPr id="483" name="Graphic 366">
                <a:extLst>
                  <a:ext uri="{FF2B5EF4-FFF2-40B4-BE49-F238E27FC236}">
                    <a16:creationId xmlns:a16="http://schemas.microsoft.com/office/drawing/2014/main" id="{FE771E60-F5DA-493D-AA0A-5CFF67687BDB}"/>
                  </a:ext>
                </a:extLst>
              </p:cNvPr>
              <p:cNvSpPr/>
              <p:nvPr/>
            </p:nvSpPr>
            <p:spPr>
              <a:xfrm>
                <a:off x="1748129" y="5133501"/>
                <a:ext cx="152829" cy="172317"/>
              </a:xfrm>
              <a:custGeom>
                <a:avLst/>
                <a:gdLst>
                  <a:gd name="connsiteX0" fmla="*/ 140780 w 152829"/>
                  <a:gd name="connsiteY0" fmla="*/ 0 h 172317"/>
                  <a:gd name="connsiteX1" fmla="*/ 12051 w 152829"/>
                  <a:gd name="connsiteY1" fmla="*/ 0 h 172317"/>
                  <a:gd name="connsiteX2" fmla="*/ 50 w 152829"/>
                  <a:gd name="connsiteY2" fmla="*/ 11997 h 172317"/>
                  <a:gd name="connsiteX3" fmla="*/ 50 w 152829"/>
                  <a:gd name="connsiteY3" fmla="*/ 159230 h 172317"/>
                  <a:gd name="connsiteX4" fmla="*/ 10909 w 152829"/>
                  <a:gd name="connsiteY4" fmla="*/ 172269 h 172317"/>
                  <a:gd name="connsiteX5" fmla="*/ 12051 w 152829"/>
                  <a:gd name="connsiteY5" fmla="*/ 172318 h 172317"/>
                  <a:gd name="connsiteX6" fmla="*/ 140780 w 152829"/>
                  <a:gd name="connsiteY6" fmla="*/ 172318 h 172317"/>
                  <a:gd name="connsiteX7" fmla="*/ 152829 w 152829"/>
                  <a:gd name="connsiteY7" fmla="*/ 160371 h 172317"/>
                  <a:gd name="connsiteX8" fmla="*/ 152780 w 152829"/>
                  <a:gd name="connsiteY8" fmla="*/ 159230 h 172317"/>
                  <a:gd name="connsiteX9" fmla="*/ 152780 w 152829"/>
                  <a:gd name="connsiteY9" fmla="*/ 11997 h 172317"/>
                  <a:gd name="connsiteX10" fmla="*/ 140780 w 152829"/>
                  <a:gd name="connsiteY10" fmla="*/ 0 h 172317"/>
                  <a:gd name="connsiteX11" fmla="*/ 134234 w 152829"/>
                  <a:gd name="connsiteY11" fmla="*/ 136327 h 172317"/>
                  <a:gd name="connsiteX12" fmla="*/ 123375 w 152829"/>
                  <a:gd name="connsiteY12" fmla="*/ 149366 h 172317"/>
                  <a:gd name="connsiteX13" fmla="*/ 122234 w 152829"/>
                  <a:gd name="connsiteY13" fmla="*/ 149415 h 172317"/>
                  <a:gd name="connsiteX14" fmla="*/ 109143 w 152829"/>
                  <a:gd name="connsiteY14" fmla="*/ 136327 h 172317"/>
                  <a:gd name="connsiteX15" fmla="*/ 109143 w 152829"/>
                  <a:gd name="connsiteY15" fmla="*/ 34900 h 172317"/>
                  <a:gd name="connsiteX16" fmla="*/ 121093 w 152829"/>
                  <a:gd name="connsiteY16" fmla="*/ 22854 h 172317"/>
                  <a:gd name="connsiteX17" fmla="*/ 122234 w 152829"/>
                  <a:gd name="connsiteY17" fmla="*/ 22903 h 172317"/>
                  <a:gd name="connsiteX18" fmla="*/ 134234 w 152829"/>
                  <a:gd name="connsiteY18" fmla="*/ 34900 h 17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829" h="172317">
                    <a:moveTo>
                      <a:pt x="140780" y="0"/>
                    </a:moveTo>
                    <a:lnTo>
                      <a:pt x="12051" y="0"/>
                    </a:lnTo>
                    <a:cubicBezTo>
                      <a:pt x="5423" y="0"/>
                      <a:pt x="50" y="5371"/>
                      <a:pt x="50" y="11997"/>
                    </a:cubicBezTo>
                    <a:lnTo>
                      <a:pt x="50" y="159230"/>
                    </a:lnTo>
                    <a:cubicBezTo>
                      <a:pt x="-552" y="165828"/>
                      <a:pt x="4309" y="171665"/>
                      <a:pt x="10909" y="172269"/>
                    </a:cubicBezTo>
                    <a:cubicBezTo>
                      <a:pt x="11289" y="172302"/>
                      <a:pt x="11670" y="172319"/>
                      <a:pt x="12051" y="172318"/>
                    </a:cubicBezTo>
                    <a:lnTo>
                      <a:pt x="140780" y="172318"/>
                    </a:lnTo>
                    <a:cubicBezTo>
                      <a:pt x="147407" y="172345"/>
                      <a:pt x="152802" y="166997"/>
                      <a:pt x="152829" y="160371"/>
                    </a:cubicBezTo>
                    <a:cubicBezTo>
                      <a:pt x="152831" y="159990"/>
                      <a:pt x="152815" y="159610"/>
                      <a:pt x="152780" y="159230"/>
                    </a:cubicBezTo>
                    <a:lnTo>
                      <a:pt x="152780" y="11997"/>
                    </a:lnTo>
                    <a:cubicBezTo>
                      <a:pt x="152780" y="5371"/>
                      <a:pt x="147407" y="0"/>
                      <a:pt x="140780" y="0"/>
                    </a:cubicBezTo>
                    <a:close/>
                    <a:moveTo>
                      <a:pt x="134234" y="136327"/>
                    </a:moveTo>
                    <a:cubicBezTo>
                      <a:pt x="134836" y="142925"/>
                      <a:pt x="129975" y="148762"/>
                      <a:pt x="123375" y="149366"/>
                    </a:cubicBezTo>
                    <a:cubicBezTo>
                      <a:pt x="122996" y="149399"/>
                      <a:pt x="122615" y="149416"/>
                      <a:pt x="122234" y="149415"/>
                    </a:cubicBezTo>
                    <a:cubicBezTo>
                      <a:pt x="115005" y="149415"/>
                      <a:pt x="109143" y="143555"/>
                      <a:pt x="109143" y="136327"/>
                    </a:cubicBezTo>
                    <a:lnTo>
                      <a:pt x="109143" y="34900"/>
                    </a:lnTo>
                    <a:cubicBezTo>
                      <a:pt x="109116" y="28274"/>
                      <a:pt x="114466" y="22881"/>
                      <a:pt x="121093" y="22854"/>
                    </a:cubicBezTo>
                    <a:cubicBezTo>
                      <a:pt x="121474" y="22852"/>
                      <a:pt x="121854" y="22868"/>
                      <a:pt x="122234" y="22903"/>
                    </a:cubicBezTo>
                    <a:cubicBezTo>
                      <a:pt x="128861" y="22903"/>
                      <a:pt x="134234" y="28274"/>
                      <a:pt x="134234" y="34900"/>
                    </a:cubicBezTo>
                    <a:close/>
                  </a:path>
                </a:pathLst>
              </a:custGeom>
              <a:solidFill>
                <a:schemeClr val="bg1"/>
              </a:solidFill>
              <a:ln w="10867" cap="flat">
                <a:noFill/>
                <a:prstDash val="solid"/>
                <a:miter/>
              </a:ln>
            </p:spPr>
            <p:txBody>
              <a:bodyPr rtlCol="0" anchor="ctr"/>
              <a:lstStyle/>
              <a:p>
                <a:endParaRPr lang="en-US" dirty="0"/>
              </a:p>
            </p:txBody>
          </p:sp>
          <p:sp>
            <p:nvSpPr>
              <p:cNvPr id="484" name="Graphic 366">
                <a:extLst>
                  <a:ext uri="{FF2B5EF4-FFF2-40B4-BE49-F238E27FC236}">
                    <a16:creationId xmlns:a16="http://schemas.microsoft.com/office/drawing/2014/main" id="{5A508A8A-B0B6-4637-886D-00D5B8257C25}"/>
                  </a:ext>
                </a:extLst>
              </p:cNvPr>
              <p:cNvSpPr/>
              <p:nvPr/>
            </p:nvSpPr>
            <p:spPr>
              <a:xfrm>
                <a:off x="2110366" y="5156355"/>
                <a:ext cx="112365" cy="126560"/>
              </a:xfrm>
              <a:custGeom>
                <a:avLst/>
                <a:gdLst>
                  <a:gd name="connsiteX0" fmla="*/ 99274 w 112365"/>
                  <a:gd name="connsiteY0" fmla="*/ 49 h 126560"/>
                  <a:gd name="connsiteX1" fmla="*/ 0 w 112365"/>
                  <a:gd name="connsiteY1" fmla="*/ 49 h 126560"/>
                  <a:gd name="connsiteX2" fmla="*/ 0 w 112365"/>
                  <a:gd name="connsiteY2" fmla="*/ 126561 h 126560"/>
                  <a:gd name="connsiteX3" fmla="*/ 99274 w 112365"/>
                  <a:gd name="connsiteY3" fmla="*/ 126561 h 126560"/>
                  <a:gd name="connsiteX4" fmla="*/ 112365 w 112365"/>
                  <a:gd name="connsiteY4" fmla="*/ 113474 h 126560"/>
                  <a:gd name="connsiteX5" fmla="*/ 112365 w 112365"/>
                  <a:gd name="connsiteY5" fmla="*/ 12046 h 126560"/>
                  <a:gd name="connsiteX6" fmla="*/ 100415 w 112365"/>
                  <a:gd name="connsiteY6" fmla="*/ 0 h 126560"/>
                  <a:gd name="connsiteX7" fmla="*/ 99274 w 112365"/>
                  <a:gd name="connsiteY7" fmla="*/ 49 h 126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365" h="126560">
                    <a:moveTo>
                      <a:pt x="99274" y="49"/>
                    </a:moveTo>
                    <a:lnTo>
                      <a:pt x="0" y="49"/>
                    </a:lnTo>
                    <a:lnTo>
                      <a:pt x="0" y="126561"/>
                    </a:lnTo>
                    <a:lnTo>
                      <a:pt x="99274" y="126561"/>
                    </a:lnTo>
                    <a:cubicBezTo>
                      <a:pt x="106504" y="126561"/>
                      <a:pt x="112365" y="120701"/>
                      <a:pt x="112365" y="113474"/>
                    </a:cubicBezTo>
                    <a:lnTo>
                      <a:pt x="112365" y="12046"/>
                    </a:lnTo>
                    <a:cubicBezTo>
                      <a:pt x="112393" y="5421"/>
                      <a:pt x="107043" y="27"/>
                      <a:pt x="100415" y="0"/>
                    </a:cubicBezTo>
                    <a:cubicBezTo>
                      <a:pt x="100035" y="-2"/>
                      <a:pt x="99654" y="14"/>
                      <a:pt x="99274" y="49"/>
                    </a:cubicBezTo>
                    <a:close/>
                  </a:path>
                </a:pathLst>
              </a:custGeom>
              <a:solidFill>
                <a:srgbClr val="FFFFFF"/>
              </a:solidFill>
              <a:ln w="10867" cap="flat">
                <a:noFill/>
                <a:prstDash val="solid"/>
                <a:miter/>
              </a:ln>
            </p:spPr>
            <p:txBody>
              <a:bodyPr rtlCol="0" anchor="ctr"/>
              <a:lstStyle/>
              <a:p>
                <a:endParaRPr lang="en-US"/>
              </a:p>
            </p:txBody>
          </p:sp>
        </p:grpSp>
      </p:grpSp>
      <p:grpSp>
        <p:nvGrpSpPr>
          <p:cNvPr id="96" name="Group 95">
            <a:extLst>
              <a:ext uri="{FF2B5EF4-FFF2-40B4-BE49-F238E27FC236}">
                <a16:creationId xmlns:a16="http://schemas.microsoft.com/office/drawing/2014/main" id="{79BC58AC-D319-48A9-8E2E-55876D92DCF7}"/>
              </a:ext>
              <a:ext uri="{C183D7F6-B498-43B3-948B-1728B52AA6E4}">
                <adec:decorative xmlns:adec="http://schemas.microsoft.com/office/drawing/2017/decorative" val="1"/>
              </a:ext>
            </a:extLst>
          </p:cNvPr>
          <p:cNvGrpSpPr/>
          <p:nvPr/>
        </p:nvGrpSpPr>
        <p:grpSpPr>
          <a:xfrm>
            <a:off x="3401535" y="5099656"/>
            <a:ext cx="676738" cy="633600"/>
            <a:chOff x="3797713" y="5021269"/>
            <a:chExt cx="676738" cy="633600"/>
          </a:xfrm>
        </p:grpSpPr>
        <p:sp>
          <p:nvSpPr>
            <p:cNvPr id="704" name="Freeform 89">
              <a:extLst>
                <a:ext uri="{FF2B5EF4-FFF2-40B4-BE49-F238E27FC236}">
                  <a16:creationId xmlns:a16="http://schemas.microsoft.com/office/drawing/2014/main" id="{CFD8AFC1-7D56-4AFF-B5DF-D3D3214DE310}"/>
                </a:ext>
              </a:extLst>
            </p:cNvPr>
            <p:cNvSpPr>
              <a:spLocks/>
            </p:cNvSpPr>
            <p:nvPr/>
          </p:nvSpPr>
          <p:spPr bwMode="auto">
            <a:xfrm>
              <a:off x="3797713" y="5021269"/>
              <a:ext cx="676738" cy="633600"/>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00" name="Graphic 173">
              <a:extLst>
                <a:ext uri="{FF2B5EF4-FFF2-40B4-BE49-F238E27FC236}">
                  <a16:creationId xmlns:a16="http://schemas.microsoft.com/office/drawing/2014/main" id="{77A95190-E603-413D-BF12-8E5D8F3F99B9}"/>
                </a:ext>
              </a:extLst>
            </p:cNvPr>
            <p:cNvGrpSpPr>
              <a:grpSpLocks noChangeAspect="1"/>
            </p:cNvGrpSpPr>
            <p:nvPr/>
          </p:nvGrpSpPr>
          <p:grpSpPr>
            <a:xfrm>
              <a:off x="3981773" y="5151215"/>
              <a:ext cx="338937" cy="369489"/>
              <a:chOff x="5943367" y="3244186"/>
              <a:chExt cx="342238" cy="371522"/>
            </a:xfrm>
          </p:grpSpPr>
          <p:sp>
            <p:nvSpPr>
              <p:cNvPr id="502" name="Freeform 102">
                <a:extLst>
                  <a:ext uri="{FF2B5EF4-FFF2-40B4-BE49-F238E27FC236}">
                    <a16:creationId xmlns:a16="http://schemas.microsoft.com/office/drawing/2014/main" id="{73CB7E7B-A097-426B-A4E7-B37300742717}"/>
                  </a:ext>
                </a:extLst>
              </p:cNvPr>
              <p:cNvSpPr/>
              <p:nvPr/>
            </p:nvSpPr>
            <p:spPr>
              <a:xfrm>
                <a:off x="5943367" y="3244186"/>
                <a:ext cx="309815" cy="371522"/>
              </a:xfrm>
              <a:custGeom>
                <a:avLst/>
                <a:gdLst>
                  <a:gd name="connsiteX0" fmla="*/ 294268 w 309815"/>
                  <a:gd name="connsiteY0" fmla="*/ 139131 h 371522"/>
                  <a:gd name="connsiteX1" fmla="*/ 294268 w 309815"/>
                  <a:gd name="connsiteY1" fmla="*/ 270775 h 371522"/>
                  <a:gd name="connsiteX2" fmla="*/ 286494 w 309815"/>
                  <a:gd name="connsiteY2" fmla="*/ 278547 h 371522"/>
                  <a:gd name="connsiteX3" fmla="*/ 278720 w 309815"/>
                  <a:gd name="connsiteY3" fmla="*/ 270775 h 371522"/>
                  <a:gd name="connsiteX4" fmla="*/ 278720 w 309815"/>
                  <a:gd name="connsiteY4" fmla="*/ 255232 h 371522"/>
                  <a:gd name="connsiteX5" fmla="*/ 255494 w 309815"/>
                  <a:gd name="connsiteY5" fmla="*/ 232012 h 371522"/>
                  <a:gd name="connsiteX6" fmla="*/ 247815 w 309815"/>
                  <a:gd name="connsiteY6" fmla="*/ 232012 h 371522"/>
                  <a:gd name="connsiteX7" fmla="*/ 247815 w 309815"/>
                  <a:gd name="connsiteY7" fmla="*/ 30802 h 371522"/>
                  <a:gd name="connsiteX8" fmla="*/ 216814 w 309815"/>
                  <a:gd name="connsiteY8" fmla="*/ 0 h 371522"/>
                  <a:gd name="connsiteX9" fmla="*/ 62001 w 309815"/>
                  <a:gd name="connsiteY9" fmla="*/ 0 h 371522"/>
                  <a:gd name="connsiteX10" fmla="*/ 31001 w 309815"/>
                  <a:gd name="connsiteY10" fmla="*/ 30992 h 371522"/>
                  <a:gd name="connsiteX11" fmla="*/ 31001 w 309815"/>
                  <a:gd name="connsiteY11" fmla="*/ 309634 h 371522"/>
                  <a:gd name="connsiteX12" fmla="*/ 0 w 309815"/>
                  <a:gd name="connsiteY12" fmla="*/ 340625 h 371522"/>
                  <a:gd name="connsiteX13" fmla="*/ 0 w 309815"/>
                  <a:gd name="connsiteY13" fmla="*/ 363846 h 371522"/>
                  <a:gd name="connsiteX14" fmla="*/ 7774 w 309815"/>
                  <a:gd name="connsiteY14" fmla="*/ 371522 h 371522"/>
                  <a:gd name="connsiteX15" fmla="*/ 271136 w 309815"/>
                  <a:gd name="connsiteY15" fmla="*/ 371522 h 371522"/>
                  <a:gd name="connsiteX16" fmla="*/ 278815 w 309815"/>
                  <a:gd name="connsiteY16" fmla="*/ 363846 h 371522"/>
                  <a:gd name="connsiteX17" fmla="*/ 278815 w 309815"/>
                  <a:gd name="connsiteY17" fmla="*/ 340436 h 371522"/>
                  <a:gd name="connsiteX18" fmla="*/ 248004 w 309815"/>
                  <a:gd name="connsiteY18" fmla="*/ 309444 h 371522"/>
                  <a:gd name="connsiteX19" fmla="*/ 247909 w 309815"/>
                  <a:gd name="connsiteY19" fmla="*/ 309444 h 371522"/>
                  <a:gd name="connsiteX20" fmla="*/ 247909 w 309815"/>
                  <a:gd name="connsiteY20" fmla="*/ 247555 h 371522"/>
                  <a:gd name="connsiteX21" fmla="*/ 255588 w 309815"/>
                  <a:gd name="connsiteY21" fmla="*/ 247555 h 371522"/>
                  <a:gd name="connsiteX22" fmla="*/ 263362 w 309815"/>
                  <a:gd name="connsiteY22" fmla="*/ 255232 h 371522"/>
                  <a:gd name="connsiteX23" fmla="*/ 263362 w 309815"/>
                  <a:gd name="connsiteY23" fmla="*/ 270775 h 371522"/>
                  <a:gd name="connsiteX24" fmla="*/ 286589 w 309815"/>
                  <a:gd name="connsiteY24" fmla="*/ 293996 h 371522"/>
                  <a:gd name="connsiteX25" fmla="*/ 309816 w 309815"/>
                  <a:gd name="connsiteY25" fmla="*/ 270775 h 371522"/>
                  <a:gd name="connsiteX26" fmla="*/ 309816 w 309815"/>
                  <a:gd name="connsiteY26" fmla="*/ 139321 h 371522"/>
                  <a:gd name="connsiteX27" fmla="*/ 216814 w 309815"/>
                  <a:gd name="connsiteY27" fmla="*/ 131549 h 371522"/>
                  <a:gd name="connsiteX28" fmla="*/ 209040 w 309815"/>
                  <a:gd name="connsiteY28" fmla="*/ 139321 h 371522"/>
                  <a:gd name="connsiteX29" fmla="*/ 69680 w 309815"/>
                  <a:gd name="connsiteY29" fmla="*/ 139321 h 371522"/>
                  <a:gd name="connsiteX30" fmla="*/ 62001 w 309815"/>
                  <a:gd name="connsiteY30" fmla="*/ 131549 h 371522"/>
                  <a:gd name="connsiteX31" fmla="*/ 62001 w 309815"/>
                  <a:gd name="connsiteY31" fmla="*/ 38574 h 371522"/>
                  <a:gd name="connsiteX32" fmla="*/ 69585 w 309815"/>
                  <a:gd name="connsiteY32" fmla="*/ 30803 h 371522"/>
                  <a:gd name="connsiteX33" fmla="*/ 69680 w 309815"/>
                  <a:gd name="connsiteY33" fmla="*/ 30802 h 371522"/>
                  <a:gd name="connsiteX34" fmla="*/ 209040 w 309815"/>
                  <a:gd name="connsiteY34" fmla="*/ 30802 h 371522"/>
                  <a:gd name="connsiteX35" fmla="*/ 216814 w 309815"/>
                  <a:gd name="connsiteY35" fmla="*/ 38574 h 37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09815" h="371522">
                    <a:moveTo>
                      <a:pt x="294268" y="139131"/>
                    </a:moveTo>
                    <a:lnTo>
                      <a:pt x="294268" y="270775"/>
                    </a:lnTo>
                    <a:cubicBezTo>
                      <a:pt x="294268" y="275068"/>
                      <a:pt x="290787" y="278547"/>
                      <a:pt x="286494" y="278547"/>
                    </a:cubicBezTo>
                    <a:cubicBezTo>
                      <a:pt x="282201" y="278547"/>
                      <a:pt x="278720" y="275068"/>
                      <a:pt x="278720" y="270775"/>
                    </a:cubicBezTo>
                    <a:lnTo>
                      <a:pt x="278720" y="255232"/>
                    </a:lnTo>
                    <a:cubicBezTo>
                      <a:pt x="278720" y="242408"/>
                      <a:pt x="268321" y="232012"/>
                      <a:pt x="255494" y="232012"/>
                    </a:cubicBezTo>
                    <a:lnTo>
                      <a:pt x="247815" y="232012"/>
                    </a:lnTo>
                    <a:lnTo>
                      <a:pt x="247815" y="30802"/>
                    </a:lnTo>
                    <a:cubicBezTo>
                      <a:pt x="247659" y="13782"/>
                      <a:pt x="233840" y="51"/>
                      <a:pt x="216814" y="0"/>
                    </a:cubicBezTo>
                    <a:lnTo>
                      <a:pt x="62001" y="0"/>
                    </a:lnTo>
                    <a:cubicBezTo>
                      <a:pt x="44880" y="0"/>
                      <a:pt x="31001" y="13876"/>
                      <a:pt x="31001" y="30992"/>
                    </a:cubicBezTo>
                    <a:lnTo>
                      <a:pt x="31001" y="309634"/>
                    </a:lnTo>
                    <a:cubicBezTo>
                      <a:pt x="13879" y="309634"/>
                      <a:pt x="0" y="323509"/>
                      <a:pt x="0" y="340625"/>
                    </a:cubicBezTo>
                    <a:lnTo>
                      <a:pt x="0" y="363846"/>
                    </a:lnTo>
                    <a:cubicBezTo>
                      <a:pt x="52" y="368101"/>
                      <a:pt x="3517" y="371523"/>
                      <a:pt x="7774" y="371522"/>
                    </a:cubicBezTo>
                    <a:lnTo>
                      <a:pt x="271136" y="371522"/>
                    </a:lnTo>
                    <a:cubicBezTo>
                      <a:pt x="275377" y="371522"/>
                      <a:pt x="278815" y="368085"/>
                      <a:pt x="278815" y="363846"/>
                    </a:cubicBezTo>
                    <a:lnTo>
                      <a:pt x="278815" y="340436"/>
                    </a:lnTo>
                    <a:cubicBezTo>
                      <a:pt x="278867" y="323372"/>
                      <a:pt x="265073" y="309497"/>
                      <a:pt x="248004" y="309444"/>
                    </a:cubicBezTo>
                    <a:cubicBezTo>
                      <a:pt x="247973" y="309444"/>
                      <a:pt x="247941" y="309444"/>
                      <a:pt x="247909" y="309444"/>
                    </a:cubicBezTo>
                    <a:lnTo>
                      <a:pt x="247909" y="247555"/>
                    </a:lnTo>
                    <a:lnTo>
                      <a:pt x="255588" y="247555"/>
                    </a:lnTo>
                    <a:cubicBezTo>
                      <a:pt x="259845" y="247555"/>
                      <a:pt x="263310" y="250977"/>
                      <a:pt x="263362" y="255232"/>
                    </a:cubicBezTo>
                    <a:lnTo>
                      <a:pt x="263362" y="270775"/>
                    </a:lnTo>
                    <a:cubicBezTo>
                      <a:pt x="263362" y="283600"/>
                      <a:pt x="273761" y="293996"/>
                      <a:pt x="286589" y="293996"/>
                    </a:cubicBezTo>
                    <a:cubicBezTo>
                      <a:pt x="299417" y="293996"/>
                      <a:pt x="309816" y="283600"/>
                      <a:pt x="309816" y="270775"/>
                    </a:cubicBezTo>
                    <a:lnTo>
                      <a:pt x="309816" y="139321"/>
                    </a:lnTo>
                    <a:close/>
                    <a:moveTo>
                      <a:pt x="216814" y="131549"/>
                    </a:moveTo>
                    <a:cubicBezTo>
                      <a:pt x="216814" y="135841"/>
                      <a:pt x="213334" y="139321"/>
                      <a:pt x="209040" y="139321"/>
                    </a:cubicBezTo>
                    <a:lnTo>
                      <a:pt x="69680" y="139321"/>
                    </a:lnTo>
                    <a:cubicBezTo>
                      <a:pt x="65424" y="139269"/>
                      <a:pt x="62001" y="135805"/>
                      <a:pt x="62001" y="131549"/>
                    </a:cubicBezTo>
                    <a:lnTo>
                      <a:pt x="62001" y="38574"/>
                    </a:lnTo>
                    <a:cubicBezTo>
                      <a:pt x="61949" y="34334"/>
                      <a:pt x="65344" y="30855"/>
                      <a:pt x="69585" y="30803"/>
                    </a:cubicBezTo>
                    <a:cubicBezTo>
                      <a:pt x="69616" y="30802"/>
                      <a:pt x="69648" y="30802"/>
                      <a:pt x="69680" y="30802"/>
                    </a:cubicBezTo>
                    <a:lnTo>
                      <a:pt x="209040" y="30802"/>
                    </a:lnTo>
                    <a:cubicBezTo>
                      <a:pt x="213334" y="30802"/>
                      <a:pt x="216814" y="34282"/>
                      <a:pt x="216814" y="38574"/>
                    </a:cubicBezTo>
                    <a:close/>
                  </a:path>
                </a:pathLst>
              </a:custGeom>
              <a:solidFill>
                <a:srgbClr val="FFFFFF"/>
              </a:solidFill>
              <a:ln w="9391" cap="flat">
                <a:noFill/>
                <a:prstDash val="solid"/>
                <a:miter/>
              </a:ln>
            </p:spPr>
            <p:txBody>
              <a:bodyPr rtlCol="0" anchor="ctr"/>
              <a:lstStyle/>
              <a:p>
                <a:endParaRPr lang="fr-FR"/>
              </a:p>
            </p:txBody>
          </p:sp>
          <p:sp>
            <p:nvSpPr>
              <p:cNvPr id="504" name="Freeform 103">
                <a:extLst>
                  <a:ext uri="{FF2B5EF4-FFF2-40B4-BE49-F238E27FC236}">
                    <a16:creationId xmlns:a16="http://schemas.microsoft.com/office/drawing/2014/main" id="{37B57A06-FB38-4B41-A969-FA70C114C904}"/>
                  </a:ext>
                </a:extLst>
              </p:cNvPr>
              <p:cNvSpPr/>
              <p:nvPr/>
            </p:nvSpPr>
            <p:spPr>
              <a:xfrm>
                <a:off x="6038644" y="3413172"/>
                <a:ext cx="66077" cy="57150"/>
              </a:xfrm>
              <a:custGeom>
                <a:avLst/>
                <a:gdLst>
                  <a:gd name="connsiteX0" fmla="*/ 66078 w 66077"/>
                  <a:gd name="connsiteY0" fmla="*/ 0 h 57150"/>
                  <a:gd name="connsiteX1" fmla="*/ 0 w 66077"/>
                  <a:gd name="connsiteY1" fmla="*/ 57150 h 57150"/>
                  <a:gd name="connsiteX2" fmla="*/ 53564 w 66077"/>
                  <a:gd name="connsiteY2" fmla="*/ 57150 h 57150"/>
                </a:gdLst>
                <a:ahLst/>
                <a:cxnLst>
                  <a:cxn ang="0">
                    <a:pos x="connsiteX0" y="connsiteY0"/>
                  </a:cxn>
                  <a:cxn ang="0">
                    <a:pos x="connsiteX1" y="connsiteY1"/>
                  </a:cxn>
                  <a:cxn ang="0">
                    <a:pos x="connsiteX2" y="connsiteY2"/>
                  </a:cxn>
                </a:cxnLst>
                <a:rect l="l" t="t" r="r" b="b"/>
                <a:pathLst>
                  <a:path w="66077" h="57150">
                    <a:moveTo>
                      <a:pt x="66078" y="0"/>
                    </a:moveTo>
                    <a:lnTo>
                      <a:pt x="0" y="57150"/>
                    </a:lnTo>
                    <a:lnTo>
                      <a:pt x="53564" y="57150"/>
                    </a:lnTo>
                  </a:path>
                </a:pathLst>
              </a:custGeom>
              <a:solidFill>
                <a:schemeClr val="accent1"/>
              </a:solidFill>
              <a:ln w="9391" cap="flat">
                <a:noFill/>
                <a:prstDash val="solid"/>
                <a:miter/>
              </a:ln>
            </p:spPr>
            <p:txBody>
              <a:bodyPr rtlCol="0" anchor="ctr"/>
              <a:lstStyle/>
              <a:p>
                <a:endParaRPr lang="fr-FR"/>
              </a:p>
            </p:txBody>
          </p:sp>
          <p:sp>
            <p:nvSpPr>
              <p:cNvPr id="505" name="Freeform 104">
                <a:extLst>
                  <a:ext uri="{FF2B5EF4-FFF2-40B4-BE49-F238E27FC236}">
                    <a16:creationId xmlns:a16="http://schemas.microsoft.com/office/drawing/2014/main" id="{EAA55D33-22EB-415C-9AEA-56B678A5CCEF}"/>
                  </a:ext>
                </a:extLst>
              </p:cNvPr>
              <p:cNvSpPr/>
              <p:nvPr/>
            </p:nvSpPr>
            <p:spPr>
              <a:xfrm>
                <a:off x="6060259" y="3470322"/>
                <a:ext cx="66646" cy="57055"/>
              </a:xfrm>
              <a:custGeom>
                <a:avLst/>
                <a:gdLst>
                  <a:gd name="connsiteX0" fmla="*/ 14220 w 66646"/>
                  <a:gd name="connsiteY0" fmla="*/ 0 h 57055"/>
                  <a:gd name="connsiteX1" fmla="*/ 0 w 66646"/>
                  <a:gd name="connsiteY1" fmla="*/ 57055 h 57055"/>
                  <a:gd name="connsiteX2" fmla="*/ 66646 w 66646"/>
                  <a:gd name="connsiteY2" fmla="*/ 0 h 57055"/>
                </a:gdLst>
                <a:ahLst/>
                <a:cxnLst>
                  <a:cxn ang="0">
                    <a:pos x="connsiteX0" y="connsiteY0"/>
                  </a:cxn>
                  <a:cxn ang="0">
                    <a:pos x="connsiteX1" y="connsiteY1"/>
                  </a:cxn>
                  <a:cxn ang="0">
                    <a:pos x="connsiteX2" y="connsiteY2"/>
                  </a:cxn>
                </a:cxnLst>
                <a:rect l="l" t="t" r="r" b="b"/>
                <a:pathLst>
                  <a:path w="66646" h="57055">
                    <a:moveTo>
                      <a:pt x="14220" y="0"/>
                    </a:moveTo>
                    <a:lnTo>
                      <a:pt x="0" y="57055"/>
                    </a:lnTo>
                    <a:lnTo>
                      <a:pt x="66646" y="0"/>
                    </a:lnTo>
                  </a:path>
                </a:pathLst>
              </a:custGeom>
              <a:solidFill>
                <a:schemeClr val="accent1"/>
              </a:solidFill>
              <a:ln w="9391" cap="flat">
                <a:noFill/>
                <a:prstDash val="solid"/>
                <a:miter/>
              </a:ln>
            </p:spPr>
            <p:txBody>
              <a:bodyPr rtlCol="0" anchor="ctr"/>
              <a:lstStyle/>
              <a:p>
                <a:endParaRPr lang="fr-FR"/>
              </a:p>
            </p:txBody>
          </p:sp>
          <p:sp>
            <p:nvSpPr>
              <p:cNvPr id="507" name="Freeform 105">
                <a:extLst>
                  <a:ext uri="{FF2B5EF4-FFF2-40B4-BE49-F238E27FC236}">
                    <a16:creationId xmlns:a16="http://schemas.microsoft.com/office/drawing/2014/main" id="{FE8B9C28-5B08-4BAC-9E10-57271977FA41}"/>
                  </a:ext>
                </a:extLst>
              </p:cNvPr>
              <p:cNvSpPr/>
              <p:nvPr/>
            </p:nvSpPr>
            <p:spPr>
              <a:xfrm>
                <a:off x="6217252" y="3279253"/>
                <a:ext cx="13461" cy="66438"/>
              </a:xfrm>
              <a:custGeom>
                <a:avLst/>
                <a:gdLst>
                  <a:gd name="connsiteX0" fmla="*/ 6731 w 13461"/>
                  <a:gd name="connsiteY0" fmla="*/ 66154 h 66438"/>
                  <a:gd name="connsiteX1" fmla="*/ 0 w 13461"/>
                  <a:gd name="connsiteY1" fmla="*/ 59425 h 66438"/>
                  <a:gd name="connsiteX2" fmla="*/ 0 w 13461"/>
                  <a:gd name="connsiteY2" fmla="*/ 6729 h 66438"/>
                  <a:gd name="connsiteX3" fmla="*/ 6731 w 13461"/>
                  <a:gd name="connsiteY3" fmla="*/ 0 h 66438"/>
                  <a:gd name="connsiteX4" fmla="*/ 13462 w 13461"/>
                  <a:gd name="connsiteY4" fmla="*/ 6729 h 66438"/>
                  <a:gd name="connsiteX5" fmla="*/ 13462 w 13461"/>
                  <a:gd name="connsiteY5" fmla="*/ 59709 h 66438"/>
                  <a:gd name="connsiteX6" fmla="*/ 6731 w 13461"/>
                  <a:gd name="connsiteY6" fmla="*/ 66438 h 6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61" h="66438">
                    <a:moveTo>
                      <a:pt x="6731" y="66154"/>
                    </a:moveTo>
                    <a:cubicBezTo>
                      <a:pt x="3014" y="66154"/>
                      <a:pt x="0" y="63141"/>
                      <a:pt x="0" y="59425"/>
                    </a:cubicBezTo>
                    <a:lnTo>
                      <a:pt x="0" y="6729"/>
                    </a:lnTo>
                    <a:cubicBezTo>
                      <a:pt x="0" y="3013"/>
                      <a:pt x="3014" y="0"/>
                      <a:pt x="6731" y="0"/>
                    </a:cubicBezTo>
                    <a:cubicBezTo>
                      <a:pt x="10448" y="0"/>
                      <a:pt x="13462" y="3013"/>
                      <a:pt x="13462" y="6729"/>
                    </a:cubicBezTo>
                    <a:lnTo>
                      <a:pt x="13462" y="59709"/>
                    </a:lnTo>
                    <a:cubicBezTo>
                      <a:pt x="13462" y="63425"/>
                      <a:pt x="10448" y="66438"/>
                      <a:pt x="6731" y="66438"/>
                    </a:cubicBezTo>
                  </a:path>
                </a:pathLst>
              </a:custGeom>
              <a:solidFill>
                <a:srgbClr val="FFFFFF"/>
              </a:solidFill>
              <a:ln w="9391" cap="flat">
                <a:noFill/>
                <a:prstDash val="solid"/>
                <a:miter/>
              </a:ln>
            </p:spPr>
            <p:txBody>
              <a:bodyPr rtlCol="0" anchor="ctr"/>
              <a:lstStyle/>
              <a:p>
                <a:endParaRPr lang="fr-FR"/>
              </a:p>
            </p:txBody>
          </p:sp>
          <p:sp>
            <p:nvSpPr>
              <p:cNvPr id="511" name="Freeform 106">
                <a:extLst>
                  <a:ext uri="{FF2B5EF4-FFF2-40B4-BE49-F238E27FC236}">
                    <a16:creationId xmlns:a16="http://schemas.microsoft.com/office/drawing/2014/main" id="{94120642-ADCC-4849-92C5-F84DF3825ACC}"/>
                  </a:ext>
                </a:extLst>
              </p:cNvPr>
              <p:cNvSpPr/>
              <p:nvPr/>
            </p:nvSpPr>
            <p:spPr>
              <a:xfrm>
                <a:off x="6260245" y="3278355"/>
                <a:ext cx="13652" cy="67336"/>
              </a:xfrm>
              <a:custGeom>
                <a:avLst/>
                <a:gdLst>
                  <a:gd name="connsiteX0" fmla="*/ 6874 w 13652"/>
                  <a:gd name="connsiteY0" fmla="*/ 67052 h 67336"/>
                  <a:gd name="connsiteX1" fmla="*/ 49 w 13652"/>
                  <a:gd name="connsiteY1" fmla="*/ 60418 h 67336"/>
                  <a:gd name="connsiteX2" fmla="*/ 48 w 13652"/>
                  <a:gd name="connsiteY2" fmla="*/ 60323 h 67336"/>
                  <a:gd name="connsiteX3" fmla="*/ 48 w 13652"/>
                  <a:gd name="connsiteY3" fmla="*/ 7627 h 67336"/>
                  <a:gd name="connsiteX4" fmla="*/ 6023 w 13652"/>
                  <a:gd name="connsiteY4" fmla="*/ 48 h 67336"/>
                  <a:gd name="connsiteX5" fmla="*/ 13605 w 13652"/>
                  <a:gd name="connsiteY5" fmla="*/ 6022 h 67336"/>
                  <a:gd name="connsiteX6" fmla="*/ 13605 w 13652"/>
                  <a:gd name="connsiteY6" fmla="*/ 7627 h 67336"/>
                  <a:gd name="connsiteX7" fmla="*/ 13605 w 13652"/>
                  <a:gd name="connsiteY7" fmla="*/ 60607 h 67336"/>
                  <a:gd name="connsiteX8" fmla="*/ 6874 w 13652"/>
                  <a:gd name="connsiteY8" fmla="*/ 67336 h 6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 h="67336">
                    <a:moveTo>
                      <a:pt x="6874" y="67052"/>
                    </a:moveTo>
                    <a:cubicBezTo>
                      <a:pt x="3157" y="67104"/>
                      <a:pt x="101" y="64134"/>
                      <a:pt x="49" y="60418"/>
                    </a:cubicBezTo>
                    <a:cubicBezTo>
                      <a:pt x="48" y="60387"/>
                      <a:pt x="48" y="60355"/>
                      <a:pt x="48" y="60323"/>
                    </a:cubicBezTo>
                    <a:lnTo>
                      <a:pt x="48" y="7627"/>
                    </a:lnTo>
                    <a:cubicBezTo>
                      <a:pt x="-395" y="3885"/>
                      <a:pt x="2280" y="491"/>
                      <a:pt x="6023" y="48"/>
                    </a:cubicBezTo>
                    <a:cubicBezTo>
                      <a:pt x="9767" y="-395"/>
                      <a:pt x="13161" y="2279"/>
                      <a:pt x="13605" y="6022"/>
                    </a:cubicBezTo>
                    <a:cubicBezTo>
                      <a:pt x="13668" y="6555"/>
                      <a:pt x="13668" y="7094"/>
                      <a:pt x="13605" y="7627"/>
                    </a:cubicBezTo>
                    <a:lnTo>
                      <a:pt x="13605" y="60607"/>
                    </a:lnTo>
                    <a:cubicBezTo>
                      <a:pt x="13605" y="64324"/>
                      <a:pt x="10591" y="67336"/>
                      <a:pt x="6874" y="67336"/>
                    </a:cubicBezTo>
                  </a:path>
                </a:pathLst>
              </a:custGeom>
              <a:solidFill>
                <a:srgbClr val="FFFFFF"/>
              </a:solidFill>
              <a:ln w="9391" cap="flat">
                <a:noFill/>
                <a:prstDash val="solid"/>
                <a:miter/>
              </a:ln>
            </p:spPr>
            <p:txBody>
              <a:bodyPr rtlCol="0" anchor="ctr"/>
              <a:lstStyle/>
              <a:p>
                <a:endParaRPr lang="fr-FR"/>
              </a:p>
            </p:txBody>
          </p:sp>
          <p:sp>
            <p:nvSpPr>
              <p:cNvPr id="512" name="Freeform 107">
                <a:extLst>
                  <a:ext uri="{FF2B5EF4-FFF2-40B4-BE49-F238E27FC236}">
                    <a16:creationId xmlns:a16="http://schemas.microsoft.com/office/drawing/2014/main" id="{577D38BC-514B-490F-A48E-3336E3143C4C}"/>
                  </a:ext>
                </a:extLst>
              </p:cNvPr>
              <p:cNvSpPr/>
              <p:nvPr/>
            </p:nvSpPr>
            <p:spPr>
              <a:xfrm>
                <a:off x="6205118" y="3324841"/>
                <a:ext cx="80487" cy="37341"/>
              </a:xfrm>
              <a:custGeom>
                <a:avLst/>
                <a:gdLst>
                  <a:gd name="connsiteX0" fmla="*/ 0 w 80487"/>
                  <a:gd name="connsiteY0" fmla="*/ 0 h 37341"/>
                  <a:gd name="connsiteX1" fmla="*/ 80488 w 80487"/>
                  <a:gd name="connsiteY1" fmla="*/ 0 h 37341"/>
                  <a:gd name="connsiteX2" fmla="*/ 80488 w 80487"/>
                  <a:gd name="connsiteY2" fmla="*/ 37342 h 37341"/>
                  <a:gd name="connsiteX3" fmla="*/ 0 w 80487"/>
                  <a:gd name="connsiteY3" fmla="*/ 37342 h 37341"/>
                </a:gdLst>
                <a:ahLst/>
                <a:cxnLst>
                  <a:cxn ang="0">
                    <a:pos x="connsiteX0" y="connsiteY0"/>
                  </a:cxn>
                  <a:cxn ang="0">
                    <a:pos x="connsiteX1" y="connsiteY1"/>
                  </a:cxn>
                  <a:cxn ang="0">
                    <a:pos x="connsiteX2" y="connsiteY2"/>
                  </a:cxn>
                  <a:cxn ang="0">
                    <a:pos x="connsiteX3" y="connsiteY3"/>
                  </a:cxn>
                </a:cxnLst>
                <a:rect l="l" t="t" r="r" b="b"/>
                <a:pathLst>
                  <a:path w="80487" h="37341">
                    <a:moveTo>
                      <a:pt x="0" y="0"/>
                    </a:moveTo>
                    <a:lnTo>
                      <a:pt x="80488" y="0"/>
                    </a:lnTo>
                    <a:lnTo>
                      <a:pt x="80488" y="37342"/>
                    </a:lnTo>
                    <a:lnTo>
                      <a:pt x="0" y="37342"/>
                    </a:lnTo>
                    <a:close/>
                  </a:path>
                </a:pathLst>
              </a:custGeom>
              <a:solidFill>
                <a:srgbClr val="FFFFFF"/>
              </a:solidFill>
              <a:ln w="9391" cap="flat">
                <a:noFill/>
                <a:prstDash val="solid"/>
                <a:miter/>
              </a:ln>
            </p:spPr>
            <p:txBody>
              <a:bodyPr rtlCol="0" anchor="ctr"/>
              <a:lstStyle/>
              <a:p>
                <a:endParaRPr lang="fr-FR"/>
              </a:p>
            </p:txBody>
          </p:sp>
          <p:sp>
            <p:nvSpPr>
              <p:cNvPr id="515" name="Freeform 108">
                <a:extLst>
                  <a:ext uri="{FF2B5EF4-FFF2-40B4-BE49-F238E27FC236}">
                    <a16:creationId xmlns:a16="http://schemas.microsoft.com/office/drawing/2014/main" id="{ADBF603D-165E-4D9E-8FC0-4D129897CB94}"/>
                  </a:ext>
                </a:extLst>
              </p:cNvPr>
              <p:cNvSpPr/>
              <p:nvPr/>
            </p:nvSpPr>
            <p:spPr>
              <a:xfrm>
                <a:off x="6225216" y="3356211"/>
                <a:ext cx="40291" cy="27295"/>
              </a:xfrm>
              <a:custGeom>
                <a:avLst/>
                <a:gdLst>
                  <a:gd name="connsiteX0" fmla="*/ 0 w 40291"/>
                  <a:gd name="connsiteY0" fmla="*/ 0 h 27295"/>
                  <a:gd name="connsiteX1" fmla="*/ 40291 w 40291"/>
                  <a:gd name="connsiteY1" fmla="*/ 0 h 27295"/>
                  <a:gd name="connsiteX2" fmla="*/ 40291 w 40291"/>
                  <a:gd name="connsiteY2" fmla="*/ 27296 h 27295"/>
                  <a:gd name="connsiteX3" fmla="*/ 0 w 40291"/>
                  <a:gd name="connsiteY3" fmla="*/ 27296 h 27295"/>
                </a:gdLst>
                <a:ahLst/>
                <a:cxnLst>
                  <a:cxn ang="0">
                    <a:pos x="connsiteX0" y="connsiteY0"/>
                  </a:cxn>
                  <a:cxn ang="0">
                    <a:pos x="connsiteX1" y="connsiteY1"/>
                  </a:cxn>
                  <a:cxn ang="0">
                    <a:pos x="connsiteX2" y="connsiteY2"/>
                  </a:cxn>
                  <a:cxn ang="0">
                    <a:pos x="connsiteX3" y="connsiteY3"/>
                  </a:cxn>
                </a:cxnLst>
                <a:rect l="l" t="t" r="r" b="b"/>
                <a:pathLst>
                  <a:path w="40291" h="27295">
                    <a:moveTo>
                      <a:pt x="0" y="0"/>
                    </a:moveTo>
                    <a:lnTo>
                      <a:pt x="40291" y="0"/>
                    </a:lnTo>
                    <a:lnTo>
                      <a:pt x="40291" y="27296"/>
                    </a:lnTo>
                    <a:lnTo>
                      <a:pt x="0" y="27296"/>
                    </a:lnTo>
                    <a:close/>
                  </a:path>
                </a:pathLst>
              </a:custGeom>
              <a:solidFill>
                <a:srgbClr val="FFFFFF"/>
              </a:solidFill>
              <a:ln w="9391" cap="flat">
                <a:noFill/>
                <a:prstDash val="solid"/>
                <a:miter/>
              </a:ln>
            </p:spPr>
            <p:txBody>
              <a:bodyPr rtlCol="0" anchor="ctr"/>
              <a:lstStyle/>
              <a:p>
                <a:endParaRPr lang="fr-FR"/>
              </a:p>
            </p:txBody>
          </p:sp>
        </p:grpSp>
      </p:grpSp>
      <p:grpSp>
        <p:nvGrpSpPr>
          <p:cNvPr id="616" name="Graphic 181">
            <a:extLst>
              <a:ext uri="{FF2B5EF4-FFF2-40B4-BE49-F238E27FC236}">
                <a16:creationId xmlns:a16="http://schemas.microsoft.com/office/drawing/2014/main" id="{EABC0A75-3D48-41D8-841D-A819E7A7D10D}"/>
              </a:ext>
              <a:ext uri="{C183D7F6-B498-43B3-948B-1728B52AA6E4}">
                <adec:decorative xmlns:adec="http://schemas.microsoft.com/office/drawing/2017/decorative" val="1"/>
              </a:ext>
            </a:extLst>
          </p:cNvPr>
          <p:cNvGrpSpPr>
            <a:grpSpLocks noChangeAspect="1"/>
          </p:cNvGrpSpPr>
          <p:nvPr/>
        </p:nvGrpSpPr>
        <p:grpSpPr>
          <a:xfrm>
            <a:off x="4581469" y="1451343"/>
            <a:ext cx="665280" cy="633600"/>
            <a:chOff x="5759392" y="3117851"/>
            <a:chExt cx="671894" cy="625162"/>
          </a:xfrm>
        </p:grpSpPr>
        <p:sp>
          <p:nvSpPr>
            <p:cNvPr id="625" name="Freeform 110">
              <a:extLst>
                <a:ext uri="{FF2B5EF4-FFF2-40B4-BE49-F238E27FC236}">
                  <a16:creationId xmlns:a16="http://schemas.microsoft.com/office/drawing/2014/main" id="{C4A43E02-C549-4FF6-B656-72FCCBA8F916}"/>
                </a:ext>
              </a:extLst>
            </p:cNvPr>
            <p:cNvSpPr/>
            <p:nvPr/>
          </p:nvSpPr>
          <p:spPr>
            <a:xfrm>
              <a:off x="5759392" y="3117851"/>
              <a:ext cx="671894" cy="625162"/>
            </a:xfrm>
            <a:custGeom>
              <a:avLst/>
              <a:gdLst>
                <a:gd name="connsiteX0" fmla="*/ 22723 w 671893"/>
                <a:gd name="connsiteY0" fmla="*/ 432120 h 625162"/>
                <a:gd name="connsiteX1" fmla="*/ 215173 w 671893"/>
                <a:gd name="connsiteY1" fmla="*/ 19893 h 625162"/>
                <a:gd name="connsiteX2" fmla="*/ 650128 w 671893"/>
                <a:gd name="connsiteY2" fmla="*/ 210072 h 625162"/>
                <a:gd name="connsiteX3" fmla="*/ 450473 w 671893"/>
                <a:gd name="connsiteY3" fmla="*/ 602498 h 625162"/>
                <a:gd name="connsiteX4" fmla="*/ 22723 w 671893"/>
                <a:gd name="connsiteY4" fmla="*/ 432120 h 625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893" h="625162">
                  <a:moveTo>
                    <a:pt x="22723" y="432120"/>
                  </a:moveTo>
                  <a:cubicBezTo>
                    <a:pt x="-44208" y="265796"/>
                    <a:pt x="41684" y="81181"/>
                    <a:pt x="215173" y="19893"/>
                  </a:cubicBezTo>
                  <a:cubicBezTo>
                    <a:pt x="388662" y="-41394"/>
                    <a:pt x="583197" y="43654"/>
                    <a:pt x="650128" y="210072"/>
                  </a:cubicBezTo>
                  <a:cubicBezTo>
                    <a:pt x="717059" y="376490"/>
                    <a:pt x="623773" y="541117"/>
                    <a:pt x="450473" y="602498"/>
                  </a:cubicBezTo>
                  <a:cubicBezTo>
                    <a:pt x="277174" y="663880"/>
                    <a:pt x="89654" y="598444"/>
                    <a:pt x="22723" y="432120"/>
                  </a:cubicBezTo>
                </a:path>
              </a:pathLst>
            </a:custGeom>
            <a:solidFill>
              <a:schemeClr val="accent4"/>
            </a:solidFill>
            <a:ln w="9391" cap="flat">
              <a:noFill/>
              <a:prstDash val="solid"/>
              <a:miter/>
            </a:ln>
          </p:spPr>
          <p:txBody>
            <a:bodyPr rtlCol="0" anchor="ctr"/>
            <a:lstStyle/>
            <a:p>
              <a:endParaRPr lang="fr-FR" dirty="0"/>
            </a:p>
          </p:txBody>
        </p:sp>
        <p:sp>
          <p:nvSpPr>
            <p:cNvPr id="636" name="Freeform 111">
              <a:extLst>
                <a:ext uri="{FF2B5EF4-FFF2-40B4-BE49-F238E27FC236}">
                  <a16:creationId xmlns:a16="http://schemas.microsoft.com/office/drawing/2014/main" id="{FF81FFCF-37D4-4D98-BAA8-02C8DD17B90A}"/>
                </a:ext>
              </a:extLst>
            </p:cNvPr>
            <p:cNvSpPr/>
            <p:nvPr/>
          </p:nvSpPr>
          <p:spPr>
            <a:xfrm>
              <a:off x="6138239" y="3453840"/>
              <a:ext cx="144831" cy="144077"/>
            </a:xfrm>
            <a:custGeom>
              <a:avLst/>
              <a:gdLst>
                <a:gd name="connsiteX0" fmla="*/ 141496 w 144830"/>
                <a:gd name="connsiteY0" fmla="*/ 83306 h 144077"/>
                <a:gd name="connsiteX1" fmla="*/ 136471 w 144830"/>
                <a:gd name="connsiteY1" fmla="*/ 81420 h 144077"/>
                <a:gd name="connsiteX2" fmla="*/ 132774 w 144830"/>
                <a:gd name="connsiteY2" fmla="*/ 75480 h 144077"/>
                <a:gd name="connsiteX3" fmla="*/ 132774 w 144830"/>
                <a:gd name="connsiteY3" fmla="*/ 66711 h 144077"/>
                <a:gd name="connsiteX4" fmla="*/ 136282 w 144830"/>
                <a:gd name="connsiteY4" fmla="*/ 60771 h 144077"/>
                <a:gd name="connsiteX5" fmla="*/ 141212 w 144830"/>
                <a:gd name="connsiteY5" fmla="*/ 58603 h 144077"/>
                <a:gd name="connsiteX6" fmla="*/ 144378 w 144830"/>
                <a:gd name="connsiteY6" fmla="*/ 50959 h 144077"/>
                <a:gd name="connsiteX7" fmla="*/ 144340 w 144830"/>
                <a:gd name="connsiteY7" fmla="*/ 50871 h 144077"/>
                <a:gd name="connsiteX8" fmla="*/ 137325 w 144830"/>
                <a:gd name="connsiteY8" fmla="*/ 34842 h 144077"/>
                <a:gd name="connsiteX9" fmla="*/ 129504 w 144830"/>
                <a:gd name="connsiteY9" fmla="*/ 31669 h 144077"/>
                <a:gd name="connsiteX10" fmla="*/ 129361 w 144830"/>
                <a:gd name="connsiteY10" fmla="*/ 31731 h 144077"/>
                <a:gd name="connsiteX11" fmla="*/ 124432 w 144830"/>
                <a:gd name="connsiteY11" fmla="*/ 33899 h 144077"/>
                <a:gd name="connsiteX12" fmla="*/ 117606 w 144830"/>
                <a:gd name="connsiteY12" fmla="*/ 32296 h 144077"/>
                <a:gd name="connsiteX13" fmla="*/ 111349 w 144830"/>
                <a:gd name="connsiteY13" fmla="*/ 26356 h 144077"/>
                <a:gd name="connsiteX14" fmla="*/ 109547 w 144830"/>
                <a:gd name="connsiteY14" fmla="*/ 19568 h 144077"/>
                <a:gd name="connsiteX15" fmla="*/ 111633 w 144830"/>
                <a:gd name="connsiteY15" fmla="*/ 14476 h 144077"/>
                <a:gd name="connsiteX16" fmla="*/ 108220 w 144830"/>
                <a:gd name="connsiteY16" fmla="*/ 6839 h 144077"/>
                <a:gd name="connsiteX17" fmla="*/ 91914 w 144830"/>
                <a:gd name="connsiteY17" fmla="*/ 427 h 144077"/>
                <a:gd name="connsiteX18" fmla="*/ 84263 w 144830"/>
                <a:gd name="connsiteY18" fmla="*/ 3658 h 144077"/>
                <a:gd name="connsiteX19" fmla="*/ 84235 w 144830"/>
                <a:gd name="connsiteY19" fmla="*/ 3727 h 144077"/>
                <a:gd name="connsiteX20" fmla="*/ 82244 w 144830"/>
                <a:gd name="connsiteY20" fmla="*/ 8819 h 144077"/>
                <a:gd name="connsiteX21" fmla="*/ 76272 w 144830"/>
                <a:gd name="connsiteY21" fmla="*/ 12873 h 144077"/>
                <a:gd name="connsiteX22" fmla="*/ 67550 w 144830"/>
                <a:gd name="connsiteY22" fmla="*/ 12873 h 144077"/>
                <a:gd name="connsiteX23" fmla="*/ 61577 w 144830"/>
                <a:gd name="connsiteY23" fmla="*/ 9384 h 144077"/>
                <a:gd name="connsiteX24" fmla="*/ 59397 w 144830"/>
                <a:gd name="connsiteY24" fmla="*/ 4387 h 144077"/>
                <a:gd name="connsiteX25" fmla="*/ 51556 w 144830"/>
                <a:gd name="connsiteY25" fmla="*/ 1264 h 144077"/>
                <a:gd name="connsiteX26" fmla="*/ 51528 w 144830"/>
                <a:gd name="connsiteY26" fmla="*/ 1276 h 144077"/>
                <a:gd name="connsiteX27" fmla="*/ 35412 w 144830"/>
                <a:gd name="connsiteY27" fmla="*/ 8253 h 144077"/>
                <a:gd name="connsiteX28" fmla="*/ 32378 w 144830"/>
                <a:gd name="connsiteY28" fmla="*/ 15985 h 144077"/>
                <a:gd name="connsiteX29" fmla="*/ 34558 w 144830"/>
                <a:gd name="connsiteY29" fmla="*/ 21076 h 144077"/>
                <a:gd name="connsiteX30" fmla="*/ 33042 w 144830"/>
                <a:gd name="connsiteY30" fmla="*/ 27865 h 144077"/>
                <a:gd name="connsiteX31" fmla="*/ 26879 w 144830"/>
                <a:gd name="connsiteY31" fmla="*/ 34088 h 144077"/>
                <a:gd name="connsiteX32" fmla="*/ 20148 w 144830"/>
                <a:gd name="connsiteY32" fmla="*/ 35879 h 144077"/>
                <a:gd name="connsiteX33" fmla="*/ 14934 w 144830"/>
                <a:gd name="connsiteY33" fmla="*/ 33899 h 144077"/>
                <a:gd name="connsiteX34" fmla="*/ 7283 w 144830"/>
                <a:gd name="connsiteY34" fmla="*/ 37130 h 144077"/>
                <a:gd name="connsiteX35" fmla="*/ 7255 w 144830"/>
                <a:gd name="connsiteY35" fmla="*/ 37199 h 144077"/>
                <a:gd name="connsiteX36" fmla="*/ 429 w 144830"/>
                <a:gd name="connsiteY36" fmla="*/ 53228 h 144077"/>
                <a:gd name="connsiteX37" fmla="*/ 3678 w 144830"/>
                <a:gd name="connsiteY37" fmla="*/ 60838 h 144077"/>
                <a:gd name="connsiteX38" fmla="*/ 3747 w 144830"/>
                <a:gd name="connsiteY38" fmla="*/ 60866 h 144077"/>
                <a:gd name="connsiteX39" fmla="*/ 8962 w 144830"/>
                <a:gd name="connsiteY39" fmla="*/ 62940 h 144077"/>
                <a:gd name="connsiteX40" fmla="*/ 12754 w 144830"/>
                <a:gd name="connsiteY40" fmla="*/ 68880 h 144077"/>
                <a:gd name="connsiteX41" fmla="*/ 12754 w 144830"/>
                <a:gd name="connsiteY41" fmla="*/ 77460 h 144077"/>
                <a:gd name="connsiteX42" fmla="*/ 9246 w 144830"/>
                <a:gd name="connsiteY42" fmla="*/ 83306 h 144077"/>
                <a:gd name="connsiteX43" fmla="*/ 3937 w 144830"/>
                <a:gd name="connsiteY43" fmla="*/ 85663 h 144077"/>
                <a:gd name="connsiteX44" fmla="*/ 885 w 144830"/>
                <a:gd name="connsiteY44" fmla="*/ 93353 h 144077"/>
                <a:gd name="connsiteX45" fmla="*/ 903 w 144830"/>
                <a:gd name="connsiteY45" fmla="*/ 93395 h 144077"/>
                <a:gd name="connsiteX46" fmla="*/ 7919 w 144830"/>
                <a:gd name="connsiteY46" fmla="*/ 109424 h 144077"/>
                <a:gd name="connsiteX47" fmla="*/ 15651 w 144830"/>
                <a:gd name="connsiteY47" fmla="*/ 112459 h 144077"/>
                <a:gd name="connsiteX48" fmla="*/ 15693 w 144830"/>
                <a:gd name="connsiteY48" fmla="*/ 112441 h 144077"/>
                <a:gd name="connsiteX49" fmla="*/ 21002 w 144830"/>
                <a:gd name="connsiteY49" fmla="*/ 110178 h 144077"/>
                <a:gd name="connsiteX50" fmla="*/ 27733 w 144830"/>
                <a:gd name="connsiteY50" fmla="*/ 111781 h 144077"/>
                <a:gd name="connsiteX51" fmla="*/ 33990 w 144830"/>
                <a:gd name="connsiteY51" fmla="*/ 117721 h 144077"/>
                <a:gd name="connsiteX52" fmla="*/ 35696 w 144830"/>
                <a:gd name="connsiteY52" fmla="*/ 124510 h 144077"/>
                <a:gd name="connsiteX53" fmla="*/ 33705 w 144830"/>
                <a:gd name="connsiteY53" fmla="*/ 129601 h 144077"/>
                <a:gd name="connsiteX54" fmla="*/ 37023 w 144830"/>
                <a:gd name="connsiteY54" fmla="*/ 137239 h 144077"/>
                <a:gd name="connsiteX55" fmla="*/ 53424 w 144830"/>
                <a:gd name="connsiteY55" fmla="*/ 143650 h 144077"/>
                <a:gd name="connsiteX56" fmla="*/ 61076 w 144830"/>
                <a:gd name="connsiteY56" fmla="*/ 140420 h 144077"/>
                <a:gd name="connsiteX57" fmla="*/ 61103 w 144830"/>
                <a:gd name="connsiteY57" fmla="*/ 140350 h 144077"/>
                <a:gd name="connsiteX58" fmla="*/ 63094 w 144830"/>
                <a:gd name="connsiteY58" fmla="*/ 135259 h 144077"/>
                <a:gd name="connsiteX59" fmla="*/ 69067 w 144830"/>
                <a:gd name="connsiteY59" fmla="*/ 131487 h 144077"/>
                <a:gd name="connsiteX60" fmla="*/ 77789 w 144830"/>
                <a:gd name="connsiteY60" fmla="*/ 131487 h 144077"/>
                <a:gd name="connsiteX61" fmla="*/ 83761 w 144830"/>
                <a:gd name="connsiteY61" fmla="*/ 134976 h 144077"/>
                <a:gd name="connsiteX62" fmla="*/ 85942 w 144830"/>
                <a:gd name="connsiteY62" fmla="*/ 139973 h 144077"/>
                <a:gd name="connsiteX63" fmla="*/ 93783 w 144830"/>
                <a:gd name="connsiteY63" fmla="*/ 143096 h 144077"/>
                <a:gd name="connsiteX64" fmla="*/ 93810 w 144830"/>
                <a:gd name="connsiteY64" fmla="*/ 143085 h 144077"/>
                <a:gd name="connsiteX65" fmla="*/ 109927 w 144830"/>
                <a:gd name="connsiteY65" fmla="*/ 136107 h 144077"/>
                <a:gd name="connsiteX66" fmla="*/ 112979 w 144830"/>
                <a:gd name="connsiteY66" fmla="*/ 128418 h 144077"/>
                <a:gd name="connsiteX67" fmla="*/ 112960 w 144830"/>
                <a:gd name="connsiteY67" fmla="*/ 128376 h 144077"/>
                <a:gd name="connsiteX68" fmla="*/ 110780 w 144830"/>
                <a:gd name="connsiteY68" fmla="*/ 123284 h 144077"/>
                <a:gd name="connsiteX69" fmla="*/ 112297 w 144830"/>
                <a:gd name="connsiteY69" fmla="*/ 116590 h 144077"/>
                <a:gd name="connsiteX70" fmla="*/ 118269 w 144830"/>
                <a:gd name="connsiteY70" fmla="*/ 110461 h 144077"/>
                <a:gd name="connsiteX71" fmla="*/ 125000 w 144830"/>
                <a:gd name="connsiteY71" fmla="*/ 108670 h 144077"/>
                <a:gd name="connsiteX72" fmla="*/ 130120 w 144830"/>
                <a:gd name="connsiteY72" fmla="*/ 110650 h 144077"/>
                <a:gd name="connsiteX73" fmla="*/ 137771 w 144830"/>
                <a:gd name="connsiteY73" fmla="*/ 107419 h 144077"/>
                <a:gd name="connsiteX74" fmla="*/ 137799 w 144830"/>
                <a:gd name="connsiteY74" fmla="*/ 107350 h 144077"/>
                <a:gd name="connsiteX75" fmla="*/ 144245 w 144830"/>
                <a:gd name="connsiteY75" fmla="*/ 91038 h 144077"/>
                <a:gd name="connsiteX76" fmla="*/ 141496 w 144830"/>
                <a:gd name="connsiteY76" fmla="*/ 83306 h 144077"/>
                <a:gd name="connsiteX77" fmla="*/ 112012 w 144830"/>
                <a:gd name="connsiteY77" fmla="*/ 87361 h 144077"/>
                <a:gd name="connsiteX78" fmla="*/ 57406 w 144830"/>
                <a:gd name="connsiteY78" fmla="*/ 110932 h 144077"/>
                <a:gd name="connsiteX79" fmla="*/ 33706 w 144830"/>
                <a:gd name="connsiteY79" fmla="*/ 56622 h 144077"/>
                <a:gd name="connsiteX80" fmla="*/ 88312 w 144830"/>
                <a:gd name="connsiteY80" fmla="*/ 33051 h 144077"/>
                <a:gd name="connsiteX81" fmla="*/ 112012 w 144830"/>
                <a:gd name="connsiteY81" fmla="*/ 87360 h 144077"/>
                <a:gd name="connsiteX82" fmla="*/ 112012 w 144830"/>
                <a:gd name="connsiteY82" fmla="*/ 87361 h 14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44830" h="144077">
                  <a:moveTo>
                    <a:pt x="141496" y="83306"/>
                  </a:moveTo>
                  <a:lnTo>
                    <a:pt x="136471" y="81420"/>
                  </a:lnTo>
                  <a:cubicBezTo>
                    <a:pt x="134075" y="80447"/>
                    <a:pt x="132582" y="78048"/>
                    <a:pt x="132774" y="75480"/>
                  </a:cubicBezTo>
                  <a:cubicBezTo>
                    <a:pt x="133011" y="72562"/>
                    <a:pt x="133011" y="69630"/>
                    <a:pt x="132774" y="66711"/>
                  </a:cubicBezTo>
                  <a:cubicBezTo>
                    <a:pt x="132522" y="64184"/>
                    <a:pt x="133939" y="61783"/>
                    <a:pt x="136282" y="60771"/>
                  </a:cubicBezTo>
                  <a:lnTo>
                    <a:pt x="141212" y="58603"/>
                  </a:lnTo>
                  <a:cubicBezTo>
                    <a:pt x="144208" y="57361"/>
                    <a:pt x="145626" y="53939"/>
                    <a:pt x="144378" y="50959"/>
                  </a:cubicBezTo>
                  <a:cubicBezTo>
                    <a:pt x="144365" y="50929"/>
                    <a:pt x="144353" y="50900"/>
                    <a:pt x="144340" y="50871"/>
                  </a:cubicBezTo>
                  <a:lnTo>
                    <a:pt x="137325" y="34842"/>
                  </a:lnTo>
                  <a:cubicBezTo>
                    <a:pt x="136046" y="31818"/>
                    <a:pt x="132545" y="30397"/>
                    <a:pt x="129504" y="31669"/>
                  </a:cubicBezTo>
                  <a:cubicBezTo>
                    <a:pt x="129456" y="31689"/>
                    <a:pt x="129409" y="31709"/>
                    <a:pt x="129361" y="31731"/>
                  </a:cubicBezTo>
                  <a:lnTo>
                    <a:pt x="124432" y="33899"/>
                  </a:lnTo>
                  <a:cubicBezTo>
                    <a:pt x="122050" y="34921"/>
                    <a:pt x="119276" y="34270"/>
                    <a:pt x="117606" y="32296"/>
                  </a:cubicBezTo>
                  <a:cubicBezTo>
                    <a:pt x="115685" y="30152"/>
                    <a:pt x="113592" y="28165"/>
                    <a:pt x="111349" y="26356"/>
                  </a:cubicBezTo>
                  <a:cubicBezTo>
                    <a:pt x="109350" y="24709"/>
                    <a:pt x="108626" y="21981"/>
                    <a:pt x="109547" y="19568"/>
                  </a:cubicBezTo>
                  <a:lnTo>
                    <a:pt x="111633" y="14476"/>
                  </a:lnTo>
                  <a:cubicBezTo>
                    <a:pt x="112793" y="11430"/>
                    <a:pt x="111271" y="8023"/>
                    <a:pt x="108220" y="6839"/>
                  </a:cubicBezTo>
                  <a:lnTo>
                    <a:pt x="91914" y="427"/>
                  </a:lnTo>
                  <a:cubicBezTo>
                    <a:pt x="88904" y="-782"/>
                    <a:pt x="85479" y="664"/>
                    <a:pt x="84263" y="3658"/>
                  </a:cubicBezTo>
                  <a:cubicBezTo>
                    <a:pt x="84253" y="3681"/>
                    <a:pt x="84244" y="3704"/>
                    <a:pt x="84235" y="3727"/>
                  </a:cubicBezTo>
                  <a:lnTo>
                    <a:pt x="82244" y="8819"/>
                  </a:lnTo>
                  <a:cubicBezTo>
                    <a:pt x="81369" y="11331"/>
                    <a:pt x="78943" y="12978"/>
                    <a:pt x="76272" y="12873"/>
                  </a:cubicBezTo>
                  <a:cubicBezTo>
                    <a:pt x="73369" y="12637"/>
                    <a:pt x="70452" y="12637"/>
                    <a:pt x="67550" y="12873"/>
                  </a:cubicBezTo>
                  <a:cubicBezTo>
                    <a:pt x="65001" y="13156"/>
                    <a:pt x="62570" y="11736"/>
                    <a:pt x="61577" y="9384"/>
                  </a:cubicBezTo>
                  <a:lnTo>
                    <a:pt x="59397" y="4387"/>
                  </a:lnTo>
                  <a:cubicBezTo>
                    <a:pt x="58099" y="1371"/>
                    <a:pt x="54588" y="-27"/>
                    <a:pt x="51556" y="1264"/>
                  </a:cubicBezTo>
                  <a:cubicBezTo>
                    <a:pt x="51547" y="1268"/>
                    <a:pt x="51537" y="1272"/>
                    <a:pt x="51528" y="1276"/>
                  </a:cubicBezTo>
                  <a:lnTo>
                    <a:pt x="35412" y="8253"/>
                  </a:lnTo>
                  <a:cubicBezTo>
                    <a:pt x="32458" y="9584"/>
                    <a:pt x="31111" y="13016"/>
                    <a:pt x="32378" y="15985"/>
                  </a:cubicBezTo>
                  <a:lnTo>
                    <a:pt x="34558" y="21076"/>
                  </a:lnTo>
                  <a:cubicBezTo>
                    <a:pt x="35577" y="23428"/>
                    <a:pt x="34965" y="26164"/>
                    <a:pt x="33042" y="27865"/>
                  </a:cubicBezTo>
                  <a:cubicBezTo>
                    <a:pt x="30824" y="29772"/>
                    <a:pt x="28763" y="31853"/>
                    <a:pt x="26879" y="34088"/>
                  </a:cubicBezTo>
                  <a:cubicBezTo>
                    <a:pt x="25272" y="36086"/>
                    <a:pt x="22544" y="36812"/>
                    <a:pt x="20148" y="35879"/>
                  </a:cubicBezTo>
                  <a:lnTo>
                    <a:pt x="14934" y="33899"/>
                  </a:lnTo>
                  <a:cubicBezTo>
                    <a:pt x="11924" y="32690"/>
                    <a:pt x="8499" y="34137"/>
                    <a:pt x="7283" y="37130"/>
                  </a:cubicBezTo>
                  <a:cubicBezTo>
                    <a:pt x="7273" y="37153"/>
                    <a:pt x="7264" y="37176"/>
                    <a:pt x="7255" y="37199"/>
                  </a:cubicBezTo>
                  <a:lnTo>
                    <a:pt x="429" y="53228"/>
                  </a:lnTo>
                  <a:cubicBezTo>
                    <a:pt x="-786" y="56222"/>
                    <a:pt x="668" y="59629"/>
                    <a:pt x="3678" y="60838"/>
                  </a:cubicBezTo>
                  <a:cubicBezTo>
                    <a:pt x="3701" y="60847"/>
                    <a:pt x="3724" y="60857"/>
                    <a:pt x="3747" y="60866"/>
                  </a:cubicBezTo>
                  <a:lnTo>
                    <a:pt x="8962" y="62940"/>
                  </a:lnTo>
                  <a:cubicBezTo>
                    <a:pt x="11376" y="63906"/>
                    <a:pt x="12901" y="66296"/>
                    <a:pt x="12754" y="68880"/>
                  </a:cubicBezTo>
                  <a:cubicBezTo>
                    <a:pt x="12517" y="71735"/>
                    <a:pt x="12517" y="74605"/>
                    <a:pt x="12754" y="77460"/>
                  </a:cubicBezTo>
                  <a:cubicBezTo>
                    <a:pt x="12994" y="79962"/>
                    <a:pt x="11574" y="82329"/>
                    <a:pt x="9246" y="83306"/>
                  </a:cubicBezTo>
                  <a:lnTo>
                    <a:pt x="3937" y="85663"/>
                  </a:lnTo>
                  <a:cubicBezTo>
                    <a:pt x="959" y="86949"/>
                    <a:pt x="-407" y="90391"/>
                    <a:pt x="885" y="93353"/>
                  </a:cubicBezTo>
                  <a:cubicBezTo>
                    <a:pt x="891" y="93367"/>
                    <a:pt x="897" y="93381"/>
                    <a:pt x="903" y="93395"/>
                  </a:cubicBezTo>
                  <a:lnTo>
                    <a:pt x="7919" y="109424"/>
                  </a:lnTo>
                  <a:cubicBezTo>
                    <a:pt x="9211" y="112386"/>
                    <a:pt x="12673" y="113745"/>
                    <a:pt x="15651" y="112459"/>
                  </a:cubicBezTo>
                  <a:cubicBezTo>
                    <a:pt x="15665" y="112453"/>
                    <a:pt x="15679" y="112447"/>
                    <a:pt x="15693" y="112441"/>
                  </a:cubicBezTo>
                  <a:lnTo>
                    <a:pt x="21002" y="110178"/>
                  </a:lnTo>
                  <a:cubicBezTo>
                    <a:pt x="23357" y="109203"/>
                    <a:pt x="26077" y="109850"/>
                    <a:pt x="27733" y="111781"/>
                  </a:cubicBezTo>
                  <a:cubicBezTo>
                    <a:pt x="29654" y="113926"/>
                    <a:pt x="31746" y="115912"/>
                    <a:pt x="33990" y="117721"/>
                  </a:cubicBezTo>
                  <a:cubicBezTo>
                    <a:pt x="36008" y="119358"/>
                    <a:pt x="36702" y="122121"/>
                    <a:pt x="35696" y="124510"/>
                  </a:cubicBezTo>
                  <a:lnTo>
                    <a:pt x="33705" y="129601"/>
                  </a:lnTo>
                  <a:cubicBezTo>
                    <a:pt x="32535" y="132621"/>
                    <a:pt x="34010" y="136017"/>
                    <a:pt x="37023" y="137239"/>
                  </a:cubicBezTo>
                  <a:lnTo>
                    <a:pt x="53424" y="143650"/>
                  </a:lnTo>
                  <a:cubicBezTo>
                    <a:pt x="56434" y="144860"/>
                    <a:pt x="59860" y="143413"/>
                    <a:pt x="61076" y="140420"/>
                  </a:cubicBezTo>
                  <a:cubicBezTo>
                    <a:pt x="61085" y="140397"/>
                    <a:pt x="61094" y="140373"/>
                    <a:pt x="61103" y="140350"/>
                  </a:cubicBezTo>
                  <a:lnTo>
                    <a:pt x="63094" y="135259"/>
                  </a:lnTo>
                  <a:cubicBezTo>
                    <a:pt x="64066" y="132858"/>
                    <a:pt x="66469" y="131340"/>
                    <a:pt x="69067" y="131487"/>
                  </a:cubicBezTo>
                  <a:cubicBezTo>
                    <a:pt x="71969" y="131723"/>
                    <a:pt x="74886" y="131723"/>
                    <a:pt x="77789" y="131487"/>
                  </a:cubicBezTo>
                  <a:cubicBezTo>
                    <a:pt x="80330" y="131236"/>
                    <a:pt x="82744" y="132646"/>
                    <a:pt x="83761" y="134976"/>
                  </a:cubicBezTo>
                  <a:lnTo>
                    <a:pt x="85942" y="139973"/>
                  </a:lnTo>
                  <a:cubicBezTo>
                    <a:pt x="87240" y="142989"/>
                    <a:pt x="90750" y="144387"/>
                    <a:pt x="93783" y="143096"/>
                  </a:cubicBezTo>
                  <a:cubicBezTo>
                    <a:pt x="93792" y="143093"/>
                    <a:pt x="93801" y="143089"/>
                    <a:pt x="93810" y="143085"/>
                  </a:cubicBezTo>
                  <a:lnTo>
                    <a:pt x="109927" y="136107"/>
                  </a:lnTo>
                  <a:cubicBezTo>
                    <a:pt x="112905" y="134822"/>
                    <a:pt x="114271" y="131379"/>
                    <a:pt x="112979" y="128418"/>
                  </a:cubicBezTo>
                  <a:cubicBezTo>
                    <a:pt x="112973" y="128404"/>
                    <a:pt x="112967" y="128390"/>
                    <a:pt x="112960" y="128376"/>
                  </a:cubicBezTo>
                  <a:lnTo>
                    <a:pt x="110780" y="123284"/>
                  </a:lnTo>
                  <a:cubicBezTo>
                    <a:pt x="109777" y="120961"/>
                    <a:pt x="110389" y="118260"/>
                    <a:pt x="112297" y="116590"/>
                  </a:cubicBezTo>
                  <a:cubicBezTo>
                    <a:pt x="114406" y="114664"/>
                    <a:pt x="116400" y="112618"/>
                    <a:pt x="118269" y="110461"/>
                  </a:cubicBezTo>
                  <a:cubicBezTo>
                    <a:pt x="119877" y="108463"/>
                    <a:pt x="122604" y="107737"/>
                    <a:pt x="125000" y="108670"/>
                  </a:cubicBezTo>
                  <a:lnTo>
                    <a:pt x="130120" y="110650"/>
                  </a:lnTo>
                  <a:cubicBezTo>
                    <a:pt x="133130" y="111859"/>
                    <a:pt x="136555" y="110412"/>
                    <a:pt x="137771" y="107419"/>
                  </a:cubicBezTo>
                  <a:cubicBezTo>
                    <a:pt x="137780" y="107396"/>
                    <a:pt x="137790" y="107373"/>
                    <a:pt x="137799" y="107350"/>
                  </a:cubicBezTo>
                  <a:lnTo>
                    <a:pt x="144245" y="91038"/>
                  </a:lnTo>
                  <a:cubicBezTo>
                    <a:pt x="145605" y="88146"/>
                    <a:pt x="144381" y="84705"/>
                    <a:pt x="141496" y="83306"/>
                  </a:cubicBezTo>
                  <a:close/>
                  <a:moveTo>
                    <a:pt x="112012" y="87361"/>
                  </a:moveTo>
                  <a:cubicBezTo>
                    <a:pt x="103478" y="108867"/>
                    <a:pt x="79030" y="119420"/>
                    <a:pt x="57406" y="110932"/>
                  </a:cubicBezTo>
                  <a:cubicBezTo>
                    <a:pt x="35782" y="102444"/>
                    <a:pt x="25171" y="78129"/>
                    <a:pt x="33706" y="56622"/>
                  </a:cubicBezTo>
                  <a:cubicBezTo>
                    <a:pt x="42240" y="35116"/>
                    <a:pt x="66688" y="24563"/>
                    <a:pt x="88312" y="33051"/>
                  </a:cubicBezTo>
                  <a:cubicBezTo>
                    <a:pt x="109935" y="41539"/>
                    <a:pt x="120547" y="65854"/>
                    <a:pt x="112012" y="87360"/>
                  </a:cubicBezTo>
                  <a:cubicBezTo>
                    <a:pt x="112012" y="87360"/>
                    <a:pt x="112012" y="87360"/>
                    <a:pt x="112012" y="87361"/>
                  </a:cubicBezTo>
                  <a:close/>
                </a:path>
              </a:pathLst>
            </a:custGeom>
            <a:solidFill>
              <a:schemeClr val="bg1"/>
            </a:solidFill>
            <a:ln w="9391" cap="flat">
              <a:noFill/>
              <a:prstDash val="solid"/>
              <a:miter/>
            </a:ln>
          </p:spPr>
          <p:txBody>
            <a:bodyPr rtlCol="0" anchor="ctr"/>
            <a:lstStyle/>
            <a:p>
              <a:endParaRPr lang="fr-FR"/>
            </a:p>
          </p:txBody>
        </p:sp>
        <p:sp>
          <p:nvSpPr>
            <p:cNvPr id="637" name="Freeform 112">
              <a:extLst>
                <a:ext uri="{FF2B5EF4-FFF2-40B4-BE49-F238E27FC236}">
                  <a16:creationId xmlns:a16="http://schemas.microsoft.com/office/drawing/2014/main" id="{92359648-78D8-4C16-9CFC-52D22CC20B2C}"/>
                </a:ext>
              </a:extLst>
            </p:cNvPr>
            <p:cNvSpPr/>
            <p:nvPr/>
          </p:nvSpPr>
          <p:spPr>
            <a:xfrm>
              <a:off x="6191725" y="3507239"/>
              <a:ext cx="37930" cy="37725"/>
            </a:xfrm>
            <a:custGeom>
              <a:avLst/>
              <a:gdLst>
                <a:gd name="connsiteX0" fmla="*/ 36722 w 37930"/>
                <a:gd name="connsiteY0" fmla="*/ 25475 h 37725"/>
                <a:gd name="connsiteX1" fmla="*/ 12317 w 37930"/>
                <a:gd name="connsiteY1" fmla="*/ 36523 h 37725"/>
                <a:gd name="connsiteX2" fmla="*/ 1209 w 37930"/>
                <a:gd name="connsiteY2" fmla="*/ 12251 h 37725"/>
                <a:gd name="connsiteX3" fmla="*/ 25614 w 37930"/>
                <a:gd name="connsiteY3" fmla="*/ 1202 h 37725"/>
                <a:gd name="connsiteX4" fmla="*/ 26199 w 37930"/>
                <a:gd name="connsiteY4" fmla="*/ 1431 h 37725"/>
                <a:gd name="connsiteX5" fmla="*/ 36722 w 37930"/>
                <a:gd name="connsiteY5" fmla="*/ 25475 h 3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930" h="37725">
                  <a:moveTo>
                    <a:pt x="36722" y="25475"/>
                  </a:moveTo>
                  <a:cubicBezTo>
                    <a:pt x="33051" y="35228"/>
                    <a:pt x="22124" y="40175"/>
                    <a:pt x="12317" y="36523"/>
                  </a:cubicBezTo>
                  <a:cubicBezTo>
                    <a:pt x="2511" y="32871"/>
                    <a:pt x="-2463" y="22004"/>
                    <a:pt x="1209" y="12251"/>
                  </a:cubicBezTo>
                  <a:cubicBezTo>
                    <a:pt x="4881" y="2497"/>
                    <a:pt x="15807" y="-2449"/>
                    <a:pt x="25614" y="1202"/>
                  </a:cubicBezTo>
                  <a:cubicBezTo>
                    <a:pt x="25810" y="1275"/>
                    <a:pt x="26005" y="1352"/>
                    <a:pt x="26199" y="1431"/>
                  </a:cubicBezTo>
                  <a:cubicBezTo>
                    <a:pt x="35653" y="5312"/>
                    <a:pt x="40308" y="15949"/>
                    <a:pt x="36722" y="25475"/>
                  </a:cubicBezTo>
                  <a:close/>
                </a:path>
              </a:pathLst>
            </a:custGeom>
            <a:solidFill>
              <a:schemeClr val="bg1"/>
            </a:solidFill>
            <a:ln w="9391" cap="flat">
              <a:noFill/>
              <a:prstDash val="solid"/>
              <a:miter/>
            </a:ln>
          </p:spPr>
          <p:txBody>
            <a:bodyPr rtlCol="0" anchor="ctr"/>
            <a:lstStyle/>
            <a:p>
              <a:endParaRPr lang="fr-FR"/>
            </a:p>
          </p:txBody>
        </p:sp>
        <p:sp>
          <p:nvSpPr>
            <p:cNvPr id="638" name="Freeform 113">
              <a:extLst>
                <a:ext uri="{FF2B5EF4-FFF2-40B4-BE49-F238E27FC236}">
                  <a16:creationId xmlns:a16="http://schemas.microsoft.com/office/drawing/2014/main" id="{31B8610D-5FE5-4FCF-B37E-643CD575CB26}"/>
                </a:ext>
              </a:extLst>
            </p:cNvPr>
            <p:cNvSpPr/>
            <p:nvPr/>
          </p:nvSpPr>
          <p:spPr>
            <a:xfrm>
              <a:off x="6134124" y="3256889"/>
              <a:ext cx="184544" cy="183652"/>
            </a:xfrm>
            <a:custGeom>
              <a:avLst/>
              <a:gdLst>
                <a:gd name="connsiteX0" fmla="*/ 180307 w 184543"/>
                <a:gd name="connsiteY0" fmla="*/ 106111 h 183652"/>
                <a:gd name="connsiteX1" fmla="*/ 173955 w 184543"/>
                <a:gd name="connsiteY1" fmla="*/ 103565 h 183652"/>
                <a:gd name="connsiteX2" fmla="*/ 169215 w 184543"/>
                <a:gd name="connsiteY2" fmla="*/ 96022 h 183652"/>
                <a:gd name="connsiteX3" fmla="*/ 169215 w 184543"/>
                <a:gd name="connsiteY3" fmla="*/ 84896 h 183652"/>
                <a:gd name="connsiteX4" fmla="*/ 173671 w 184543"/>
                <a:gd name="connsiteY4" fmla="*/ 77164 h 183652"/>
                <a:gd name="connsiteX5" fmla="*/ 180022 w 184543"/>
                <a:gd name="connsiteY5" fmla="*/ 74524 h 183652"/>
                <a:gd name="connsiteX6" fmla="*/ 183909 w 184543"/>
                <a:gd name="connsiteY6" fmla="*/ 64530 h 183652"/>
                <a:gd name="connsiteX7" fmla="*/ 175187 w 184543"/>
                <a:gd name="connsiteY7" fmla="*/ 44352 h 183652"/>
                <a:gd name="connsiteX8" fmla="*/ 165460 w 184543"/>
                <a:gd name="connsiteY8" fmla="*/ 39859 h 183652"/>
                <a:gd name="connsiteX9" fmla="*/ 164854 w 184543"/>
                <a:gd name="connsiteY9" fmla="*/ 40109 h 183652"/>
                <a:gd name="connsiteX10" fmla="*/ 158502 w 184543"/>
                <a:gd name="connsiteY10" fmla="*/ 42844 h 183652"/>
                <a:gd name="connsiteX11" fmla="*/ 149875 w 184543"/>
                <a:gd name="connsiteY11" fmla="*/ 40864 h 183652"/>
                <a:gd name="connsiteX12" fmla="*/ 141817 w 184543"/>
                <a:gd name="connsiteY12" fmla="*/ 33226 h 183652"/>
                <a:gd name="connsiteX13" fmla="*/ 139542 w 184543"/>
                <a:gd name="connsiteY13" fmla="*/ 24552 h 183652"/>
                <a:gd name="connsiteX14" fmla="*/ 142101 w 184543"/>
                <a:gd name="connsiteY14" fmla="*/ 18046 h 183652"/>
                <a:gd name="connsiteX15" fmla="*/ 137835 w 184543"/>
                <a:gd name="connsiteY15" fmla="*/ 8617 h 183652"/>
                <a:gd name="connsiteX16" fmla="*/ 116979 w 184543"/>
                <a:gd name="connsiteY16" fmla="*/ 414 h 183652"/>
                <a:gd name="connsiteX17" fmla="*/ 107498 w 184543"/>
                <a:gd name="connsiteY17" fmla="*/ 4657 h 183652"/>
                <a:gd name="connsiteX18" fmla="*/ 104939 w 184543"/>
                <a:gd name="connsiteY18" fmla="*/ 11163 h 183652"/>
                <a:gd name="connsiteX19" fmla="*/ 97354 w 184543"/>
                <a:gd name="connsiteY19" fmla="*/ 15972 h 183652"/>
                <a:gd name="connsiteX20" fmla="*/ 86262 w 184543"/>
                <a:gd name="connsiteY20" fmla="*/ 15972 h 183652"/>
                <a:gd name="connsiteX21" fmla="*/ 78583 w 184543"/>
                <a:gd name="connsiteY21" fmla="*/ 11540 h 183652"/>
                <a:gd name="connsiteX22" fmla="*/ 75739 w 184543"/>
                <a:gd name="connsiteY22" fmla="*/ 5034 h 183652"/>
                <a:gd name="connsiteX23" fmla="*/ 65690 w 184543"/>
                <a:gd name="connsiteY23" fmla="*/ 1074 h 183652"/>
                <a:gd name="connsiteX24" fmla="*/ 45118 w 184543"/>
                <a:gd name="connsiteY24" fmla="*/ 10503 h 183652"/>
                <a:gd name="connsiteX25" fmla="*/ 41136 w 184543"/>
                <a:gd name="connsiteY25" fmla="*/ 20403 h 183652"/>
                <a:gd name="connsiteX26" fmla="*/ 43980 w 184543"/>
                <a:gd name="connsiteY26" fmla="*/ 26815 h 183652"/>
                <a:gd name="connsiteX27" fmla="*/ 41990 w 184543"/>
                <a:gd name="connsiteY27" fmla="*/ 35489 h 183652"/>
                <a:gd name="connsiteX28" fmla="*/ 34216 w 184543"/>
                <a:gd name="connsiteY28" fmla="*/ 43598 h 183652"/>
                <a:gd name="connsiteX29" fmla="*/ 25494 w 184543"/>
                <a:gd name="connsiteY29" fmla="*/ 45861 h 183652"/>
                <a:gd name="connsiteX30" fmla="*/ 18858 w 184543"/>
                <a:gd name="connsiteY30" fmla="*/ 43221 h 183652"/>
                <a:gd name="connsiteX31" fmla="*/ 9377 w 184543"/>
                <a:gd name="connsiteY31" fmla="*/ 47464 h 183652"/>
                <a:gd name="connsiteX32" fmla="*/ 466 w 184543"/>
                <a:gd name="connsiteY32" fmla="*/ 68396 h 183652"/>
                <a:gd name="connsiteX33" fmla="*/ 4542 w 184543"/>
                <a:gd name="connsiteY33" fmla="*/ 77825 h 183652"/>
                <a:gd name="connsiteX34" fmla="*/ 11273 w 184543"/>
                <a:gd name="connsiteY34" fmla="*/ 80465 h 183652"/>
                <a:gd name="connsiteX35" fmla="*/ 16108 w 184543"/>
                <a:gd name="connsiteY35" fmla="*/ 88008 h 183652"/>
                <a:gd name="connsiteX36" fmla="*/ 16108 w 184543"/>
                <a:gd name="connsiteY36" fmla="*/ 98945 h 183652"/>
                <a:gd name="connsiteX37" fmla="*/ 11653 w 184543"/>
                <a:gd name="connsiteY37" fmla="*/ 106488 h 183652"/>
                <a:gd name="connsiteX38" fmla="*/ 4922 w 184543"/>
                <a:gd name="connsiteY38" fmla="*/ 109411 h 183652"/>
                <a:gd name="connsiteX39" fmla="*/ 1035 w 184543"/>
                <a:gd name="connsiteY39" fmla="*/ 119311 h 183652"/>
                <a:gd name="connsiteX40" fmla="*/ 9946 w 184543"/>
                <a:gd name="connsiteY40" fmla="*/ 139866 h 183652"/>
                <a:gd name="connsiteX41" fmla="*/ 19426 w 184543"/>
                <a:gd name="connsiteY41" fmla="*/ 143732 h 183652"/>
                <a:gd name="connsiteX42" fmla="*/ 26157 w 184543"/>
                <a:gd name="connsiteY42" fmla="*/ 140809 h 183652"/>
                <a:gd name="connsiteX43" fmla="*/ 34784 w 184543"/>
                <a:gd name="connsiteY43" fmla="*/ 142789 h 183652"/>
                <a:gd name="connsiteX44" fmla="*/ 42748 w 184543"/>
                <a:gd name="connsiteY44" fmla="*/ 150520 h 183652"/>
                <a:gd name="connsiteX45" fmla="*/ 45118 w 184543"/>
                <a:gd name="connsiteY45" fmla="*/ 159101 h 183652"/>
                <a:gd name="connsiteX46" fmla="*/ 42464 w 184543"/>
                <a:gd name="connsiteY46" fmla="*/ 165607 h 183652"/>
                <a:gd name="connsiteX47" fmla="*/ 46824 w 184543"/>
                <a:gd name="connsiteY47" fmla="*/ 175035 h 183652"/>
                <a:gd name="connsiteX48" fmla="*/ 67681 w 184543"/>
                <a:gd name="connsiteY48" fmla="*/ 183238 h 183652"/>
                <a:gd name="connsiteX49" fmla="*/ 77161 w 184543"/>
                <a:gd name="connsiteY49" fmla="*/ 178995 h 183652"/>
                <a:gd name="connsiteX50" fmla="*/ 79721 w 184543"/>
                <a:gd name="connsiteY50" fmla="*/ 172490 h 183652"/>
                <a:gd name="connsiteX51" fmla="*/ 87305 w 184543"/>
                <a:gd name="connsiteY51" fmla="*/ 167775 h 183652"/>
                <a:gd name="connsiteX52" fmla="*/ 98397 w 184543"/>
                <a:gd name="connsiteY52" fmla="*/ 167775 h 183652"/>
                <a:gd name="connsiteX53" fmla="*/ 106076 w 184543"/>
                <a:gd name="connsiteY53" fmla="*/ 172207 h 183652"/>
                <a:gd name="connsiteX54" fmla="*/ 108920 w 184543"/>
                <a:gd name="connsiteY54" fmla="*/ 178618 h 183652"/>
                <a:gd name="connsiteX55" fmla="*/ 118401 w 184543"/>
                <a:gd name="connsiteY55" fmla="*/ 182578 h 183652"/>
                <a:gd name="connsiteX56" fmla="*/ 139068 w 184543"/>
                <a:gd name="connsiteY56" fmla="*/ 173715 h 183652"/>
                <a:gd name="connsiteX57" fmla="*/ 142955 w 184543"/>
                <a:gd name="connsiteY57" fmla="*/ 163721 h 183652"/>
                <a:gd name="connsiteX58" fmla="*/ 140110 w 184543"/>
                <a:gd name="connsiteY58" fmla="*/ 157215 h 183652"/>
                <a:gd name="connsiteX59" fmla="*/ 142101 w 184543"/>
                <a:gd name="connsiteY59" fmla="*/ 148635 h 183652"/>
                <a:gd name="connsiteX60" fmla="*/ 149780 w 184543"/>
                <a:gd name="connsiteY60" fmla="*/ 140809 h 183652"/>
                <a:gd name="connsiteX61" fmla="*/ 158407 w 184543"/>
                <a:gd name="connsiteY61" fmla="*/ 138546 h 183652"/>
                <a:gd name="connsiteX62" fmla="*/ 164949 w 184543"/>
                <a:gd name="connsiteY62" fmla="*/ 141092 h 183652"/>
                <a:gd name="connsiteX63" fmla="*/ 174429 w 184543"/>
                <a:gd name="connsiteY63" fmla="*/ 136849 h 183652"/>
                <a:gd name="connsiteX64" fmla="*/ 182677 w 184543"/>
                <a:gd name="connsiteY64" fmla="*/ 116105 h 183652"/>
                <a:gd name="connsiteX65" fmla="*/ 180307 w 184543"/>
                <a:gd name="connsiteY65" fmla="*/ 106111 h 183652"/>
                <a:gd name="connsiteX66" fmla="*/ 142386 w 184543"/>
                <a:gd name="connsiteY66" fmla="*/ 111202 h 183652"/>
                <a:gd name="connsiteX67" fmla="*/ 72626 w 184543"/>
                <a:gd name="connsiteY67" fmla="*/ 141243 h 183652"/>
                <a:gd name="connsiteX68" fmla="*/ 42421 w 184543"/>
                <a:gd name="connsiteY68" fmla="*/ 71862 h 183652"/>
                <a:gd name="connsiteX69" fmla="*/ 112144 w 184543"/>
                <a:gd name="connsiteY69" fmla="*/ 41807 h 183652"/>
                <a:gd name="connsiteX70" fmla="*/ 142765 w 184543"/>
                <a:gd name="connsiteY70" fmla="*/ 111007 h 183652"/>
                <a:gd name="connsiteX71" fmla="*/ 142575 w 184543"/>
                <a:gd name="connsiteY71" fmla="*/ 111485 h 18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4543" h="183652">
                  <a:moveTo>
                    <a:pt x="180307" y="106111"/>
                  </a:moveTo>
                  <a:lnTo>
                    <a:pt x="173955" y="103565"/>
                  </a:lnTo>
                  <a:cubicBezTo>
                    <a:pt x="170894" y="102343"/>
                    <a:pt x="168978" y="99294"/>
                    <a:pt x="169215" y="96022"/>
                  </a:cubicBezTo>
                  <a:cubicBezTo>
                    <a:pt x="169453" y="92317"/>
                    <a:pt x="169453" y="88601"/>
                    <a:pt x="169215" y="84896"/>
                  </a:cubicBezTo>
                  <a:cubicBezTo>
                    <a:pt x="168878" y="81635"/>
                    <a:pt x="170671" y="78523"/>
                    <a:pt x="173671" y="77164"/>
                  </a:cubicBezTo>
                  <a:lnTo>
                    <a:pt x="180022" y="74524"/>
                  </a:lnTo>
                  <a:cubicBezTo>
                    <a:pt x="183845" y="72808"/>
                    <a:pt x="185575" y="68358"/>
                    <a:pt x="183909" y="64530"/>
                  </a:cubicBezTo>
                  <a:lnTo>
                    <a:pt x="175187" y="44352"/>
                  </a:lnTo>
                  <a:cubicBezTo>
                    <a:pt x="173749" y="40440"/>
                    <a:pt x="169394" y="38428"/>
                    <a:pt x="165460" y="39859"/>
                  </a:cubicBezTo>
                  <a:cubicBezTo>
                    <a:pt x="165254" y="39934"/>
                    <a:pt x="165052" y="40017"/>
                    <a:pt x="164854" y="40109"/>
                  </a:cubicBezTo>
                  <a:lnTo>
                    <a:pt x="158502" y="42844"/>
                  </a:lnTo>
                  <a:cubicBezTo>
                    <a:pt x="155500" y="44126"/>
                    <a:pt x="152009" y="43325"/>
                    <a:pt x="149875" y="40864"/>
                  </a:cubicBezTo>
                  <a:cubicBezTo>
                    <a:pt x="147401" y="38105"/>
                    <a:pt x="144706" y="35551"/>
                    <a:pt x="141817" y="33226"/>
                  </a:cubicBezTo>
                  <a:cubicBezTo>
                    <a:pt x="139278" y="31112"/>
                    <a:pt x="138365" y="27630"/>
                    <a:pt x="139542" y="24552"/>
                  </a:cubicBezTo>
                  <a:lnTo>
                    <a:pt x="142101" y="18046"/>
                  </a:lnTo>
                  <a:cubicBezTo>
                    <a:pt x="143409" y="14276"/>
                    <a:pt x="141540" y="10144"/>
                    <a:pt x="137835" y="8617"/>
                  </a:cubicBezTo>
                  <a:lnTo>
                    <a:pt x="116979" y="414"/>
                  </a:lnTo>
                  <a:cubicBezTo>
                    <a:pt x="113188" y="-887"/>
                    <a:pt x="109033" y="972"/>
                    <a:pt x="107498" y="4657"/>
                  </a:cubicBezTo>
                  <a:lnTo>
                    <a:pt x="104939" y="11163"/>
                  </a:lnTo>
                  <a:cubicBezTo>
                    <a:pt x="103718" y="14225"/>
                    <a:pt x="100661" y="16163"/>
                    <a:pt x="97354" y="15972"/>
                  </a:cubicBezTo>
                  <a:cubicBezTo>
                    <a:pt x="93663" y="15687"/>
                    <a:pt x="89954" y="15687"/>
                    <a:pt x="86262" y="15972"/>
                  </a:cubicBezTo>
                  <a:cubicBezTo>
                    <a:pt x="83010" y="16295"/>
                    <a:pt x="79916" y="14509"/>
                    <a:pt x="78583" y="11540"/>
                  </a:cubicBezTo>
                  <a:lnTo>
                    <a:pt x="75739" y="5034"/>
                  </a:lnTo>
                  <a:cubicBezTo>
                    <a:pt x="74049" y="1196"/>
                    <a:pt x="69565" y="-571"/>
                    <a:pt x="65690" y="1074"/>
                  </a:cubicBezTo>
                  <a:lnTo>
                    <a:pt x="45118" y="10503"/>
                  </a:lnTo>
                  <a:cubicBezTo>
                    <a:pt x="41271" y="12145"/>
                    <a:pt x="39489" y="16576"/>
                    <a:pt x="41136" y="20403"/>
                  </a:cubicBezTo>
                  <a:lnTo>
                    <a:pt x="43980" y="26815"/>
                  </a:lnTo>
                  <a:cubicBezTo>
                    <a:pt x="45285" y="29829"/>
                    <a:pt x="44480" y="33336"/>
                    <a:pt x="41990" y="35489"/>
                  </a:cubicBezTo>
                  <a:cubicBezTo>
                    <a:pt x="39207" y="38005"/>
                    <a:pt x="36610" y="40714"/>
                    <a:pt x="34216" y="43598"/>
                  </a:cubicBezTo>
                  <a:cubicBezTo>
                    <a:pt x="32090" y="46123"/>
                    <a:pt x="28589" y="47031"/>
                    <a:pt x="25494" y="45861"/>
                  </a:cubicBezTo>
                  <a:lnTo>
                    <a:pt x="18858" y="43221"/>
                  </a:lnTo>
                  <a:cubicBezTo>
                    <a:pt x="15069" y="41969"/>
                    <a:pt x="10948" y="43814"/>
                    <a:pt x="9377" y="47464"/>
                  </a:cubicBezTo>
                  <a:lnTo>
                    <a:pt x="466" y="68396"/>
                  </a:lnTo>
                  <a:cubicBezTo>
                    <a:pt x="-917" y="72117"/>
                    <a:pt x="876" y="76263"/>
                    <a:pt x="4542" y="77825"/>
                  </a:cubicBezTo>
                  <a:lnTo>
                    <a:pt x="11273" y="80465"/>
                  </a:lnTo>
                  <a:cubicBezTo>
                    <a:pt x="14393" y="81629"/>
                    <a:pt x="16363" y="84704"/>
                    <a:pt x="16108" y="88008"/>
                  </a:cubicBezTo>
                  <a:cubicBezTo>
                    <a:pt x="15872" y="91650"/>
                    <a:pt x="15872" y="95303"/>
                    <a:pt x="16108" y="98945"/>
                  </a:cubicBezTo>
                  <a:cubicBezTo>
                    <a:pt x="16420" y="102153"/>
                    <a:pt x="14622" y="105197"/>
                    <a:pt x="11653" y="106488"/>
                  </a:cubicBezTo>
                  <a:lnTo>
                    <a:pt x="4922" y="109411"/>
                  </a:lnTo>
                  <a:cubicBezTo>
                    <a:pt x="1111" y="111089"/>
                    <a:pt x="-624" y="115509"/>
                    <a:pt x="1035" y="119311"/>
                  </a:cubicBezTo>
                  <a:lnTo>
                    <a:pt x="9946" y="139866"/>
                  </a:lnTo>
                  <a:cubicBezTo>
                    <a:pt x="11621" y="143404"/>
                    <a:pt x="15737" y="145082"/>
                    <a:pt x="19426" y="143732"/>
                  </a:cubicBezTo>
                  <a:lnTo>
                    <a:pt x="26157" y="140809"/>
                  </a:lnTo>
                  <a:cubicBezTo>
                    <a:pt x="29165" y="139588"/>
                    <a:pt x="32619" y="140381"/>
                    <a:pt x="34784" y="142789"/>
                  </a:cubicBezTo>
                  <a:cubicBezTo>
                    <a:pt x="37273" y="145530"/>
                    <a:pt x="39933" y="148112"/>
                    <a:pt x="42748" y="150520"/>
                  </a:cubicBezTo>
                  <a:cubicBezTo>
                    <a:pt x="45331" y="152563"/>
                    <a:pt x="46289" y="156032"/>
                    <a:pt x="45118" y="159101"/>
                  </a:cubicBezTo>
                  <a:lnTo>
                    <a:pt x="42464" y="165607"/>
                  </a:lnTo>
                  <a:cubicBezTo>
                    <a:pt x="41167" y="169403"/>
                    <a:pt x="43082" y="173545"/>
                    <a:pt x="46824" y="175035"/>
                  </a:cubicBezTo>
                  <a:lnTo>
                    <a:pt x="67681" y="183238"/>
                  </a:lnTo>
                  <a:cubicBezTo>
                    <a:pt x="71472" y="184539"/>
                    <a:pt x="75626" y="182680"/>
                    <a:pt x="77161" y="178995"/>
                  </a:cubicBezTo>
                  <a:lnTo>
                    <a:pt x="79721" y="172490"/>
                  </a:lnTo>
                  <a:cubicBezTo>
                    <a:pt x="80973" y="169465"/>
                    <a:pt x="84023" y="167569"/>
                    <a:pt x="87305" y="167775"/>
                  </a:cubicBezTo>
                  <a:cubicBezTo>
                    <a:pt x="90999" y="168012"/>
                    <a:pt x="94704" y="168012"/>
                    <a:pt x="98397" y="167775"/>
                  </a:cubicBezTo>
                  <a:cubicBezTo>
                    <a:pt x="101670" y="167357"/>
                    <a:pt x="104818" y="169173"/>
                    <a:pt x="106076" y="172207"/>
                  </a:cubicBezTo>
                  <a:lnTo>
                    <a:pt x="108920" y="178618"/>
                  </a:lnTo>
                  <a:cubicBezTo>
                    <a:pt x="110561" y="182193"/>
                    <a:pt x="114686" y="183915"/>
                    <a:pt x="118401" y="182578"/>
                  </a:cubicBezTo>
                  <a:lnTo>
                    <a:pt x="139068" y="173715"/>
                  </a:lnTo>
                  <a:cubicBezTo>
                    <a:pt x="142890" y="171999"/>
                    <a:pt x="144621" y="167549"/>
                    <a:pt x="142955" y="163721"/>
                  </a:cubicBezTo>
                  <a:lnTo>
                    <a:pt x="140110" y="157215"/>
                  </a:lnTo>
                  <a:cubicBezTo>
                    <a:pt x="138883" y="154224"/>
                    <a:pt x="139680" y="150788"/>
                    <a:pt x="142101" y="148635"/>
                  </a:cubicBezTo>
                  <a:cubicBezTo>
                    <a:pt x="144872" y="146240"/>
                    <a:pt x="147440" y="143622"/>
                    <a:pt x="149780" y="140809"/>
                  </a:cubicBezTo>
                  <a:cubicBezTo>
                    <a:pt x="151907" y="138349"/>
                    <a:pt x="155338" y="137449"/>
                    <a:pt x="158407" y="138546"/>
                  </a:cubicBezTo>
                  <a:lnTo>
                    <a:pt x="164949" y="141092"/>
                  </a:lnTo>
                  <a:cubicBezTo>
                    <a:pt x="168742" y="142444"/>
                    <a:pt x="172931" y="140569"/>
                    <a:pt x="174429" y="136849"/>
                  </a:cubicBezTo>
                  <a:lnTo>
                    <a:pt x="182677" y="116105"/>
                  </a:lnTo>
                  <a:cubicBezTo>
                    <a:pt x="184641" y="112671"/>
                    <a:pt x="183607" y="108311"/>
                    <a:pt x="180307" y="106111"/>
                  </a:cubicBezTo>
                  <a:close/>
                  <a:moveTo>
                    <a:pt x="142386" y="111202"/>
                  </a:moveTo>
                  <a:cubicBezTo>
                    <a:pt x="131463" y="138657"/>
                    <a:pt x="100230" y="152107"/>
                    <a:pt x="72626" y="141243"/>
                  </a:cubicBezTo>
                  <a:cubicBezTo>
                    <a:pt x="45021" y="130380"/>
                    <a:pt x="31498" y="99317"/>
                    <a:pt x="42421" y="71862"/>
                  </a:cubicBezTo>
                  <a:cubicBezTo>
                    <a:pt x="53338" y="44422"/>
                    <a:pt x="84545" y="30969"/>
                    <a:pt x="112144" y="41807"/>
                  </a:cubicBezTo>
                  <a:cubicBezTo>
                    <a:pt x="139813" y="52506"/>
                    <a:pt x="153523" y="83488"/>
                    <a:pt x="142765" y="111007"/>
                  </a:cubicBezTo>
                  <a:cubicBezTo>
                    <a:pt x="142703" y="111167"/>
                    <a:pt x="142639" y="111326"/>
                    <a:pt x="142575" y="111485"/>
                  </a:cubicBezTo>
                  <a:close/>
                </a:path>
              </a:pathLst>
            </a:custGeom>
            <a:solidFill>
              <a:schemeClr val="bg1"/>
            </a:solidFill>
            <a:ln w="9391" cap="flat">
              <a:noFill/>
              <a:prstDash val="solid"/>
              <a:miter/>
            </a:ln>
          </p:spPr>
          <p:txBody>
            <a:bodyPr rtlCol="0" anchor="ctr"/>
            <a:lstStyle/>
            <a:p>
              <a:endParaRPr lang="fr-FR"/>
            </a:p>
          </p:txBody>
        </p:sp>
        <p:sp>
          <p:nvSpPr>
            <p:cNvPr id="639" name="Freeform 114">
              <a:extLst>
                <a:ext uri="{FF2B5EF4-FFF2-40B4-BE49-F238E27FC236}">
                  <a16:creationId xmlns:a16="http://schemas.microsoft.com/office/drawing/2014/main" id="{15A8DE2E-6D10-4391-8A2A-183307EA35C9}"/>
                </a:ext>
              </a:extLst>
            </p:cNvPr>
            <p:cNvSpPr/>
            <p:nvPr/>
          </p:nvSpPr>
          <p:spPr>
            <a:xfrm>
              <a:off x="6202916" y="3325034"/>
              <a:ext cx="47603" cy="47345"/>
            </a:xfrm>
            <a:custGeom>
              <a:avLst/>
              <a:gdLst>
                <a:gd name="connsiteX0" fmla="*/ 45919 w 47603"/>
                <a:gd name="connsiteY0" fmla="*/ 32402 h 47345"/>
                <a:gd name="connsiteX1" fmla="*/ 15024 w 47603"/>
                <a:gd name="connsiteY1" fmla="*/ 45670 h 47345"/>
                <a:gd name="connsiteX2" fmla="*/ 1684 w 47603"/>
                <a:gd name="connsiteY2" fmla="*/ 14943 h 47345"/>
                <a:gd name="connsiteX3" fmla="*/ 32552 w 47603"/>
                <a:gd name="connsiteY3" fmla="*/ 1665 h 47345"/>
                <a:gd name="connsiteX4" fmla="*/ 45930 w 47603"/>
                <a:gd name="connsiteY4" fmla="*/ 32375 h 47345"/>
                <a:gd name="connsiteX5" fmla="*/ 45919 w 47603"/>
                <a:gd name="connsiteY5" fmla="*/ 32402 h 4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03" h="47345">
                  <a:moveTo>
                    <a:pt x="45919" y="32402"/>
                  </a:moveTo>
                  <a:cubicBezTo>
                    <a:pt x="41072" y="44551"/>
                    <a:pt x="27239" y="50491"/>
                    <a:pt x="15024" y="45670"/>
                  </a:cubicBezTo>
                  <a:cubicBezTo>
                    <a:pt x="2809" y="40849"/>
                    <a:pt x="-3163" y="27092"/>
                    <a:pt x="1684" y="14943"/>
                  </a:cubicBezTo>
                  <a:cubicBezTo>
                    <a:pt x="6528" y="2805"/>
                    <a:pt x="20342" y="-3138"/>
                    <a:pt x="32552" y="1665"/>
                  </a:cubicBezTo>
                  <a:cubicBezTo>
                    <a:pt x="44773" y="6471"/>
                    <a:pt x="50763" y="20221"/>
                    <a:pt x="45930" y="32375"/>
                  </a:cubicBezTo>
                  <a:cubicBezTo>
                    <a:pt x="45927" y="32384"/>
                    <a:pt x="45923" y="32393"/>
                    <a:pt x="45919" y="32402"/>
                  </a:cubicBezTo>
                  <a:close/>
                </a:path>
              </a:pathLst>
            </a:custGeom>
            <a:solidFill>
              <a:schemeClr val="bg1"/>
            </a:solidFill>
            <a:ln w="9391" cap="flat">
              <a:noFill/>
              <a:prstDash val="solid"/>
              <a:miter/>
            </a:ln>
          </p:spPr>
          <p:txBody>
            <a:bodyPr rtlCol="0" anchor="ctr"/>
            <a:lstStyle/>
            <a:p>
              <a:endParaRPr lang="fr-FR"/>
            </a:p>
          </p:txBody>
        </p:sp>
        <p:sp>
          <p:nvSpPr>
            <p:cNvPr id="640" name="Freeform 115">
              <a:extLst>
                <a:ext uri="{FF2B5EF4-FFF2-40B4-BE49-F238E27FC236}">
                  <a16:creationId xmlns:a16="http://schemas.microsoft.com/office/drawing/2014/main" id="{393A45B6-7AE2-428C-B76E-156651474462}"/>
                </a:ext>
              </a:extLst>
            </p:cNvPr>
            <p:cNvSpPr/>
            <p:nvPr/>
          </p:nvSpPr>
          <p:spPr>
            <a:xfrm>
              <a:off x="5872091" y="3289835"/>
              <a:ext cx="281376" cy="284656"/>
            </a:xfrm>
            <a:custGeom>
              <a:avLst/>
              <a:gdLst>
                <a:gd name="connsiteX0" fmla="*/ 269620 w 281375"/>
                <a:gd name="connsiteY0" fmla="*/ 114277 h 284656"/>
                <a:gd name="connsiteX1" fmla="*/ 259476 w 281375"/>
                <a:gd name="connsiteY1" fmla="*/ 114277 h 284656"/>
                <a:gd name="connsiteX2" fmla="*/ 248668 w 281375"/>
                <a:gd name="connsiteY2" fmla="*/ 106262 h 284656"/>
                <a:gd name="connsiteX3" fmla="*/ 242316 w 281375"/>
                <a:gd name="connsiteY3" fmla="*/ 90611 h 284656"/>
                <a:gd name="connsiteX4" fmla="*/ 244307 w 281375"/>
                <a:gd name="connsiteY4" fmla="*/ 77316 h 284656"/>
                <a:gd name="connsiteX5" fmla="*/ 251512 w 281375"/>
                <a:gd name="connsiteY5" fmla="*/ 70056 h 284656"/>
                <a:gd name="connsiteX6" fmla="*/ 251512 w 281375"/>
                <a:gd name="connsiteY6" fmla="*/ 53933 h 284656"/>
                <a:gd name="connsiteX7" fmla="*/ 227906 w 281375"/>
                <a:gd name="connsiteY7" fmla="*/ 29984 h 284656"/>
                <a:gd name="connsiteX8" fmla="*/ 212086 w 281375"/>
                <a:gd name="connsiteY8" fmla="*/ 29877 h 284656"/>
                <a:gd name="connsiteX9" fmla="*/ 211979 w 281375"/>
                <a:gd name="connsiteY9" fmla="*/ 29984 h 284656"/>
                <a:gd name="connsiteX10" fmla="*/ 204774 w 281375"/>
                <a:gd name="connsiteY10" fmla="*/ 37338 h 284656"/>
                <a:gd name="connsiteX11" fmla="*/ 191692 w 281375"/>
                <a:gd name="connsiteY11" fmla="*/ 39318 h 284656"/>
                <a:gd name="connsiteX12" fmla="*/ 176523 w 281375"/>
                <a:gd name="connsiteY12" fmla="*/ 32906 h 284656"/>
                <a:gd name="connsiteX13" fmla="*/ 168560 w 281375"/>
                <a:gd name="connsiteY13" fmla="*/ 21969 h 284656"/>
                <a:gd name="connsiteX14" fmla="*/ 168560 w 281375"/>
                <a:gd name="connsiteY14" fmla="*/ 11409 h 284656"/>
                <a:gd name="connsiteX15" fmla="*/ 157279 w 281375"/>
                <a:gd name="connsiteY15" fmla="*/ 0 h 284656"/>
                <a:gd name="connsiteX16" fmla="*/ 157278 w 281375"/>
                <a:gd name="connsiteY16" fmla="*/ 0 h 284656"/>
                <a:gd name="connsiteX17" fmla="*/ 124382 w 281375"/>
                <a:gd name="connsiteY17" fmla="*/ 0 h 284656"/>
                <a:gd name="connsiteX18" fmla="*/ 113195 w 281375"/>
                <a:gd name="connsiteY18" fmla="*/ 11409 h 284656"/>
                <a:gd name="connsiteX19" fmla="*/ 113195 w 281375"/>
                <a:gd name="connsiteY19" fmla="*/ 21969 h 284656"/>
                <a:gd name="connsiteX20" fmla="*/ 105232 w 281375"/>
                <a:gd name="connsiteY20" fmla="*/ 32906 h 284656"/>
                <a:gd name="connsiteX21" fmla="*/ 90063 w 281375"/>
                <a:gd name="connsiteY21" fmla="*/ 39318 h 284656"/>
                <a:gd name="connsiteX22" fmla="*/ 76980 w 281375"/>
                <a:gd name="connsiteY22" fmla="*/ 37338 h 284656"/>
                <a:gd name="connsiteX23" fmla="*/ 69491 w 281375"/>
                <a:gd name="connsiteY23" fmla="*/ 29701 h 284656"/>
                <a:gd name="connsiteX24" fmla="*/ 53671 w 281375"/>
                <a:gd name="connsiteY24" fmla="*/ 29594 h 284656"/>
                <a:gd name="connsiteX25" fmla="*/ 53564 w 281375"/>
                <a:gd name="connsiteY25" fmla="*/ 29701 h 284656"/>
                <a:gd name="connsiteX26" fmla="*/ 29579 w 281375"/>
                <a:gd name="connsiteY26" fmla="*/ 53650 h 284656"/>
                <a:gd name="connsiteX27" fmla="*/ 29579 w 281375"/>
                <a:gd name="connsiteY27" fmla="*/ 69773 h 284656"/>
                <a:gd name="connsiteX28" fmla="*/ 37068 w 281375"/>
                <a:gd name="connsiteY28" fmla="*/ 77316 h 284656"/>
                <a:gd name="connsiteX29" fmla="*/ 39059 w 281375"/>
                <a:gd name="connsiteY29" fmla="*/ 90611 h 284656"/>
                <a:gd name="connsiteX30" fmla="*/ 32707 w 281375"/>
                <a:gd name="connsiteY30" fmla="*/ 106262 h 284656"/>
                <a:gd name="connsiteX31" fmla="*/ 21900 w 281375"/>
                <a:gd name="connsiteY31" fmla="*/ 114277 h 284656"/>
                <a:gd name="connsiteX32" fmla="*/ 11282 w 281375"/>
                <a:gd name="connsiteY32" fmla="*/ 114277 h 284656"/>
                <a:gd name="connsiteX33" fmla="*/ 0 w 281375"/>
                <a:gd name="connsiteY33" fmla="*/ 125685 h 284656"/>
                <a:gd name="connsiteX34" fmla="*/ 0 w 281375"/>
                <a:gd name="connsiteY34" fmla="*/ 125686 h 284656"/>
                <a:gd name="connsiteX35" fmla="*/ 0 w 281375"/>
                <a:gd name="connsiteY35" fmla="*/ 159535 h 284656"/>
                <a:gd name="connsiteX36" fmla="*/ 11281 w 281375"/>
                <a:gd name="connsiteY36" fmla="*/ 170944 h 284656"/>
                <a:gd name="connsiteX37" fmla="*/ 11282 w 281375"/>
                <a:gd name="connsiteY37" fmla="*/ 170944 h 284656"/>
                <a:gd name="connsiteX38" fmla="*/ 21995 w 281375"/>
                <a:gd name="connsiteY38" fmla="*/ 170944 h 284656"/>
                <a:gd name="connsiteX39" fmla="*/ 32707 w 281375"/>
                <a:gd name="connsiteY39" fmla="*/ 178864 h 284656"/>
                <a:gd name="connsiteX40" fmla="*/ 39059 w 281375"/>
                <a:gd name="connsiteY40" fmla="*/ 194139 h 284656"/>
                <a:gd name="connsiteX41" fmla="*/ 37163 w 281375"/>
                <a:gd name="connsiteY41" fmla="*/ 207339 h 284656"/>
                <a:gd name="connsiteX42" fmla="*/ 29389 w 281375"/>
                <a:gd name="connsiteY42" fmla="*/ 215165 h 284656"/>
                <a:gd name="connsiteX43" fmla="*/ 29389 w 281375"/>
                <a:gd name="connsiteY43" fmla="*/ 231288 h 284656"/>
                <a:gd name="connsiteX44" fmla="*/ 52995 w 281375"/>
                <a:gd name="connsiteY44" fmla="*/ 255237 h 284656"/>
                <a:gd name="connsiteX45" fmla="*/ 68815 w 281375"/>
                <a:gd name="connsiteY45" fmla="*/ 255344 h 284656"/>
                <a:gd name="connsiteX46" fmla="*/ 68922 w 281375"/>
                <a:gd name="connsiteY46" fmla="*/ 255237 h 284656"/>
                <a:gd name="connsiteX47" fmla="*/ 76601 w 281375"/>
                <a:gd name="connsiteY47" fmla="*/ 247411 h 284656"/>
                <a:gd name="connsiteX48" fmla="*/ 89684 w 281375"/>
                <a:gd name="connsiteY48" fmla="*/ 245431 h 284656"/>
                <a:gd name="connsiteX49" fmla="*/ 104852 w 281375"/>
                <a:gd name="connsiteY49" fmla="*/ 251749 h 284656"/>
                <a:gd name="connsiteX50" fmla="*/ 112816 w 281375"/>
                <a:gd name="connsiteY50" fmla="*/ 262686 h 284656"/>
                <a:gd name="connsiteX51" fmla="*/ 112816 w 281375"/>
                <a:gd name="connsiteY51" fmla="*/ 273246 h 284656"/>
                <a:gd name="connsiteX52" fmla="*/ 124095 w 281375"/>
                <a:gd name="connsiteY52" fmla="*/ 284656 h 284656"/>
                <a:gd name="connsiteX53" fmla="*/ 124382 w 281375"/>
                <a:gd name="connsiteY53" fmla="*/ 284655 h 284656"/>
                <a:gd name="connsiteX54" fmla="*/ 157752 w 281375"/>
                <a:gd name="connsiteY54" fmla="*/ 284655 h 284656"/>
                <a:gd name="connsiteX55" fmla="*/ 169034 w 281375"/>
                <a:gd name="connsiteY55" fmla="*/ 273247 h 284656"/>
                <a:gd name="connsiteX56" fmla="*/ 169034 w 281375"/>
                <a:gd name="connsiteY56" fmla="*/ 273246 h 284656"/>
                <a:gd name="connsiteX57" fmla="*/ 169034 w 281375"/>
                <a:gd name="connsiteY57" fmla="*/ 262686 h 284656"/>
                <a:gd name="connsiteX58" fmla="*/ 176997 w 281375"/>
                <a:gd name="connsiteY58" fmla="*/ 251749 h 284656"/>
                <a:gd name="connsiteX59" fmla="*/ 192166 w 281375"/>
                <a:gd name="connsiteY59" fmla="*/ 245337 h 284656"/>
                <a:gd name="connsiteX60" fmla="*/ 205249 w 281375"/>
                <a:gd name="connsiteY60" fmla="*/ 247411 h 284656"/>
                <a:gd name="connsiteX61" fmla="*/ 212738 w 281375"/>
                <a:gd name="connsiteY61" fmla="*/ 254954 h 284656"/>
                <a:gd name="connsiteX62" fmla="*/ 228558 w 281375"/>
                <a:gd name="connsiteY62" fmla="*/ 255061 h 284656"/>
                <a:gd name="connsiteX63" fmla="*/ 228665 w 281375"/>
                <a:gd name="connsiteY63" fmla="*/ 254954 h 284656"/>
                <a:gd name="connsiteX64" fmla="*/ 252271 w 281375"/>
                <a:gd name="connsiteY64" fmla="*/ 231005 h 284656"/>
                <a:gd name="connsiteX65" fmla="*/ 252271 w 281375"/>
                <a:gd name="connsiteY65" fmla="*/ 214882 h 284656"/>
                <a:gd name="connsiteX66" fmla="*/ 244686 w 281375"/>
                <a:gd name="connsiteY66" fmla="*/ 207245 h 284656"/>
                <a:gd name="connsiteX67" fmla="*/ 242790 w 281375"/>
                <a:gd name="connsiteY67" fmla="*/ 194139 h 284656"/>
                <a:gd name="connsiteX68" fmla="*/ 249047 w 281375"/>
                <a:gd name="connsiteY68" fmla="*/ 178864 h 284656"/>
                <a:gd name="connsiteX69" fmla="*/ 259760 w 281375"/>
                <a:gd name="connsiteY69" fmla="*/ 170944 h 284656"/>
                <a:gd name="connsiteX70" fmla="*/ 270094 w 281375"/>
                <a:gd name="connsiteY70" fmla="*/ 170944 h 284656"/>
                <a:gd name="connsiteX71" fmla="*/ 281375 w 281375"/>
                <a:gd name="connsiteY71" fmla="*/ 159536 h 284656"/>
                <a:gd name="connsiteX72" fmla="*/ 281375 w 281375"/>
                <a:gd name="connsiteY72" fmla="*/ 159535 h 284656"/>
                <a:gd name="connsiteX73" fmla="*/ 281375 w 281375"/>
                <a:gd name="connsiteY73" fmla="*/ 125686 h 284656"/>
                <a:gd name="connsiteX74" fmla="*/ 270100 w 281375"/>
                <a:gd name="connsiteY74" fmla="*/ 114271 h 284656"/>
                <a:gd name="connsiteX75" fmla="*/ 269620 w 281375"/>
                <a:gd name="connsiteY75" fmla="*/ 114277 h 284656"/>
                <a:gd name="connsiteX76" fmla="*/ 140403 w 281375"/>
                <a:gd name="connsiteY76" fmla="*/ 230817 h 284656"/>
                <a:gd name="connsiteX77" fmla="*/ 51289 w 281375"/>
                <a:gd name="connsiteY77" fmla="*/ 142375 h 284656"/>
                <a:gd name="connsiteX78" fmla="*/ 140214 w 281375"/>
                <a:gd name="connsiteY78" fmla="*/ 53744 h 284656"/>
                <a:gd name="connsiteX79" fmla="*/ 229328 w 281375"/>
                <a:gd name="connsiteY79" fmla="*/ 142186 h 284656"/>
                <a:gd name="connsiteX80" fmla="*/ 229328 w 281375"/>
                <a:gd name="connsiteY80" fmla="*/ 142375 h 284656"/>
                <a:gd name="connsiteX81" fmla="*/ 140403 w 281375"/>
                <a:gd name="connsiteY81" fmla="*/ 230817 h 28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81375" h="284656">
                  <a:moveTo>
                    <a:pt x="269620" y="114277"/>
                  </a:moveTo>
                  <a:lnTo>
                    <a:pt x="259476" y="114277"/>
                  </a:lnTo>
                  <a:cubicBezTo>
                    <a:pt x="254518" y="114186"/>
                    <a:pt x="250171" y="110962"/>
                    <a:pt x="248668" y="106262"/>
                  </a:cubicBezTo>
                  <a:cubicBezTo>
                    <a:pt x="246946" y="100895"/>
                    <a:pt x="244823" y="95663"/>
                    <a:pt x="242316" y="90611"/>
                  </a:cubicBezTo>
                  <a:cubicBezTo>
                    <a:pt x="240125" y="86200"/>
                    <a:pt x="240919" y="80900"/>
                    <a:pt x="244307" y="77316"/>
                  </a:cubicBezTo>
                  <a:lnTo>
                    <a:pt x="251512" y="70056"/>
                  </a:lnTo>
                  <a:cubicBezTo>
                    <a:pt x="255984" y="65602"/>
                    <a:pt x="255984" y="58387"/>
                    <a:pt x="251512" y="53933"/>
                  </a:cubicBezTo>
                  <a:lnTo>
                    <a:pt x="227906" y="29984"/>
                  </a:lnTo>
                  <a:cubicBezTo>
                    <a:pt x="223567" y="25609"/>
                    <a:pt x="216484" y="25562"/>
                    <a:pt x="212086" y="29877"/>
                  </a:cubicBezTo>
                  <a:cubicBezTo>
                    <a:pt x="212050" y="29912"/>
                    <a:pt x="212015" y="29948"/>
                    <a:pt x="211979" y="29984"/>
                  </a:cubicBezTo>
                  <a:lnTo>
                    <a:pt x="204774" y="37338"/>
                  </a:lnTo>
                  <a:cubicBezTo>
                    <a:pt x="201330" y="40796"/>
                    <a:pt x="196014" y="41601"/>
                    <a:pt x="191692" y="39318"/>
                  </a:cubicBezTo>
                  <a:cubicBezTo>
                    <a:pt x="186809" y="36797"/>
                    <a:pt x="181737" y="34653"/>
                    <a:pt x="176523" y="32906"/>
                  </a:cubicBezTo>
                  <a:cubicBezTo>
                    <a:pt x="171788" y="31332"/>
                    <a:pt x="168586" y="26934"/>
                    <a:pt x="168560" y="21969"/>
                  </a:cubicBezTo>
                  <a:lnTo>
                    <a:pt x="168560" y="11409"/>
                  </a:lnTo>
                  <a:cubicBezTo>
                    <a:pt x="168612" y="5160"/>
                    <a:pt x="163562" y="52"/>
                    <a:pt x="157279" y="0"/>
                  </a:cubicBezTo>
                  <a:cubicBezTo>
                    <a:pt x="157279" y="0"/>
                    <a:pt x="157279" y="0"/>
                    <a:pt x="157278" y="0"/>
                  </a:cubicBezTo>
                  <a:lnTo>
                    <a:pt x="124382" y="0"/>
                  </a:lnTo>
                  <a:cubicBezTo>
                    <a:pt x="118136" y="103"/>
                    <a:pt x="113142" y="5196"/>
                    <a:pt x="113195" y="11409"/>
                  </a:cubicBezTo>
                  <a:lnTo>
                    <a:pt x="113195" y="21969"/>
                  </a:lnTo>
                  <a:cubicBezTo>
                    <a:pt x="113168" y="26934"/>
                    <a:pt x="109967" y="31332"/>
                    <a:pt x="105232" y="32906"/>
                  </a:cubicBezTo>
                  <a:cubicBezTo>
                    <a:pt x="100017" y="34653"/>
                    <a:pt x="94946" y="36797"/>
                    <a:pt x="90063" y="39318"/>
                  </a:cubicBezTo>
                  <a:cubicBezTo>
                    <a:pt x="85735" y="41569"/>
                    <a:pt x="80439" y="40768"/>
                    <a:pt x="76980" y="37338"/>
                  </a:cubicBezTo>
                  <a:lnTo>
                    <a:pt x="69491" y="29701"/>
                  </a:lnTo>
                  <a:cubicBezTo>
                    <a:pt x="65152" y="25326"/>
                    <a:pt x="58069" y="25279"/>
                    <a:pt x="53671" y="29594"/>
                  </a:cubicBezTo>
                  <a:cubicBezTo>
                    <a:pt x="53635" y="29630"/>
                    <a:pt x="53599" y="29665"/>
                    <a:pt x="53564" y="29701"/>
                  </a:cubicBezTo>
                  <a:lnTo>
                    <a:pt x="29579" y="53650"/>
                  </a:lnTo>
                  <a:cubicBezTo>
                    <a:pt x="25208" y="58145"/>
                    <a:pt x="25208" y="65278"/>
                    <a:pt x="29579" y="69773"/>
                  </a:cubicBezTo>
                  <a:lnTo>
                    <a:pt x="37068" y="77316"/>
                  </a:lnTo>
                  <a:cubicBezTo>
                    <a:pt x="40483" y="80887"/>
                    <a:pt x="41279" y="86205"/>
                    <a:pt x="39059" y="90611"/>
                  </a:cubicBezTo>
                  <a:cubicBezTo>
                    <a:pt x="36553" y="95663"/>
                    <a:pt x="34430" y="100895"/>
                    <a:pt x="32707" y="106262"/>
                  </a:cubicBezTo>
                  <a:cubicBezTo>
                    <a:pt x="31205" y="110962"/>
                    <a:pt x="26857" y="114186"/>
                    <a:pt x="21900" y="114277"/>
                  </a:cubicBezTo>
                  <a:lnTo>
                    <a:pt x="11282" y="114277"/>
                  </a:lnTo>
                  <a:cubicBezTo>
                    <a:pt x="4999" y="114329"/>
                    <a:pt x="-52" y="119436"/>
                    <a:pt x="0" y="125685"/>
                  </a:cubicBezTo>
                  <a:cubicBezTo>
                    <a:pt x="0" y="125685"/>
                    <a:pt x="0" y="125685"/>
                    <a:pt x="0" y="125686"/>
                  </a:cubicBezTo>
                  <a:lnTo>
                    <a:pt x="0" y="159535"/>
                  </a:lnTo>
                  <a:cubicBezTo>
                    <a:pt x="-52" y="165784"/>
                    <a:pt x="4998" y="170892"/>
                    <a:pt x="11281" y="170944"/>
                  </a:cubicBezTo>
                  <a:cubicBezTo>
                    <a:pt x="11281" y="170944"/>
                    <a:pt x="11282" y="170944"/>
                    <a:pt x="11282" y="170944"/>
                  </a:cubicBezTo>
                  <a:lnTo>
                    <a:pt x="21995" y="170944"/>
                  </a:lnTo>
                  <a:cubicBezTo>
                    <a:pt x="26921" y="170974"/>
                    <a:pt x="31258" y="174181"/>
                    <a:pt x="32707" y="178864"/>
                  </a:cubicBezTo>
                  <a:cubicBezTo>
                    <a:pt x="34454" y="184101"/>
                    <a:pt x="36576" y="189205"/>
                    <a:pt x="39059" y="194139"/>
                  </a:cubicBezTo>
                  <a:cubicBezTo>
                    <a:pt x="41288" y="198496"/>
                    <a:pt x="40530" y="203776"/>
                    <a:pt x="37163" y="207339"/>
                  </a:cubicBezTo>
                  <a:lnTo>
                    <a:pt x="29389" y="215165"/>
                  </a:lnTo>
                  <a:cubicBezTo>
                    <a:pt x="25019" y="219660"/>
                    <a:pt x="25019" y="226793"/>
                    <a:pt x="29389" y="231288"/>
                  </a:cubicBezTo>
                  <a:lnTo>
                    <a:pt x="52995" y="255237"/>
                  </a:lnTo>
                  <a:cubicBezTo>
                    <a:pt x="57334" y="259612"/>
                    <a:pt x="64417" y="259659"/>
                    <a:pt x="68815" y="255344"/>
                  </a:cubicBezTo>
                  <a:cubicBezTo>
                    <a:pt x="68851" y="255308"/>
                    <a:pt x="68887" y="255273"/>
                    <a:pt x="68922" y="255237"/>
                  </a:cubicBezTo>
                  <a:lnTo>
                    <a:pt x="76601" y="247411"/>
                  </a:lnTo>
                  <a:cubicBezTo>
                    <a:pt x="80045" y="243953"/>
                    <a:pt x="85361" y="243148"/>
                    <a:pt x="89684" y="245431"/>
                  </a:cubicBezTo>
                  <a:cubicBezTo>
                    <a:pt x="94569" y="247922"/>
                    <a:pt x="99640" y="250034"/>
                    <a:pt x="104852" y="251749"/>
                  </a:cubicBezTo>
                  <a:cubicBezTo>
                    <a:pt x="109587" y="253323"/>
                    <a:pt x="112789" y="257721"/>
                    <a:pt x="112816" y="262686"/>
                  </a:cubicBezTo>
                  <a:lnTo>
                    <a:pt x="112816" y="273246"/>
                  </a:lnTo>
                  <a:cubicBezTo>
                    <a:pt x="112763" y="279495"/>
                    <a:pt x="117813" y="284603"/>
                    <a:pt x="124095" y="284656"/>
                  </a:cubicBezTo>
                  <a:cubicBezTo>
                    <a:pt x="124191" y="284657"/>
                    <a:pt x="124286" y="284657"/>
                    <a:pt x="124382" y="284655"/>
                  </a:cubicBezTo>
                  <a:lnTo>
                    <a:pt x="157752" y="284655"/>
                  </a:lnTo>
                  <a:cubicBezTo>
                    <a:pt x="164035" y="284603"/>
                    <a:pt x="169086" y="279496"/>
                    <a:pt x="169034" y="273247"/>
                  </a:cubicBezTo>
                  <a:cubicBezTo>
                    <a:pt x="169034" y="273247"/>
                    <a:pt x="169034" y="273247"/>
                    <a:pt x="169034" y="273246"/>
                  </a:cubicBezTo>
                  <a:lnTo>
                    <a:pt x="169034" y="262686"/>
                  </a:lnTo>
                  <a:cubicBezTo>
                    <a:pt x="169060" y="257721"/>
                    <a:pt x="172262" y="253323"/>
                    <a:pt x="176997" y="251749"/>
                  </a:cubicBezTo>
                  <a:cubicBezTo>
                    <a:pt x="182227" y="250043"/>
                    <a:pt x="187301" y="247898"/>
                    <a:pt x="192166" y="245337"/>
                  </a:cubicBezTo>
                  <a:cubicBezTo>
                    <a:pt x="196519" y="243141"/>
                    <a:pt x="201798" y="243978"/>
                    <a:pt x="205249" y="247411"/>
                  </a:cubicBezTo>
                  <a:lnTo>
                    <a:pt x="212738" y="254954"/>
                  </a:lnTo>
                  <a:cubicBezTo>
                    <a:pt x="217077" y="259329"/>
                    <a:pt x="224160" y="259376"/>
                    <a:pt x="228558" y="255061"/>
                  </a:cubicBezTo>
                  <a:cubicBezTo>
                    <a:pt x="228594" y="255025"/>
                    <a:pt x="228629" y="254990"/>
                    <a:pt x="228665" y="254954"/>
                  </a:cubicBezTo>
                  <a:lnTo>
                    <a:pt x="252271" y="231005"/>
                  </a:lnTo>
                  <a:cubicBezTo>
                    <a:pt x="256641" y="226510"/>
                    <a:pt x="256641" y="219378"/>
                    <a:pt x="252271" y="214882"/>
                  </a:cubicBezTo>
                  <a:lnTo>
                    <a:pt x="244686" y="207245"/>
                  </a:lnTo>
                  <a:cubicBezTo>
                    <a:pt x="241309" y="203725"/>
                    <a:pt x="240548" y="198463"/>
                    <a:pt x="242790" y="194139"/>
                  </a:cubicBezTo>
                  <a:cubicBezTo>
                    <a:pt x="245184" y="189178"/>
                    <a:pt x="247274" y="184077"/>
                    <a:pt x="249047" y="178864"/>
                  </a:cubicBezTo>
                  <a:cubicBezTo>
                    <a:pt x="250496" y="174181"/>
                    <a:pt x="254833" y="170974"/>
                    <a:pt x="259760" y="170944"/>
                  </a:cubicBezTo>
                  <a:lnTo>
                    <a:pt x="270094" y="170944"/>
                  </a:lnTo>
                  <a:cubicBezTo>
                    <a:pt x="276376" y="170892"/>
                    <a:pt x="281427" y="165784"/>
                    <a:pt x="281375" y="159536"/>
                  </a:cubicBezTo>
                  <a:cubicBezTo>
                    <a:pt x="281375" y="159536"/>
                    <a:pt x="281375" y="159535"/>
                    <a:pt x="281375" y="159535"/>
                  </a:cubicBezTo>
                  <a:lnTo>
                    <a:pt x="281375" y="125686"/>
                  </a:lnTo>
                  <a:cubicBezTo>
                    <a:pt x="281431" y="119437"/>
                    <a:pt x="276383" y="114327"/>
                    <a:pt x="270100" y="114271"/>
                  </a:cubicBezTo>
                  <a:cubicBezTo>
                    <a:pt x="269940" y="114270"/>
                    <a:pt x="269780" y="114272"/>
                    <a:pt x="269620" y="114277"/>
                  </a:cubicBezTo>
                  <a:close/>
                  <a:moveTo>
                    <a:pt x="140403" y="230817"/>
                  </a:moveTo>
                  <a:cubicBezTo>
                    <a:pt x="91239" y="230869"/>
                    <a:pt x="51341" y="191272"/>
                    <a:pt x="51289" y="142375"/>
                  </a:cubicBezTo>
                  <a:cubicBezTo>
                    <a:pt x="51237" y="93477"/>
                    <a:pt x="91050" y="53796"/>
                    <a:pt x="140214" y="53744"/>
                  </a:cubicBezTo>
                  <a:cubicBezTo>
                    <a:pt x="189378" y="53692"/>
                    <a:pt x="229276" y="93289"/>
                    <a:pt x="229328" y="142186"/>
                  </a:cubicBezTo>
                  <a:cubicBezTo>
                    <a:pt x="229328" y="142249"/>
                    <a:pt x="229328" y="142312"/>
                    <a:pt x="229328" y="142375"/>
                  </a:cubicBezTo>
                  <a:cubicBezTo>
                    <a:pt x="229328" y="191220"/>
                    <a:pt x="189515" y="230817"/>
                    <a:pt x="140403" y="230817"/>
                  </a:cubicBezTo>
                  <a:close/>
                </a:path>
              </a:pathLst>
            </a:custGeom>
            <a:solidFill>
              <a:srgbClr val="FFFFFF"/>
            </a:solidFill>
            <a:ln w="9391" cap="flat">
              <a:noFill/>
              <a:prstDash val="solid"/>
              <a:miter/>
            </a:ln>
          </p:spPr>
          <p:txBody>
            <a:bodyPr rtlCol="0" anchor="ctr"/>
            <a:lstStyle/>
            <a:p>
              <a:endParaRPr lang="fr-FR"/>
            </a:p>
          </p:txBody>
        </p:sp>
        <p:sp>
          <p:nvSpPr>
            <p:cNvPr id="641" name="Freeform 116">
              <a:extLst>
                <a:ext uri="{FF2B5EF4-FFF2-40B4-BE49-F238E27FC236}">
                  <a16:creationId xmlns:a16="http://schemas.microsoft.com/office/drawing/2014/main" id="{8E932817-5F24-4E4B-B4AF-4A358D103567}"/>
                </a:ext>
              </a:extLst>
            </p:cNvPr>
            <p:cNvSpPr/>
            <p:nvPr/>
          </p:nvSpPr>
          <p:spPr>
            <a:xfrm>
              <a:off x="5955691" y="3375633"/>
              <a:ext cx="113763" cy="113145"/>
            </a:xfrm>
            <a:custGeom>
              <a:avLst/>
              <a:gdLst>
                <a:gd name="connsiteX0" fmla="*/ 113763 w 113763"/>
                <a:gd name="connsiteY0" fmla="*/ 56573 h 113145"/>
                <a:gd name="connsiteX1" fmla="*/ 56882 w 113763"/>
                <a:gd name="connsiteY1" fmla="*/ 113145 h 113145"/>
                <a:gd name="connsiteX2" fmla="*/ 0 w 113763"/>
                <a:gd name="connsiteY2" fmla="*/ 56573 h 113145"/>
                <a:gd name="connsiteX3" fmla="*/ 56882 w 113763"/>
                <a:gd name="connsiteY3" fmla="*/ 0 h 113145"/>
                <a:gd name="connsiteX4" fmla="*/ 113763 w 113763"/>
                <a:gd name="connsiteY4" fmla="*/ 56573 h 11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63" h="113145">
                  <a:moveTo>
                    <a:pt x="113763" y="56573"/>
                  </a:moveTo>
                  <a:cubicBezTo>
                    <a:pt x="113763" y="87817"/>
                    <a:pt x="88297" y="113145"/>
                    <a:pt x="56882" y="113145"/>
                  </a:cubicBezTo>
                  <a:cubicBezTo>
                    <a:pt x="25467" y="113145"/>
                    <a:pt x="0" y="87817"/>
                    <a:pt x="0" y="56573"/>
                  </a:cubicBezTo>
                  <a:cubicBezTo>
                    <a:pt x="0" y="25328"/>
                    <a:pt x="25467" y="0"/>
                    <a:pt x="56882" y="0"/>
                  </a:cubicBezTo>
                  <a:cubicBezTo>
                    <a:pt x="88297" y="0"/>
                    <a:pt x="113763" y="25328"/>
                    <a:pt x="113763" y="56573"/>
                  </a:cubicBezTo>
                  <a:close/>
                </a:path>
              </a:pathLst>
            </a:custGeom>
            <a:solidFill>
              <a:srgbClr val="FFFFFF"/>
            </a:solidFill>
            <a:ln w="9391" cap="flat">
              <a:noFill/>
              <a:prstDash val="solid"/>
              <a:miter/>
            </a:ln>
          </p:spPr>
          <p:txBody>
            <a:bodyPr rtlCol="0" anchor="ctr"/>
            <a:lstStyle/>
            <a:p>
              <a:endParaRPr lang="fr-FR"/>
            </a:p>
          </p:txBody>
        </p:sp>
      </p:grpSp>
      <p:grpSp>
        <p:nvGrpSpPr>
          <p:cNvPr id="692" name="Group 691">
            <a:extLst>
              <a:ext uri="{FF2B5EF4-FFF2-40B4-BE49-F238E27FC236}">
                <a16:creationId xmlns:a16="http://schemas.microsoft.com/office/drawing/2014/main" id="{E90BCB94-705F-4FCC-A605-3DA8C70F9759}"/>
              </a:ext>
              <a:ext uri="{C183D7F6-B498-43B3-948B-1728B52AA6E4}">
                <adec:decorative xmlns:adec="http://schemas.microsoft.com/office/drawing/2017/decorative" val="1"/>
              </a:ext>
            </a:extLst>
          </p:cNvPr>
          <p:cNvGrpSpPr>
            <a:grpSpLocks noChangeAspect="1"/>
          </p:cNvGrpSpPr>
          <p:nvPr/>
        </p:nvGrpSpPr>
        <p:grpSpPr>
          <a:xfrm>
            <a:off x="8036886" y="5099656"/>
            <a:ext cx="677952" cy="633600"/>
            <a:chOff x="8775701" y="1817688"/>
            <a:chExt cx="679450" cy="635000"/>
          </a:xfrm>
        </p:grpSpPr>
        <p:sp>
          <p:nvSpPr>
            <p:cNvPr id="693" name="Freeform 101">
              <a:extLst>
                <a:ext uri="{FF2B5EF4-FFF2-40B4-BE49-F238E27FC236}">
                  <a16:creationId xmlns:a16="http://schemas.microsoft.com/office/drawing/2014/main" id="{810AEB63-61AE-42DE-B3AB-034643360E38}"/>
                </a:ext>
              </a:extLst>
            </p:cNvPr>
            <p:cNvSpPr>
              <a:spLocks/>
            </p:cNvSpPr>
            <p:nvPr/>
          </p:nvSpPr>
          <p:spPr bwMode="auto">
            <a:xfrm>
              <a:off x="8775701" y="1817688"/>
              <a:ext cx="679450" cy="63500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7" y="215"/>
                    <a:pt x="34" y="171"/>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94" name="Freeform 102">
              <a:extLst>
                <a:ext uri="{FF2B5EF4-FFF2-40B4-BE49-F238E27FC236}">
                  <a16:creationId xmlns:a16="http://schemas.microsoft.com/office/drawing/2014/main" id="{985CFA04-333B-4F25-BA16-D895B3402AAE}"/>
                </a:ext>
              </a:extLst>
            </p:cNvPr>
            <p:cNvSpPr>
              <a:spLocks noEditPoints="1"/>
            </p:cNvSpPr>
            <p:nvPr/>
          </p:nvSpPr>
          <p:spPr bwMode="auto">
            <a:xfrm>
              <a:off x="9034463" y="1963738"/>
              <a:ext cx="255588" cy="352425"/>
            </a:xfrm>
            <a:custGeom>
              <a:avLst/>
              <a:gdLst>
                <a:gd name="T0" fmla="*/ 26 w 88"/>
                <a:gd name="T1" fmla="*/ 13 h 121"/>
                <a:gd name="T2" fmla="*/ 21 w 88"/>
                <a:gd name="T3" fmla="*/ 4 h 121"/>
                <a:gd name="T4" fmla="*/ 29 w 88"/>
                <a:gd name="T5" fmla="*/ 0 h 121"/>
                <a:gd name="T6" fmla="*/ 33 w 88"/>
                <a:gd name="T7" fmla="*/ 9 h 121"/>
                <a:gd name="T8" fmla="*/ 33 w 88"/>
                <a:gd name="T9" fmla="*/ 112 h 121"/>
                <a:gd name="T10" fmla="*/ 31 w 88"/>
                <a:gd name="T11" fmla="*/ 121 h 121"/>
                <a:gd name="T12" fmla="*/ 21 w 88"/>
                <a:gd name="T13" fmla="*/ 117 h 121"/>
                <a:gd name="T14" fmla="*/ 24 w 88"/>
                <a:gd name="T15" fmla="*/ 108 h 121"/>
                <a:gd name="T16" fmla="*/ 33 w 88"/>
                <a:gd name="T17" fmla="*/ 112 h 121"/>
                <a:gd name="T18" fmla="*/ 79 w 88"/>
                <a:gd name="T19" fmla="*/ 55 h 121"/>
                <a:gd name="T20" fmla="*/ 75 w 88"/>
                <a:gd name="T21" fmla="*/ 64 h 121"/>
                <a:gd name="T22" fmla="*/ 83 w 88"/>
                <a:gd name="T23" fmla="*/ 66 h 121"/>
                <a:gd name="T24" fmla="*/ 88 w 88"/>
                <a:gd name="T25" fmla="*/ 57 h 121"/>
                <a:gd name="T26" fmla="*/ 68 w 88"/>
                <a:gd name="T27" fmla="*/ 28 h 121"/>
                <a:gd name="T28" fmla="*/ 71 w 88"/>
                <a:gd name="T29" fmla="*/ 19 h 121"/>
                <a:gd name="T30" fmla="*/ 63 w 88"/>
                <a:gd name="T31" fmla="*/ 17 h 121"/>
                <a:gd name="T32" fmla="*/ 59 w 88"/>
                <a:gd name="T33" fmla="*/ 26 h 121"/>
                <a:gd name="T34" fmla="*/ 68 w 88"/>
                <a:gd name="T35" fmla="*/ 28 h 121"/>
                <a:gd name="T36" fmla="*/ 59 w 88"/>
                <a:gd name="T37" fmla="*/ 96 h 121"/>
                <a:gd name="T38" fmla="*/ 63 w 88"/>
                <a:gd name="T39" fmla="*/ 104 h 121"/>
                <a:gd name="T40" fmla="*/ 73 w 88"/>
                <a:gd name="T41" fmla="*/ 100 h 121"/>
                <a:gd name="T42" fmla="*/ 68 w 88"/>
                <a:gd name="T43" fmla="*/ 93 h 121"/>
                <a:gd name="T44" fmla="*/ 72 w 88"/>
                <a:gd name="T45" fmla="*/ 45 h 121"/>
                <a:gd name="T46" fmla="*/ 73 w 88"/>
                <a:gd name="T47" fmla="*/ 35 h 121"/>
                <a:gd name="T48" fmla="*/ 82 w 88"/>
                <a:gd name="T49" fmla="*/ 35 h 121"/>
                <a:gd name="T50" fmla="*/ 82 w 88"/>
                <a:gd name="T51" fmla="*/ 45 h 121"/>
                <a:gd name="T52" fmla="*/ 72 w 88"/>
                <a:gd name="T53" fmla="*/ 45 h 121"/>
                <a:gd name="T54" fmla="*/ 82 w 88"/>
                <a:gd name="T55" fmla="*/ 76 h 121"/>
                <a:gd name="T56" fmla="*/ 84 w 88"/>
                <a:gd name="T57" fmla="*/ 83 h 121"/>
                <a:gd name="T58" fmla="*/ 73 w 88"/>
                <a:gd name="T59" fmla="*/ 86 h 121"/>
                <a:gd name="T60" fmla="*/ 72 w 88"/>
                <a:gd name="T61" fmla="*/ 79 h 121"/>
                <a:gd name="T62" fmla="*/ 4 w 88"/>
                <a:gd name="T63" fmla="*/ 116 h 121"/>
                <a:gd name="T64" fmla="*/ 12 w 88"/>
                <a:gd name="T65" fmla="*/ 115 h 121"/>
                <a:gd name="T66" fmla="*/ 10 w 88"/>
                <a:gd name="T67" fmla="*/ 105 h 121"/>
                <a:gd name="T68" fmla="*/ 2 w 88"/>
                <a:gd name="T69" fmla="*/ 106 h 121"/>
                <a:gd name="T70" fmla="*/ 4 w 88"/>
                <a:gd name="T71" fmla="*/ 116 h 121"/>
                <a:gd name="T72" fmla="*/ 42 w 88"/>
                <a:gd name="T73" fmla="*/ 10 h 121"/>
                <a:gd name="T74" fmla="*/ 48 w 88"/>
                <a:gd name="T75" fmla="*/ 17 h 121"/>
                <a:gd name="T76" fmla="*/ 55 w 88"/>
                <a:gd name="T77" fmla="*/ 11 h 121"/>
                <a:gd name="T78" fmla="*/ 49 w 88"/>
                <a:gd name="T79" fmla="*/ 4 h 121"/>
                <a:gd name="T80" fmla="*/ 50 w 88"/>
                <a:gd name="T81" fmla="*/ 116 h 121"/>
                <a:gd name="T82" fmla="*/ 55 w 88"/>
                <a:gd name="T83" fmla="*/ 110 h 121"/>
                <a:gd name="T84" fmla="*/ 46 w 88"/>
                <a:gd name="T85" fmla="*/ 104 h 121"/>
                <a:gd name="T86" fmla="*/ 42 w 88"/>
                <a:gd name="T87" fmla="*/ 111 h 121"/>
                <a:gd name="T88" fmla="*/ 50 w 88"/>
                <a:gd name="T89" fmla="*/ 1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21">
                  <a:moveTo>
                    <a:pt x="29" y="13"/>
                  </a:moveTo>
                  <a:cubicBezTo>
                    <a:pt x="26" y="13"/>
                    <a:pt x="26" y="13"/>
                    <a:pt x="26" y="13"/>
                  </a:cubicBezTo>
                  <a:cubicBezTo>
                    <a:pt x="23" y="13"/>
                    <a:pt x="21" y="11"/>
                    <a:pt x="21" y="9"/>
                  </a:cubicBezTo>
                  <a:cubicBezTo>
                    <a:pt x="21" y="4"/>
                    <a:pt x="21" y="4"/>
                    <a:pt x="21" y="4"/>
                  </a:cubicBezTo>
                  <a:cubicBezTo>
                    <a:pt x="21" y="2"/>
                    <a:pt x="23" y="0"/>
                    <a:pt x="26" y="0"/>
                  </a:cubicBezTo>
                  <a:cubicBezTo>
                    <a:pt x="29" y="0"/>
                    <a:pt x="29" y="0"/>
                    <a:pt x="29" y="0"/>
                  </a:cubicBezTo>
                  <a:cubicBezTo>
                    <a:pt x="31" y="0"/>
                    <a:pt x="33" y="2"/>
                    <a:pt x="33" y="4"/>
                  </a:cubicBezTo>
                  <a:cubicBezTo>
                    <a:pt x="33" y="9"/>
                    <a:pt x="33" y="9"/>
                    <a:pt x="33" y="9"/>
                  </a:cubicBezTo>
                  <a:cubicBezTo>
                    <a:pt x="33" y="11"/>
                    <a:pt x="31" y="13"/>
                    <a:pt x="29" y="13"/>
                  </a:cubicBezTo>
                  <a:close/>
                  <a:moveTo>
                    <a:pt x="33" y="112"/>
                  </a:moveTo>
                  <a:cubicBezTo>
                    <a:pt x="33" y="117"/>
                    <a:pt x="33" y="117"/>
                    <a:pt x="33" y="117"/>
                  </a:cubicBezTo>
                  <a:cubicBezTo>
                    <a:pt x="33" y="119"/>
                    <a:pt x="33" y="121"/>
                    <a:pt x="31" y="121"/>
                  </a:cubicBezTo>
                  <a:cubicBezTo>
                    <a:pt x="27" y="121"/>
                    <a:pt x="27" y="121"/>
                    <a:pt x="27" y="121"/>
                  </a:cubicBezTo>
                  <a:cubicBezTo>
                    <a:pt x="25" y="121"/>
                    <a:pt x="21" y="119"/>
                    <a:pt x="21" y="117"/>
                  </a:cubicBezTo>
                  <a:cubicBezTo>
                    <a:pt x="21" y="112"/>
                    <a:pt x="21" y="112"/>
                    <a:pt x="21" y="112"/>
                  </a:cubicBezTo>
                  <a:cubicBezTo>
                    <a:pt x="21" y="110"/>
                    <a:pt x="22" y="108"/>
                    <a:pt x="24" y="108"/>
                  </a:cubicBezTo>
                  <a:cubicBezTo>
                    <a:pt x="27" y="108"/>
                    <a:pt x="27" y="108"/>
                    <a:pt x="27" y="108"/>
                  </a:cubicBezTo>
                  <a:cubicBezTo>
                    <a:pt x="30" y="108"/>
                    <a:pt x="33" y="110"/>
                    <a:pt x="33" y="112"/>
                  </a:cubicBezTo>
                  <a:close/>
                  <a:moveTo>
                    <a:pt x="83" y="55"/>
                  </a:moveTo>
                  <a:cubicBezTo>
                    <a:pt x="79" y="55"/>
                    <a:pt x="79" y="55"/>
                    <a:pt x="79" y="55"/>
                  </a:cubicBezTo>
                  <a:cubicBezTo>
                    <a:pt x="77" y="55"/>
                    <a:pt x="75" y="58"/>
                    <a:pt x="75" y="60"/>
                  </a:cubicBezTo>
                  <a:cubicBezTo>
                    <a:pt x="75" y="64"/>
                    <a:pt x="75" y="64"/>
                    <a:pt x="75" y="64"/>
                  </a:cubicBezTo>
                  <a:cubicBezTo>
                    <a:pt x="75" y="66"/>
                    <a:pt x="77" y="66"/>
                    <a:pt x="79" y="66"/>
                  </a:cubicBezTo>
                  <a:cubicBezTo>
                    <a:pt x="83" y="66"/>
                    <a:pt x="83" y="66"/>
                    <a:pt x="83" y="66"/>
                  </a:cubicBezTo>
                  <a:cubicBezTo>
                    <a:pt x="86" y="66"/>
                    <a:pt x="88" y="63"/>
                    <a:pt x="88" y="61"/>
                  </a:cubicBezTo>
                  <a:cubicBezTo>
                    <a:pt x="88" y="57"/>
                    <a:pt x="88" y="57"/>
                    <a:pt x="88" y="57"/>
                  </a:cubicBezTo>
                  <a:cubicBezTo>
                    <a:pt x="88" y="55"/>
                    <a:pt x="86" y="55"/>
                    <a:pt x="83" y="55"/>
                  </a:cubicBezTo>
                  <a:close/>
                  <a:moveTo>
                    <a:pt x="68" y="28"/>
                  </a:moveTo>
                  <a:cubicBezTo>
                    <a:pt x="71" y="25"/>
                    <a:pt x="71" y="25"/>
                    <a:pt x="71" y="25"/>
                  </a:cubicBezTo>
                  <a:cubicBezTo>
                    <a:pt x="73" y="23"/>
                    <a:pt x="73" y="21"/>
                    <a:pt x="71" y="19"/>
                  </a:cubicBezTo>
                  <a:cubicBezTo>
                    <a:pt x="69" y="17"/>
                    <a:pt x="69" y="17"/>
                    <a:pt x="69" y="17"/>
                  </a:cubicBezTo>
                  <a:cubicBezTo>
                    <a:pt x="67" y="15"/>
                    <a:pt x="64" y="15"/>
                    <a:pt x="63" y="17"/>
                  </a:cubicBezTo>
                  <a:cubicBezTo>
                    <a:pt x="60" y="20"/>
                    <a:pt x="60" y="20"/>
                    <a:pt x="60" y="20"/>
                  </a:cubicBezTo>
                  <a:cubicBezTo>
                    <a:pt x="58" y="21"/>
                    <a:pt x="58" y="23"/>
                    <a:pt x="59" y="26"/>
                  </a:cubicBezTo>
                  <a:cubicBezTo>
                    <a:pt x="59" y="27"/>
                    <a:pt x="61" y="29"/>
                    <a:pt x="62" y="30"/>
                  </a:cubicBezTo>
                  <a:cubicBezTo>
                    <a:pt x="63" y="32"/>
                    <a:pt x="67" y="30"/>
                    <a:pt x="68" y="28"/>
                  </a:cubicBezTo>
                  <a:close/>
                  <a:moveTo>
                    <a:pt x="61" y="94"/>
                  </a:moveTo>
                  <a:cubicBezTo>
                    <a:pt x="59" y="96"/>
                    <a:pt x="59" y="96"/>
                    <a:pt x="59" y="96"/>
                  </a:cubicBezTo>
                  <a:cubicBezTo>
                    <a:pt x="57" y="98"/>
                    <a:pt x="58" y="100"/>
                    <a:pt x="60" y="101"/>
                  </a:cubicBezTo>
                  <a:cubicBezTo>
                    <a:pt x="63" y="104"/>
                    <a:pt x="63" y="104"/>
                    <a:pt x="63" y="104"/>
                  </a:cubicBezTo>
                  <a:cubicBezTo>
                    <a:pt x="64" y="106"/>
                    <a:pt x="69" y="104"/>
                    <a:pt x="70" y="103"/>
                  </a:cubicBezTo>
                  <a:cubicBezTo>
                    <a:pt x="73" y="100"/>
                    <a:pt x="73" y="100"/>
                    <a:pt x="73" y="100"/>
                  </a:cubicBezTo>
                  <a:cubicBezTo>
                    <a:pt x="74" y="99"/>
                    <a:pt x="73" y="98"/>
                    <a:pt x="71" y="96"/>
                  </a:cubicBezTo>
                  <a:cubicBezTo>
                    <a:pt x="68" y="93"/>
                    <a:pt x="68" y="93"/>
                    <a:pt x="68" y="93"/>
                  </a:cubicBezTo>
                  <a:cubicBezTo>
                    <a:pt x="67" y="91"/>
                    <a:pt x="63" y="92"/>
                    <a:pt x="61" y="94"/>
                  </a:cubicBezTo>
                  <a:close/>
                  <a:moveTo>
                    <a:pt x="72" y="45"/>
                  </a:moveTo>
                  <a:cubicBezTo>
                    <a:pt x="70" y="42"/>
                    <a:pt x="70" y="42"/>
                    <a:pt x="70" y="42"/>
                  </a:cubicBezTo>
                  <a:cubicBezTo>
                    <a:pt x="70" y="40"/>
                    <a:pt x="71" y="36"/>
                    <a:pt x="73" y="35"/>
                  </a:cubicBezTo>
                  <a:cubicBezTo>
                    <a:pt x="77" y="34"/>
                    <a:pt x="77" y="34"/>
                    <a:pt x="77" y="34"/>
                  </a:cubicBezTo>
                  <a:cubicBezTo>
                    <a:pt x="79" y="33"/>
                    <a:pt x="81" y="33"/>
                    <a:pt x="82" y="35"/>
                  </a:cubicBezTo>
                  <a:cubicBezTo>
                    <a:pt x="83" y="38"/>
                    <a:pt x="83" y="38"/>
                    <a:pt x="83" y="38"/>
                  </a:cubicBezTo>
                  <a:cubicBezTo>
                    <a:pt x="84" y="40"/>
                    <a:pt x="84" y="44"/>
                    <a:pt x="82" y="45"/>
                  </a:cubicBezTo>
                  <a:cubicBezTo>
                    <a:pt x="78" y="46"/>
                    <a:pt x="78" y="46"/>
                    <a:pt x="78" y="46"/>
                  </a:cubicBezTo>
                  <a:cubicBezTo>
                    <a:pt x="75" y="47"/>
                    <a:pt x="73" y="48"/>
                    <a:pt x="72" y="45"/>
                  </a:cubicBezTo>
                  <a:close/>
                  <a:moveTo>
                    <a:pt x="78" y="75"/>
                  </a:moveTo>
                  <a:cubicBezTo>
                    <a:pt x="82" y="76"/>
                    <a:pt x="82" y="76"/>
                    <a:pt x="82" y="76"/>
                  </a:cubicBezTo>
                  <a:cubicBezTo>
                    <a:pt x="84" y="77"/>
                    <a:pt x="86" y="78"/>
                    <a:pt x="85" y="80"/>
                  </a:cubicBezTo>
                  <a:cubicBezTo>
                    <a:pt x="84" y="83"/>
                    <a:pt x="84" y="83"/>
                    <a:pt x="84" y="83"/>
                  </a:cubicBezTo>
                  <a:cubicBezTo>
                    <a:pt x="83" y="86"/>
                    <a:pt x="79" y="88"/>
                    <a:pt x="77" y="87"/>
                  </a:cubicBezTo>
                  <a:cubicBezTo>
                    <a:pt x="73" y="86"/>
                    <a:pt x="73" y="86"/>
                    <a:pt x="73" y="86"/>
                  </a:cubicBezTo>
                  <a:cubicBezTo>
                    <a:pt x="71" y="85"/>
                    <a:pt x="69" y="84"/>
                    <a:pt x="70" y="82"/>
                  </a:cubicBezTo>
                  <a:cubicBezTo>
                    <a:pt x="72" y="79"/>
                    <a:pt x="72" y="79"/>
                    <a:pt x="72" y="79"/>
                  </a:cubicBezTo>
                  <a:cubicBezTo>
                    <a:pt x="72" y="77"/>
                    <a:pt x="75" y="74"/>
                    <a:pt x="78" y="75"/>
                  </a:cubicBezTo>
                  <a:close/>
                  <a:moveTo>
                    <a:pt x="4" y="116"/>
                  </a:moveTo>
                  <a:cubicBezTo>
                    <a:pt x="8" y="118"/>
                    <a:pt x="8" y="118"/>
                    <a:pt x="8" y="118"/>
                  </a:cubicBezTo>
                  <a:cubicBezTo>
                    <a:pt x="10" y="118"/>
                    <a:pt x="11" y="117"/>
                    <a:pt x="12" y="115"/>
                  </a:cubicBezTo>
                  <a:cubicBezTo>
                    <a:pt x="13" y="111"/>
                    <a:pt x="13" y="111"/>
                    <a:pt x="13" y="111"/>
                  </a:cubicBezTo>
                  <a:cubicBezTo>
                    <a:pt x="14" y="109"/>
                    <a:pt x="12" y="106"/>
                    <a:pt x="10" y="105"/>
                  </a:cubicBezTo>
                  <a:cubicBezTo>
                    <a:pt x="6" y="103"/>
                    <a:pt x="6" y="103"/>
                    <a:pt x="6" y="103"/>
                  </a:cubicBezTo>
                  <a:cubicBezTo>
                    <a:pt x="4" y="102"/>
                    <a:pt x="3" y="104"/>
                    <a:pt x="2" y="106"/>
                  </a:cubicBezTo>
                  <a:cubicBezTo>
                    <a:pt x="1" y="110"/>
                    <a:pt x="1" y="110"/>
                    <a:pt x="1" y="110"/>
                  </a:cubicBezTo>
                  <a:cubicBezTo>
                    <a:pt x="0" y="112"/>
                    <a:pt x="2" y="115"/>
                    <a:pt x="4" y="116"/>
                  </a:cubicBezTo>
                  <a:close/>
                  <a:moveTo>
                    <a:pt x="44" y="6"/>
                  </a:moveTo>
                  <a:cubicBezTo>
                    <a:pt x="42" y="10"/>
                    <a:pt x="42" y="10"/>
                    <a:pt x="42" y="10"/>
                  </a:cubicBezTo>
                  <a:cubicBezTo>
                    <a:pt x="41" y="13"/>
                    <a:pt x="41" y="15"/>
                    <a:pt x="43" y="16"/>
                  </a:cubicBezTo>
                  <a:cubicBezTo>
                    <a:pt x="44" y="16"/>
                    <a:pt x="46" y="16"/>
                    <a:pt x="48" y="17"/>
                  </a:cubicBezTo>
                  <a:cubicBezTo>
                    <a:pt x="50" y="17"/>
                    <a:pt x="52" y="17"/>
                    <a:pt x="53" y="15"/>
                  </a:cubicBezTo>
                  <a:cubicBezTo>
                    <a:pt x="55" y="11"/>
                    <a:pt x="55" y="11"/>
                    <a:pt x="55" y="11"/>
                  </a:cubicBezTo>
                  <a:cubicBezTo>
                    <a:pt x="55" y="9"/>
                    <a:pt x="55" y="7"/>
                    <a:pt x="53" y="6"/>
                  </a:cubicBezTo>
                  <a:cubicBezTo>
                    <a:pt x="52" y="5"/>
                    <a:pt x="50" y="4"/>
                    <a:pt x="49" y="4"/>
                  </a:cubicBezTo>
                  <a:cubicBezTo>
                    <a:pt x="47" y="3"/>
                    <a:pt x="44" y="4"/>
                    <a:pt x="44" y="6"/>
                  </a:cubicBezTo>
                  <a:close/>
                  <a:moveTo>
                    <a:pt x="50" y="116"/>
                  </a:moveTo>
                  <a:cubicBezTo>
                    <a:pt x="53" y="115"/>
                    <a:pt x="53" y="115"/>
                    <a:pt x="53" y="115"/>
                  </a:cubicBezTo>
                  <a:cubicBezTo>
                    <a:pt x="56" y="114"/>
                    <a:pt x="55" y="112"/>
                    <a:pt x="55" y="110"/>
                  </a:cubicBezTo>
                  <a:cubicBezTo>
                    <a:pt x="53" y="106"/>
                    <a:pt x="53" y="106"/>
                    <a:pt x="53" y="106"/>
                  </a:cubicBezTo>
                  <a:cubicBezTo>
                    <a:pt x="52" y="104"/>
                    <a:pt x="48" y="103"/>
                    <a:pt x="46" y="104"/>
                  </a:cubicBezTo>
                  <a:cubicBezTo>
                    <a:pt x="43" y="106"/>
                    <a:pt x="43" y="106"/>
                    <a:pt x="43" y="106"/>
                  </a:cubicBezTo>
                  <a:cubicBezTo>
                    <a:pt x="41" y="107"/>
                    <a:pt x="41" y="108"/>
                    <a:pt x="42" y="111"/>
                  </a:cubicBezTo>
                  <a:cubicBezTo>
                    <a:pt x="44" y="115"/>
                    <a:pt x="44" y="115"/>
                    <a:pt x="44" y="115"/>
                  </a:cubicBezTo>
                  <a:cubicBezTo>
                    <a:pt x="44" y="117"/>
                    <a:pt x="48" y="117"/>
                    <a:pt x="50" y="11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95" name="Freeform 103">
              <a:extLst>
                <a:ext uri="{FF2B5EF4-FFF2-40B4-BE49-F238E27FC236}">
                  <a16:creationId xmlns:a16="http://schemas.microsoft.com/office/drawing/2014/main" id="{997411D0-37C0-42F9-B8C0-D7D21E7381DA}"/>
                </a:ext>
              </a:extLst>
            </p:cNvPr>
            <p:cNvSpPr>
              <a:spLocks/>
            </p:cNvSpPr>
            <p:nvPr/>
          </p:nvSpPr>
          <p:spPr bwMode="auto">
            <a:xfrm>
              <a:off x="8958263" y="1963738"/>
              <a:ext cx="130175" cy="301625"/>
            </a:xfrm>
            <a:custGeom>
              <a:avLst/>
              <a:gdLst>
                <a:gd name="T0" fmla="*/ 41 w 45"/>
                <a:gd name="T1" fmla="*/ 44 h 104"/>
                <a:gd name="T2" fmla="*/ 31 w 45"/>
                <a:gd name="T3" fmla="*/ 44 h 104"/>
                <a:gd name="T4" fmla="*/ 28 w 45"/>
                <a:gd name="T5" fmla="*/ 40 h 104"/>
                <a:gd name="T6" fmla="*/ 34 w 45"/>
                <a:gd name="T7" fmla="*/ 0 h 104"/>
                <a:gd name="T8" fmla="*/ 1 w 45"/>
                <a:gd name="T9" fmla="*/ 55 h 104"/>
                <a:gd name="T10" fmla="*/ 5 w 45"/>
                <a:gd name="T11" fmla="*/ 61 h 104"/>
                <a:gd name="T12" fmla="*/ 15 w 45"/>
                <a:gd name="T13" fmla="*/ 61 h 104"/>
                <a:gd name="T14" fmla="*/ 17 w 45"/>
                <a:gd name="T15" fmla="*/ 63 h 104"/>
                <a:gd name="T16" fmla="*/ 11 w 45"/>
                <a:gd name="T17" fmla="*/ 104 h 104"/>
                <a:gd name="T18" fmla="*/ 44 w 45"/>
                <a:gd name="T19" fmla="*/ 49 h 104"/>
                <a:gd name="T20" fmla="*/ 41 w 45"/>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104">
                  <a:moveTo>
                    <a:pt x="41" y="44"/>
                  </a:moveTo>
                  <a:cubicBezTo>
                    <a:pt x="31" y="44"/>
                    <a:pt x="31" y="44"/>
                    <a:pt x="31" y="44"/>
                  </a:cubicBezTo>
                  <a:cubicBezTo>
                    <a:pt x="29" y="44"/>
                    <a:pt x="28" y="42"/>
                    <a:pt x="28" y="40"/>
                  </a:cubicBezTo>
                  <a:cubicBezTo>
                    <a:pt x="34" y="0"/>
                    <a:pt x="34" y="0"/>
                    <a:pt x="34" y="0"/>
                  </a:cubicBezTo>
                  <a:cubicBezTo>
                    <a:pt x="1" y="55"/>
                    <a:pt x="1" y="55"/>
                    <a:pt x="1" y="55"/>
                  </a:cubicBezTo>
                  <a:cubicBezTo>
                    <a:pt x="0" y="57"/>
                    <a:pt x="2" y="61"/>
                    <a:pt x="5" y="61"/>
                  </a:cubicBezTo>
                  <a:cubicBezTo>
                    <a:pt x="15" y="61"/>
                    <a:pt x="15" y="61"/>
                    <a:pt x="15" y="61"/>
                  </a:cubicBezTo>
                  <a:cubicBezTo>
                    <a:pt x="16" y="61"/>
                    <a:pt x="17" y="62"/>
                    <a:pt x="17" y="63"/>
                  </a:cubicBezTo>
                  <a:cubicBezTo>
                    <a:pt x="11" y="104"/>
                    <a:pt x="11" y="104"/>
                    <a:pt x="11" y="104"/>
                  </a:cubicBezTo>
                  <a:cubicBezTo>
                    <a:pt x="44" y="49"/>
                    <a:pt x="44" y="49"/>
                    <a:pt x="44" y="49"/>
                  </a:cubicBezTo>
                  <a:cubicBezTo>
                    <a:pt x="45" y="46"/>
                    <a:pt x="44" y="44"/>
                    <a:pt x="41" y="4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96" name="Freeform 104">
              <a:extLst>
                <a:ext uri="{FF2B5EF4-FFF2-40B4-BE49-F238E27FC236}">
                  <a16:creationId xmlns:a16="http://schemas.microsoft.com/office/drawing/2014/main" id="{0B639F36-72D0-4F9F-B4F8-049DCC5C6647}"/>
                </a:ext>
              </a:extLst>
            </p:cNvPr>
            <p:cNvSpPr>
              <a:spLocks/>
            </p:cNvSpPr>
            <p:nvPr/>
          </p:nvSpPr>
          <p:spPr bwMode="auto">
            <a:xfrm>
              <a:off x="9042401" y="2019300"/>
              <a:ext cx="192088" cy="241300"/>
            </a:xfrm>
            <a:custGeom>
              <a:avLst/>
              <a:gdLst>
                <a:gd name="T0" fmla="*/ 23 w 66"/>
                <a:gd name="T1" fmla="*/ 0 h 83"/>
                <a:gd name="T2" fmla="*/ 13 w 66"/>
                <a:gd name="T3" fmla="*/ 2 h 83"/>
                <a:gd name="T4" fmla="*/ 12 w 66"/>
                <a:gd name="T5" fmla="*/ 12 h 83"/>
                <a:gd name="T6" fmla="*/ 12 w 66"/>
                <a:gd name="T7" fmla="*/ 12 h 83"/>
                <a:gd name="T8" fmla="*/ 25 w 66"/>
                <a:gd name="T9" fmla="*/ 19 h 83"/>
                <a:gd name="T10" fmla="*/ 24 w 66"/>
                <a:gd name="T11" fmla="*/ 33 h 83"/>
                <a:gd name="T12" fmla="*/ 0 w 66"/>
                <a:gd name="T13" fmla="*/ 74 h 83"/>
                <a:gd name="T14" fmla="*/ 2 w 66"/>
                <a:gd name="T15" fmla="*/ 76 h 83"/>
                <a:gd name="T16" fmla="*/ 24 w 66"/>
                <a:gd name="T17" fmla="*/ 83 h 83"/>
                <a:gd name="T18" fmla="*/ 65 w 66"/>
                <a:gd name="T19" fmla="*/ 40 h 83"/>
                <a:gd name="T20" fmla="*/ 23 w 66"/>
                <a:gd name="T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3">
                  <a:moveTo>
                    <a:pt x="23" y="0"/>
                  </a:moveTo>
                  <a:cubicBezTo>
                    <a:pt x="20" y="0"/>
                    <a:pt x="16" y="1"/>
                    <a:pt x="13" y="2"/>
                  </a:cubicBezTo>
                  <a:cubicBezTo>
                    <a:pt x="12" y="12"/>
                    <a:pt x="12" y="12"/>
                    <a:pt x="12" y="12"/>
                  </a:cubicBezTo>
                  <a:cubicBezTo>
                    <a:pt x="12" y="12"/>
                    <a:pt x="12" y="12"/>
                    <a:pt x="12" y="12"/>
                  </a:cubicBezTo>
                  <a:cubicBezTo>
                    <a:pt x="17" y="12"/>
                    <a:pt x="22" y="15"/>
                    <a:pt x="25" y="19"/>
                  </a:cubicBezTo>
                  <a:cubicBezTo>
                    <a:pt x="27" y="24"/>
                    <a:pt x="27" y="29"/>
                    <a:pt x="24" y="33"/>
                  </a:cubicBezTo>
                  <a:cubicBezTo>
                    <a:pt x="0" y="74"/>
                    <a:pt x="0" y="74"/>
                    <a:pt x="0" y="74"/>
                  </a:cubicBezTo>
                  <a:cubicBezTo>
                    <a:pt x="0" y="75"/>
                    <a:pt x="1" y="75"/>
                    <a:pt x="2" y="76"/>
                  </a:cubicBezTo>
                  <a:cubicBezTo>
                    <a:pt x="8" y="80"/>
                    <a:pt x="16" y="83"/>
                    <a:pt x="24" y="83"/>
                  </a:cubicBezTo>
                  <a:cubicBezTo>
                    <a:pt x="48" y="83"/>
                    <a:pt x="66" y="63"/>
                    <a:pt x="65" y="40"/>
                  </a:cubicBezTo>
                  <a:cubicBezTo>
                    <a:pt x="65" y="18"/>
                    <a:pt x="50" y="0"/>
                    <a:pt x="23"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97" name="Group 696">
            <a:extLst>
              <a:ext uri="{FF2B5EF4-FFF2-40B4-BE49-F238E27FC236}">
                <a16:creationId xmlns:a16="http://schemas.microsoft.com/office/drawing/2014/main" id="{75B6EAF6-27AB-4586-BE41-40F117DE44AA}"/>
              </a:ext>
              <a:ext uri="{C183D7F6-B498-43B3-948B-1728B52AA6E4}">
                <adec:decorative xmlns:adec="http://schemas.microsoft.com/office/drawing/2017/decorative" val="1"/>
              </a:ext>
            </a:extLst>
          </p:cNvPr>
          <p:cNvGrpSpPr>
            <a:grpSpLocks noChangeAspect="1"/>
          </p:cNvGrpSpPr>
          <p:nvPr/>
        </p:nvGrpSpPr>
        <p:grpSpPr>
          <a:xfrm>
            <a:off x="7263328" y="5099656"/>
            <a:ext cx="674784" cy="633600"/>
            <a:chOff x="9548813" y="1817688"/>
            <a:chExt cx="676275" cy="635000"/>
          </a:xfrm>
        </p:grpSpPr>
        <p:sp>
          <p:nvSpPr>
            <p:cNvPr id="698" name="Freeform 105">
              <a:extLst>
                <a:ext uri="{FF2B5EF4-FFF2-40B4-BE49-F238E27FC236}">
                  <a16:creationId xmlns:a16="http://schemas.microsoft.com/office/drawing/2014/main" id="{B2E526B2-9F1E-43A4-85F9-67C56D1B42CA}"/>
                </a:ext>
              </a:extLst>
            </p:cNvPr>
            <p:cNvSpPr>
              <a:spLocks/>
            </p:cNvSpPr>
            <p:nvPr/>
          </p:nvSpPr>
          <p:spPr bwMode="auto">
            <a:xfrm>
              <a:off x="9548813" y="1817688"/>
              <a:ext cx="676275" cy="635000"/>
            </a:xfrm>
            <a:custGeom>
              <a:avLst/>
              <a:gdLst>
                <a:gd name="T0" fmla="*/ 33 w 233"/>
                <a:gd name="T1" fmla="*/ 171 h 218"/>
                <a:gd name="T2" fmla="*/ 56 w 233"/>
                <a:gd name="T3" fmla="*/ 33 h 218"/>
                <a:gd name="T4" fmla="*/ 200 w 233"/>
                <a:gd name="T5" fmla="*/ 53 h 218"/>
                <a:gd name="T6" fmla="*/ 173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9"/>
                    <a:pt x="200" y="53"/>
                  </a:cubicBezTo>
                  <a:cubicBezTo>
                    <a:pt x="233" y="97"/>
                    <a:pt x="219" y="153"/>
                    <a:pt x="173" y="186"/>
                  </a:cubicBezTo>
                  <a:cubicBezTo>
                    <a:pt x="128" y="218"/>
                    <a:pt x="67" y="215"/>
                    <a:pt x="33" y="171"/>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700" name="Freeform 107">
              <a:extLst>
                <a:ext uri="{FF2B5EF4-FFF2-40B4-BE49-F238E27FC236}">
                  <a16:creationId xmlns:a16="http://schemas.microsoft.com/office/drawing/2014/main" id="{F36DED87-A0E8-477F-BE49-DF2D2F443714}"/>
                </a:ext>
              </a:extLst>
            </p:cNvPr>
            <p:cNvSpPr>
              <a:spLocks noChangeAspect="1" noEditPoints="1"/>
            </p:cNvSpPr>
            <p:nvPr/>
          </p:nvSpPr>
          <p:spPr bwMode="auto">
            <a:xfrm>
              <a:off x="9697251" y="2153942"/>
              <a:ext cx="360795" cy="131583"/>
            </a:xfrm>
            <a:custGeom>
              <a:avLst/>
              <a:gdLst>
                <a:gd name="T0" fmla="*/ 58 w 93"/>
                <a:gd name="T1" fmla="*/ 2 h 34"/>
                <a:gd name="T2" fmla="*/ 59 w 93"/>
                <a:gd name="T3" fmla="*/ 13 h 34"/>
                <a:gd name="T4" fmla="*/ 57 w 93"/>
                <a:gd name="T5" fmla="*/ 16 h 34"/>
                <a:gd name="T6" fmla="*/ 37 w 93"/>
                <a:gd name="T7" fmla="*/ 16 h 34"/>
                <a:gd name="T8" fmla="*/ 34 w 93"/>
                <a:gd name="T9" fmla="*/ 14 h 34"/>
                <a:gd name="T10" fmla="*/ 36 w 93"/>
                <a:gd name="T11" fmla="*/ 2 h 34"/>
                <a:gd name="T12" fmla="*/ 38 w 93"/>
                <a:gd name="T13" fmla="*/ 0 h 34"/>
                <a:gd name="T14" fmla="*/ 55 w 93"/>
                <a:gd name="T15" fmla="*/ 0 h 34"/>
                <a:gd name="T16" fmla="*/ 58 w 93"/>
                <a:gd name="T17" fmla="*/ 2 h 34"/>
                <a:gd name="T18" fmla="*/ 36 w 93"/>
                <a:gd name="T19" fmla="*/ 18 h 34"/>
                <a:gd name="T20" fmla="*/ 57 w 93"/>
                <a:gd name="T21" fmla="*/ 18 h 34"/>
                <a:gd name="T22" fmla="*/ 60 w 93"/>
                <a:gd name="T23" fmla="*/ 20 h 34"/>
                <a:gd name="T24" fmla="*/ 61 w 93"/>
                <a:gd name="T25" fmla="*/ 32 h 34"/>
                <a:gd name="T26" fmla="*/ 59 w 93"/>
                <a:gd name="T27" fmla="*/ 34 h 34"/>
                <a:gd name="T28" fmla="*/ 35 w 93"/>
                <a:gd name="T29" fmla="*/ 34 h 34"/>
                <a:gd name="T30" fmla="*/ 33 w 93"/>
                <a:gd name="T31" fmla="*/ 32 h 34"/>
                <a:gd name="T32" fmla="*/ 34 w 93"/>
                <a:gd name="T33" fmla="*/ 20 h 34"/>
                <a:gd name="T34" fmla="*/ 36 w 93"/>
                <a:gd name="T35" fmla="*/ 18 h 34"/>
                <a:gd name="T36" fmla="*/ 27 w 93"/>
                <a:gd name="T37" fmla="*/ 34 h 34"/>
                <a:gd name="T38" fmla="*/ 3 w 93"/>
                <a:gd name="T39" fmla="*/ 34 h 34"/>
                <a:gd name="T40" fmla="*/ 1 w 93"/>
                <a:gd name="T41" fmla="*/ 31 h 34"/>
                <a:gd name="T42" fmla="*/ 5 w 93"/>
                <a:gd name="T43" fmla="*/ 20 h 34"/>
                <a:gd name="T44" fmla="*/ 7 w 93"/>
                <a:gd name="T45" fmla="*/ 18 h 34"/>
                <a:gd name="T46" fmla="*/ 28 w 93"/>
                <a:gd name="T47" fmla="*/ 18 h 34"/>
                <a:gd name="T48" fmla="*/ 30 w 93"/>
                <a:gd name="T49" fmla="*/ 21 h 34"/>
                <a:gd name="T50" fmla="*/ 29 w 93"/>
                <a:gd name="T51" fmla="*/ 32 h 34"/>
                <a:gd name="T52" fmla="*/ 27 w 93"/>
                <a:gd name="T53" fmla="*/ 34 h 34"/>
                <a:gd name="T54" fmla="*/ 33 w 93"/>
                <a:gd name="T55" fmla="*/ 3 h 34"/>
                <a:gd name="T56" fmla="*/ 31 w 93"/>
                <a:gd name="T57" fmla="*/ 14 h 34"/>
                <a:gd name="T58" fmla="*/ 29 w 93"/>
                <a:gd name="T59" fmla="*/ 16 h 34"/>
                <a:gd name="T60" fmla="*/ 9 w 93"/>
                <a:gd name="T61" fmla="*/ 16 h 34"/>
                <a:gd name="T62" fmla="*/ 7 w 93"/>
                <a:gd name="T63" fmla="*/ 13 h 34"/>
                <a:gd name="T64" fmla="*/ 11 w 93"/>
                <a:gd name="T65" fmla="*/ 2 h 34"/>
                <a:gd name="T66" fmla="*/ 14 w 93"/>
                <a:gd name="T67" fmla="*/ 0 h 34"/>
                <a:gd name="T68" fmla="*/ 31 w 93"/>
                <a:gd name="T69" fmla="*/ 0 h 34"/>
                <a:gd name="T70" fmla="*/ 33 w 93"/>
                <a:gd name="T71" fmla="*/ 3 h 34"/>
                <a:gd name="T72" fmla="*/ 91 w 93"/>
                <a:gd name="T73" fmla="*/ 34 h 34"/>
                <a:gd name="T74" fmla="*/ 67 w 93"/>
                <a:gd name="T75" fmla="*/ 34 h 34"/>
                <a:gd name="T76" fmla="*/ 65 w 93"/>
                <a:gd name="T77" fmla="*/ 32 h 34"/>
                <a:gd name="T78" fmla="*/ 63 w 93"/>
                <a:gd name="T79" fmla="*/ 21 h 34"/>
                <a:gd name="T80" fmla="*/ 65 w 93"/>
                <a:gd name="T81" fmla="*/ 18 h 34"/>
                <a:gd name="T82" fmla="*/ 87 w 93"/>
                <a:gd name="T83" fmla="*/ 18 h 34"/>
                <a:gd name="T84" fmla="*/ 89 w 93"/>
                <a:gd name="T85" fmla="*/ 20 h 34"/>
                <a:gd name="T86" fmla="*/ 93 w 93"/>
                <a:gd name="T87" fmla="*/ 31 h 34"/>
                <a:gd name="T88" fmla="*/ 91 w 93"/>
                <a:gd name="T89" fmla="*/ 34 h 34"/>
                <a:gd name="T90" fmla="*/ 84 w 93"/>
                <a:gd name="T91" fmla="*/ 16 h 34"/>
                <a:gd name="T92" fmla="*/ 64 w 93"/>
                <a:gd name="T93" fmla="*/ 16 h 34"/>
                <a:gd name="T94" fmla="*/ 62 w 93"/>
                <a:gd name="T95" fmla="*/ 14 h 34"/>
                <a:gd name="T96" fmla="*/ 61 w 93"/>
                <a:gd name="T97" fmla="*/ 3 h 34"/>
                <a:gd name="T98" fmla="*/ 63 w 93"/>
                <a:gd name="T99" fmla="*/ 0 h 34"/>
                <a:gd name="T100" fmla="*/ 79 w 93"/>
                <a:gd name="T101" fmla="*/ 0 h 34"/>
                <a:gd name="T102" fmla="*/ 83 w 93"/>
                <a:gd name="T103" fmla="*/ 2 h 34"/>
                <a:gd name="T104" fmla="*/ 86 w 93"/>
                <a:gd name="T105" fmla="*/ 13 h 34"/>
                <a:gd name="T106" fmla="*/ 84 w 93"/>
                <a:gd name="T107"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3" h="34">
                  <a:moveTo>
                    <a:pt x="58" y="2"/>
                  </a:moveTo>
                  <a:cubicBezTo>
                    <a:pt x="59" y="13"/>
                    <a:pt x="59" y="13"/>
                    <a:pt x="59" y="13"/>
                  </a:cubicBezTo>
                  <a:cubicBezTo>
                    <a:pt x="59" y="15"/>
                    <a:pt x="58" y="16"/>
                    <a:pt x="57" y="16"/>
                  </a:cubicBezTo>
                  <a:cubicBezTo>
                    <a:pt x="37" y="16"/>
                    <a:pt x="37" y="16"/>
                    <a:pt x="37" y="16"/>
                  </a:cubicBezTo>
                  <a:cubicBezTo>
                    <a:pt x="35" y="16"/>
                    <a:pt x="34" y="15"/>
                    <a:pt x="34" y="14"/>
                  </a:cubicBezTo>
                  <a:cubicBezTo>
                    <a:pt x="36" y="2"/>
                    <a:pt x="36" y="2"/>
                    <a:pt x="36" y="2"/>
                  </a:cubicBezTo>
                  <a:cubicBezTo>
                    <a:pt x="36" y="1"/>
                    <a:pt x="37" y="0"/>
                    <a:pt x="38" y="0"/>
                  </a:cubicBezTo>
                  <a:cubicBezTo>
                    <a:pt x="55" y="0"/>
                    <a:pt x="55" y="0"/>
                    <a:pt x="55" y="0"/>
                  </a:cubicBezTo>
                  <a:cubicBezTo>
                    <a:pt x="57" y="0"/>
                    <a:pt x="58" y="1"/>
                    <a:pt x="58" y="2"/>
                  </a:cubicBezTo>
                  <a:close/>
                  <a:moveTo>
                    <a:pt x="36" y="18"/>
                  </a:moveTo>
                  <a:cubicBezTo>
                    <a:pt x="57" y="18"/>
                    <a:pt x="57" y="18"/>
                    <a:pt x="57" y="18"/>
                  </a:cubicBezTo>
                  <a:cubicBezTo>
                    <a:pt x="59" y="18"/>
                    <a:pt x="60" y="19"/>
                    <a:pt x="60" y="20"/>
                  </a:cubicBezTo>
                  <a:cubicBezTo>
                    <a:pt x="61" y="32"/>
                    <a:pt x="61" y="32"/>
                    <a:pt x="61" y="32"/>
                  </a:cubicBezTo>
                  <a:cubicBezTo>
                    <a:pt x="61" y="33"/>
                    <a:pt x="60" y="34"/>
                    <a:pt x="59" y="34"/>
                  </a:cubicBezTo>
                  <a:cubicBezTo>
                    <a:pt x="35" y="34"/>
                    <a:pt x="35" y="34"/>
                    <a:pt x="35" y="34"/>
                  </a:cubicBezTo>
                  <a:cubicBezTo>
                    <a:pt x="33" y="34"/>
                    <a:pt x="32" y="33"/>
                    <a:pt x="33" y="32"/>
                  </a:cubicBezTo>
                  <a:cubicBezTo>
                    <a:pt x="34" y="20"/>
                    <a:pt x="34" y="20"/>
                    <a:pt x="34" y="20"/>
                  </a:cubicBezTo>
                  <a:cubicBezTo>
                    <a:pt x="34" y="19"/>
                    <a:pt x="35" y="18"/>
                    <a:pt x="36" y="18"/>
                  </a:cubicBezTo>
                  <a:close/>
                  <a:moveTo>
                    <a:pt x="27" y="34"/>
                  </a:moveTo>
                  <a:cubicBezTo>
                    <a:pt x="3" y="34"/>
                    <a:pt x="3" y="34"/>
                    <a:pt x="3" y="34"/>
                  </a:cubicBezTo>
                  <a:cubicBezTo>
                    <a:pt x="1" y="34"/>
                    <a:pt x="0" y="33"/>
                    <a:pt x="1" y="31"/>
                  </a:cubicBezTo>
                  <a:cubicBezTo>
                    <a:pt x="5" y="20"/>
                    <a:pt x="5" y="20"/>
                    <a:pt x="5" y="20"/>
                  </a:cubicBezTo>
                  <a:cubicBezTo>
                    <a:pt x="5" y="19"/>
                    <a:pt x="6" y="18"/>
                    <a:pt x="7" y="18"/>
                  </a:cubicBezTo>
                  <a:cubicBezTo>
                    <a:pt x="28" y="18"/>
                    <a:pt x="28" y="18"/>
                    <a:pt x="28" y="18"/>
                  </a:cubicBezTo>
                  <a:cubicBezTo>
                    <a:pt x="30" y="18"/>
                    <a:pt x="31" y="19"/>
                    <a:pt x="30" y="21"/>
                  </a:cubicBezTo>
                  <a:cubicBezTo>
                    <a:pt x="29" y="32"/>
                    <a:pt x="29" y="32"/>
                    <a:pt x="29" y="32"/>
                  </a:cubicBezTo>
                  <a:cubicBezTo>
                    <a:pt x="29" y="33"/>
                    <a:pt x="28" y="34"/>
                    <a:pt x="27" y="34"/>
                  </a:cubicBezTo>
                  <a:close/>
                  <a:moveTo>
                    <a:pt x="33" y="3"/>
                  </a:moveTo>
                  <a:cubicBezTo>
                    <a:pt x="31" y="14"/>
                    <a:pt x="31" y="14"/>
                    <a:pt x="31" y="14"/>
                  </a:cubicBezTo>
                  <a:cubicBezTo>
                    <a:pt x="31" y="15"/>
                    <a:pt x="30" y="16"/>
                    <a:pt x="29" y="16"/>
                  </a:cubicBezTo>
                  <a:cubicBezTo>
                    <a:pt x="9" y="16"/>
                    <a:pt x="9" y="16"/>
                    <a:pt x="9" y="16"/>
                  </a:cubicBezTo>
                  <a:cubicBezTo>
                    <a:pt x="8" y="16"/>
                    <a:pt x="6" y="15"/>
                    <a:pt x="7" y="13"/>
                  </a:cubicBezTo>
                  <a:cubicBezTo>
                    <a:pt x="11" y="2"/>
                    <a:pt x="11" y="2"/>
                    <a:pt x="11" y="2"/>
                  </a:cubicBezTo>
                  <a:cubicBezTo>
                    <a:pt x="11" y="1"/>
                    <a:pt x="13" y="0"/>
                    <a:pt x="14" y="0"/>
                  </a:cubicBezTo>
                  <a:cubicBezTo>
                    <a:pt x="31" y="0"/>
                    <a:pt x="31" y="0"/>
                    <a:pt x="31" y="0"/>
                  </a:cubicBezTo>
                  <a:cubicBezTo>
                    <a:pt x="32" y="0"/>
                    <a:pt x="33" y="1"/>
                    <a:pt x="33" y="3"/>
                  </a:cubicBezTo>
                  <a:close/>
                  <a:moveTo>
                    <a:pt x="91" y="34"/>
                  </a:moveTo>
                  <a:cubicBezTo>
                    <a:pt x="67" y="34"/>
                    <a:pt x="67" y="34"/>
                    <a:pt x="67" y="34"/>
                  </a:cubicBezTo>
                  <a:cubicBezTo>
                    <a:pt x="66" y="34"/>
                    <a:pt x="65" y="33"/>
                    <a:pt x="65" y="32"/>
                  </a:cubicBezTo>
                  <a:cubicBezTo>
                    <a:pt x="63" y="21"/>
                    <a:pt x="63" y="21"/>
                    <a:pt x="63" y="21"/>
                  </a:cubicBezTo>
                  <a:cubicBezTo>
                    <a:pt x="63" y="19"/>
                    <a:pt x="64" y="18"/>
                    <a:pt x="65" y="18"/>
                  </a:cubicBezTo>
                  <a:cubicBezTo>
                    <a:pt x="87" y="18"/>
                    <a:pt x="87" y="18"/>
                    <a:pt x="87" y="18"/>
                  </a:cubicBezTo>
                  <a:cubicBezTo>
                    <a:pt x="88" y="18"/>
                    <a:pt x="88" y="19"/>
                    <a:pt x="89" y="20"/>
                  </a:cubicBezTo>
                  <a:cubicBezTo>
                    <a:pt x="93" y="31"/>
                    <a:pt x="93" y="31"/>
                    <a:pt x="93" y="31"/>
                  </a:cubicBezTo>
                  <a:cubicBezTo>
                    <a:pt x="93" y="33"/>
                    <a:pt x="92" y="34"/>
                    <a:pt x="91" y="34"/>
                  </a:cubicBezTo>
                  <a:close/>
                  <a:moveTo>
                    <a:pt x="84" y="16"/>
                  </a:moveTo>
                  <a:cubicBezTo>
                    <a:pt x="64" y="16"/>
                    <a:pt x="64" y="16"/>
                    <a:pt x="64" y="16"/>
                  </a:cubicBezTo>
                  <a:cubicBezTo>
                    <a:pt x="63" y="16"/>
                    <a:pt x="62" y="15"/>
                    <a:pt x="62" y="14"/>
                  </a:cubicBezTo>
                  <a:cubicBezTo>
                    <a:pt x="61" y="3"/>
                    <a:pt x="61" y="3"/>
                    <a:pt x="61" y="3"/>
                  </a:cubicBezTo>
                  <a:cubicBezTo>
                    <a:pt x="60" y="1"/>
                    <a:pt x="61" y="0"/>
                    <a:pt x="63" y="0"/>
                  </a:cubicBezTo>
                  <a:cubicBezTo>
                    <a:pt x="79" y="0"/>
                    <a:pt x="79" y="0"/>
                    <a:pt x="79" y="0"/>
                  </a:cubicBezTo>
                  <a:cubicBezTo>
                    <a:pt x="81" y="0"/>
                    <a:pt x="82" y="1"/>
                    <a:pt x="83" y="2"/>
                  </a:cubicBezTo>
                  <a:cubicBezTo>
                    <a:pt x="86" y="13"/>
                    <a:pt x="86" y="13"/>
                    <a:pt x="86" y="13"/>
                  </a:cubicBezTo>
                  <a:cubicBezTo>
                    <a:pt x="87" y="15"/>
                    <a:pt x="86" y="16"/>
                    <a:pt x="84" y="1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01" name="Freeform 108">
              <a:extLst>
                <a:ext uri="{FF2B5EF4-FFF2-40B4-BE49-F238E27FC236}">
                  <a16:creationId xmlns:a16="http://schemas.microsoft.com/office/drawing/2014/main" id="{F41A8D46-5FB0-4180-8853-132C9095A603}"/>
                </a:ext>
              </a:extLst>
            </p:cNvPr>
            <p:cNvSpPr>
              <a:spLocks noEditPoints="1"/>
            </p:cNvSpPr>
            <p:nvPr/>
          </p:nvSpPr>
          <p:spPr bwMode="auto">
            <a:xfrm>
              <a:off x="9801226" y="1946275"/>
              <a:ext cx="158750" cy="163513"/>
            </a:xfrm>
            <a:custGeom>
              <a:avLst/>
              <a:gdLst>
                <a:gd name="T0" fmla="*/ 27 w 55"/>
                <a:gd name="T1" fmla="*/ 6 h 56"/>
                <a:gd name="T2" fmla="*/ 25 w 55"/>
                <a:gd name="T3" fmla="*/ 2 h 56"/>
                <a:gd name="T4" fmla="*/ 29 w 55"/>
                <a:gd name="T5" fmla="*/ 0 h 56"/>
                <a:gd name="T6" fmla="*/ 31 w 55"/>
                <a:gd name="T7" fmla="*/ 4 h 56"/>
                <a:gd name="T8" fmla="*/ 26 w 55"/>
                <a:gd name="T9" fmla="*/ 50 h 56"/>
                <a:gd name="T10" fmla="*/ 30 w 55"/>
                <a:gd name="T11" fmla="*/ 52 h 56"/>
                <a:gd name="T12" fmla="*/ 28 w 55"/>
                <a:gd name="T13" fmla="*/ 56 h 56"/>
                <a:gd name="T14" fmla="*/ 24 w 55"/>
                <a:gd name="T15" fmla="*/ 54 h 56"/>
                <a:gd name="T16" fmla="*/ 26 w 55"/>
                <a:gd name="T17" fmla="*/ 50 h 56"/>
                <a:gd name="T18" fmla="*/ 49 w 55"/>
                <a:gd name="T19" fmla="*/ 28 h 56"/>
                <a:gd name="T20" fmla="*/ 53 w 55"/>
                <a:gd name="T21" fmla="*/ 26 h 56"/>
                <a:gd name="T22" fmla="*/ 55 w 55"/>
                <a:gd name="T23" fmla="*/ 29 h 56"/>
                <a:gd name="T24" fmla="*/ 51 w 55"/>
                <a:gd name="T25" fmla="*/ 31 h 56"/>
                <a:gd name="T26" fmla="*/ 6 w 55"/>
                <a:gd name="T27" fmla="*/ 27 h 56"/>
                <a:gd name="T28" fmla="*/ 4 w 55"/>
                <a:gd name="T29" fmla="*/ 30 h 56"/>
                <a:gd name="T30" fmla="*/ 0 w 55"/>
                <a:gd name="T31" fmla="*/ 28 h 56"/>
                <a:gd name="T32" fmla="*/ 2 w 55"/>
                <a:gd name="T33" fmla="*/ 25 h 56"/>
                <a:gd name="T34" fmla="*/ 6 w 55"/>
                <a:gd name="T35" fmla="*/ 27 h 56"/>
                <a:gd name="T36" fmla="*/ 40 w 55"/>
                <a:gd name="T37" fmla="*/ 10 h 56"/>
                <a:gd name="T38" fmla="*/ 40 w 55"/>
                <a:gd name="T39" fmla="*/ 5 h 56"/>
                <a:gd name="T40" fmla="*/ 44 w 55"/>
                <a:gd name="T41" fmla="*/ 6 h 56"/>
                <a:gd name="T42" fmla="*/ 44 w 55"/>
                <a:gd name="T43" fmla="*/ 10 h 56"/>
                <a:gd name="T44" fmla="*/ 14 w 55"/>
                <a:gd name="T45" fmla="*/ 45 h 56"/>
                <a:gd name="T46" fmla="*/ 16 w 55"/>
                <a:gd name="T47" fmla="*/ 49 h 56"/>
                <a:gd name="T48" fmla="*/ 12 w 55"/>
                <a:gd name="T49" fmla="*/ 51 h 56"/>
                <a:gd name="T50" fmla="*/ 10 w 55"/>
                <a:gd name="T51" fmla="*/ 47 h 56"/>
                <a:gd name="T52" fmla="*/ 14 w 55"/>
                <a:gd name="T53" fmla="*/ 45 h 56"/>
                <a:gd name="T54" fmla="*/ 46 w 55"/>
                <a:gd name="T55" fmla="*/ 40 h 56"/>
                <a:gd name="T56" fmla="*/ 50 w 55"/>
                <a:gd name="T57" fmla="*/ 41 h 56"/>
                <a:gd name="T58" fmla="*/ 50 w 55"/>
                <a:gd name="T59" fmla="*/ 45 h 56"/>
                <a:gd name="T60" fmla="*/ 45 w 55"/>
                <a:gd name="T61" fmla="*/ 44 h 56"/>
                <a:gd name="T62" fmla="*/ 10 w 55"/>
                <a:gd name="T63" fmla="*/ 14 h 56"/>
                <a:gd name="T64" fmla="*/ 7 w 55"/>
                <a:gd name="T65" fmla="*/ 16 h 56"/>
                <a:gd name="T66" fmla="*/ 4 w 55"/>
                <a:gd name="T67" fmla="*/ 12 h 56"/>
                <a:gd name="T68" fmla="*/ 8 w 55"/>
                <a:gd name="T69" fmla="*/ 11 h 56"/>
                <a:gd name="T70" fmla="*/ 10 w 55"/>
                <a:gd name="T71" fmla="*/ 14 h 56"/>
                <a:gd name="T72" fmla="*/ 47 w 55"/>
                <a:gd name="T73" fmla="*/ 18 h 56"/>
                <a:gd name="T74" fmla="*/ 49 w 55"/>
                <a:gd name="T75" fmla="*/ 14 h 56"/>
                <a:gd name="T76" fmla="*/ 53 w 55"/>
                <a:gd name="T77" fmla="*/ 16 h 56"/>
                <a:gd name="T78" fmla="*/ 50 w 55"/>
                <a:gd name="T79" fmla="*/ 20 h 56"/>
                <a:gd name="T80" fmla="*/ 7 w 55"/>
                <a:gd name="T81" fmla="*/ 37 h 56"/>
                <a:gd name="T82" fmla="*/ 7 w 55"/>
                <a:gd name="T83" fmla="*/ 41 h 56"/>
                <a:gd name="T84" fmla="*/ 3 w 55"/>
                <a:gd name="T85" fmla="*/ 41 h 56"/>
                <a:gd name="T86" fmla="*/ 3 w 55"/>
                <a:gd name="T87" fmla="*/ 37 h 56"/>
                <a:gd name="T88" fmla="*/ 7 w 55"/>
                <a:gd name="T89" fmla="*/ 37 h 56"/>
                <a:gd name="T90" fmla="*/ 38 w 55"/>
                <a:gd name="T91" fmla="*/ 47 h 56"/>
                <a:gd name="T92" fmla="*/ 41 w 55"/>
                <a:gd name="T93" fmla="*/ 50 h 56"/>
                <a:gd name="T94" fmla="*/ 39 w 55"/>
                <a:gd name="T95" fmla="*/ 53 h 56"/>
                <a:gd name="T96" fmla="*/ 35 w 55"/>
                <a:gd name="T97" fmla="*/ 51 h 56"/>
                <a:gd name="T98" fmla="*/ 19 w 55"/>
                <a:gd name="T99" fmla="*/ 8 h 56"/>
                <a:gd name="T100" fmla="*/ 15 w 55"/>
                <a:gd name="T101" fmla="*/ 8 h 56"/>
                <a:gd name="T102" fmla="*/ 14 w 55"/>
                <a:gd name="T103" fmla="*/ 3 h 56"/>
                <a:gd name="T104" fmla="*/ 18 w 55"/>
                <a:gd name="T105" fmla="*/ 4 h 56"/>
                <a:gd name="T106" fmla="*/ 19 w 55"/>
                <a:gd name="T107"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6">
                  <a:moveTo>
                    <a:pt x="29" y="6"/>
                  </a:moveTo>
                  <a:cubicBezTo>
                    <a:pt x="27" y="6"/>
                    <a:pt x="27" y="6"/>
                    <a:pt x="27" y="6"/>
                  </a:cubicBezTo>
                  <a:cubicBezTo>
                    <a:pt x="26" y="6"/>
                    <a:pt x="25" y="5"/>
                    <a:pt x="25" y="4"/>
                  </a:cubicBezTo>
                  <a:cubicBezTo>
                    <a:pt x="25" y="2"/>
                    <a:pt x="25" y="2"/>
                    <a:pt x="25" y="2"/>
                  </a:cubicBezTo>
                  <a:cubicBezTo>
                    <a:pt x="25" y="1"/>
                    <a:pt x="26" y="0"/>
                    <a:pt x="27" y="0"/>
                  </a:cubicBezTo>
                  <a:cubicBezTo>
                    <a:pt x="29" y="0"/>
                    <a:pt x="29" y="0"/>
                    <a:pt x="29" y="0"/>
                  </a:cubicBezTo>
                  <a:cubicBezTo>
                    <a:pt x="30" y="0"/>
                    <a:pt x="31" y="1"/>
                    <a:pt x="31" y="2"/>
                  </a:cubicBezTo>
                  <a:cubicBezTo>
                    <a:pt x="31" y="4"/>
                    <a:pt x="31" y="4"/>
                    <a:pt x="31" y="4"/>
                  </a:cubicBezTo>
                  <a:cubicBezTo>
                    <a:pt x="31" y="5"/>
                    <a:pt x="30" y="6"/>
                    <a:pt x="29" y="6"/>
                  </a:cubicBezTo>
                  <a:close/>
                  <a:moveTo>
                    <a:pt x="26" y="50"/>
                  </a:moveTo>
                  <a:cubicBezTo>
                    <a:pt x="28" y="50"/>
                    <a:pt x="28" y="50"/>
                    <a:pt x="28" y="50"/>
                  </a:cubicBezTo>
                  <a:cubicBezTo>
                    <a:pt x="29" y="50"/>
                    <a:pt x="30" y="51"/>
                    <a:pt x="30" y="52"/>
                  </a:cubicBezTo>
                  <a:cubicBezTo>
                    <a:pt x="30" y="54"/>
                    <a:pt x="30" y="54"/>
                    <a:pt x="30" y="54"/>
                  </a:cubicBezTo>
                  <a:cubicBezTo>
                    <a:pt x="30" y="55"/>
                    <a:pt x="29" y="56"/>
                    <a:pt x="28" y="56"/>
                  </a:cubicBezTo>
                  <a:cubicBezTo>
                    <a:pt x="26" y="56"/>
                    <a:pt x="26" y="56"/>
                    <a:pt x="26" y="56"/>
                  </a:cubicBezTo>
                  <a:cubicBezTo>
                    <a:pt x="25" y="56"/>
                    <a:pt x="24" y="55"/>
                    <a:pt x="24" y="54"/>
                  </a:cubicBezTo>
                  <a:cubicBezTo>
                    <a:pt x="24" y="52"/>
                    <a:pt x="24" y="52"/>
                    <a:pt x="24" y="52"/>
                  </a:cubicBezTo>
                  <a:cubicBezTo>
                    <a:pt x="24" y="51"/>
                    <a:pt x="25" y="50"/>
                    <a:pt x="26" y="50"/>
                  </a:cubicBezTo>
                  <a:close/>
                  <a:moveTo>
                    <a:pt x="49" y="29"/>
                  </a:moveTo>
                  <a:cubicBezTo>
                    <a:pt x="49" y="28"/>
                    <a:pt x="49" y="28"/>
                    <a:pt x="49" y="28"/>
                  </a:cubicBezTo>
                  <a:cubicBezTo>
                    <a:pt x="49" y="27"/>
                    <a:pt x="50" y="26"/>
                    <a:pt x="51" y="26"/>
                  </a:cubicBezTo>
                  <a:cubicBezTo>
                    <a:pt x="53" y="26"/>
                    <a:pt x="53" y="26"/>
                    <a:pt x="53" y="26"/>
                  </a:cubicBezTo>
                  <a:cubicBezTo>
                    <a:pt x="54" y="26"/>
                    <a:pt x="55" y="27"/>
                    <a:pt x="55" y="28"/>
                  </a:cubicBezTo>
                  <a:cubicBezTo>
                    <a:pt x="55" y="29"/>
                    <a:pt x="55" y="29"/>
                    <a:pt x="55" y="29"/>
                  </a:cubicBezTo>
                  <a:cubicBezTo>
                    <a:pt x="55" y="30"/>
                    <a:pt x="54" y="31"/>
                    <a:pt x="53" y="31"/>
                  </a:cubicBezTo>
                  <a:cubicBezTo>
                    <a:pt x="51" y="31"/>
                    <a:pt x="51" y="31"/>
                    <a:pt x="51" y="31"/>
                  </a:cubicBezTo>
                  <a:cubicBezTo>
                    <a:pt x="50" y="31"/>
                    <a:pt x="49" y="30"/>
                    <a:pt x="49" y="29"/>
                  </a:cubicBezTo>
                  <a:close/>
                  <a:moveTo>
                    <a:pt x="6" y="27"/>
                  </a:moveTo>
                  <a:cubicBezTo>
                    <a:pt x="6" y="28"/>
                    <a:pt x="6" y="28"/>
                    <a:pt x="6" y="28"/>
                  </a:cubicBezTo>
                  <a:cubicBezTo>
                    <a:pt x="6" y="29"/>
                    <a:pt x="5" y="30"/>
                    <a:pt x="4" y="30"/>
                  </a:cubicBezTo>
                  <a:cubicBezTo>
                    <a:pt x="2" y="30"/>
                    <a:pt x="2" y="30"/>
                    <a:pt x="2" y="30"/>
                  </a:cubicBezTo>
                  <a:cubicBezTo>
                    <a:pt x="1" y="30"/>
                    <a:pt x="0" y="29"/>
                    <a:pt x="0" y="28"/>
                  </a:cubicBezTo>
                  <a:cubicBezTo>
                    <a:pt x="0" y="27"/>
                    <a:pt x="0" y="27"/>
                    <a:pt x="0" y="27"/>
                  </a:cubicBezTo>
                  <a:cubicBezTo>
                    <a:pt x="0" y="26"/>
                    <a:pt x="1" y="25"/>
                    <a:pt x="2" y="25"/>
                  </a:cubicBezTo>
                  <a:cubicBezTo>
                    <a:pt x="4" y="25"/>
                    <a:pt x="4" y="25"/>
                    <a:pt x="4" y="25"/>
                  </a:cubicBezTo>
                  <a:cubicBezTo>
                    <a:pt x="5" y="25"/>
                    <a:pt x="6" y="26"/>
                    <a:pt x="6" y="27"/>
                  </a:cubicBezTo>
                  <a:close/>
                  <a:moveTo>
                    <a:pt x="41" y="11"/>
                  </a:moveTo>
                  <a:cubicBezTo>
                    <a:pt x="40" y="10"/>
                    <a:pt x="40" y="10"/>
                    <a:pt x="40" y="10"/>
                  </a:cubicBezTo>
                  <a:cubicBezTo>
                    <a:pt x="39" y="9"/>
                    <a:pt x="38" y="8"/>
                    <a:pt x="39" y="7"/>
                  </a:cubicBezTo>
                  <a:cubicBezTo>
                    <a:pt x="40" y="5"/>
                    <a:pt x="40" y="5"/>
                    <a:pt x="40" y="5"/>
                  </a:cubicBezTo>
                  <a:cubicBezTo>
                    <a:pt x="41" y="4"/>
                    <a:pt x="42" y="4"/>
                    <a:pt x="43" y="5"/>
                  </a:cubicBezTo>
                  <a:cubicBezTo>
                    <a:pt x="44" y="6"/>
                    <a:pt x="44" y="6"/>
                    <a:pt x="44" y="6"/>
                  </a:cubicBezTo>
                  <a:cubicBezTo>
                    <a:pt x="45" y="6"/>
                    <a:pt x="45" y="8"/>
                    <a:pt x="45" y="9"/>
                  </a:cubicBezTo>
                  <a:cubicBezTo>
                    <a:pt x="44" y="10"/>
                    <a:pt x="44" y="10"/>
                    <a:pt x="44" y="10"/>
                  </a:cubicBezTo>
                  <a:cubicBezTo>
                    <a:pt x="43" y="11"/>
                    <a:pt x="42" y="11"/>
                    <a:pt x="41" y="11"/>
                  </a:cubicBezTo>
                  <a:close/>
                  <a:moveTo>
                    <a:pt x="14" y="45"/>
                  </a:moveTo>
                  <a:cubicBezTo>
                    <a:pt x="15" y="46"/>
                    <a:pt x="15" y="46"/>
                    <a:pt x="15" y="46"/>
                  </a:cubicBezTo>
                  <a:cubicBezTo>
                    <a:pt x="16" y="47"/>
                    <a:pt x="16" y="48"/>
                    <a:pt x="16" y="49"/>
                  </a:cubicBezTo>
                  <a:cubicBezTo>
                    <a:pt x="15" y="50"/>
                    <a:pt x="15" y="50"/>
                    <a:pt x="15" y="50"/>
                  </a:cubicBezTo>
                  <a:cubicBezTo>
                    <a:pt x="14" y="51"/>
                    <a:pt x="13" y="52"/>
                    <a:pt x="12" y="51"/>
                  </a:cubicBezTo>
                  <a:cubicBezTo>
                    <a:pt x="11" y="50"/>
                    <a:pt x="11" y="50"/>
                    <a:pt x="11" y="50"/>
                  </a:cubicBezTo>
                  <a:cubicBezTo>
                    <a:pt x="10" y="49"/>
                    <a:pt x="9" y="48"/>
                    <a:pt x="10" y="47"/>
                  </a:cubicBezTo>
                  <a:cubicBezTo>
                    <a:pt x="11" y="46"/>
                    <a:pt x="11" y="46"/>
                    <a:pt x="11" y="46"/>
                  </a:cubicBezTo>
                  <a:cubicBezTo>
                    <a:pt x="12" y="45"/>
                    <a:pt x="13" y="45"/>
                    <a:pt x="14" y="45"/>
                  </a:cubicBezTo>
                  <a:close/>
                  <a:moveTo>
                    <a:pt x="45" y="41"/>
                  </a:moveTo>
                  <a:cubicBezTo>
                    <a:pt x="46" y="40"/>
                    <a:pt x="46" y="40"/>
                    <a:pt x="46" y="40"/>
                  </a:cubicBezTo>
                  <a:cubicBezTo>
                    <a:pt x="46" y="39"/>
                    <a:pt x="47" y="39"/>
                    <a:pt x="48" y="40"/>
                  </a:cubicBezTo>
                  <a:cubicBezTo>
                    <a:pt x="50" y="41"/>
                    <a:pt x="50" y="41"/>
                    <a:pt x="50" y="41"/>
                  </a:cubicBezTo>
                  <a:cubicBezTo>
                    <a:pt x="51" y="41"/>
                    <a:pt x="51" y="43"/>
                    <a:pt x="50" y="43"/>
                  </a:cubicBezTo>
                  <a:cubicBezTo>
                    <a:pt x="50" y="45"/>
                    <a:pt x="50" y="45"/>
                    <a:pt x="50" y="45"/>
                  </a:cubicBezTo>
                  <a:cubicBezTo>
                    <a:pt x="49" y="46"/>
                    <a:pt x="48" y="46"/>
                    <a:pt x="47" y="45"/>
                  </a:cubicBezTo>
                  <a:cubicBezTo>
                    <a:pt x="45" y="44"/>
                    <a:pt x="45" y="44"/>
                    <a:pt x="45" y="44"/>
                  </a:cubicBezTo>
                  <a:cubicBezTo>
                    <a:pt x="44" y="43"/>
                    <a:pt x="44" y="42"/>
                    <a:pt x="45" y="41"/>
                  </a:cubicBezTo>
                  <a:close/>
                  <a:moveTo>
                    <a:pt x="10" y="14"/>
                  </a:moveTo>
                  <a:cubicBezTo>
                    <a:pt x="9" y="16"/>
                    <a:pt x="9" y="16"/>
                    <a:pt x="9" y="16"/>
                  </a:cubicBezTo>
                  <a:cubicBezTo>
                    <a:pt x="9" y="17"/>
                    <a:pt x="7" y="17"/>
                    <a:pt x="7" y="16"/>
                  </a:cubicBezTo>
                  <a:cubicBezTo>
                    <a:pt x="5" y="15"/>
                    <a:pt x="5" y="15"/>
                    <a:pt x="5" y="15"/>
                  </a:cubicBezTo>
                  <a:cubicBezTo>
                    <a:pt x="4" y="15"/>
                    <a:pt x="4" y="13"/>
                    <a:pt x="4" y="12"/>
                  </a:cubicBezTo>
                  <a:cubicBezTo>
                    <a:pt x="5" y="11"/>
                    <a:pt x="5" y="11"/>
                    <a:pt x="5" y="11"/>
                  </a:cubicBezTo>
                  <a:cubicBezTo>
                    <a:pt x="6" y="10"/>
                    <a:pt x="7" y="10"/>
                    <a:pt x="8" y="11"/>
                  </a:cubicBezTo>
                  <a:cubicBezTo>
                    <a:pt x="10" y="12"/>
                    <a:pt x="10" y="12"/>
                    <a:pt x="10" y="12"/>
                  </a:cubicBezTo>
                  <a:cubicBezTo>
                    <a:pt x="11" y="12"/>
                    <a:pt x="11" y="14"/>
                    <a:pt x="10" y="14"/>
                  </a:cubicBezTo>
                  <a:close/>
                  <a:moveTo>
                    <a:pt x="47" y="19"/>
                  </a:moveTo>
                  <a:cubicBezTo>
                    <a:pt x="47" y="18"/>
                    <a:pt x="47" y="18"/>
                    <a:pt x="47" y="18"/>
                  </a:cubicBezTo>
                  <a:cubicBezTo>
                    <a:pt x="46" y="17"/>
                    <a:pt x="47" y="15"/>
                    <a:pt x="48" y="15"/>
                  </a:cubicBezTo>
                  <a:cubicBezTo>
                    <a:pt x="49" y="14"/>
                    <a:pt x="49" y="14"/>
                    <a:pt x="49" y="14"/>
                  </a:cubicBezTo>
                  <a:cubicBezTo>
                    <a:pt x="50" y="14"/>
                    <a:pt x="51" y="14"/>
                    <a:pt x="52" y="15"/>
                  </a:cubicBezTo>
                  <a:cubicBezTo>
                    <a:pt x="53" y="16"/>
                    <a:pt x="53" y="16"/>
                    <a:pt x="53" y="16"/>
                  </a:cubicBezTo>
                  <a:cubicBezTo>
                    <a:pt x="53" y="17"/>
                    <a:pt x="53" y="18"/>
                    <a:pt x="52" y="19"/>
                  </a:cubicBezTo>
                  <a:cubicBezTo>
                    <a:pt x="50" y="20"/>
                    <a:pt x="50" y="20"/>
                    <a:pt x="50" y="20"/>
                  </a:cubicBezTo>
                  <a:cubicBezTo>
                    <a:pt x="49" y="20"/>
                    <a:pt x="48" y="20"/>
                    <a:pt x="47" y="19"/>
                  </a:cubicBezTo>
                  <a:close/>
                  <a:moveTo>
                    <a:pt x="7" y="37"/>
                  </a:moveTo>
                  <a:cubicBezTo>
                    <a:pt x="8" y="38"/>
                    <a:pt x="8" y="38"/>
                    <a:pt x="8" y="38"/>
                  </a:cubicBezTo>
                  <a:cubicBezTo>
                    <a:pt x="9" y="39"/>
                    <a:pt x="8" y="40"/>
                    <a:pt x="7" y="41"/>
                  </a:cubicBezTo>
                  <a:cubicBezTo>
                    <a:pt x="6" y="42"/>
                    <a:pt x="6" y="42"/>
                    <a:pt x="6" y="42"/>
                  </a:cubicBezTo>
                  <a:cubicBezTo>
                    <a:pt x="5" y="42"/>
                    <a:pt x="3" y="42"/>
                    <a:pt x="3" y="41"/>
                  </a:cubicBezTo>
                  <a:cubicBezTo>
                    <a:pt x="2" y="39"/>
                    <a:pt x="2" y="39"/>
                    <a:pt x="2" y="39"/>
                  </a:cubicBezTo>
                  <a:cubicBezTo>
                    <a:pt x="2" y="39"/>
                    <a:pt x="2" y="37"/>
                    <a:pt x="3" y="37"/>
                  </a:cubicBezTo>
                  <a:cubicBezTo>
                    <a:pt x="5" y="36"/>
                    <a:pt x="5" y="36"/>
                    <a:pt x="5" y="36"/>
                  </a:cubicBezTo>
                  <a:cubicBezTo>
                    <a:pt x="6" y="35"/>
                    <a:pt x="7" y="36"/>
                    <a:pt x="7" y="37"/>
                  </a:cubicBezTo>
                  <a:close/>
                  <a:moveTo>
                    <a:pt x="36" y="48"/>
                  </a:moveTo>
                  <a:cubicBezTo>
                    <a:pt x="38" y="47"/>
                    <a:pt x="38" y="47"/>
                    <a:pt x="38" y="47"/>
                  </a:cubicBezTo>
                  <a:cubicBezTo>
                    <a:pt x="39" y="47"/>
                    <a:pt x="40" y="47"/>
                    <a:pt x="40" y="48"/>
                  </a:cubicBezTo>
                  <a:cubicBezTo>
                    <a:pt x="41" y="50"/>
                    <a:pt x="41" y="50"/>
                    <a:pt x="41" y="50"/>
                  </a:cubicBezTo>
                  <a:cubicBezTo>
                    <a:pt x="42" y="51"/>
                    <a:pt x="41" y="52"/>
                    <a:pt x="40" y="52"/>
                  </a:cubicBezTo>
                  <a:cubicBezTo>
                    <a:pt x="39" y="53"/>
                    <a:pt x="39" y="53"/>
                    <a:pt x="39" y="53"/>
                  </a:cubicBezTo>
                  <a:cubicBezTo>
                    <a:pt x="38" y="54"/>
                    <a:pt x="37" y="53"/>
                    <a:pt x="36" y="52"/>
                  </a:cubicBezTo>
                  <a:cubicBezTo>
                    <a:pt x="35" y="51"/>
                    <a:pt x="35" y="51"/>
                    <a:pt x="35" y="51"/>
                  </a:cubicBezTo>
                  <a:cubicBezTo>
                    <a:pt x="35" y="50"/>
                    <a:pt x="35" y="48"/>
                    <a:pt x="36" y="48"/>
                  </a:cubicBezTo>
                  <a:close/>
                  <a:moveTo>
                    <a:pt x="19" y="8"/>
                  </a:moveTo>
                  <a:cubicBezTo>
                    <a:pt x="17" y="9"/>
                    <a:pt x="17" y="9"/>
                    <a:pt x="17" y="9"/>
                  </a:cubicBezTo>
                  <a:cubicBezTo>
                    <a:pt x="16" y="9"/>
                    <a:pt x="15" y="9"/>
                    <a:pt x="15" y="8"/>
                  </a:cubicBezTo>
                  <a:cubicBezTo>
                    <a:pt x="14" y="6"/>
                    <a:pt x="14" y="6"/>
                    <a:pt x="14" y="6"/>
                  </a:cubicBezTo>
                  <a:cubicBezTo>
                    <a:pt x="13" y="5"/>
                    <a:pt x="13" y="4"/>
                    <a:pt x="14" y="3"/>
                  </a:cubicBezTo>
                  <a:cubicBezTo>
                    <a:pt x="16" y="3"/>
                    <a:pt x="16" y="3"/>
                    <a:pt x="16" y="3"/>
                  </a:cubicBezTo>
                  <a:cubicBezTo>
                    <a:pt x="17" y="2"/>
                    <a:pt x="18" y="3"/>
                    <a:pt x="18" y="4"/>
                  </a:cubicBezTo>
                  <a:cubicBezTo>
                    <a:pt x="19" y="5"/>
                    <a:pt x="19" y="5"/>
                    <a:pt x="19" y="5"/>
                  </a:cubicBezTo>
                  <a:cubicBezTo>
                    <a:pt x="20" y="6"/>
                    <a:pt x="20" y="7"/>
                    <a:pt x="19" y="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02" name="Freeform 109">
              <a:extLst>
                <a:ext uri="{FF2B5EF4-FFF2-40B4-BE49-F238E27FC236}">
                  <a16:creationId xmlns:a16="http://schemas.microsoft.com/office/drawing/2014/main" id="{25669B17-4FB2-4084-85B4-28F00143476E}"/>
                </a:ext>
              </a:extLst>
            </p:cNvPr>
            <p:cNvSpPr>
              <a:spLocks/>
            </p:cNvSpPr>
            <p:nvPr/>
          </p:nvSpPr>
          <p:spPr bwMode="auto">
            <a:xfrm>
              <a:off x="9826626" y="1974850"/>
              <a:ext cx="111125" cy="104775"/>
            </a:xfrm>
            <a:custGeom>
              <a:avLst/>
              <a:gdLst>
                <a:gd name="T0" fmla="*/ 38 w 38"/>
                <a:gd name="T1" fmla="*/ 18 h 36"/>
                <a:gd name="T2" fmla="*/ 19 w 38"/>
                <a:gd name="T3" fmla="*/ 36 h 36"/>
                <a:gd name="T4" fmla="*/ 0 w 38"/>
                <a:gd name="T5" fmla="*/ 18 h 36"/>
                <a:gd name="T6" fmla="*/ 18 w 38"/>
                <a:gd name="T7" fmla="*/ 0 h 36"/>
                <a:gd name="T8" fmla="*/ 38 w 38"/>
                <a:gd name="T9" fmla="*/ 18 h 36"/>
              </a:gdLst>
              <a:ahLst/>
              <a:cxnLst>
                <a:cxn ang="0">
                  <a:pos x="T0" y="T1"/>
                </a:cxn>
                <a:cxn ang="0">
                  <a:pos x="T2" y="T3"/>
                </a:cxn>
                <a:cxn ang="0">
                  <a:pos x="T4" y="T5"/>
                </a:cxn>
                <a:cxn ang="0">
                  <a:pos x="T6" y="T7"/>
                </a:cxn>
                <a:cxn ang="0">
                  <a:pos x="T8" y="T9"/>
                </a:cxn>
              </a:cxnLst>
              <a:rect l="0" t="0" r="r" b="b"/>
              <a:pathLst>
                <a:path w="38" h="36">
                  <a:moveTo>
                    <a:pt x="38" y="18"/>
                  </a:moveTo>
                  <a:cubicBezTo>
                    <a:pt x="38" y="29"/>
                    <a:pt x="29" y="36"/>
                    <a:pt x="19" y="36"/>
                  </a:cubicBezTo>
                  <a:cubicBezTo>
                    <a:pt x="8" y="36"/>
                    <a:pt x="0" y="29"/>
                    <a:pt x="0" y="18"/>
                  </a:cubicBezTo>
                  <a:cubicBezTo>
                    <a:pt x="0" y="8"/>
                    <a:pt x="7" y="0"/>
                    <a:pt x="18" y="0"/>
                  </a:cubicBezTo>
                  <a:cubicBezTo>
                    <a:pt x="28" y="0"/>
                    <a:pt x="38" y="8"/>
                    <a:pt x="38" y="1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706" name="Group 705">
            <a:extLst>
              <a:ext uri="{FF2B5EF4-FFF2-40B4-BE49-F238E27FC236}">
                <a16:creationId xmlns:a16="http://schemas.microsoft.com/office/drawing/2014/main" id="{27F3A764-B143-4D01-9612-ADDB0D8CB2DF}"/>
              </a:ext>
              <a:ext uri="{C183D7F6-B498-43B3-948B-1728B52AA6E4}">
                <adec:decorative xmlns:adec="http://schemas.microsoft.com/office/drawing/2017/decorative" val="1"/>
              </a:ext>
            </a:extLst>
          </p:cNvPr>
          <p:cNvGrpSpPr/>
          <p:nvPr/>
        </p:nvGrpSpPr>
        <p:grpSpPr>
          <a:xfrm>
            <a:off x="320733" y="2634235"/>
            <a:ext cx="676275" cy="635000"/>
            <a:chOff x="6462713" y="1817688"/>
            <a:chExt cx="676275" cy="635000"/>
          </a:xfrm>
        </p:grpSpPr>
        <p:sp>
          <p:nvSpPr>
            <p:cNvPr id="707" name="Freeform 112">
              <a:extLst>
                <a:ext uri="{FF2B5EF4-FFF2-40B4-BE49-F238E27FC236}">
                  <a16:creationId xmlns:a16="http://schemas.microsoft.com/office/drawing/2014/main" id="{6217BC1E-4066-473E-9535-2BFD2732BF87}"/>
                </a:ext>
              </a:extLst>
            </p:cNvPr>
            <p:cNvSpPr>
              <a:spLocks/>
            </p:cNvSpPr>
            <p:nvPr/>
          </p:nvSpPr>
          <p:spPr bwMode="auto">
            <a:xfrm>
              <a:off x="6462713" y="1817688"/>
              <a:ext cx="676275" cy="635000"/>
            </a:xfrm>
            <a:custGeom>
              <a:avLst/>
              <a:gdLst>
                <a:gd name="T0" fmla="*/ 33 w 233"/>
                <a:gd name="T1" fmla="*/ 171 h 218"/>
                <a:gd name="T2" fmla="*/ 56 w 233"/>
                <a:gd name="T3" fmla="*/ 33 h 218"/>
                <a:gd name="T4" fmla="*/ 200 w 233"/>
                <a:gd name="T5" fmla="*/ 53 h 218"/>
                <a:gd name="T6" fmla="*/ 174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9"/>
                    <a:pt x="200" y="53"/>
                  </a:cubicBezTo>
                  <a:cubicBezTo>
                    <a:pt x="233" y="97"/>
                    <a:pt x="219" y="153"/>
                    <a:pt x="174" y="186"/>
                  </a:cubicBezTo>
                  <a:cubicBezTo>
                    <a:pt x="128" y="218"/>
                    <a:pt x="67" y="215"/>
                    <a:pt x="33"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08" name="Freeform 113">
              <a:extLst>
                <a:ext uri="{FF2B5EF4-FFF2-40B4-BE49-F238E27FC236}">
                  <a16:creationId xmlns:a16="http://schemas.microsoft.com/office/drawing/2014/main" id="{062A868A-191B-488B-BB02-6415F2DBB3E2}"/>
                </a:ext>
              </a:extLst>
            </p:cNvPr>
            <p:cNvSpPr>
              <a:spLocks/>
            </p:cNvSpPr>
            <p:nvPr/>
          </p:nvSpPr>
          <p:spPr bwMode="auto">
            <a:xfrm>
              <a:off x="6637338" y="2179638"/>
              <a:ext cx="55563" cy="106363"/>
            </a:xfrm>
            <a:custGeom>
              <a:avLst/>
              <a:gdLst>
                <a:gd name="T0" fmla="*/ 19 w 19"/>
                <a:gd name="T1" fmla="*/ 32 h 37"/>
                <a:gd name="T2" fmla="*/ 14 w 19"/>
                <a:gd name="T3" fmla="*/ 37 h 37"/>
                <a:gd name="T4" fmla="*/ 5 w 19"/>
                <a:gd name="T5" fmla="*/ 37 h 37"/>
                <a:gd name="T6" fmla="*/ 0 w 19"/>
                <a:gd name="T7" fmla="*/ 32 h 37"/>
                <a:gd name="T8" fmla="*/ 0 w 19"/>
                <a:gd name="T9" fmla="*/ 5 h 37"/>
                <a:gd name="T10" fmla="*/ 5 w 19"/>
                <a:gd name="T11" fmla="*/ 0 h 37"/>
                <a:gd name="T12" fmla="*/ 14 w 19"/>
                <a:gd name="T13" fmla="*/ 0 h 37"/>
                <a:gd name="T14" fmla="*/ 19 w 19"/>
                <a:gd name="T15" fmla="*/ 5 h 37"/>
                <a:gd name="T16" fmla="*/ 19 w 19"/>
                <a:gd name="T17"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7">
                  <a:moveTo>
                    <a:pt x="19" y="32"/>
                  </a:moveTo>
                  <a:cubicBezTo>
                    <a:pt x="19" y="35"/>
                    <a:pt x="17" y="37"/>
                    <a:pt x="14" y="37"/>
                  </a:cubicBezTo>
                  <a:cubicBezTo>
                    <a:pt x="5" y="37"/>
                    <a:pt x="5" y="37"/>
                    <a:pt x="5" y="37"/>
                  </a:cubicBezTo>
                  <a:cubicBezTo>
                    <a:pt x="2" y="37"/>
                    <a:pt x="0" y="35"/>
                    <a:pt x="0" y="32"/>
                  </a:cubicBezTo>
                  <a:cubicBezTo>
                    <a:pt x="0" y="5"/>
                    <a:pt x="0" y="5"/>
                    <a:pt x="0" y="5"/>
                  </a:cubicBezTo>
                  <a:cubicBezTo>
                    <a:pt x="0" y="2"/>
                    <a:pt x="2" y="0"/>
                    <a:pt x="5" y="0"/>
                  </a:cubicBezTo>
                  <a:cubicBezTo>
                    <a:pt x="14" y="0"/>
                    <a:pt x="14" y="0"/>
                    <a:pt x="14" y="0"/>
                  </a:cubicBezTo>
                  <a:cubicBezTo>
                    <a:pt x="17" y="0"/>
                    <a:pt x="19" y="2"/>
                    <a:pt x="19" y="5"/>
                  </a:cubicBezTo>
                  <a:lnTo>
                    <a:pt x="19"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2" name="Freeform 114">
              <a:extLst>
                <a:ext uri="{FF2B5EF4-FFF2-40B4-BE49-F238E27FC236}">
                  <a16:creationId xmlns:a16="http://schemas.microsoft.com/office/drawing/2014/main" id="{2B71A604-6E9F-40A1-8263-717955389C2F}"/>
                </a:ext>
              </a:extLst>
            </p:cNvPr>
            <p:cNvSpPr>
              <a:spLocks/>
            </p:cNvSpPr>
            <p:nvPr/>
          </p:nvSpPr>
          <p:spPr bwMode="auto">
            <a:xfrm>
              <a:off x="6907213" y="2179638"/>
              <a:ext cx="55563" cy="106363"/>
            </a:xfrm>
            <a:custGeom>
              <a:avLst/>
              <a:gdLst>
                <a:gd name="T0" fmla="*/ 19 w 19"/>
                <a:gd name="T1" fmla="*/ 32 h 37"/>
                <a:gd name="T2" fmla="*/ 14 w 19"/>
                <a:gd name="T3" fmla="*/ 37 h 37"/>
                <a:gd name="T4" fmla="*/ 5 w 19"/>
                <a:gd name="T5" fmla="*/ 37 h 37"/>
                <a:gd name="T6" fmla="*/ 0 w 19"/>
                <a:gd name="T7" fmla="*/ 32 h 37"/>
                <a:gd name="T8" fmla="*/ 0 w 19"/>
                <a:gd name="T9" fmla="*/ 5 h 37"/>
                <a:gd name="T10" fmla="*/ 5 w 19"/>
                <a:gd name="T11" fmla="*/ 0 h 37"/>
                <a:gd name="T12" fmla="*/ 14 w 19"/>
                <a:gd name="T13" fmla="*/ 0 h 37"/>
                <a:gd name="T14" fmla="*/ 19 w 19"/>
                <a:gd name="T15" fmla="*/ 5 h 37"/>
                <a:gd name="T16" fmla="*/ 19 w 19"/>
                <a:gd name="T17"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7">
                  <a:moveTo>
                    <a:pt x="19" y="32"/>
                  </a:moveTo>
                  <a:cubicBezTo>
                    <a:pt x="19" y="35"/>
                    <a:pt x="16" y="37"/>
                    <a:pt x="14" y="37"/>
                  </a:cubicBezTo>
                  <a:cubicBezTo>
                    <a:pt x="5" y="37"/>
                    <a:pt x="5" y="37"/>
                    <a:pt x="5" y="37"/>
                  </a:cubicBezTo>
                  <a:cubicBezTo>
                    <a:pt x="2" y="37"/>
                    <a:pt x="0" y="35"/>
                    <a:pt x="0" y="32"/>
                  </a:cubicBezTo>
                  <a:cubicBezTo>
                    <a:pt x="0" y="5"/>
                    <a:pt x="0" y="5"/>
                    <a:pt x="0" y="5"/>
                  </a:cubicBezTo>
                  <a:cubicBezTo>
                    <a:pt x="0" y="2"/>
                    <a:pt x="2" y="0"/>
                    <a:pt x="5" y="0"/>
                  </a:cubicBezTo>
                  <a:cubicBezTo>
                    <a:pt x="14" y="0"/>
                    <a:pt x="14" y="0"/>
                    <a:pt x="14" y="0"/>
                  </a:cubicBezTo>
                  <a:cubicBezTo>
                    <a:pt x="16" y="0"/>
                    <a:pt x="19" y="2"/>
                    <a:pt x="19" y="5"/>
                  </a:cubicBezTo>
                  <a:lnTo>
                    <a:pt x="19"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3" name="Freeform 115">
              <a:extLst>
                <a:ext uri="{FF2B5EF4-FFF2-40B4-BE49-F238E27FC236}">
                  <a16:creationId xmlns:a16="http://schemas.microsoft.com/office/drawing/2014/main" id="{D8B67FA2-8506-4A6B-8391-D0A588F01956}"/>
                </a:ext>
              </a:extLst>
            </p:cNvPr>
            <p:cNvSpPr>
              <a:spLocks/>
            </p:cNvSpPr>
            <p:nvPr/>
          </p:nvSpPr>
          <p:spPr bwMode="auto">
            <a:xfrm>
              <a:off x="6623051" y="1963738"/>
              <a:ext cx="350838" cy="233363"/>
            </a:xfrm>
            <a:custGeom>
              <a:avLst/>
              <a:gdLst>
                <a:gd name="T0" fmla="*/ 107 w 121"/>
                <a:gd name="T1" fmla="*/ 80 h 80"/>
                <a:gd name="T2" fmla="*/ 15 w 121"/>
                <a:gd name="T3" fmla="*/ 80 h 80"/>
                <a:gd name="T4" fmla="*/ 0 w 121"/>
                <a:gd name="T5" fmla="*/ 65 h 80"/>
                <a:gd name="T6" fmla="*/ 0 w 121"/>
                <a:gd name="T7" fmla="*/ 64 h 80"/>
                <a:gd name="T8" fmla="*/ 10 w 121"/>
                <a:gd name="T9" fmla="*/ 27 h 80"/>
                <a:gd name="T10" fmla="*/ 61 w 121"/>
                <a:gd name="T11" fmla="*/ 0 h 80"/>
                <a:gd name="T12" fmla="*/ 111 w 121"/>
                <a:gd name="T13" fmla="*/ 28 h 80"/>
                <a:gd name="T14" fmla="*/ 121 w 121"/>
                <a:gd name="T15" fmla="*/ 64 h 80"/>
                <a:gd name="T16" fmla="*/ 121 w 121"/>
                <a:gd name="T17" fmla="*/ 65 h 80"/>
                <a:gd name="T18" fmla="*/ 107 w 121"/>
                <a:gd name="T1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80">
                  <a:moveTo>
                    <a:pt x="107" y="80"/>
                  </a:moveTo>
                  <a:cubicBezTo>
                    <a:pt x="15" y="80"/>
                    <a:pt x="15" y="80"/>
                    <a:pt x="15" y="80"/>
                  </a:cubicBezTo>
                  <a:cubicBezTo>
                    <a:pt x="7" y="80"/>
                    <a:pt x="0" y="73"/>
                    <a:pt x="0" y="65"/>
                  </a:cubicBezTo>
                  <a:cubicBezTo>
                    <a:pt x="0" y="65"/>
                    <a:pt x="0" y="64"/>
                    <a:pt x="0" y="64"/>
                  </a:cubicBezTo>
                  <a:cubicBezTo>
                    <a:pt x="0" y="53"/>
                    <a:pt x="7" y="38"/>
                    <a:pt x="10" y="27"/>
                  </a:cubicBezTo>
                  <a:cubicBezTo>
                    <a:pt x="16" y="6"/>
                    <a:pt x="20" y="0"/>
                    <a:pt x="61" y="0"/>
                  </a:cubicBezTo>
                  <a:cubicBezTo>
                    <a:pt x="100" y="0"/>
                    <a:pt x="101" y="6"/>
                    <a:pt x="111" y="28"/>
                  </a:cubicBezTo>
                  <a:cubicBezTo>
                    <a:pt x="116" y="38"/>
                    <a:pt x="121" y="53"/>
                    <a:pt x="121" y="64"/>
                  </a:cubicBezTo>
                  <a:cubicBezTo>
                    <a:pt x="121" y="64"/>
                    <a:pt x="121" y="65"/>
                    <a:pt x="121" y="65"/>
                  </a:cubicBezTo>
                  <a:cubicBezTo>
                    <a:pt x="121" y="73"/>
                    <a:pt x="115" y="80"/>
                    <a:pt x="107" y="8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4" name="Freeform 116">
              <a:extLst>
                <a:ext uri="{FF2B5EF4-FFF2-40B4-BE49-F238E27FC236}">
                  <a16:creationId xmlns:a16="http://schemas.microsoft.com/office/drawing/2014/main" id="{A338BE69-9D4B-418C-A478-64A3D553805F}"/>
                </a:ext>
              </a:extLst>
            </p:cNvPr>
            <p:cNvSpPr>
              <a:spLocks/>
            </p:cNvSpPr>
            <p:nvPr/>
          </p:nvSpPr>
          <p:spPr bwMode="auto">
            <a:xfrm>
              <a:off x="6692901" y="2005013"/>
              <a:ext cx="217488" cy="80963"/>
            </a:xfrm>
            <a:custGeom>
              <a:avLst/>
              <a:gdLst>
                <a:gd name="T0" fmla="*/ 0 w 75"/>
                <a:gd name="T1" fmla="*/ 26 h 28"/>
                <a:gd name="T2" fmla="*/ 35 w 75"/>
                <a:gd name="T3" fmla="*/ 0 h 28"/>
                <a:gd name="T4" fmla="*/ 75 w 75"/>
                <a:gd name="T5" fmla="*/ 28 h 28"/>
                <a:gd name="T6" fmla="*/ 0 w 75"/>
                <a:gd name="T7" fmla="*/ 26 h 28"/>
              </a:gdLst>
              <a:ahLst/>
              <a:cxnLst>
                <a:cxn ang="0">
                  <a:pos x="T0" y="T1"/>
                </a:cxn>
                <a:cxn ang="0">
                  <a:pos x="T2" y="T3"/>
                </a:cxn>
                <a:cxn ang="0">
                  <a:pos x="T4" y="T5"/>
                </a:cxn>
                <a:cxn ang="0">
                  <a:pos x="T6" y="T7"/>
                </a:cxn>
              </a:cxnLst>
              <a:rect l="0" t="0" r="r" b="b"/>
              <a:pathLst>
                <a:path w="75" h="28">
                  <a:moveTo>
                    <a:pt x="0" y="26"/>
                  </a:moveTo>
                  <a:cubicBezTo>
                    <a:pt x="1" y="10"/>
                    <a:pt x="3" y="0"/>
                    <a:pt x="35" y="0"/>
                  </a:cubicBezTo>
                  <a:cubicBezTo>
                    <a:pt x="65" y="0"/>
                    <a:pt x="69" y="4"/>
                    <a:pt x="75" y="28"/>
                  </a:cubicBezTo>
                  <a:lnTo>
                    <a:pt x="0" y="26"/>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5" name="Freeform 117">
              <a:extLst>
                <a:ext uri="{FF2B5EF4-FFF2-40B4-BE49-F238E27FC236}">
                  <a16:creationId xmlns:a16="http://schemas.microsoft.com/office/drawing/2014/main" id="{CD2BE4D7-DB46-415A-9229-B405940F84FD}"/>
                </a:ext>
              </a:extLst>
            </p:cNvPr>
            <p:cNvSpPr>
              <a:spLocks/>
            </p:cNvSpPr>
            <p:nvPr/>
          </p:nvSpPr>
          <p:spPr bwMode="auto">
            <a:xfrm>
              <a:off x="6596063" y="2082800"/>
              <a:ext cx="406400" cy="157163"/>
            </a:xfrm>
            <a:custGeom>
              <a:avLst/>
              <a:gdLst>
                <a:gd name="T0" fmla="*/ 26 w 140"/>
                <a:gd name="T1" fmla="*/ 53 h 54"/>
                <a:gd name="T2" fmla="*/ 115 w 140"/>
                <a:gd name="T3" fmla="*/ 53 h 54"/>
                <a:gd name="T4" fmla="*/ 140 w 140"/>
                <a:gd name="T5" fmla="*/ 26 h 54"/>
                <a:gd name="T6" fmla="*/ 140 w 140"/>
                <a:gd name="T7" fmla="*/ 3 h 54"/>
                <a:gd name="T8" fmla="*/ 26 w 140"/>
                <a:gd name="T9" fmla="*/ 2 h 54"/>
                <a:gd name="T10" fmla="*/ 0 w 140"/>
                <a:gd name="T11" fmla="*/ 29 h 54"/>
                <a:gd name="T12" fmla="*/ 0 w 140"/>
                <a:gd name="T13" fmla="*/ 32 h 54"/>
                <a:gd name="T14" fmla="*/ 26 w 140"/>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54">
                  <a:moveTo>
                    <a:pt x="26" y="53"/>
                  </a:moveTo>
                  <a:cubicBezTo>
                    <a:pt x="41" y="54"/>
                    <a:pt x="105" y="54"/>
                    <a:pt x="115" y="53"/>
                  </a:cubicBezTo>
                  <a:cubicBezTo>
                    <a:pt x="135" y="52"/>
                    <a:pt x="140" y="49"/>
                    <a:pt x="140" y="26"/>
                  </a:cubicBezTo>
                  <a:cubicBezTo>
                    <a:pt x="140" y="26"/>
                    <a:pt x="140" y="24"/>
                    <a:pt x="140" y="3"/>
                  </a:cubicBezTo>
                  <a:cubicBezTo>
                    <a:pt x="106" y="2"/>
                    <a:pt x="46" y="0"/>
                    <a:pt x="26" y="2"/>
                  </a:cubicBezTo>
                  <a:cubicBezTo>
                    <a:pt x="8" y="3"/>
                    <a:pt x="0" y="8"/>
                    <a:pt x="0" y="29"/>
                  </a:cubicBezTo>
                  <a:cubicBezTo>
                    <a:pt x="0" y="32"/>
                    <a:pt x="0" y="32"/>
                    <a:pt x="0" y="32"/>
                  </a:cubicBezTo>
                  <a:cubicBezTo>
                    <a:pt x="0" y="49"/>
                    <a:pt x="6" y="52"/>
                    <a:pt x="26" y="5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6" name="Freeform 118">
              <a:extLst>
                <a:ext uri="{FF2B5EF4-FFF2-40B4-BE49-F238E27FC236}">
                  <a16:creationId xmlns:a16="http://schemas.microsoft.com/office/drawing/2014/main" id="{B2FC5FCD-9300-4C28-90B6-EBACC892FE87}"/>
                </a:ext>
              </a:extLst>
            </p:cNvPr>
            <p:cNvSpPr>
              <a:spLocks/>
            </p:cNvSpPr>
            <p:nvPr/>
          </p:nvSpPr>
          <p:spPr bwMode="auto">
            <a:xfrm>
              <a:off x="6619876" y="2120900"/>
              <a:ext cx="80963" cy="76200"/>
            </a:xfrm>
            <a:custGeom>
              <a:avLst/>
              <a:gdLst>
                <a:gd name="T0" fmla="*/ 4 w 28"/>
                <a:gd name="T1" fmla="*/ 21 h 26"/>
                <a:gd name="T2" fmla="*/ 7 w 28"/>
                <a:gd name="T3" fmla="*/ 4 h 26"/>
                <a:gd name="T4" fmla="*/ 24 w 28"/>
                <a:gd name="T5" fmla="*/ 6 h 26"/>
                <a:gd name="T6" fmla="*/ 21 w 28"/>
                <a:gd name="T7" fmla="*/ 22 h 26"/>
                <a:gd name="T8" fmla="*/ 4 w 28"/>
                <a:gd name="T9" fmla="*/ 21 h 26"/>
              </a:gdLst>
              <a:ahLst/>
              <a:cxnLst>
                <a:cxn ang="0">
                  <a:pos x="T0" y="T1"/>
                </a:cxn>
                <a:cxn ang="0">
                  <a:pos x="T2" y="T3"/>
                </a:cxn>
                <a:cxn ang="0">
                  <a:pos x="T4" y="T5"/>
                </a:cxn>
                <a:cxn ang="0">
                  <a:pos x="T6" y="T7"/>
                </a:cxn>
                <a:cxn ang="0">
                  <a:pos x="T8" y="T9"/>
                </a:cxn>
              </a:cxnLst>
              <a:rect l="0" t="0" r="r" b="b"/>
              <a:pathLst>
                <a:path w="28" h="26">
                  <a:moveTo>
                    <a:pt x="4" y="21"/>
                  </a:moveTo>
                  <a:cubicBezTo>
                    <a:pt x="0" y="15"/>
                    <a:pt x="1" y="8"/>
                    <a:pt x="7" y="4"/>
                  </a:cubicBezTo>
                  <a:cubicBezTo>
                    <a:pt x="12" y="0"/>
                    <a:pt x="20" y="1"/>
                    <a:pt x="24" y="6"/>
                  </a:cubicBezTo>
                  <a:cubicBezTo>
                    <a:pt x="28" y="12"/>
                    <a:pt x="26" y="18"/>
                    <a:pt x="21" y="22"/>
                  </a:cubicBezTo>
                  <a:cubicBezTo>
                    <a:pt x="15" y="26"/>
                    <a:pt x="8" y="26"/>
                    <a:pt x="4" y="2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7" name="Freeform 119">
              <a:extLst>
                <a:ext uri="{FF2B5EF4-FFF2-40B4-BE49-F238E27FC236}">
                  <a16:creationId xmlns:a16="http://schemas.microsoft.com/office/drawing/2014/main" id="{77A90559-DAD2-47A3-9668-23CA0E88F368}"/>
                </a:ext>
              </a:extLst>
            </p:cNvPr>
            <p:cNvSpPr>
              <a:spLocks/>
            </p:cNvSpPr>
            <p:nvPr/>
          </p:nvSpPr>
          <p:spPr bwMode="auto">
            <a:xfrm>
              <a:off x="6896101" y="2120900"/>
              <a:ext cx="84138" cy="76200"/>
            </a:xfrm>
            <a:custGeom>
              <a:avLst/>
              <a:gdLst>
                <a:gd name="T0" fmla="*/ 4 w 29"/>
                <a:gd name="T1" fmla="*/ 21 h 26"/>
                <a:gd name="T2" fmla="*/ 7 w 29"/>
                <a:gd name="T3" fmla="*/ 4 h 26"/>
                <a:gd name="T4" fmla="*/ 25 w 29"/>
                <a:gd name="T5" fmla="*/ 6 h 26"/>
                <a:gd name="T6" fmla="*/ 21 w 29"/>
                <a:gd name="T7" fmla="*/ 22 h 26"/>
                <a:gd name="T8" fmla="*/ 4 w 29"/>
                <a:gd name="T9" fmla="*/ 21 h 26"/>
              </a:gdLst>
              <a:ahLst/>
              <a:cxnLst>
                <a:cxn ang="0">
                  <a:pos x="T0" y="T1"/>
                </a:cxn>
                <a:cxn ang="0">
                  <a:pos x="T2" y="T3"/>
                </a:cxn>
                <a:cxn ang="0">
                  <a:pos x="T4" y="T5"/>
                </a:cxn>
                <a:cxn ang="0">
                  <a:pos x="T6" y="T7"/>
                </a:cxn>
                <a:cxn ang="0">
                  <a:pos x="T8" y="T9"/>
                </a:cxn>
              </a:cxnLst>
              <a:rect l="0" t="0" r="r" b="b"/>
              <a:pathLst>
                <a:path w="29" h="26">
                  <a:moveTo>
                    <a:pt x="4" y="21"/>
                  </a:moveTo>
                  <a:cubicBezTo>
                    <a:pt x="0" y="15"/>
                    <a:pt x="2" y="8"/>
                    <a:pt x="7" y="4"/>
                  </a:cubicBezTo>
                  <a:cubicBezTo>
                    <a:pt x="13" y="0"/>
                    <a:pt x="21" y="1"/>
                    <a:pt x="25" y="6"/>
                  </a:cubicBezTo>
                  <a:cubicBezTo>
                    <a:pt x="29" y="12"/>
                    <a:pt x="27" y="18"/>
                    <a:pt x="21" y="22"/>
                  </a:cubicBezTo>
                  <a:cubicBezTo>
                    <a:pt x="16" y="26"/>
                    <a:pt x="9" y="26"/>
                    <a:pt x="4" y="2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746" name="Group 745">
            <a:extLst>
              <a:ext uri="{FF2B5EF4-FFF2-40B4-BE49-F238E27FC236}">
                <a16:creationId xmlns:a16="http://schemas.microsoft.com/office/drawing/2014/main" id="{213979B6-6830-4867-92AB-1AE9012A4010}"/>
              </a:ext>
              <a:ext uri="{C183D7F6-B498-43B3-948B-1728B52AA6E4}">
                <adec:decorative xmlns:adec="http://schemas.microsoft.com/office/drawing/2017/decorative" val="1"/>
              </a:ext>
            </a:extLst>
          </p:cNvPr>
          <p:cNvGrpSpPr/>
          <p:nvPr/>
        </p:nvGrpSpPr>
        <p:grpSpPr>
          <a:xfrm>
            <a:off x="2023476" y="2634235"/>
            <a:ext cx="679450" cy="633413"/>
            <a:chOff x="1062038" y="2698750"/>
            <a:chExt cx="679450" cy="633413"/>
          </a:xfrm>
        </p:grpSpPr>
        <p:sp>
          <p:nvSpPr>
            <p:cNvPr id="747" name="Freeform 300">
              <a:extLst>
                <a:ext uri="{FF2B5EF4-FFF2-40B4-BE49-F238E27FC236}">
                  <a16:creationId xmlns:a16="http://schemas.microsoft.com/office/drawing/2014/main" id="{04C6C5E2-9571-4058-ADA8-BA73E36B62FD}"/>
                </a:ext>
              </a:extLst>
            </p:cNvPr>
            <p:cNvSpPr>
              <a:spLocks/>
            </p:cNvSpPr>
            <p:nvPr/>
          </p:nvSpPr>
          <p:spPr bwMode="auto">
            <a:xfrm>
              <a:off x="1062038" y="2698750"/>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1" y="65"/>
                    <a:pt x="56" y="33"/>
                  </a:cubicBezTo>
                  <a:cubicBezTo>
                    <a:pt x="102" y="0"/>
                    <a:pt x="167" y="10"/>
                    <a:pt x="200" y="53"/>
                  </a:cubicBezTo>
                  <a:cubicBezTo>
                    <a:pt x="234" y="97"/>
                    <a:pt x="220" y="153"/>
                    <a:pt x="174" y="186"/>
                  </a:cubicBezTo>
                  <a:cubicBezTo>
                    <a:pt x="128" y="218"/>
                    <a:pt x="68"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8" name="Freeform 301">
              <a:extLst>
                <a:ext uri="{FF2B5EF4-FFF2-40B4-BE49-F238E27FC236}">
                  <a16:creationId xmlns:a16="http://schemas.microsoft.com/office/drawing/2014/main" id="{B1B253B3-A45D-4F92-B37B-D7E42D1D8775}"/>
                </a:ext>
              </a:extLst>
            </p:cNvPr>
            <p:cNvSpPr>
              <a:spLocks/>
            </p:cNvSpPr>
            <p:nvPr/>
          </p:nvSpPr>
          <p:spPr bwMode="auto">
            <a:xfrm>
              <a:off x="1304926" y="2844800"/>
              <a:ext cx="15875" cy="66675"/>
            </a:xfrm>
            <a:custGeom>
              <a:avLst/>
              <a:gdLst>
                <a:gd name="T0" fmla="*/ 5 w 5"/>
                <a:gd name="T1" fmla="*/ 21 h 23"/>
                <a:gd name="T2" fmla="*/ 3 w 5"/>
                <a:gd name="T3" fmla="*/ 23 h 23"/>
                <a:gd name="T4" fmla="*/ 3 w 5"/>
                <a:gd name="T5" fmla="*/ 23 h 23"/>
                <a:gd name="T6" fmla="*/ 0 w 5"/>
                <a:gd name="T7" fmla="*/ 21 h 23"/>
                <a:gd name="T8" fmla="*/ 0 w 5"/>
                <a:gd name="T9" fmla="*/ 2 h 23"/>
                <a:gd name="T10" fmla="*/ 3 w 5"/>
                <a:gd name="T11" fmla="*/ 0 h 23"/>
                <a:gd name="T12" fmla="*/ 3 w 5"/>
                <a:gd name="T13" fmla="*/ 0 h 23"/>
                <a:gd name="T14" fmla="*/ 5 w 5"/>
                <a:gd name="T15" fmla="*/ 2 h 23"/>
                <a:gd name="T16" fmla="*/ 5 w 5"/>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3">
                  <a:moveTo>
                    <a:pt x="5" y="21"/>
                  </a:moveTo>
                  <a:cubicBezTo>
                    <a:pt x="5" y="22"/>
                    <a:pt x="4" y="23"/>
                    <a:pt x="3" y="23"/>
                  </a:cubicBezTo>
                  <a:cubicBezTo>
                    <a:pt x="3" y="23"/>
                    <a:pt x="3" y="23"/>
                    <a:pt x="3" y="23"/>
                  </a:cubicBezTo>
                  <a:cubicBezTo>
                    <a:pt x="1" y="23"/>
                    <a:pt x="0" y="22"/>
                    <a:pt x="0" y="21"/>
                  </a:cubicBezTo>
                  <a:cubicBezTo>
                    <a:pt x="0" y="2"/>
                    <a:pt x="0" y="2"/>
                    <a:pt x="0" y="2"/>
                  </a:cubicBezTo>
                  <a:cubicBezTo>
                    <a:pt x="0" y="1"/>
                    <a:pt x="1" y="0"/>
                    <a:pt x="3" y="0"/>
                  </a:cubicBezTo>
                  <a:cubicBezTo>
                    <a:pt x="3" y="0"/>
                    <a:pt x="3" y="0"/>
                    <a:pt x="3" y="0"/>
                  </a:cubicBezTo>
                  <a:cubicBezTo>
                    <a:pt x="4" y="0"/>
                    <a:pt x="5" y="1"/>
                    <a:pt x="5" y="2"/>
                  </a:cubicBezTo>
                  <a:lnTo>
                    <a:pt x="5"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9" name="Freeform 302">
              <a:extLst>
                <a:ext uri="{FF2B5EF4-FFF2-40B4-BE49-F238E27FC236}">
                  <a16:creationId xmlns:a16="http://schemas.microsoft.com/office/drawing/2014/main" id="{F1EA91E0-18AC-4F3F-969F-6226EF298045}"/>
                </a:ext>
              </a:extLst>
            </p:cNvPr>
            <p:cNvSpPr>
              <a:spLocks/>
            </p:cNvSpPr>
            <p:nvPr/>
          </p:nvSpPr>
          <p:spPr bwMode="auto">
            <a:xfrm>
              <a:off x="1254126" y="2844800"/>
              <a:ext cx="14288" cy="66675"/>
            </a:xfrm>
            <a:custGeom>
              <a:avLst/>
              <a:gdLst>
                <a:gd name="T0" fmla="*/ 5 w 5"/>
                <a:gd name="T1" fmla="*/ 21 h 23"/>
                <a:gd name="T2" fmla="*/ 3 w 5"/>
                <a:gd name="T3" fmla="*/ 23 h 23"/>
                <a:gd name="T4" fmla="*/ 3 w 5"/>
                <a:gd name="T5" fmla="*/ 23 h 23"/>
                <a:gd name="T6" fmla="*/ 0 w 5"/>
                <a:gd name="T7" fmla="*/ 21 h 23"/>
                <a:gd name="T8" fmla="*/ 0 w 5"/>
                <a:gd name="T9" fmla="*/ 2 h 23"/>
                <a:gd name="T10" fmla="*/ 3 w 5"/>
                <a:gd name="T11" fmla="*/ 0 h 23"/>
                <a:gd name="T12" fmla="*/ 3 w 5"/>
                <a:gd name="T13" fmla="*/ 0 h 23"/>
                <a:gd name="T14" fmla="*/ 5 w 5"/>
                <a:gd name="T15" fmla="*/ 2 h 23"/>
                <a:gd name="T16" fmla="*/ 5 w 5"/>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3">
                  <a:moveTo>
                    <a:pt x="5" y="21"/>
                  </a:moveTo>
                  <a:cubicBezTo>
                    <a:pt x="5" y="22"/>
                    <a:pt x="4" y="23"/>
                    <a:pt x="3" y="23"/>
                  </a:cubicBezTo>
                  <a:cubicBezTo>
                    <a:pt x="3" y="23"/>
                    <a:pt x="3" y="23"/>
                    <a:pt x="3" y="23"/>
                  </a:cubicBezTo>
                  <a:cubicBezTo>
                    <a:pt x="1" y="23"/>
                    <a:pt x="0" y="22"/>
                    <a:pt x="0" y="21"/>
                  </a:cubicBezTo>
                  <a:cubicBezTo>
                    <a:pt x="0" y="2"/>
                    <a:pt x="0" y="2"/>
                    <a:pt x="0" y="2"/>
                  </a:cubicBezTo>
                  <a:cubicBezTo>
                    <a:pt x="0" y="1"/>
                    <a:pt x="1" y="0"/>
                    <a:pt x="3" y="0"/>
                  </a:cubicBezTo>
                  <a:cubicBezTo>
                    <a:pt x="3" y="0"/>
                    <a:pt x="3" y="0"/>
                    <a:pt x="3" y="0"/>
                  </a:cubicBezTo>
                  <a:cubicBezTo>
                    <a:pt x="4" y="0"/>
                    <a:pt x="5" y="1"/>
                    <a:pt x="5" y="2"/>
                  </a:cubicBezTo>
                  <a:lnTo>
                    <a:pt x="5"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0" name="Freeform 303">
              <a:extLst>
                <a:ext uri="{FF2B5EF4-FFF2-40B4-BE49-F238E27FC236}">
                  <a16:creationId xmlns:a16="http://schemas.microsoft.com/office/drawing/2014/main" id="{5DC6ED30-FF17-4DCF-A750-A7FA502B5DCB}"/>
                </a:ext>
              </a:extLst>
            </p:cNvPr>
            <p:cNvSpPr>
              <a:spLocks/>
            </p:cNvSpPr>
            <p:nvPr/>
          </p:nvSpPr>
          <p:spPr bwMode="auto">
            <a:xfrm>
              <a:off x="1219201" y="2908300"/>
              <a:ext cx="84138" cy="174625"/>
            </a:xfrm>
            <a:custGeom>
              <a:avLst/>
              <a:gdLst>
                <a:gd name="T0" fmla="*/ 23 w 29"/>
                <a:gd name="T1" fmla="*/ 60 h 60"/>
                <a:gd name="T2" fmla="*/ 22 w 29"/>
                <a:gd name="T3" fmla="*/ 60 h 60"/>
                <a:gd name="T4" fmla="*/ 17 w 29"/>
                <a:gd name="T5" fmla="*/ 59 h 60"/>
                <a:gd name="T6" fmla="*/ 0 w 29"/>
                <a:gd name="T7" fmla="*/ 41 h 60"/>
                <a:gd name="T8" fmla="*/ 12 w 29"/>
                <a:gd name="T9" fmla="*/ 25 h 60"/>
                <a:gd name="T10" fmla="*/ 18 w 29"/>
                <a:gd name="T11" fmla="*/ 19 h 60"/>
                <a:gd name="T12" fmla="*/ 20 w 29"/>
                <a:gd name="T13" fmla="*/ 14 h 60"/>
                <a:gd name="T14" fmla="*/ 20 w 29"/>
                <a:gd name="T15" fmla="*/ 5 h 60"/>
                <a:gd name="T16" fmla="*/ 20 w 29"/>
                <a:gd name="T17" fmla="*/ 0 h 60"/>
                <a:gd name="T18" fmla="*/ 27 w 29"/>
                <a:gd name="T19" fmla="*/ 0 h 60"/>
                <a:gd name="T20" fmla="*/ 27 w 29"/>
                <a:gd name="T21" fmla="*/ 5 h 60"/>
                <a:gd name="T22" fmla="*/ 27 w 29"/>
                <a:gd name="T23" fmla="*/ 13 h 60"/>
                <a:gd name="T24" fmla="*/ 24 w 29"/>
                <a:gd name="T25" fmla="*/ 24 h 60"/>
                <a:gd name="T26" fmla="*/ 15 w 29"/>
                <a:gd name="T27" fmla="*/ 31 h 60"/>
                <a:gd name="T28" fmla="*/ 7 w 29"/>
                <a:gd name="T29" fmla="*/ 41 h 60"/>
                <a:gd name="T30" fmla="*/ 18 w 29"/>
                <a:gd name="T31" fmla="*/ 53 h 60"/>
                <a:gd name="T32" fmla="*/ 23 w 29"/>
                <a:gd name="T33" fmla="*/ 53 h 60"/>
                <a:gd name="T34" fmla="*/ 29 w 29"/>
                <a:gd name="T35" fmla="*/ 53 h 60"/>
                <a:gd name="T36" fmla="*/ 29 w 29"/>
                <a:gd name="T37" fmla="*/ 60 h 60"/>
                <a:gd name="T38" fmla="*/ 24 w 29"/>
                <a:gd name="T39" fmla="*/ 60 h 60"/>
                <a:gd name="T40" fmla="*/ 23 w 29"/>
                <a:gd name="T4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0">
                  <a:moveTo>
                    <a:pt x="23" y="60"/>
                  </a:moveTo>
                  <a:cubicBezTo>
                    <a:pt x="23" y="60"/>
                    <a:pt x="22" y="60"/>
                    <a:pt x="22" y="60"/>
                  </a:cubicBezTo>
                  <a:cubicBezTo>
                    <a:pt x="21" y="60"/>
                    <a:pt x="20" y="60"/>
                    <a:pt x="17" y="59"/>
                  </a:cubicBezTo>
                  <a:cubicBezTo>
                    <a:pt x="8" y="58"/>
                    <a:pt x="0" y="51"/>
                    <a:pt x="0" y="41"/>
                  </a:cubicBezTo>
                  <a:cubicBezTo>
                    <a:pt x="1" y="32"/>
                    <a:pt x="6" y="28"/>
                    <a:pt x="12" y="25"/>
                  </a:cubicBezTo>
                  <a:cubicBezTo>
                    <a:pt x="14" y="23"/>
                    <a:pt x="17" y="22"/>
                    <a:pt x="18" y="19"/>
                  </a:cubicBezTo>
                  <a:cubicBezTo>
                    <a:pt x="19" y="18"/>
                    <a:pt x="20" y="16"/>
                    <a:pt x="20" y="14"/>
                  </a:cubicBezTo>
                  <a:cubicBezTo>
                    <a:pt x="20" y="11"/>
                    <a:pt x="20" y="8"/>
                    <a:pt x="20" y="5"/>
                  </a:cubicBezTo>
                  <a:cubicBezTo>
                    <a:pt x="20" y="4"/>
                    <a:pt x="20" y="2"/>
                    <a:pt x="20" y="0"/>
                  </a:cubicBezTo>
                  <a:cubicBezTo>
                    <a:pt x="27" y="0"/>
                    <a:pt x="27" y="0"/>
                    <a:pt x="27" y="0"/>
                  </a:cubicBezTo>
                  <a:cubicBezTo>
                    <a:pt x="27" y="2"/>
                    <a:pt x="27" y="4"/>
                    <a:pt x="27" y="5"/>
                  </a:cubicBezTo>
                  <a:cubicBezTo>
                    <a:pt x="27" y="8"/>
                    <a:pt x="27" y="11"/>
                    <a:pt x="27" y="13"/>
                  </a:cubicBezTo>
                  <a:cubicBezTo>
                    <a:pt x="27" y="18"/>
                    <a:pt x="26" y="21"/>
                    <a:pt x="24" y="24"/>
                  </a:cubicBezTo>
                  <a:cubicBezTo>
                    <a:pt x="21" y="27"/>
                    <a:pt x="18" y="29"/>
                    <a:pt x="15" y="31"/>
                  </a:cubicBezTo>
                  <a:cubicBezTo>
                    <a:pt x="10" y="34"/>
                    <a:pt x="7" y="36"/>
                    <a:pt x="7" y="41"/>
                  </a:cubicBezTo>
                  <a:cubicBezTo>
                    <a:pt x="6" y="47"/>
                    <a:pt x="13" y="52"/>
                    <a:pt x="18" y="53"/>
                  </a:cubicBezTo>
                  <a:cubicBezTo>
                    <a:pt x="21" y="53"/>
                    <a:pt x="22" y="53"/>
                    <a:pt x="23" y="53"/>
                  </a:cubicBezTo>
                  <a:cubicBezTo>
                    <a:pt x="24" y="53"/>
                    <a:pt x="25" y="53"/>
                    <a:pt x="29" y="53"/>
                  </a:cubicBezTo>
                  <a:cubicBezTo>
                    <a:pt x="29" y="60"/>
                    <a:pt x="29" y="60"/>
                    <a:pt x="29" y="60"/>
                  </a:cubicBezTo>
                  <a:cubicBezTo>
                    <a:pt x="25" y="60"/>
                    <a:pt x="24" y="60"/>
                    <a:pt x="24" y="60"/>
                  </a:cubicBezTo>
                  <a:cubicBezTo>
                    <a:pt x="24" y="60"/>
                    <a:pt x="23" y="60"/>
                    <a:pt x="23" y="6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1" name="Freeform 304">
              <a:extLst>
                <a:ext uri="{FF2B5EF4-FFF2-40B4-BE49-F238E27FC236}">
                  <a16:creationId xmlns:a16="http://schemas.microsoft.com/office/drawing/2014/main" id="{98150FC4-2567-4A22-B31B-1E6CEDA94E9C}"/>
                </a:ext>
              </a:extLst>
            </p:cNvPr>
            <p:cNvSpPr>
              <a:spLocks/>
            </p:cNvSpPr>
            <p:nvPr/>
          </p:nvSpPr>
          <p:spPr bwMode="auto">
            <a:xfrm>
              <a:off x="1236663" y="2870200"/>
              <a:ext cx="101600" cy="66675"/>
            </a:xfrm>
            <a:custGeom>
              <a:avLst/>
              <a:gdLst>
                <a:gd name="T0" fmla="*/ 0 w 35"/>
                <a:gd name="T1" fmla="*/ 4 h 23"/>
                <a:gd name="T2" fmla="*/ 1 w 35"/>
                <a:gd name="T3" fmla="*/ 8 h 23"/>
                <a:gd name="T4" fmla="*/ 13 w 35"/>
                <a:gd name="T5" fmla="*/ 21 h 23"/>
                <a:gd name="T6" fmla="*/ 34 w 35"/>
                <a:gd name="T7" fmla="*/ 11 h 23"/>
                <a:gd name="T8" fmla="*/ 29 w 35"/>
                <a:gd name="T9" fmla="*/ 2 h 23"/>
                <a:gd name="T10" fmla="*/ 0 w 35"/>
                <a:gd name="T11" fmla="*/ 4 h 23"/>
              </a:gdLst>
              <a:ahLst/>
              <a:cxnLst>
                <a:cxn ang="0">
                  <a:pos x="T0" y="T1"/>
                </a:cxn>
                <a:cxn ang="0">
                  <a:pos x="T2" y="T3"/>
                </a:cxn>
                <a:cxn ang="0">
                  <a:pos x="T4" y="T5"/>
                </a:cxn>
                <a:cxn ang="0">
                  <a:pos x="T6" y="T7"/>
                </a:cxn>
                <a:cxn ang="0">
                  <a:pos x="T8" y="T9"/>
                </a:cxn>
                <a:cxn ang="0">
                  <a:pos x="T10" y="T11"/>
                </a:cxn>
              </a:cxnLst>
              <a:rect l="0" t="0" r="r" b="b"/>
              <a:pathLst>
                <a:path w="35" h="23">
                  <a:moveTo>
                    <a:pt x="0" y="4"/>
                  </a:moveTo>
                  <a:cubicBezTo>
                    <a:pt x="0" y="5"/>
                    <a:pt x="0" y="6"/>
                    <a:pt x="1" y="8"/>
                  </a:cubicBezTo>
                  <a:cubicBezTo>
                    <a:pt x="2" y="14"/>
                    <a:pt x="7" y="19"/>
                    <a:pt x="13" y="21"/>
                  </a:cubicBezTo>
                  <a:cubicBezTo>
                    <a:pt x="25" y="23"/>
                    <a:pt x="32" y="17"/>
                    <a:pt x="34" y="11"/>
                  </a:cubicBezTo>
                  <a:cubicBezTo>
                    <a:pt x="35" y="7"/>
                    <a:pt x="33" y="3"/>
                    <a:pt x="29" y="2"/>
                  </a:cubicBezTo>
                  <a:cubicBezTo>
                    <a:pt x="16" y="0"/>
                    <a:pt x="8" y="4"/>
                    <a:pt x="0" y="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2" name="Freeform 305">
              <a:extLst>
                <a:ext uri="{FF2B5EF4-FFF2-40B4-BE49-F238E27FC236}">
                  <a16:creationId xmlns:a16="http://schemas.microsoft.com/office/drawing/2014/main" id="{6011B620-E830-485A-B31B-D18C86E4F042}"/>
                </a:ext>
              </a:extLst>
            </p:cNvPr>
            <p:cNvSpPr>
              <a:spLocks/>
            </p:cNvSpPr>
            <p:nvPr/>
          </p:nvSpPr>
          <p:spPr bwMode="auto">
            <a:xfrm>
              <a:off x="1317626" y="3089275"/>
              <a:ext cx="38100" cy="77788"/>
            </a:xfrm>
            <a:custGeom>
              <a:avLst/>
              <a:gdLst>
                <a:gd name="T0" fmla="*/ 13 w 13"/>
                <a:gd name="T1" fmla="*/ 23 h 27"/>
                <a:gd name="T2" fmla="*/ 10 w 13"/>
                <a:gd name="T3" fmla="*/ 27 h 27"/>
                <a:gd name="T4" fmla="*/ 3 w 13"/>
                <a:gd name="T5" fmla="*/ 27 h 27"/>
                <a:gd name="T6" fmla="*/ 0 w 13"/>
                <a:gd name="T7" fmla="*/ 23 h 27"/>
                <a:gd name="T8" fmla="*/ 0 w 13"/>
                <a:gd name="T9" fmla="*/ 4 h 27"/>
                <a:gd name="T10" fmla="*/ 3 w 13"/>
                <a:gd name="T11" fmla="*/ 0 h 27"/>
                <a:gd name="T12" fmla="*/ 10 w 13"/>
                <a:gd name="T13" fmla="*/ 0 h 27"/>
                <a:gd name="T14" fmla="*/ 13 w 13"/>
                <a:gd name="T15" fmla="*/ 4 h 27"/>
                <a:gd name="T16" fmla="*/ 13 w 13"/>
                <a:gd name="T17"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7">
                  <a:moveTo>
                    <a:pt x="13" y="23"/>
                  </a:moveTo>
                  <a:cubicBezTo>
                    <a:pt x="13" y="25"/>
                    <a:pt x="12" y="27"/>
                    <a:pt x="10" y="27"/>
                  </a:cubicBezTo>
                  <a:cubicBezTo>
                    <a:pt x="3" y="27"/>
                    <a:pt x="3" y="27"/>
                    <a:pt x="3" y="27"/>
                  </a:cubicBezTo>
                  <a:cubicBezTo>
                    <a:pt x="1" y="27"/>
                    <a:pt x="0" y="25"/>
                    <a:pt x="0" y="23"/>
                  </a:cubicBezTo>
                  <a:cubicBezTo>
                    <a:pt x="0" y="4"/>
                    <a:pt x="0" y="4"/>
                    <a:pt x="0" y="4"/>
                  </a:cubicBezTo>
                  <a:cubicBezTo>
                    <a:pt x="0" y="1"/>
                    <a:pt x="1" y="0"/>
                    <a:pt x="3" y="0"/>
                  </a:cubicBezTo>
                  <a:cubicBezTo>
                    <a:pt x="10" y="0"/>
                    <a:pt x="10" y="0"/>
                    <a:pt x="10" y="0"/>
                  </a:cubicBezTo>
                  <a:cubicBezTo>
                    <a:pt x="12" y="0"/>
                    <a:pt x="13" y="1"/>
                    <a:pt x="13" y="4"/>
                  </a:cubicBezTo>
                  <a:lnTo>
                    <a:pt x="13"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3" name="Freeform 306">
              <a:extLst>
                <a:ext uri="{FF2B5EF4-FFF2-40B4-BE49-F238E27FC236}">
                  <a16:creationId xmlns:a16="http://schemas.microsoft.com/office/drawing/2014/main" id="{0B885127-BC6B-4624-968C-6C52FFAC1E3F}"/>
                </a:ext>
              </a:extLst>
            </p:cNvPr>
            <p:cNvSpPr>
              <a:spLocks/>
            </p:cNvSpPr>
            <p:nvPr/>
          </p:nvSpPr>
          <p:spPr bwMode="auto">
            <a:xfrm>
              <a:off x="1511301" y="3089275"/>
              <a:ext cx="41275" cy="77788"/>
            </a:xfrm>
            <a:custGeom>
              <a:avLst/>
              <a:gdLst>
                <a:gd name="T0" fmla="*/ 14 w 14"/>
                <a:gd name="T1" fmla="*/ 23 h 27"/>
                <a:gd name="T2" fmla="*/ 10 w 14"/>
                <a:gd name="T3" fmla="*/ 27 h 27"/>
                <a:gd name="T4" fmla="*/ 4 w 14"/>
                <a:gd name="T5" fmla="*/ 27 h 27"/>
                <a:gd name="T6" fmla="*/ 0 w 14"/>
                <a:gd name="T7" fmla="*/ 23 h 27"/>
                <a:gd name="T8" fmla="*/ 0 w 14"/>
                <a:gd name="T9" fmla="*/ 4 h 27"/>
                <a:gd name="T10" fmla="*/ 4 w 14"/>
                <a:gd name="T11" fmla="*/ 0 h 27"/>
                <a:gd name="T12" fmla="*/ 10 w 14"/>
                <a:gd name="T13" fmla="*/ 0 h 27"/>
                <a:gd name="T14" fmla="*/ 14 w 14"/>
                <a:gd name="T15" fmla="*/ 4 h 27"/>
                <a:gd name="T16" fmla="*/ 14 w 14"/>
                <a:gd name="T17"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7">
                  <a:moveTo>
                    <a:pt x="14" y="23"/>
                  </a:moveTo>
                  <a:cubicBezTo>
                    <a:pt x="14" y="25"/>
                    <a:pt x="12" y="27"/>
                    <a:pt x="10" y="27"/>
                  </a:cubicBezTo>
                  <a:cubicBezTo>
                    <a:pt x="4" y="27"/>
                    <a:pt x="4" y="27"/>
                    <a:pt x="4" y="27"/>
                  </a:cubicBezTo>
                  <a:cubicBezTo>
                    <a:pt x="2" y="27"/>
                    <a:pt x="0" y="25"/>
                    <a:pt x="0" y="23"/>
                  </a:cubicBezTo>
                  <a:cubicBezTo>
                    <a:pt x="0" y="4"/>
                    <a:pt x="0" y="4"/>
                    <a:pt x="0" y="4"/>
                  </a:cubicBezTo>
                  <a:cubicBezTo>
                    <a:pt x="0" y="1"/>
                    <a:pt x="2" y="0"/>
                    <a:pt x="4" y="0"/>
                  </a:cubicBezTo>
                  <a:cubicBezTo>
                    <a:pt x="10" y="0"/>
                    <a:pt x="10" y="0"/>
                    <a:pt x="10" y="0"/>
                  </a:cubicBezTo>
                  <a:cubicBezTo>
                    <a:pt x="12" y="0"/>
                    <a:pt x="14" y="1"/>
                    <a:pt x="14" y="4"/>
                  </a:cubicBezTo>
                  <a:lnTo>
                    <a:pt x="14"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4" name="Freeform 307">
              <a:extLst>
                <a:ext uri="{FF2B5EF4-FFF2-40B4-BE49-F238E27FC236}">
                  <a16:creationId xmlns:a16="http://schemas.microsoft.com/office/drawing/2014/main" id="{18042D4B-1661-4C55-8C16-CF9F286C22F6}"/>
                </a:ext>
              </a:extLst>
            </p:cNvPr>
            <p:cNvSpPr>
              <a:spLocks/>
            </p:cNvSpPr>
            <p:nvPr/>
          </p:nvSpPr>
          <p:spPr bwMode="auto">
            <a:xfrm>
              <a:off x="1304926" y="2932113"/>
              <a:ext cx="255588" cy="168275"/>
            </a:xfrm>
            <a:custGeom>
              <a:avLst/>
              <a:gdLst>
                <a:gd name="T0" fmla="*/ 78 w 88"/>
                <a:gd name="T1" fmla="*/ 58 h 58"/>
                <a:gd name="T2" fmla="*/ 10 w 88"/>
                <a:gd name="T3" fmla="*/ 58 h 58"/>
                <a:gd name="T4" fmla="*/ 0 w 88"/>
                <a:gd name="T5" fmla="*/ 47 h 58"/>
                <a:gd name="T6" fmla="*/ 0 w 88"/>
                <a:gd name="T7" fmla="*/ 47 h 58"/>
                <a:gd name="T8" fmla="*/ 7 w 88"/>
                <a:gd name="T9" fmla="*/ 20 h 58"/>
                <a:gd name="T10" fmla="*/ 44 w 88"/>
                <a:gd name="T11" fmla="*/ 0 h 58"/>
                <a:gd name="T12" fmla="*/ 81 w 88"/>
                <a:gd name="T13" fmla="*/ 20 h 58"/>
                <a:gd name="T14" fmla="*/ 88 w 88"/>
                <a:gd name="T15" fmla="*/ 47 h 58"/>
                <a:gd name="T16" fmla="*/ 88 w 88"/>
                <a:gd name="T17" fmla="*/ 47 h 58"/>
                <a:gd name="T18" fmla="*/ 78 w 88"/>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8">
                  <a:moveTo>
                    <a:pt x="78" y="58"/>
                  </a:moveTo>
                  <a:cubicBezTo>
                    <a:pt x="10" y="58"/>
                    <a:pt x="10" y="58"/>
                    <a:pt x="10" y="58"/>
                  </a:cubicBezTo>
                  <a:cubicBezTo>
                    <a:pt x="5" y="58"/>
                    <a:pt x="0" y="53"/>
                    <a:pt x="0" y="47"/>
                  </a:cubicBezTo>
                  <a:cubicBezTo>
                    <a:pt x="0" y="47"/>
                    <a:pt x="0" y="47"/>
                    <a:pt x="0" y="47"/>
                  </a:cubicBezTo>
                  <a:cubicBezTo>
                    <a:pt x="0" y="39"/>
                    <a:pt x="5" y="28"/>
                    <a:pt x="7" y="20"/>
                  </a:cubicBezTo>
                  <a:cubicBezTo>
                    <a:pt x="12" y="4"/>
                    <a:pt x="30" y="1"/>
                    <a:pt x="44" y="0"/>
                  </a:cubicBezTo>
                  <a:cubicBezTo>
                    <a:pt x="61" y="0"/>
                    <a:pt x="73" y="4"/>
                    <a:pt x="81" y="20"/>
                  </a:cubicBezTo>
                  <a:cubicBezTo>
                    <a:pt x="84" y="28"/>
                    <a:pt x="88" y="38"/>
                    <a:pt x="88" y="47"/>
                  </a:cubicBezTo>
                  <a:cubicBezTo>
                    <a:pt x="88" y="47"/>
                    <a:pt x="88" y="47"/>
                    <a:pt x="88" y="47"/>
                  </a:cubicBezTo>
                  <a:cubicBezTo>
                    <a:pt x="88" y="53"/>
                    <a:pt x="84" y="58"/>
                    <a:pt x="78" y="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5" name="Freeform 308">
              <a:extLst>
                <a:ext uri="{FF2B5EF4-FFF2-40B4-BE49-F238E27FC236}">
                  <a16:creationId xmlns:a16="http://schemas.microsoft.com/office/drawing/2014/main" id="{AAAF8090-E570-48A8-9D2F-96E7680E149B}"/>
                </a:ext>
              </a:extLst>
            </p:cNvPr>
            <p:cNvSpPr>
              <a:spLocks/>
            </p:cNvSpPr>
            <p:nvPr/>
          </p:nvSpPr>
          <p:spPr bwMode="auto">
            <a:xfrm>
              <a:off x="1325563" y="2954338"/>
              <a:ext cx="219075" cy="125413"/>
            </a:xfrm>
            <a:custGeom>
              <a:avLst/>
              <a:gdLst>
                <a:gd name="T0" fmla="*/ 0 w 75"/>
                <a:gd name="T1" fmla="*/ 40 h 43"/>
                <a:gd name="T2" fmla="*/ 3 w 75"/>
                <a:gd name="T3" fmla="*/ 43 h 43"/>
                <a:gd name="T4" fmla="*/ 71 w 75"/>
                <a:gd name="T5" fmla="*/ 43 h 43"/>
                <a:gd name="T6" fmla="*/ 74 w 75"/>
                <a:gd name="T7" fmla="*/ 40 h 43"/>
                <a:gd name="T8" fmla="*/ 68 w 75"/>
                <a:gd name="T9" fmla="*/ 17 h 43"/>
                <a:gd name="T10" fmla="*/ 28 w 75"/>
                <a:gd name="T11" fmla="*/ 1 h 43"/>
                <a:gd name="T12" fmla="*/ 5 w 75"/>
                <a:gd name="T13" fmla="*/ 22 h 43"/>
                <a:gd name="T14" fmla="*/ 0 w 75"/>
                <a:gd name="T15" fmla="*/ 4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43">
                  <a:moveTo>
                    <a:pt x="0" y="40"/>
                  </a:moveTo>
                  <a:cubicBezTo>
                    <a:pt x="0" y="42"/>
                    <a:pt x="2" y="43"/>
                    <a:pt x="3" y="43"/>
                  </a:cubicBezTo>
                  <a:cubicBezTo>
                    <a:pt x="71" y="43"/>
                    <a:pt x="71" y="43"/>
                    <a:pt x="71" y="43"/>
                  </a:cubicBezTo>
                  <a:cubicBezTo>
                    <a:pt x="72" y="43"/>
                    <a:pt x="74" y="42"/>
                    <a:pt x="74" y="40"/>
                  </a:cubicBezTo>
                  <a:cubicBezTo>
                    <a:pt x="75" y="34"/>
                    <a:pt x="70" y="23"/>
                    <a:pt x="68" y="17"/>
                  </a:cubicBezTo>
                  <a:cubicBezTo>
                    <a:pt x="63" y="0"/>
                    <a:pt x="43" y="0"/>
                    <a:pt x="28" y="1"/>
                  </a:cubicBezTo>
                  <a:cubicBezTo>
                    <a:pt x="13" y="2"/>
                    <a:pt x="9" y="8"/>
                    <a:pt x="5" y="22"/>
                  </a:cubicBezTo>
                  <a:cubicBezTo>
                    <a:pt x="4" y="28"/>
                    <a:pt x="2" y="34"/>
                    <a:pt x="0" y="4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6" name="Freeform 309">
              <a:extLst>
                <a:ext uri="{FF2B5EF4-FFF2-40B4-BE49-F238E27FC236}">
                  <a16:creationId xmlns:a16="http://schemas.microsoft.com/office/drawing/2014/main" id="{A79902FA-26EF-4926-AD21-AFA24DD7048A}"/>
                </a:ext>
              </a:extLst>
            </p:cNvPr>
            <p:cNvSpPr>
              <a:spLocks/>
            </p:cNvSpPr>
            <p:nvPr/>
          </p:nvSpPr>
          <p:spPr bwMode="auto">
            <a:xfrm>
              <a:off x="1285876" y="2998788"/>
              <a:ext cx="295275" cy="133350"/>
            </a:xfrm>
            <a:custGeom>
              <a:avLst/>
              <a:gdLst>
                <a:gd name="T0" fmla="*/ 19 w 102"/>
                <a:gd name="T1" fmla="*/ 46 h 46"/>
                <a:gd name="T2" fmla="*/ 84 w 102"/>
                <a:gd name="T3" fmla="*/ 45 h 46"/>
                <a:gd name="T4" fmla="*/ 102 w 102"/>
                <a:gd name="T5" fmla="*/ 24 h 46"/>
                <a:gd name="T6" fmla="*/ 102 w 102"/>
                <a:gd name="T7" fmla="*/ 2 h 46"/>
                <a:gd name="T8" fmla="*/ 19 w 102"/>
                <a:gd name="T9" fmla="*/ 1 h 46"/>
                <a:gd name="T10" fmla="*/ 0 w 102"/>
                <a:gd name="T11" fmla="*/ 23 h 46"/>
                <a:gd name="T12" fmla="*/ 0 w 102"/>
                <a:gd name="T13" fmla="*/ 29 h 46"/>
                <a:gd name="T14" fmla="*/ 19 w 102"/>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46">
                  <a:moveTo>
                    <a:pt x="19" y="46"/>
                  </a:moveTo>
                  <a:cubicBezTo>
                    <a:pt x="30" y="46"/>
                    <a:pt x="76" y="46"/>
                    <a:pt x="84" y="45"/>
                  </a:cubicBezTo>
                  <a:cubicBezTo>
                    <a:pt x="99" y="44"/>
                    <a:pt x="102" y="42"/>
                    <a:pt x="102" y="24"/>
                  </a:cubicBezTo>
                  <a:cubicBezTo>
                    <a:pt x="102" y="24"/>
                    <a:pt x="102" y="19"/>
                    <a:pt x="102" y="2"/>
                  </a:cubicBezTo>
                  <a:cubicBezTo>
                    <a:pt x="78" y="1"/>
                    <a:pt x="34" y="0"/>
                    <a:pt x="19" y="1"/>
                  </a:cubicBezTo>
                  <a:cubicBezTo>
                    <a:pt x="6" y="2"/>
                    <a:pt x="0" y="6"/>
                    <a:pt x="0" y="23"/>
                  </a:cubicBezTo>
                  <a:cubicBezTo>
                    <a:pt x="0" y="29"/>
                    <a:pt x="0" y="29"/>
                    <a:pt x="0" y="29"/>
                  </a:cubicBezTo>
                  <a:cubicBezTo>
                    <a:pt x="0" y="42"/>
                    <a:pt x="5" y="45"/>
                    <a:pt x="19" y="4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7" name="Freeform 310">
              <a:extLst>
                <a:ext uri="{FF2B5EF4-FFF2-40B4-BE49-F238E27FC236}">
                  <a16:creationId xmlns:a16="http://schemas.microsoft.com/office/drawing/2014/main" id="{39520CF8-1614-4452-89C9-C6A668E00E8F}"/>
                </a:ext>
              </a:extLst>
            </p:cNvPr>
            <p:cNvSpPr>
              <a:spLocks/>
            </p:cNvSpPr>
            <p:nvPr/>
          </p:nvSpPr>
          <p:spPr bwMode="auto">
            <a:xfrm>
              <a:off x="1303338" y="3040063"/>
              <a:ext cx="60325" cy="53975"/>
            </a:xfrm>
            <a:custGeom>
              <a:avLst/>
              <a:gdLst>
                <a:gd name="T0" fmla="*/ 3 w 21"/>
                <a:gd name="T1" fmla="*/ 15 h 19"/>
                <a:gd name="T2" fmla="*/ 5 w 21"/>
                <a:gd name="T3" fmla="*/ 3 h 19"/>
                <a:gd name="T4" fmla="*/ 18 w 21"/>
                <a:gd name="T5" fmla="*/ 4 h 19"/>
                <a:gd name="T6" fmla="*/ 15 w 21"/>
                <a:gd name="T7" fmla="*/ 16 h 19"/>
                <a:gd name="T8" fmla="*/ 3 w 21"/>
                <a:gd name="T9" fmla="*/ 15 h 19"/>
              </a:gdLst>
              <a:ahLst/>
              <a:cxnLst>
                <a:cxn ang="0">
                  <a:pos x="T0" y="T1"/>
                </a:cxn>
                <a:cxn ang="0">
                  <a:pos x="T2" y="T3"/>
                </a:cxn>
                <a:cxn ang="0">
                  <a:pos x="T4" y="T5"/>
                </a:cxn>
                <a:cxn ang="0">
                  <a:pos x="T6" y="T7"/>
                </a:cxn>
                <a:cxn ang="0">
                  <a:pos x="T8" y="T9"/>
                </a:cxn>
              </a:cxnLst>
              <a:rect l="0" t="0" r="r" b="b"/>
              <a:pathLst>
                <a:path w="21" h="19">
                  <a:moveTo>
                    <a:pt x="3" y="15"/>
                  </a:moveTo>
                  <a:cubicBezTo>
                    <a:pt x="0" y="11"/>
                    <a:pt x="1" y="5"/>
                    <a:pt x="5" y="3"/>
                  </a:cubicBezTo>
                  <a:cubicBezTo>
                    <a:pt x="9" y="0"/>
                    <a:pt x="15" y="0"/>
                    <a:pt x="18" y="4"/>
                  </a:cubicBezTo>
                  <a:cubicBezTo>
                    <a:pt x="21" y="8"/>
                    <a:pt x="19" y="13"/>
                    <a:pt x="15" y="16"/>
                  </a:cubicBezTo>
                  <a:cubicBezTo>
                    <a:pt x="11" y="19"/>
                    <a:pt x="6" y="19"/>
                    <a:pt x="3" y="15"/>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8" name="Freeform 311">
              <a:extLst>
                <a:ext uri="{FF2B5EF4-FFF2-40B4-BE49-F238E27FC236}">
                  <a16:creationId xmlns:a16="http://schemas.microsoft.com/office/drawing/2014/main" id="{E8303D56-D444-40D5-9050-8A2F1FC377EF}"/>
                </a:ext>
              </a:extLst>
            </p:cNvPr>
            <p:cNvSpPr>
              <a:spLocks/>
            </p:cNvSpPr>
            <p:nvPr/>
          </p:nvSpPr>
          <p:spPr bwMode="auto">
            <a:xfrm>
              <a:off x="1506538" y="3040063"/>
              <a:ext cx="57150" cy="53975"/>
            </a:xfrm>
            <a:custGeom>
              <a:avLst/>
              <a:gdLst>
                <a:gd name="T0" fmla="*/ 3 w 20"/>
                <a:gd name="T1" fmla="*/ 15 h 19"/>
                <a:gd name="T2" fmla="*/ 4 w 20"/>
                <a:gd name="T3" fmla="*/ 3 h 19"/>
                <a:gd name="T4" fmla="*/ 17 w 20"/>
                <a:gd name="T5" fmla="*/ 4 h 19"/>
                <a:gd name="T6" fmla="*/ 15 w 20"/>
                <a:gd name="T7" fmla="*/ 16 h 19"/>
                <a:gd name="T8" fmla="*/ 3 w 20"/>
                <a:gd name="T9" fmla="*/ 15 h 19"/>
              </a:gdLst>
              <a:ahLst/>
              <a:cxnLst>
                <a:cxn ang="0">
                  <a:pos x="T0" y="T1"/>
                </a:cxn>
                <a:cxn ang="0">
                  <a:pos x="T2" y="T3"/>
                </a:cxn>
                <a:cxn ang="0">
                  <a:pos x="T4" y="T5"/>
                </a:cxn>
                <a:cxn ang="0">
                  <a:pos x="T6" y="T7"/>
                </a:cxn>
                <a:cxn ang="0">
                  <a:pos x="T8" y="T9"/>
                </a:cxn>
              </a:cxnLst>
              <a:rect l="0" t="0" r="r" b="b"/>
              <a:pathLst>
                <a:path w="20" h="19">
                  <a:moveTo>
                    <a:pt x="3" y="15"/>
                  </a:moveTo>
                  <a:cubicBezTo>
                    <a:pt x="0" y="11"/>
                    <a:pt x="0" y="5"/>
                    <a:pt x="4" y="3"/>
                  </a:cubicBezTo>
                  <a:cubicBezTo>
                    <a:pt x="9" y="0"/>
                    <a:pt x="14" y="0"/>
                    <a:pt x="17" y="4"/>
                  </a:cubicBezTo>
                  <a:cubicBezTo>
                    <a:pt x="20" y="8"/>
                    <a:pt x="19" y="13"/>
                    <a:pt x="15" y="16"/>
                  </a:cubicBezTo>
                  <a:cubicBezTo>
                    <a:pt x="11" y="19"/>
                    <a:pt x="5" y="19"/>
                    <a:pt x="3" y="15"/>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93" name="Group 492">
            <a:extLst>
              <a:ext uri="{FF2B5EF4-FFF2-40B4-BE49-F238E27FC236}">
                <a16:creationId xmlns:a16="http://schemas.microsoft.com/office/drawing/2014/main" id="{AFEFB27A-248C-44B6-9767-7CF32C93BB7B}"/>
              </a:ext>
              <a:ext uri="{C183D7F6-B498-43B3-948B-1728B52AA6E4}">
                <adec:decorative xmlns:adec="http://schemas.microsoft.com/office/drawing/2017/decorative" val="1"/>
              </a:ext>
            </a:extLst>
          </p:cNvPr>
          <p:cNvGrpSpPr>
            <a:grpSpLocks noChangeAspect="1"/>
          </p:cNvGrpSpPr>
          <p:nvPr/>
        </p:nvGrpSpPr>
        <p:grpSpPr>
          <a:xfrm>
            <a:off x="5423006" y="1451343"/>
            <a:ext cx="672195" cy="633600"/>
            <a:chOff x="8924353" y="5119217"/>
            <a:chExt cx="672195" cy="633600"/>
          </a:xfrm>
        </p:grpSpPr>
        <p:sp>
          <p:nvSpPr>
            <p:cNvPr id="494" name="Freeform 30">
              <a:extLst>
                <a:ext uri="{FF2B5EF4-FFF2-40B4-BE49-F238E27FC236}">
                  <a16:creationId xmlns:a16="http://schemas.microsoft.com/office/drawing/2014/main" id="{98824F8E-FDE3-4153-9837-395FF7588753}"/>
                </a:ext>
              </a:extLst>
            </p:cNvPr>
            <p:cNvSpPr>
              <a:spLocks/>
            </p:cNvSpPr>
            <p:nvPr/>
          </p:nvSpPr>
          <p:spPr bwMode="auto">
            <a:xfrm>
              <a:off x="8924353" y="5119217"/>
              <a:ext cx="672195" cy="6336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95" name="Groupe 766">
              <a:extLst>
                <a:ext uri="{FF2B5EF4-FFF2-40B4-BE49-F238E27FC236}">
                  <a16:creationId xmlns:a16="http://schemas.microsoft.com/office/drawing/2014/main" id="{4820E23C-96D2-4E5A-B2D6-6222632468A3}"/>
                </a:ext>
              </a:extLst>
            </p:cNvPr>
            <p:cNvGrpSpPr/>
            <p:nvPr/>
          </p:nvGrpSpPr>
          <p:grpSpPr>
            <a:xfrm>
              <a:off x="9200128" y="5152327"/>
              <a:ext cx="174470" cy="472248"/>
              <a:chOff x="4322764" y="2152650"/>
              <a:chExt cx="211138" cy="571500"/>
            </a:xfrm>
            <a:solidFill>
              <a:schemeClr val="bg1"/>
            </a:solidFill>
          </p:grpSpPr>
          <p:sp>
            <p:nvSpPr>
              <p:cNvPr id="496" name="Freeform 248">
                <a:extLst>
                  <a:ext uri="{FF2B5EF4-FFF2-40B4-BE49-F238E27FC236}">
                    <a16:creationId xmlns:a16="http://schemas.microsoft.com/office/drawing/2014/main" id="{AC1468F8-6DAE-4B26-B2C5-D33AADB7E396}"/>
                  </a:ext>
                </a:extLst>
              </p:cNvPr>
              <p:cNvSpPr>
                <a:spLocks/>
              </p:cNvSpPr>
              <p:nvPr/>
            </p:nvSpPr>
            <p:spPr bwMode="auto">
              <a:xfrm>
                <a:off x="4341814" y="2155825"/>
                <a:ext cx="38100" cy="106363"/>
              </a:xfrm>
              <a:custGeom>
                <a:avLst/>
                <a:gdLst>
                  <a:gd name="T0" fmla="*/ 10 w 10"/>
                  <a:gd name="T1" fmla="*/ 0 h 28"/>
                  <a:gd name="T2" fmla="*/ 10 w 10"/>
                  <a:gd name="T3" fmla="*/ 23 h 28"/>
                  <a:gd name="T4" fmla="*/ 5 w 10"/>
                  <a:gd name="T5" fmla="*/ 28 h 28"/>
                  <a:gd name="T6" fmla="*/ 0 w 10"/>
                  <a:gd name="T7" fmla="*/ 24 h 28"/>
                  <a:gd name="T8" fmla="*/ 0 w 10"/>
                  <a:gd name="T9" fmla="*/ 23 h 28"/>
                  <a:gd name="T10" fmla="*/ 0 w 10"/>
                  <a:gd name="T11" fmla="*/ 2 h 28"/>
                  <a:gd name="T12" fmla="*/ 10 w 10"/>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0" h="28">
                    <a:moveTo>
                      <a:pt x="10" y="0"/>
                    </a:moveTo>
                    <a:cubicBezTo>
                      <a:pt x="10" y="23"/>
                      <a:pt x="10" y="23"/>
                      <a:pt x="10" y="23"/>
                    </a:cubicBezTo>
                    <a:cubicBezTo>
                      <a:pt x="10" y="25"/>
                      <a:pt x="8" y="28"/>
                      <a:pt x="5" y="28"/>
                    </a:cubicBezTo>
                    <a:cubicBezTo>
                      <a:pt x="3" y="28"/>
                      <a:pt x="1" y="26"/>
                      <a:pt x="0" y="24"/>
                    </a:cubicBezTo>
                    <a:cubicBezTo>
                      <a:pt x="0" y="24"/>
                      <a:pt x="0" y="23"/>
                      <a:pt x="0" y="23"/>
                    </a:cubicBezTo>
                    <a:cubicBezTo>
                      <a:pt x="0" y="2"/>
                      <a:pt x="0" y="2"/>
                      <a:pt x="0" y="2"/>
                    </a:cubicBezTo>
                    <a:cubicBezTo>
                      <a:pt x="3" y="1"/>
                      <a:pt x="6" y="1"/>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249">
                <a:extLst>
                  <a:ext uri="{FF2B5EF4-FFF2-40B4-BE49-F238E27FC236}">
                    <a16:creationId xmlns:a16="http://schemas.microsoft.com/office/drawing/2014/main" id="{A9A5D615-A7EF-477C-A13E-ACDE27F21B54}"/>
                  </a:ext>
                </a:extLst>
              </p:cNvPr>
              <p:cNvSpPr>
                <a:spLocks/>
              </p:cNvSpPr>
              <p:nvPr/>
            </p:nvSpPr>
            <p:spPr bwMode="auto">
              <a:xfrm>
                <a:off x="4421189" y="2152650"/>
                <a:ext cx="38100" cy="109538"/>
              </a:xfrm>
              <a:custGeom>
                <a:avLst/>
                <a:gdLst>
                  <a:gd name="T0" fmla="*/ 10 w 10"/>
                  <a:gd name="T1" fmla="*/ 0 h 29"/>
                  <a:gd name="T2" fmla="*/ 10 w 10"/>
                  <a:gd name="T3" fmla="*/ 24 h 29"/>
                  <a:gd name="T4" fmla="*/ 9 w 10"/>
                  <a:gd name="T5" fmla="*/ 26 h 29"/>
                  <a:gd name="T6" fmla="*/ 9 w 10"/>
                  <a:gd name="T7" fmla="*/ 26 h 29"/>
                  <a:gd name="T8" fmla="*/ 5 w 10"/>
                  <a:gd name="T9" fmla="*/ 29 h 29"/>
                  <a:gd name="T10" fmla="*/ 0 w 10"/>
                  <a:gd name="T11" fmla="*/ 24 h 29"/>
                  <a:gd name="T12" fmla="*/ 0 w 10"/>
                  <a:gd name="T13" fmla="*/ 0 h 29"/>
                  <a:gd name="T14" fmla="*/ 10 w 1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9">
                    <a:moveTo>
                      <a:pt x="10" y="0"/>
                    </a:moveTo>
                    <a:cubicBezTo>
                      <a:pt x="10" y="24"/>
                      <a:pt x="10" y="24"/>
                      <a:pt x="10" y="24"/>
                    </a:cubicBezTo>
                    <a:cubicBezTo>
                      <a:pt x="10" y="24"/>
                      <a:pt x="9" y="25"/>
                      <a:pt x="9" y="26"/>
                    </a:cubicBezTo>
                    <a:cubicBezTo>
                      <a:pt x="9" y="26"/>
                      <a:pt x="9" y="26"/>
                      <a:pt x="9" y="26"/>
                    </a:cubicBezTo>
                    <a:cubicBezTo>
                      <a:pt x="8" y="27"/>
                      <a:pt x="7" y="29"/>
                      <a:pt x="5" y="29"/>
                    </a:cubicBezTo>
                    <a:cubicBezTo>
                      <a:pt x="2" y="29"/>
                      <a:pt x="0" y="26"/>
                      <a:pt x="0" y="24"/>
                    </a:cubicBezTo>
                    <a:cubicBezTo>
                      <a:pt x="0" y="0"/>
                      <a:pt x="0" y="0"/>
                      <a:pt x="0" y="0"/>
                    </a:cubicBezTo>
                    <a:cubicBezTo>
                      <a:pt x="3" y="0"/>
                      <a:pt x="6"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250">
                <a:extLst>
                  <a:ext uri="{FF2B5EF4-FFF2-40B4-BE49-F238E27FC236}">
                    <a16:creationId xmlns:a16="http://schemas.microsoft.com/office/drawing/2014/main" id="{035F6475-3D20-4EE2-8DD8-C42DF22DEE3C}"/>
                  </a:ext>
                </a:extLst>
              </p:cNvPr>
              <p:cNvSpPr>
                <a:spLocks noEditPoints="1"/>
              </p:cNvSpPr>
              <p:nvPr/>
            </p:nvSpPr>
            <p:spPr bwMode="auto">
              <a:xfrm>
                <a:off x="4322764" y="2219325"/>
                <a:ext cx="211138" cy="504825"/>
              </a:xfrm>
              <a:custGeom>
                <a:avLst/>
                <a:gdLst>
                  <a:gd name="T0" fmla="*/ 46 w 56"/>
                  <a:gd name="T1" fmla="*/ 111 h 134"/>
                  <a:gd name="T2" fmla="*/ 31 w 56"/>
                  <a:gd name="T3" fmla="*/ 118 h 134"/>
                  <a:gd name="T4" fmla="*/ 18 w 56"/>
                  <a:gd name="T5" fmla="*/ 109 h 134"/>
                  <a:gd name="T6" fmla="*/ 22 w 56"/>
                  <a:gd name="T7" fmla="*/ 92 h 134"/>
                  <a:gd name="T8" fmla="*/ 27 w 56"/>
                  <a:gd name="T9" fmla="*/ 85 h 134"/>
                  <a:gd name="T10" fmla="*/ 27 w 56"/>
                  <a:gd name="T11" fmla="*/ 74 h 134"/>
                  <a:gd name="T12" fmla="*/ 39 w 56"/>
                  <a:gd name="T13" fmla="*/ 59 h 134"/>
                  <a:gd name="T14" fmla="*/ 39 w 56"/>
                  <a:gd name="T15" fmla="*/ 17 h 134"/>
                  <a:gd name="T16" fmla="*/ 35 w 56"/>
                  <a:gd name="T17" fmla="*/ 8 h 134"/>
                  <a:gd name="T18" fmla="*/ 35 w 56"/>
                  <a:gd name="T19" fmla="*/ 8 h 134"/>
                  <a:gd name="T20" fmla="*/ 27 w 56"/>
                  <a:gd name="T21" fmla="*/ 2 h 134"/>
                  <a:gd name="T22" fmla="*/ 26 w 56"/>
                  <a:gd name="T23" fmla="*/ 1 h 134"/>
                  <a:gd name="T24" fmla="*/ 15 w 56"/>
                  <a:gd name="T25" fmla="*/ 1 h 134"/>
                  <a:gd name="T26" fmla="*/ 13 w 56"/>
                  <a:gd name="T27" fmla="*/ 2 h 134"/>
                  <a:gd name="T28" fmla="*/ 5 w 56"/>
                  <a:gd name="T29" fmla="*/ 7 h 134"/>
                  <a:gd name="T30" fmla="*/ 1 w 56"/>
                  <a:gd name="T31" fmla="*/ 17 h 134"/>
                  <a:gd name="T32" fmla="*/ 1 w 56"/>
                  <a:gd name="T33" fmla="*/ 58 h 134"/>
                  <a:gd name="T34" fmla="*/ 13 w 56"/>
                  <a:gd name="T35" fmla="*/ 74 h 134"/>
                  <a:gd name="T36" fmla="*/ 13 w 56"/>
                  <a:gd name="T37" fmla="*/ 84 h 134"/>
                  <a:gd name="T38" fmla="*/ 3 w 56"/>
                  <a:gd name="T39" fmla="*/ 103 h 134"/>
                  <a:gd name="T40" fmla="*/ 17 w 56"/>
                  <a:gd name="T41" fmla="*/ 129 h 134"/>
                  <a:gd name="T42" fmla="*/ 43 w 56"/>
                  <a:gd name="T43" fmla="*/ 129 h 134"/>
                  <a:gd name="T44" fmla="*/ 53 w 56"/>
                  <a:gd name="T45" fmla="*/ 110 h 134"/>
                  <a:gd name="T46" fmla="*/ 56 w 56"/>
                  <a:gd name="T47" fmla="*/ 95 h 134"/>
                  <a:gd name="T48" fmla="*/ 46 w 56"/>
                  <a:gd name="T49" fmla="*/ 111 h 134"/>
                  <a:gd name="T50" fmla="*/ 20 w 56"/>
                  <a:gd name="T51" fmla="*/ 17 h 134"/>
                  <a:gd name="T52" fmla="*/ 28 w 56"/>
                  <a:gd name="T53" fmla="*/ 25 h 134"/>
                  <a:gd name="T54" fmla="*/ 20 w 56"/>
                  <a:gd name="T55" fmla="*/ 33 h 134"/>
                  <a:gd name="T56" fmla="*/ 13 w 56"/>
                  <a:gd name="T57" fmla="*/ 25 h 134"/>
                  <a:gd name="T58" fmla="*/ 20 w 56"/>
                  <a:gd name="T59" fmla="*/ 17 h 134"/>
                  <a:gd name="T60" fmla="*/ 13 w 56"/>
                  <a:gd name="T61" fmla="*/ 51 h 134"/>
                  <a:gd name="T62" fmla="*/ 20 w 56"/>
                  <a:gd name="T63" fmla="*/ 43 h 134"/>
                  <a:gd name="T64" fmla="*/ 28 w 56"/>
                  <a:gd name="T65" fmla="*/ 51 h 134"/>
                  <a:gd name="T66" fmla="*/ 20 w 56"/>
                  <a:gd name="T67" fmla="*/ 58 h 134"/>
                  <a:gd name="T68" fmla="*/ 13 w 56"/>
                  <a:gd name="T69" fmla="*/ 5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134">
                    <a:moveTo>
                      <a:pt x="46" y="111"/>
                    </a:moveTo>
                    <a:cubicBezTo>
                      <a:pt x="43" y="116"/>
                      <a:pt x="36" y="118"/>
                      <a:pt x="31" y="118"/>
                    </a:cubicBezTo>
                    <a:cubicBezTo>
                      <a:pt x="26" y="118"/>
                      <a:pt x="21" y="115"/>
                      <a:pt x="18" y="109"/>
                    </a:cubicBezTo>
                    <a:cubicBezTo>
                      <a:pt x="16" y="103"/>
                      <a:pt x="19" y="94"/>
                      <a:pt x="22" y="92"/>
                    </a:cubicBezTo>
                    <a:cubicBezTo>
                      <a:pt x="27" y="89"/>
                      <a:pt x="27" y="89"/>
                      <a:pt x="27" y="85"/>
                    </a:cubicBezTo>
                    <a:cubicBezTo>
                      <a:pt x="27" y="74"/>
                      <a:pt x="27" y="74"/>
                      <a:pt x="27" y="74"/>
                    </a:cubicBezTo>
                    <a:cubicBezTo>
                      <a:pt x="32" y="72"/>
                      <a:pt x="39" y="65"/>
                      <a:pt x="39" y="59"/>
                    </a:cubicBezTo>
                    <a:cubicBezTo>
                      <a:pt x="39" y="45"/>
                      <a:pt x="39" y="31"/>
                      <a:pt x="39" y="17"/>
                    </a:cubicBezTo>
                    <a:cubicBezTo>
                      <a:pt x="39" y="14"/>
                      <a:pt x="38" y="10"/>
                      <a:pt x="35" y="8"/>
                    </a:cubicBezTo>
                    <a:cubicBezTo>
                      <a:pt x="35" y="8"/>
                      <a:pt x="35" y="8"/>
                      <a:pt x="35" y="8"/>
                    </a:cubicBezTo>
                    <a:cubicBezTo>
                      <a:pt x="33" y="5"/>
                      <a:pt x="30" y="3"/>
                      <a:pt x="27" y="2"/>
                    </a:cubicBezTo>
                    <a:cubicBezTo>
                      <a:pt x="27" y="2"/>
                      <a:pt x="26" y="1"/>
                      <a:pt x="26" y="1"/>
                    </a:cubicBezTo>
                    <a:cubicBezTo>
                      <a:pt x="22" y="0"/>
                      <a:pt x="18" y="0"/>
                      <a:pt x="15" y="1"/>
                    </a:cubicBezTo>
                    <a:cubicBezTo>
                      <a:pt x="14" y="1"/>
                      <a:pt x="13" y="2"/>
                      <a:pt x="13" y="2"/>
                    </a:cubicBezTo>
                    <a:cubicBezTo>
                      <a:pt x="10" y="3"/>
                      <a:pt x="7" y="5"/>
                      <a:pt x="5" y="7"/>
                    </a:cubicBezTo>
                    <a:cubicBezTo>
                      <a:pt x="3" y="10"/>
                      <a:pt x="0" y="14"/>
                      <a:pt x="1" y="17"/>
                    </a:cubicBezTo>
                    <a:cubicBezTo>
                      <a:pt x="1" y="58"/>
                      <a:pt x="1" y="58"/>
                      <a:pt x="1" y="58"/>
                    </a:cubicBezTo>
                    <a:cubicBezTo>
                      <a:pt x="1" y="61"/>
                      <a:pt x="3" y="71"/>
                      <a:pt x="13" y="74"/>
                    </a:cubicBezTo>
                    <a:cubicBezTo>
                      <a:pt x="13" y="84"/>
                      <a:pt x="13" y="84"/>
                      <a:pt x="13" y="84"/>
                    </a:cubicBezTo>
                    <a:cubicBezTo>
                      <a:pt x="8" y="90"/>
                      <a:pt x="4" y="96"/>
                      <a:pt x="3" y="103"/>
                    </a:cubicBezTo>
                    <a:cubicBezTo>
                      <a:pt x="3" y="113"/>
                      <a:pt x="6" y="124"/>
                      <a:pt x="17" y="129"/>
                    </a:cubicBezTo>
                    <a:cubicBezTo>
                      <a:pt x="25" y="134"/>
                      <a:pt x="34" y="133"/>
                      <a:pt x="43" y="129"/>
                    </a:cubicBezTo>
                    <a:cubicBezTo>
                      <a:pt x="49" y="126"/>
                      <a:pt x="53" y="117"/>
                      <a:pt x="53" y="110"/>
                    </a:cubicBezTo>
                    <a:cubicBezTo>
                      <a:pt x="53" y="106"/>
                      <a:pt x="54" y="100"/>
                      <a:pt x="56" y="95"/>
                    </a:cubicBezTo>
                    <a:cubicBezTo>
                      <a:pt x="51" y="96"/>
                      <a:pt x="49" y="104"/>
                      <a:pt x="46" y="111"/>
                    </a:cubicBezTo>
                    <a:close/>
                    <a:moveTo>
                      <a:pt x="20" y="17"/>
                    </a:moveTo>
                    <a:cubicBezTo>
                      <a:pt x="24" y="17"/>
                      <a:pt x="28" y="21"/>
                      <a:pt x="28" y="25"/>
                    </a:cubicBezTo>
                    <a:cubicBezTo>
                      <a:pt x="28" y="29"/>
                      <a:pt x="24" y="33"/>
                      <a:pt x="20" y="33"/>
                    </a:cubicBezTo>
                    <a:cubicBezTo>
                      <a:pt x="16" y="33"/>
                      <a:pt x="13" y="29"/>
                      <a:pt x="13" y="25"/>
                    </a:cubicBezTo>
                    <a:cubicBezTo>
                      <a:pt x="13" y="21"/>
                      <a:pt x="16" y="17"/>
                      <a:pt x="20" y="17"/>
                    </a:cubicBezTo>
                    <a:close/>
                    <a:moveTo>
                      <a:pt x="13" y="51"/>
                    </a:moveTo>
                    <a:cubicBezTo>
                      <a:pt x="13" y="47"/>
                      <a:pt x="16" y="43"/>
                      <a:pt x="20" y="43"/>
                    </a:cubicBezTo>
                    <a:cubicBezTo>
                      <a:pt x="24" y="43"/>
                      <a:pt x="28" y="47"/>
                      <a:pt x="28" y="51"/>
                    </a:cubicBezTo>
                    <a:cubicBezTo>
                      <a:pt x="28" y="55"/>
                      <a:pt x="24" y="58"/>
                      <a:pt x="20" y="58"/>
                    </a:cubicBezTo>
                    <a:cubicBezTo>
                      <a:pt x="16" y="58"/>
                      <a:pt x="13" y="55"/>
                      <a:pt x="13"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a:extLst>
              <a:ext uri="{FF2B5EF4-FFF2-40B4-BE49-F238E27FC236}">
                <a16:creationId xmlns:a16="http://schemas.microsoft.com/office/drawing/2014/main" id="{0251C5CC-234A-4E51-B556-49EC102A9F3D}"/>
              </a:ext>
              <a:ext uri="{C183D7F6-B498-43B3-948B-1728B52AA6E4}">
                <adec:decorative xmlns:adec="http://schemas.microsoft.com/office/drawing/2017/decorative" val="1"/>
              </a:ext>
            </a:extLst>
          </p:cNvPr>
          <p:cNvGrpSpPr/>
          <p:nvPr/>
        </p:nvGrpSpPr>
        <p:grpSpPr>
          <a:xfrm>
            <a:off x="2031305" y="1451343"/>
            <a:ext cx="687572" cy="648000"/>
            <a:chOff x="3088903" y="-1074192"/>
            <a:chExt cx="687572" cy="648000"/>
          </a:xfrm>
        </p:grpSpPr>
        <p:sp>
          <p:nvSpPr>
            <p:cNvPr id="547" name="Freeform 520">
              <a:extLst>
                <a:ext uri="{FF2B5EF4-FFF2-40B4-BE49-F238E27FC236}">
                  <a16:creationId xmlns:a16="http://schemas.microsoft.com/office/drawing/2014/main" id="{0588B24F-D926-45E0-B62A-BCD62F9D87FC}"/>
                </a:ext>
              </a:extLst>
            </p:cNvPr>
            <p:cNvSpPr>
              <a:spLocks noChangeAspect="1"/>
            </p:cNvSpPr>
            <p:nvPr/>
          </p:nvSpPr>
          <p:spPr bwMode="auto">
            <a:xfrm>
              <a:off x="3088903" y="-1074192"/>
              <a:ext cx="687572" cy="64800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nvGrpSpPr>
            <p:cNvPr id="10" name="Group 9">
              <a:extLst>
                <a:ext uri="{FF2B5EF4-FFF2-40B4-BE49-F238E27FC236}">
                  <a16:creationId xmlns:a16="http://schemas.microsoft.com/office/drawing/2014/main" id="{037045CA-183A-4292-AD35-A265B8B4AC57}"/>
                </a:ext>
              </a:extLst>
            </p:cNvPr>
            <p:cNvGrpSpPr/>
            <p:nvPr/>
          </p:nvGrpSpPr>
          <p:grpSpPr>
            <a:xfrm>
              <a:off x="3158847" y="-857125"/>
              <a:ext cx="516477" cy="215867"/>
              <a:chOff x="5181037" y="-457767"/>
              <a:chExt cx="1722176" cy="719799"/>
            </a:xfrm>
          </p:grpSpPr>
          <p:sp>
            <p:nvSpPr>
              <p:cNvPr id="558" name="Freeform 273">
                <a:extLst>
                  <a:ext uri="{FF2B5EF4-FFF2-40B4-BE49-F238E27FC236}">
                    <a16:creationId xmlns:a16="http://schemas.microsoft.com/office/drawing/2014/main" id="{0D65FB2B-43FD-43D5-B26A-2743BC18C99B}"/>
                  </a:ext>
                </a:extLst>
              </p:cNvPr>
              <p:cNvSpPr/>
              <p:nvPr/>
            </p:nvSpPr>
            <p:spPr>
              <a:xfrm>
                <a:off x="5230684" y="-217047"/>
                <a:ext cx="1243383" cy="412447"/>
              </a:xfrm>
              <a:custGeom>
                <a:avLst/>
                <a:gdLst>
                  <a:gd name="connsiteX0" fmla="*/ 61350 w 429431"/>
                  <a:gd name="connsiteY0" fmla="*/ 34561 h 141658"/>
                  <a:gd name="connsiteX1" fmla="*/ 19447 w 429431"/>
                  <a:gd name="connsiteY1" fmla="*/ 40343 h 141658"/>
                  <a:gd name="connsiteX2" fmla="*/ 5227 w 429431"/>
                  <a:gd name="connsiteY2" fmla="*/ 52190 h 141658"/>
                  <a:gd name="connsiteX3" fmla="*/ 10346 w 429431"/>
                  <a:gd name="connsiteY3" fmla="*/ 132465 h 141658"/>
                  <a:gd name="connsiteX4" fmla="*/ 22576 w 429431"/>
                  <a:gd name="connsiteY4" fmla="*/ 139384 h 141658"/>
                  <a:gd name="connsiteX5" fmla="*/ 52439 w 429431"/>
                  <a:gd name="connsiteY5" fmla="*/ 140616 h 141658"/>
                  <a:gd name="connsiteX6" fmla="*/ 45613 w 429431"/>
                  <a:gd name="connsiteY6" fmla="*/ 119670 h 141658"/>
                  <a:gd name="connsiteX7" fmla="*/ 79173 w 429431"/>
                  <a:gd name="connsiteY7" fmla="*/ 86119 h 141658"/>
                  <a:gd name="connsiteX8" fmla="*/ 112733 w 429431"/>
                  <a:gd name="connsiteY8" fmla="*/ 119670 h 141658"/>
                  <a:gd name="connsiteX9" fmla="*/ 104770 w 429431"/>
                  <a:gd name="connsiteY9" fmla="*/ 141658 h 141658"/>
                  <a:gd name="connsiteX10" fmla="*/ 326514 w 429431"/>
                  <a:gd name="connsiteY10" fmla="*/ 141658 h 141658"/>
                  <a:gd name="connsiteX11" fmla="*/ 318456 w 429431"/>
                  <a:gd name="connsiteY11" fmla="*/ 119670 h 141658"/>
                  <a:gd name="connsiteX12" fmla="*/ 353849 w 429431"/>
                  <a:gd name="connsiteY12" fmla="*/ 87857 h 141658"/>
                  <a:gd name="connsiteX13" fmla="*/ 385671 w 429431"/>
                  <a:gd name="connsiteY13" fmla="*/ 119670 h 141658"/>
                  <a:gd name="connsiteX14" fmla="*/ 378750 w 429431"/>
                  <a:gd name="connsiteY14" fmla="*/ 140616 h 141658"/>
                  <a:gd name="connsiteX15" fmla="*/ 414017 w 429431"/>
                  <a:gd name="connsiteY15" fmla="*/ 139384 h 141658"/>
                  <a:gd name="connsiteX16" fmla="*/ 425867 w 429431"/>
                  <a:gd name="connsiteY16" fmla="*/ 127821 h 141658"/>
                  <a:gd name="connsiteX17" fmla="*/ 429280 w 429431"/>
                  <a:gd name="connsiteY17" fmla="*/ 107823 h 141658"/>
                  <a:gd name="connsiteX18" fmla="*/ 425962 w 429431"/>
                  <a:gd name="connsiteY18" fmla="*/ 96450 h 141658"/>
                  <a:gd name="connsiteX19" fmla="*/ 427100 w 429431"/>
                  <a:gd name="connsiteY19" fmla="*/ 86972 h 141658"/>
                  <a:gd name="connsiteX20" fmla="*/ 318930 w 429431"/>
                  <a:gd name="connsiteY20" fmla="*/ 42428 h 141658"/>
                  <a:gd name="connsiteX21" fmla="*/ 262048 w 429431"/>
                  <a:gd name="connsiteY21" fmla="*/ 12668 h 141658"/>
                  <a:gd name="connsiteX22" fmla="*/ 152645 w 429431"/>
                  <a:gd name="connsiteY22" fmla="*/ 631 h 141658"/>
                  <a:gd name="connsiteX23" fmla="*/ 102116 w 429431"/>
                  <a:gd name="connsiteY23" fmla="*/ 8687 h 141658"/>
                  <a:gd name="connsiteX24" fmla="*/ 61919 w 429431"/>
                  <a:gd name="connsiteY24" fmla="*/ 34467 h 141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9431" h="141658">
                    <a:moveTo>
                      <a:pt x="61350" y="34561"/>
                    </a:moveTo>
                    <a:lnTo>
                      <a:pt x="19447" y="40343"/>
                    </a:lnTo>
                    <a:cubicBezTo>
                      <a:pt x="12616" y="40733"/>
                      <a:pt x="6843" y="45543"/>
                      <a:pt x="5227" y="52190"/>
                    </a:cubicBezTo>
                    <a:cubicBezTo>
                      <a:pt x="-272" y="76263"/>
                      <a:pt x="-4917" y="111140"/>
                      <a:pt x="10346" y="132465"/>
                    </a:cubicBezTo>
                    <a:cubicBezTo>
                      <a:pt x="13120" y="136553"/>
                      <a:pt x="17643" y="139111"/>
                      <a:pt x="22576" y="139384"/>
                    </a:cubicBezTo>
                    <a:lnTo>
                      <a:pt x="52439" y="140616"/>
                    </a:lnTo>
                    <a:cubicBezTo>
                      <a:pt x="48140" y="134463"/>
                      <a:pt x="45764" y="127174"/>
                      <a:pt x="45613" y="119670"/>
                    </a:cubicBezTo>
                    <a:cubicBezTo>
                      <a:pt x="45613" y="101141"/>
                      <a:pt x="60638" y="86119"/>
                      <a:pt x="79173" y="86119"/>
                    </a:cubicBezTo>
                    <a:cubicBezTo>
                      <a:pt x="97708" y="86119"/>
                      <a:pt x="112733" y="101141"/>
                      <a:pt x="112733" y="119670"/>
                    </a:cubicBezTo>
                    <a:cubicBezTo>
                      <a:pt x="112502" y="127663"/>
                      <a:pt x="109711" y="135370"/>
                      <a:pt x="104770" y="141658"/>
                    </a:cubicBezTo>
                    <a:lnTo>
                      <a:pt x="326514" y="141658"/>
                    </a:lnTo>
                    <a:cubicBezTo>
                      <a:pt x="321509" y="135399"/>
                      <a:pt x="318680" y="127680"/>
                      <a:pt x="318456" y="119670"/>
                    </a:cubicBezTo>
                    <a:cubicBezTo>
                      <a:pt x="319442" y="101115"/>
                      <a:pt x="335288" y="86871"/>
                      <a:pt x="353849" y="87857"/>
                    </a:cubicBezTo>
                    <a:cubicBezTo>
                      <a:pt x="371031" y="88770"/>
                      <a:pt x="384758" y="102493"/>
                      <a:pt x="385671" y="119670"/>
                    </a:cubicBezTo>
                    <a:cubicBezTo>
                      <a:pt x="385492" y="127184"/>
                      <a:pt x="383083" y="134474"/>
                      <a:pt x="378750" y="140616"/>
                    </a:cubicBezTo>
                    <a:lnTo>
                      <a:pt x="414017" y="139384"/>
                    </a:lnTo>
                    <a:cubicBezTo>
                      <a:pt x="420106" y="138607"/>
                      <a:pt x="424943" y="133888"/>
                      <a:pt x="425867" y="127821"/>
                    </a:cubicBezTo>
                    <a:lnTo>
                      <a:pt x="429280" y="107823"/>
                    </a:lnTo>
                    <a:cubicBezTo>
                      <a:pt x="429882" y="103730"/>
                      <a:pt x="428671" y="99578"/>
                      <a:pt x="425962" y="96450"/>
                    </a:cubicBezTo>
                    <a:lnTo>
                      <a:pt x="427100" y="86972"/>
                    </a:lnTo>
                    <a:cubicBezTo>
                      <a:pt x="428332" y="48588"/>
                      <a:pt x="345854" y="47546"/>
                      <a:pt x="318930" y="42428"/>
                    </a:cubicBezTo>
                    <a:lnTo>
                      <a:pt x="262048" y="12668"/>
                    </a:lnTo>
                    <a:cubicBezTo>
                      <a:pt x="233607" y="-2212"/>
                      <a:pt x="184594" y="-316"/>
                      <a:pt x="152645" y="631"/>
                    </a:cubicBezTo>
                    <a:cubicBezTo>
                      <a:pt x="141079" y="631"/>
                      <a:pt x="111691" y="2811"/>
                      <a:pt x="102116" y="8687"/>
                    </a:cubicBezTo>
                    <a:lnTo>
                      <a:pt x="61919" y="34467"/>
                    </a:lnTo>
                    <a:close/>
                  </a:path>
                </a:pathLst>
              </a:custGeom>
              <a:solidFill>
                <a:srgbClr val="FFFFFF"/>
              </a:solidFill>
              <a:ln w="9391" cap="flat">
                <a:noFill/>
                <a:prstDash val="solid"/>
                <a:miter/>
              </a:ln>
            </p:spPr>
            <p:txBody>
              <a:bodyPr rtlCol="0" anchor="ctr"/>
              <a:lstStyle/>
              <a:p>
                <a:endParaRPr lang="fr-FR"/>
              </a:p>
            </p:txBody>
          </p:sp>
          <p:sp>
            <p:nvSpPr>
              <p:cNvPr id="560" name="Freeform 275">
                <a:extLst>
                  <a:ext uri="{FF2B5EF4-FFF2-40B4-BE49-F238E27FC236}">
                    <a16:creationId xmlns:a16="http://schemas.microsoft.com/office/drawing/2014/main" id="{E88E7893-9695-4241-8506-434DCBE9C39B}"/>
                  </a:ext>
                </a:extLst>
              </p:cNvPr>
              <p:cNvSpPr/>
              <p:nvPr/>
            </p:nvSpPr>
            <p:spPr>
              <a:xfrm>
                <a:off x="5181037"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1" name="Freeform 276">
                <a:extLst>
                  <a:ext uri="{FF2B5EF4-FFF2-40B4-BE49-F238E27FC236}">
                    <a16:creationId xmlns:a16="http://schemas.microsoft.com/office/drawing/2014/main" id="{010CA6A3-9D90-4CFD-9B20-33478FEAEB59}"/>
                  </a:ext>
                </a:extLst>
              </p:cNvPr>
              <p:cNvSpPr/>
              <p:nvPr/>
            </p:nvSpPr>
            <p:spPr>
              <a:xfrm>
                <a:off x="5685833"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2" name="Freeform 277">
                <a:extLst>
                  <a:ext uri="{FF2B5EF4-FFF2-40B4-BE49-F238E27FC236}">
                    <a16:creationId xmlns:a16="http://schemas.microsoft.com/office/drawing/2014/main" id="{77687A77-448F-4DCC-807B-4F1F9B8D1A70}"/>
                  </a:ext>
                </a:extLst>
              </p:cNvPr>
              <p:cNvSpPr/>
              <p:nvPr/>
            </p:nvSpPr>
            <p:spPr>
              <a:xfrm>
                <a:off x="6190626"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3" name="Freeform 278">
                <a:extLst>
                  <a:ext uri="{FF2B5EF4-FFF2-40B4-BE49-F238E27FC236}">
                    <a16:creationId xmlns:a16="http://schemas.microsoft.com/office/drawing/2014/main" id="{ADDE8405-78A1-432E-B876-6A49B947B02D}"/>
                  </a:ext>
                </a:extLst>
              </p:cNvPr>
              <p:cNvSpPr/>
              <p:nvPr/>
            </p:nvSpPr>
            <p:spPr>
              <a:xfrm>
                <a:off x="6695148"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4" name="Freeform 279">
                <a:extLst>
                  <a:ext uri="{FF2B5EF4-FFF2-40B4-BE49-F238E27FC236}">
                    <a16:creationId xmlns:a16="http://schemas.microsoft.com/office/drawing/2014/main" id="{50A11061-B0CA-413A-B149-4492D69DA235}"/>
                  </a:ext>
                </a:extLst>
              </p:cNvPr>
              <p:cNvSpPr/>
              <p:nvPr/>
            </p:nvSpPr>
            <p:spPr>
              <a:xfrm>
                <a:off x="5433572" y="226032"/>
                <a:ext cx="207790" cy="36000"/>
              </a:xfrm>
              <a:custGeom>
                <a:avLst/>
                <a:gdLst>
                  <a:gd name="connsiteX0" fmla="*/ 0 w 71765"/>
                  <a:gd name="connsiteY0" fmla="*/ 0 h 34877"/>
                  <a:gd name="connsiteX1" fmla="*/ 71766 w 71765"/>
                  <a:gd name="connsiteY1" fmla="*/ 0 h 34877"/>
                  <a:gd name="connsiteX2" fmla="*/ 71766 w 71765"/>
                  <a:gd name="connsiteY2" fmla="*/ 34878 h 34877"/>
                  <a:gd name="connsiteX3" fmla="*/ 0 w 71765"/>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765" h="34877">
                    <a:moveTo>
                      <a:pt x="0" y="0"/>
                    </a:moveTo>
                    <a:lnTo>
                      <a:pt x="71766" y="0"/>
                    </a:lnTo>
                    <a:lnTo>
                      <a:pt x="71766"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5" name="Freeform 280">
                <a:extLst>
                  <a:ext uri="{FF2B5EF4-FFF2-40B4-BE49-F238E27FC236}">
                    <a16:creationId xmlns:a16="http://schemas.microsoft.com/office/drawing/2014/main" id="{AE2D1B48-25DB-4FD9-BF6C-99EF43E8A795}"/>
                  </a:ext>
                </a:extLst>
              </p:cNvPr>
              <p:cNvSpPr/>
              <p:nvPr/>
            </p:nvSpPr>
            <p:spPr>
              <a:xfrm>
                <a:off x="5938094"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6" name="Freeform 281">
                <a:extLst>
                  <a:ext uri="{FF2B5EF4-FFF2-40B4-BE49-F238E27FC236}">
                    <a16:creationId xmlns:a16="http://schemas.microsoft.com/office/drawing/2014/main" id="{0C0B6DAA-93C9-45DA-8BC6-4009734D4433}"/>
                  </a:ext>
                </a:extLst>
              </p:cNvPr>
              <p:cNvSpPr/>
              <p:nvPr/>
            </p:nvSpPr>
            <p:spPr>
              <a:xfrm>
                <a:off x="6443162" y="226032"/>
                <a:ext cx="207790" cy="36000"/>
              </a:xfrm>
              <a:custGeom>
                <a:avLst/>
                <a:gdLst>
                  <a:gd name="connsiteX0" fmla="*/ 0 w 71765"/>
                  <a:gd name="connsiteY0" fmla="*/ 0 h 34877"/>
                  <a:gd name="connsiteX1" fmla="*/ 71766 w 71765"/>
                  <a:gd name="connsiteY1" fmla="*/ 0 h 34877"/>
                  <a:gd name="connsiteX2" fmla="*/ 71766 w 71765"/>
                  <a:gd name="connsiteY2" fmla="*/ 34878 h 34877"/>
                  <a:gd name="connsiteX3" fmla="*/ 0 w 71765"/>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765" h="34877">
                    <a:moveTo>
                      <a:pt x="0" y="0"/>
                    </a:moveTo>
                    <a:lnTo>
                      <a:pt x="71766" y="0"/>
                    </a:lnTo>
                    <a:lnTo>
                      <a:pt x="71766" y="34878"/>
                    </a:lnTo>
                    <a:lnTo>
                      <a:pt x="0" y="34878"/>
                    </a:lnTo>
                    <a:close/>
                  </a:path>
                </a:pathLst>
              </a:custGeom>
              <a:solidFill>
                <a:schemeClr val="bg1"/>
              </a:solidFill>
              <a:ln w="9391" cap="flat">
                <a:noFill/>
                <a:prstDash val="solid"/>
                <a:miter/>
              </a:ln>
            </p:spPr>
            <p:txBody>
              <a:bodyPr rtlCol="0" anchor="ctr"/>
              <a:lstStyle/>
              <a:p>
                <a:endParaRPr lang="fr-FR"/>
              </a:p>
            </p:txBody>
          </p:sp>
          <p:grpSp>
            <p:nvGrpSpPr>
              <p:cNvPr id="8" name="Group 7">
                <a:extLst>
                  <a:ext uri="{FF2B5EF4-FFF2-40B4-BE49-F238E27FC236}">
                    <a16:creationId xmlns:a16="http://schemas.microsoft.com/office/drawing/2014/main" id="{94E91A88-2391-4F5C-BF6E-1083A46E5384}"/>
                  </a:ext>
                </a:extLst>
              </p:cNvPr>
              <p:cNvGrpSpPr/>
              <p:nvPr/>
            </p:nvGrpSpPr>
            <p:grpSpPr>
              <a:xfrm>
                <a:off x="6099093" y="-457767"/>
                <a:ext cx="731378" cy="653717"/>
                <a:chOff x="6099093" y="-457767"/>
                <a:chExt cx="731378" cy="653717"/>
              </a:xfrm>
            </p:grpSpPr>
            <p:sp>
              <p:nvSpPr>
                <p:cNvPr id="559" name="Freeform 274">
                  <a:extLst>
                    <a:ext uri="{FF2B5EF4-FFF2-40B4-BE49-F238E27FC236}">
                      <a16:creationId xmlns:a16="http://schemas.microsoft.com/office/drawing/2014/main" id="{54762768-E970-47ED-A97C-492358FB2EC2}"/>
                    </a:ext>
                  </a:extLst>
                </p:cNvPr>
                <p:cNvSpPr/>
                <p:nvPr/>
              </p:nvSpPr>
              <p:spPr>
                <a:xfrm>
                  <a:off x="6176352" y="-457767"/>
                  <a:ext cx="654119" cy="653717"/>
                </a:xfrm>
                <a:custGeom>
                  <a:avLst/>
                  <a:gdLst>
                    <a:gd name="connsiteX0" fmla="*/ 127036 w 225915"/>
                    <a:gd name="connsiteY0" fmla="*/ 202916 h 224524"/>
                    <a:gd name="connsiteX1" fmla="*/ 129690 w 225915"/>
                    <a:gd name="connsiteY1" fmla="*/ 202063 h 224524"/>
                    <a:gd name="connsiteX2" fmla="*/ 130733 w 225915"/>
                    <a:gd name="connsiteY2" fmla="*/ 199504 h 224524"/>
                    <a:gd name="connsiteX3" fmla="*/ 139455 w 225915"/>
                    <a:gd name="connsiteY3" fmla="*/ 94587 h 224524"/>
                    <a:gd name="connsiteX4" fmla="*/ 196515 w 225915"/>
                    <a:gd name="connsiteY4" fmla="*/ 113340 h 224524"/>
                    <a:gd name="connsiteX5" fmla="*/ 204110 w 225915"/>
                    <a:gd name="connsiteY5" fmla="*/ 108424 h 224524"/>
                    <a:gd name="connsiteX6" fmla="*/ 211600 w 225915"/>
                    <a:gd name="connsiteY6" fmla="*/ 199504 h 224524"/>
                    <a:gd name="connsiteX7" fmla="*/ 215582 w 225915"/>
                    <a:gd name="connsiteY7" fmla="*/ 202916 h 224524"/>
                    <a:gd name="connsiteX8" fmla="*/ 222313 w 225915"/>
                    <a:gd name="connsiteY8" fmla="*/ 209645 h 224524"/>
                    <a:gd name="connsiteX9" fmla="*/ 225915 w 225915"/>
                    <a:gd name="connsiteY9" fmla="*/ 224525 h 224524"/>
                    <a:gd name="connsiteX10" fmla="*/ 116892 w 225915"/>
                    <a:gd name="connsiteY10" fmla="*/ 224525 h 224524"/>
                    <a:gd name="connsiteX11" fmla="*/ 120305 w 225915"/>
                    <a:gd name="connsiteY11" fmla="*/ 209834 h 224524"/>
                    <a:gd name="connsiteX12" fmla="*/ 127036 w 225915"/>
                    <a:gd name="connsiteY12" fmla="*/ 203105 h 224524"/>
                    <a:gd name="connsiteX13" fmla="*/ 97363 w 225915"/>
                    <a:gd name="connsiteY13" fmla="*/ 190 h 224524"/>
                    <a:gd name="connsiteX14" fmla="*/ 168465 w 225915"/>
                    <a:gd name="connsiteY14" fmla="*/ 33930 h 224524"/>
                    <a:gd name="connsiteX15" fmla="*/ 135568 w 225915"/>
                    <a:gd name="connsiteY15" fmla="*/ 70608 h 224524"/>
                    <a:gd name="connsiteX16" fmla="*/ 82573 w 225915"/>
                    <a:gd name="connsiteY16" fmla="*/ 45303 h 224524"/>
                    <a:gd name="connsiteX17" fmla="*/ 106634 w 225915"/>
                    <a:gd name="connsiteY17" fmla="*/ 17729 h 224524"/>
                    <a:gd name="connsiteX18" fmla="*/ 97837 w 225915"/>
                    <a:gd name="connsiteY18" fmla="*/ 0 h 224524"/>
                    <a:gd name="connsiteX19" fmla="*/ 28441 w 225915"/>
                    <a:gd name="connsiteY19" fmla="*/ 39143 h 224524"/>
                    <a:gd name="connsiteX20" fmla="*/ 28441 w 225915"/>
                    <a:gd name="connsiteY20" fmla="*/ 46061 h 224524"/>
                    <a:gd name="connsiteX21" fmla="*/ 17349 w 225915"/>
                    <a:gd name="connsiteY21" fmla="*/ 52980 h 224524"/>
                    <a:gd name="connsiteX22" fmla="*/ 26829 w 225915"/>
                    <a:gd name="connsiteY22" fmla="*/ 67575 h 224524"/>
                    <a:gd name="connsiteX23" fmla="*/ 37826 w 225915"/>
                    <a:gd name="connsiteY23" fmla="*/ 60467 h 224524"/>
                    <a:gd name="connsiteX24" fmla="*/ 43989 w 225915"/>
                    <a:gd name="connsiteY24" fmla="*/ 63500 h 224524"/>
                    <a:gd name="connsiteX25" fmla="*/ 73377 w 225915"/>
                    <a:gd name="connsiteY25" fmla="*/ 44545 h 224524"/>
                    <a:gd name="connsiteX26" fmla="*/ 54417 w 225915"/>
                    <a:gd name="connsiteY26" fmla="*/ 22272 h 224524"/>
                    <a:gd name="connsiteX27" fmla="*/ 0 w 225915"/>
                    <a:gd name="connsiteY27" fmla="*/ 70798 h 224524"/>
                    <a:gd name="connsiteX28" fmla="*/ 17539 w 225915"/>
                    <a:gd name="connsiteY28" fmla="*/ 59425 h 224524"/>
                    <a:gd name="connsiteX29" fmla="*/ 21520 w 225915"/>
                    <a:gd name="connsiteY29" fmla="*/ 65490 h 224524"/>
                    <a:gd name="connsiteX30" fmla="*/ 4077 w 225915"/>
                    <a:gd name="connsiteY30" fmla="*/ 76769 h 2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5915" h="224524">
                      <a:moveTo>
                        <a:pt x="127036" y="202916"/>
                      </a:moveTo>
                      <a:cubicBezTo>
                        <a:pt x="128001" y="203010"/>
                        <a:pt x="128961" y="202701"/>
                        <a:pt x="129690" y="202063"/>
                      </a:cubicBezTo>
                      <a:cubicBezTo>
                        <a:pt x="130356" y="201377"/>
                        <a:pt x="130729" y="200459"/>
                        <a:pt x="130733" y="199504"/>
                      </a:cubicBezTo>
                      <a:lnTo>
                        <a:pt x="139455" y="94587"/>
                      </a:lnTo>
                      <a:cubicBezTo>
                        <a:pt x="150032" y="115517"/>
                        <a:pt x="175578" y="123913"/>
                        <a:pt x="196515" y="113340"/>
                      </a:cubicBezTo>
                      <a:cubicBezTo>
                        <a:pt x="199214" y="111976"/>
                        <a:pt x="201761" y="110328"/>
                        <a:pt x="204110" y="108424"/>
                      </a:cubicBezTo>
                      <a:cubicBezTo>
                        <a:pt x="206575" y="138373"/>
                        <a:pt x="209135" y="169649"/>
                        <a:pt x="211600" y="199504"/>
                      </a:cubicBezTo>
                      <a:cubicBezTo>
                        <a:pt x="211600" y="202821"/>
                        <a:pt x="213306" y="202821"/>
                        <a:pt x="215582" y="202916"/>
                      </a:cubicBezTo>
                      <a:cubicBezTo>
                        <a:pt x="219279" y="202916"/>
                        <a:pt x="221554" y="206043"/>
                        <a:pt x="222313" y="209645"/>
                      </a:cubicBezTo>
                      <a:lnTo>
                        <a:pt x="225915" y="224525"/>
                      </a:lnTo>
                      <a:lnTo>
                        <a:pt x="116892" y="224525"/>
                      </a:lnTo>
                      <a:lnTo>
                        <a:pt x="120305" y="209834"/>
                      </a:lnTo>
                      <a:cubicBezTo>
                        <a:pt x="121063" y="206233"/>
                        <a:pt x="123338" y="203105"/>
                        <a:pt x="127036" y="203105"/>
                      </a:cubicBezTo>
                      <a:close/>
                      <a:moveTo>
                        <a:pt x="97363" y="190"/>
                      </a:moveTo>
                      <a:lnTo>
                        <a:pt x="168465" y="33930"/>
                      </a:lnTo>
                      <a:cubicBezTo>
                        <a:pt x="150800" y="37897"/>
                        <a:pt x="137593" y="52622"/>
                        <a:pt x="135568" y="70608"/>
                      </a:cubicBezTo>
                      <a:lnTo>
                        <a:pt x="82573" y="45303"/>
                      </a:lnTo>
                      <a:cubicBezTo>
                        <a:pt x="96834" y="44331"/>
                        <a:pt x="107606" y="31986"/>
                        <a:pt x="106634" y="17729"/>
                      </a:cubicBezTo>
                      <a:cubicBezTo>
                        <a:pt x="106168" y="10887"/>
                        <a:pt x="103003" y="4511"/>
                        <a:pt x="97837" y="0"/>
                      </a:cubicBezTo>
                      <a:close/>
                      <a:moveTo>
                        <a:pt x="28441" y="39143"/>
                      </a:moveTo>
                      <a:lnTo>
                        <a:pt x="28441" y="46061"/>
                      </a:lnTo>
                      <a:lnTo>
                        <a:pt x="17349" y="52980"/>
                      </a:lnTo>
                      <a:lnTo>
                        <a:pt x="26829" y="67575"/>
                      </a:lnTo>
                      <a:lnTo>
                        <a:pt x="37826" y="60467"/>
                      </a:lnTo>
                      <a:lnTo>
                        <a:pt x="43989" y="63500"/>
                      </a:lnTo>
                      <a:lnTo>
                        <a:pt x="73377" y="44545"/>
                      </a:lnTo>
                      <a:cubicBezTo>
                        <a:pt x="63108" y="41676"/>
                        <a:pt x="55607" y="32865"/>
                        <a:pt x="54417" y="22272"/>
                      </a:cubicBezTo>
                      <a:close/>
                      <a:moveTo>
                        <a:pt x="0" y="70798"/>
                      </a:moveTo>
                      <a:lnTo>
                        <a:pt x="17539" y="59425"/>
                      </a:lnTo>
                      <a:lnTo>
                        <a:pt x="21520" y="65490"/>
                      </a:lnTo>
                      <a:lnTo>
                        <a:pt x="4077" y="76769"/>
                      </a:lnTo>
                      <a:close/>
                    </a:path>
                  </a:pathLst>
                </a:custGeom>
                <a:solidFill>
                  <a:schemeClr val="bg1"/>
                </a:solidFill>
                <a:ln w="9391" cap="flat">
                  <a:noFill/>
                  <a:prstDash val="solid"/>
                  <a:miter/>
                </a:ln>
              </p:spPr>
              <p:txBody>
                <a:bodyPr rtlCol="0" anchor="ctr"/>
                <a:lstStyle/>
                <a:p>
                  <a:endParaRPr lang="fr-FR" dirty="0"/>
                </a:p>
              </p:txBody>
            </p:sp>
            <p:sp>
              <p:nvSpPr>
                <p:cNvPr id="567" name="Freeform 282">
                  <a:extLst>
                    <a:ext uri="{FF2B5EF4-FFF2-40B4-BE49-F238E27FC236}">
                      <a16:creationId xmlns:a16="http://schemas.microsoft.com/office/drawing/2014/main" id="{BCE203C1-92FF-464A-AC0B-4E32F99997A1}"/>
                    </a:ext>
                  </a:extLst>
                </p:cNvPr>
                <p:cNvSpPr/>
                <p:nvPr/>
              </p:nvSpPr>
              <p:spPr>
                <a:xfrm rot="19455000">
                  <a:off x="6136896" y="-331996"/>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568" name="Freeform 283">
                  <a:extLst>
                    <a:ext uri="{FF2B5EF4-FFF2-40B4-BE49-F238E27FC236}">
                      <a16:creationId xmlns:a16="http://schemas.microsoft.com/office/drawing/2014/main" id="{4D29B819-99D8-49B4-968F-BA9CC47EB055}"/>
                    </a:ext>
                  </a:extLst>
                </p:cNvPr>
                <p:cNvSpPr/>
                <p:nvPr/>
              </p:nvSpPr>
              <p:spPr>
                <a:xfrm>
                  <a:off x="6102788" y="-269569"/>
                  <a:ext cx="46938" cy="27870"/>
                </a:xfrm>
                <a:custGeom>
                  <a:avLst/>
                  <a:gdLst>
                    <a:gd name="connsiteX0" fmla="*/ 14884 w 16211"/>
                    <a:gd name="connsiteY0" fmla="*/ 9572 h 9572"/>
                    <a:gd name="connsiteX1" fmla="*/ 16211 w 16211"/>
                    <a:gd name="connsiteY1" fmla="*/ 2938 h 9572"/>
                    <a:gd name="connsiteX2" fmla="*/ 1232 w 16211"/>
                    <a:gd name="connsiteY2" fmla="*/ 0 h 9572"/>
                    <a:gd name="connsiteX3" fmla="*/ 0 w 16211"/>
                    <a:gd name="connsiteY3" fmla="*/ 6729 h 9572"/>
                    <a:gd name="connsiteX4" fmla="*/ 14884 w 16211"/>
                    <a:gd name="connsiteY4" fmla="*/ 9572 h 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1" h="9572">
                      <a:moveTo>
                        <a:pt x="14884" y="9572"/>
                      </a:moveTo>
                      <a:lnTo>
                        <a:pt x="16211" y="2938"/>
                      </a:lnTo>
                      <a:lnTo>
                        <a:pt x="1232" y="0"/>
                      </a:lnTo>
                      <a:lnTo>
                        <a:pt x="0" y="6729"/>
                      </a:lnTo>
                      <a:lnTo>
                        <a:pt x="14884" y="9572"/>
                      </a:lnTo>
                      <a:close/>
                    </a:path>
                  </a:pathLst>
                </a:custGeom>
                <a:solidFill>
                  <a:srgbClr val="FFFFFF"/>
                </a:solidFill>
                <a:ln w="9391" cap="flat">
                  <a:noFill/>
                  <a:prstDash val="solid"/>
                  <a:miter/>
                </a:ln>
              </p:spPr>
              <p:txBody>
                <a:bodyPr rtlCol="0" anchor="ctr"/>
                <a:lstStyle/>
                <a:p>
                  <a:endParaRPr lang="fr-FR"/>
                </a:p>
              </p:txBody>
            </p:sp>
            <p:sp>
              <p:nvSpPr>
                <p:cNvPr id="569" name="Freeform 284">
                  <a:extLst>
                    <a:ext uri="{FF2B5EF4-FFF2-40B4-BE49-F238E27FC236}">
                      <a16:creationId xmlns:a16="http://schemas.microsoft.com/office/drawing/2014/main" id="{C2CA4620-6003-4F46-8433-69C46408026F}"/>
                    </a:ext>
                  </a:extLst>
                </p:cNvPr>
                <p:cNvSpPr/>
                <p:nvPr/>
              </p:nvSpPr>
              <p:spPr>
                <a:xfrm rot="19559551">
                  <a:off x="6099093" y="-221121"/>
                  <a:ext cx="64860" cy="19615"/>
                </a:xfrm>
                <a:custGeom>
                  <a:avLst/>
                  <a:gdLst>
                    <a:gd name="connsiteX0" fmla="*/ 0 w 22401"/>
                    <a:gd name="connsiteY0" fmla="*/ 0 h 6737"/>
                    <a:gd name="connsiteX1" fmla="*/ 22401 w 22401"/>
                    <a:gd name="connsiteY1" fmla="*/ 0 h 6737"/>
                    <a:gd name="connsiteX2" fmla="*/ 22401 w 22401"/>
                    <a:gd name="connsiteY2" fmla="*/ 6737 h 6737"/>
                    <a:gd name="connsiteX3" fmla="*/ 0 w 22401"/>
                    <a:gd name="connsiteY3" fmla="*/ 6737 h 6737"/>
                  </a:gdLst>
                  <a:ahLst/>
                  <a:cxnLst>
                    <a:cxn ang="0">
                      <a:pos x="connsiteX0" y="connsiteY0"/>
                    </a:cxn>
                    <a:cxn ang="0">
                      <a:pos x="connsiteX1" y="connsiteY1"/>
                    </a:cxn>
                    <a:cxn ang="0">
                      <a:pos x="connsiteX2" y="connsiteY2"/>
                    </a:cxn>
                    <a:cxn ang="0">
                      <a:pos x="connsiteX3" y="connsiteY3"/>
                    </a:cxn>
                  </a:cxnLst>
                  <a:rect l="l" t="t" r="r" b="b"/>
                  <a:pathLst>
                    <a:path w="22401" h="6737">
                      <a:moveTo>
                        <a:pt x="0" y="0"/>
                      </a:moveTo>
                      <a:lnTo>
                        <a:pt x="22401" y="0"/>
                      </a:lnTo>
                      <a:lnTo>
                        <a:pt x="22401" y="6737"/>
                      </a:lnTo>
                      <a:lnTo>
                        <a:pt x="0" y="6737"/>
                      </a:lnTo>
                      <a:close/>
                    </a:path>
                  </a:pathLst>
                </a:custGeom>
                <a:solidFill>
                  <a:srgbClr val="FFFFFF"/>
                </a:solidFill>
                <a:ln w="9403" cap="flat">
                  <a:noFill/>
                  <a:prstDash val="solid"/>
                  <a:miter/>
                </a:ln>
              </p:spPr>
              <p:txBody>
                <a:bodyPr rtlCol="0" anchor="ctr"/>
                <a:lstStyle/>
                <a:p>
                  <a:endParaRPr lang="fr-FR"/>
                </a:p>
              </p:txBody>
            </p:sp>
            <p:sp>
              <p:nvSpPr>
                <p:cNvPr id="570" name="Freeform 285">
                  <a:extLst>
                    <a:ext uri="{FF2B5EF4-FFF2-40B4-BE49-F238E27FC236}">
                      <a16:creationId xmlns:a16="http://schemas.microsoft.com/office/drawing/2014/main" id="{408C0133-229B-4795-AE5E-F2E273CEF0BF}"/>
                    </a:ext>
                  </a:extLst>
                </p:cNvPr>
                <p:cNvSpPr/>
                <p:nvPr/>
              </p:nvSpPr>
              <p:spPr>
                <a:xfrm>
                  <a:off x="6170590" y="-209966"/>
                  <a:ext cx="19761" cy="44425"/>
                </a:xfrm>
                <a:custGeom>
                  <a:avLst/>
                  <a:gdLst>
                    <a:gd name="connsiteX0" fmla="*/ 6731 w 6825"/>
                    <a:gd name="connsiteY0" fmla="*/ 0 h 15258"/>
                    <a:gd name="connsiteX1" fmla="*/ 6826 w 6825"/>
                    <a:gd name="connsiteY1" fmla="*/ 15259 h 15258"/>
                    <a:gd name="connsiteX2" fmla="*/ 95 w 6825"/>
                    <a:gd name="connsiteY2" fmla="*/ 15259 h 15258"/>
                    <a:gd name="connsiteX3" fmla="*/ 0 w 6825"/>
                    <a:gd name="connsiteY3" fmla="*/ 0 h 15258"/>
                    <a:gd name="connsiteX4" fmla="*/ 6731 w 6825"/>
                    <a:gd name="connsiteY4" fmla="*/ 0 h 15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5" h="15258">
                      <a:moveTo>
                        <a:pt x="6731" y="0"/>
                      </a:moveTo>
                      <a:lnTo>
                        <a:pt x="6826" y="15259"/>
                      </a:lnTo>
                      <a:lnTo>
                        <a:pt x="95" y="15259"/>
                      </a:lnTo>
                      <a:lnTo>
                        <a:pt x="0" y="0"/>
                      </a:lnTo>
                      <a:lnTo>
                        <a:pt x="6731" y="0"/>
                      </a:lnTo>
                      <a:close/>
                    </a:path>
                  </a:pathLst>
                </a:custGeom>
                <a:solidFill>
                  <a:srgbClr val="FFFFFF"/>
                </a:solidFill>
                <a:ln w="9391" cap="flat">
                  <a:noFill/>
                  <a:prstDash val="solid"/>
                  <a:miter/>
                </a:ln>
              </p:spPr>
              <p:txBody>
                <a:bodyPr rtlCol="0" anchor="ctr"/>
                <a:lstStyle/>
                <a:p>
                  <a:endParaRPr lang="fr-FR"/>
                </a:p>
              </p:txBody>
            </p:sp>
            <p:sp>
              <p:nvSpPr>
                <p:cNvPr id="571" name="Freeform 286">
                  <a:extLst>
                    <a:ext uri="{FF2B5EF4-FFF2-40B4-BE49-F238E27FC236}">
                      <a16:creationId xmlns:a16="http://schemas.microsoft.com/office/drawing/2014/main" id="{4498ECC0-F88C-4A86-AE63-B85D18571654}"/>
                    </a:ext>
                  </a:extLst>
                </p:cNvPr>
                <p:cNvSpPr/>
                <p:nvPr/>
              </p:nvSpPr>
              <p:spPr>
                <a:xfrm rot="19455000">
                  <a:off x="6216176" y="-224419"/>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572" name="Freeform 287">
                  <a:extLst>
                    <a:ext uri="{FF2B5EF4-FFF2-40B4-BE49-F238E27FC236}">
                      <a16:creationId xmlns:a16="http://schemas.microsoft.com/office/drawing/2014/main" id="{F72C7BED-918D-48F9-AAB5-D75A2DF5BB8C}"/>
                    </a:ext>
                  </a:extLst>
                </p:cNvPr>
                <p:cNvSpPr/>
                <p:nvPr/>
              </p:nvSpPr>
              <p:spPr>
                <a:xfrm>
                  <a:off x="6596877" y="-332485"/>
                  <a:ext cx="186106" cy="187092"/>
                </a:xfrm>
                <a:custGeom>
                  <a:avLst/>
                  <a:gdLst>
                    <a:gd name="connsiteX0" fmla="*/ 64276 w 64276"/>
                    <a:gd name="connsiteY0" fmla="*/ 32129 h 64258"/>
                    <a:gd name="connsiteX1" fmla="*/ 32138 w 64276"/>
                    <a:gd name="connsiteY1" fmla="*/ 64258 h 64258"/>
                    <a:gd name="connsiteX2" fmla="*/ 0 w 64276"/>
                    <a:gd name="connsiteY2" fmla="*/ 32129 h 64258"/>
                    <a:gd name="connsiteX3" fmla="*/ 32138 w 64276"/>
                    <a:gd name="connsiteY3" fmla="*/ 0 h 64258"/>
                    <a:gd name="connsiteX4" fmla="*/ 64276 w 64276"/>
                    <a:gd name="connsiteY4" fmla="*/ 32129 h 64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76" h="64258">
                      <a:moveTo>
                        <a:pt x="64276" y="32129"/>
                      </a:moveTo>
                      <a:cubicBezTo>
                        <a:pt x="64276" y="49874"/>
                        <a:pt x="49888" y="64258"/>
                        <a:pt x="32138" y="64258"/>
                      </a:cubicBezTo>
                      <a:cubicBezTo>
                        <a:pt x="14389" y="64258"/>
                        <a:pt x="0" y="49874"/>
                        <a:pt x="0" y="32129"/>
                      </a:cubicBezTo>
                      <a:cubicBezTo>
                        <a:pt x="0" y="14385"/>
                        <a:pt x="14389" y="0"/>
                        <a:pt x="32138" y="0"/>
                      </a:cubicBezTo>
                      <a:cubicBezTo>
                        <a:pt x="49888" y="0"/>
                        <a:pt x="64276" y="14385"/>
                        <a:pt x="64276" y="32129"/>
                      </a:cubicBezTo>
                      <a:close/>
                    </a:path>
                  </a:pathLst>
                </a:custGeom>
                <a:solidFill>
                  <a:srgbClr val="FFFFFF"/>
                </a:solidFill>
                <a:ln w="9391" cap="flat">
                  <a:noFill/>
                  <a:prstDash val="solid"/>
                  <a:miter/>
                </a:ln>
              </p:spPr>
              <p:txBody>
                <a:bodyPr rtlCol="0" anchor="ctr"/>
                <a:lstStyle/>
                <a:p>
                  <a:endParaRPr lang="fr-FR"/>
                </a:p>
              </p:txBody>
            </p:sp>
            <p:sp>
              <p:nvSpPr>
                <p:cNvPr id="573" name="Freeform 288">
                  <a:extLst>
                    <a:ext uri="{FF2B5EF4-FFF2-40B4-BE49-F238E27FC236}">
                      <a16:creationId xmlns:a16="http://schemas.microsoft.com/office/drawing/2014/main" id="{97F003A4-312A-4D65-BBC8-007443D25CD8}"/>
                    </a:ext>
                  </a:extLst>
                </p:cNvPr>
                <p:cNvSpPr/>
                <p:nvPr/>
              </p:nvSpPr>
              <p:spPr>
                <a:xfrm>
                  <a:off x="6362736" y="-446176"/>
                  <a:ext cx="92778" cy="93269"/>
                </a:xfrm>
                <a:custGeom>
                  <a:avLst/>
                  <a:gdLst>
                    <a:gd name="connsiteX0" fmla="*/ 32043 w 32043"/>
                    <a:gd name="connsiteY0" fmla="*/ 16017 h 32034"/>
                    <a:gd name="connsiteX1" fmla="*/ 16022 w 32043"/>
                    <a:gd name="connsiteY1" fmla="*/ 32034 h 32034"/>
                    <a:gd name="connsiteX2" fmla="*/ 0 w 32043"/>
                    <a:gd name="connsiteY2" fmla="*/ 16017 h 32034"/>
                    <a:gd name="connsiteX3" fmla="*/ 16022 w 32043"/>
                    <a:gd name="connsiteY3" fmla="*/ 0 h 32034"/>
                    <a:gd name="connsiteX4" fmla="*/ 32043 w 32043"/>
                    <a:gd name="connsiteY4" fmla="*/ 16017 h 32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43" h="32034">
                      <a:moveTo>
                        <a:pt x="32043" y="16017"/>
                      </a:moveTo>
                      <a:cubicBezTo>
                        <a:pt x="32043" y="24863"/>
                        <a:pt x="24870" y="32034"/>
                        <a:pt x="16022" y="32034"/>
                      </a:cubicBezTo>
                      <a:cubicBezTo>
                        <a:pt x="7173" y="32034"/>
                        <a:pt x="0" y="24863"/>
                        <a:pt x="0" y="16017"/>
                      </a:cubicBezTo>
                      <a:cubicBezTo>
                        <a:pt x="0" y="7171"/>
                        <a:pt x="7173" y="0"/>
                        <a:pt x="16022" y="0"/>
                      </a:cubicBezTo>
                      <a:cubicBezTo>
                        <a:pt x="24870" y="0"/>
                        <a:pt x="32043" y="7171"/>
                        <a:pt x="32043" y="16017"/>
                      </a:cubicBezTo>
                      <a:close/>
                    </a:path>
                  </a:pathLst>
                </a:custGeom>
                <a:solidFill>
                  <a:srgbClr val="FFFFFF"/>
                </a:solidFill>
                <a:ln w="9391" cap="flat">
                  <a:noFill/>
                  <a:prstDash val="solid"/>
                  <a:miter/>
                </a:ln>
              </p:spPr>
              <p:txBody>
                <a:bodyPr rtlCol="0" anchor="ctr"/>
                <a:lstStyle/>
                <a:p>
                  <a:endParaRPr lang="fr-FR"/>
                </a:p>
              </p:txBody>
            </p:sp>
          </p:grpSp>
          <p:sp>
            <p:nvSpPr>
              <p:cNvPr id="574" name="Freeform 289">
                <a:extLst>
                  <a:ext uri="{FF2B5EF4-FFF2-40B4-BE49-F238E27FC236}">
                    <a16:creationId xmlns:a16="http://schemas.microsoft.com/office/drawing/2014/main" id="{E292D5C7-C96A-4760-AF03-0146AEDF40D4}"/>
                  </a:ext>
                </a:extLst>
              </p:cNvPr>
              <p:cNvSpPr/>
              <p:nvPr/>
            </p:nvSpPr>
            <p:spPr>
              <a:xfrm>
                <a:off x="5793708" y="-163227"/>
                <a:ext cx="292281" cy="284673"/>
              </a:xfrm>
              <a:custGeom>
                <a:avLst/>
                <a:gdLst>
                  <a:gd name="connsiteX0" fmla="*/ 0 w 100946"/>
                  <a:gd name="connsiteY0" fmla="*/ 2997 h 97773"/>
                  <a:gd name="connsiteX1" fmla="*/ 1801 w 100946"/>
                  <a:gd name="connsiteY1" fmla="*/ 59 h 97773"/>
                  <a:gd name="connsiteX2" fmla="*/ 43989 w 100946"/>
                  <a:gd name="connsiteY2" fmla="*/ 5367 h 97773"/>
                  <a:gd name="connsiteX3" fmla="*/ 97552 w 100946"/>
                  <a:gd name="connsiteY3" fmla="*/ 34463 h 97773"/>
                  <a:gd name="connsiteX4" fmla="*/ 100870 w 100946"/>
                  <a:gd name="connsiteY4" fmla="*/ 42519 h 97773"/>
                  <a:gd name="connsiteX5" fmla="*/ 100870 w 100946"/>
                  <a:gd name="connsiteY5" fmla="*/ 86305 h 97773"/>
                  <a:gd name="connsiteX6" fmla="*/ 92812 w 100946"/>
                  <a:gd name="connsiteY6" fmla="*/ 97773 h 97773"/>
                  <a:gd name="connsiteX7" fmla="*/ 8911 w 100946"/>
                  <a:gd name="connsiteY7" fmla="*/ 97773 h 97773"/>
                  <a:gd name="connsiteX8" fmla="*/ 4456 w 100946"/>
                  <a:gd name="connsiteY8" fmla="*/ 95783 h 97773"/>
                  <a:gd name="connsiteX9" fmla="*/ 2749 w 100946"/>
                  <a:gd name="connsiteY9" fmla="*/ 91139 h 97773"/>
                  <a:gd name="connsiteX10" fmla="*/ 95 w 100946"/>
                  <a:gd name="connsiteY10" fmla="*/ 2902 h 9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946" h="97773">
                    <a:moveTo>
                      <a:pt x="0" y="2997"/>
                    </a:moveTo>
                    <a:cubicBezTo>
                      <a:pt x="0" y="1102"/>
                      <a:pt x="0" y="59"/>
                      <a:pt x="1801" y="59"/>
                    </a:cubicBezTo>
                    <a:cubicBezTo>
                      <a:pt x="16053" y="-358"/>
                      <a:pt x="30284" y="1433"/>
                      <a:pt x="43989" y="5367"/>
                    </a:cubicBezTo>
                    <a:cubicBezTo>
                      <a:pt x="62395" y="14013"/>
                      <a:pt x="80280" y="23728"/>
                      <a:pt x="97552" y="34463"/>
                    </a:cubicBezTo>
                    <a:cubicBezTo>
                      <a:pt x="100017" y="36364"/>
                      <a:pt x="101282" y="39434"/>
                      <a:pt x="100870" y="42519"/>
                    </a:cubicBezTo>
                    <a:lnTo>
                      <a:pt x="100870" y="86305"/>
                    </a:lnTo>
                    <a:cubicBezTo>
                      <a:pt x="100870" y="91992"/>
                      <a:pt x="99069" y="97015"/>
                      <a:pt x="92812" y="97773"/>
                    </a:cubicBezTo>
                    <a:lnTo>
                      <a:pt x="8911" y="97773"/>
                    </a:lnTo>
                    <a:cubicBezTo>
                      <a:pt x="7216" y="97751"/>
                      <a:pt x="5604" y="97031"/>
                      <a:pt x="4456" y="95783"/>
                    </a:cubicBezTo>
                    <a:cubicBezTo>
                      <a:pt x="3292" y="94524"/>
                      <a:pt x="2677" y="92852"/>
                      <a:pt x="2749" y="91139"/>
                    </a:cubicBezTo>
                    <a:lnTo>
                      <a:pt x="95" y="2902"/>
                    </a:lnTo>
                    <a:close/>
                  </a:path>
                </a:pathLst>
              </a:custGeom>
              <a:solidFill>
                <a:schemeClr val="accent4"/>
              </a:solidFill>
              <a:ln w="9391" cap="flat">
                <a:noFill/>
                <a:prstDash val="solid"/>
                <a:miter/>
              </a:ln>
            </p:spPr>
            <p:txBody>
              <a:bodyPr rtlCol="0" anchor="ctr"/>
              <a:lstStyle/>
              <a:p>
                <a:endParaRPr lang="fr-FR"/>
              </a:p>
            </p:txBody>
          </p:sp>
          <p:sp>
            <p:nvSpPr>
              <p:cNvPr id="575" name="Freeform 290">
                <a:extLst>
                  <a:ext uri="{FF2B5EF4-FFF2-40B4-BE49-F238E27FC236}">
                    <a16:creationId xmlns:a16="http://schemas.microsoft.com/office/drawing/2014/main" id="{AD56439D-96C2-4182-9CBF-2D3B2BA29D4C}"/>
                  </a:ext>
                </a:extLst>
              </p:cNvPr>
              <p:cNvSpPr/>
              <p:nvPr/>
            </p:nvSpPr>
            <p:spPr>
              <a:xfrm>
                <a:off x="5469380" y="-164986"/>
                <a:ext cx="277975" cy="288435"/>
              </a:xfrm>
              <a:custGeom>
                <a:avLst/>
                <a:gdLst>
                  <a:gd name="connsiteX0" fmla="*/ 621 w 96005"/>
                  <a:gd name="connsiteY0" fmla="*/ 46346 h 99065"/>
                  <a:gd name="connsiteX1" fmla="*/ 52 w 96005"/>
                  <a:gd name="connsiteY1" fmla="*/ 36868 h 99065"/>
                  <a:gd name="connsiteX2" fmla="*/ 2423 w 96005"/>
                  <a:gd name="connsiteY2" fmla="*/ 28433 h 99065"/>
                  <a:gd name="connsiteX3" fmla="*/ 93433 w 96005"/>
                  <a:gd name="connsiteY3" fmla="*/ 0 h 99065"/>
                  <a:gd name="connsiteX4" fmla="*/ 95993 w 96005"/>
                  <a:gd name="connsiteY4" fmla="*/ 3128 h 99065"/>
                  <a:gd name="connsiteX5" fmla="*/ 95993 w 96005"/>
                  <a:gd name="connsiteY5" fmla="*/ 92028 h 99065"/>
                  <a:gd name="connsiteX6" fmla="*/ 87461 w 96005"/>
                  <a:gd name="connsiteY6" fmla="*/ 98946 h 99065"/>
                  <a:gd name="connsiteX7" fmla="*/ 65940 w 96005"/>
                  <a:gd name="connsiteY7" fmla="*/ 98946 h 99065"/>
                  <a:gd name="connsiteX8" fmla="*/ 52952 w 96005"/>
                  <a:gd name="connsiteY8" fmla="*/ 92596 h 99065"/>
                  <a:gd name="connsiteX9" fmla="*/ 10955 w 96005"/>
                  <a:gd name="connsiteY9" fmla="*/ 52506 h 99065"/>
                  <a:gd name="connsiteX10" fmla="*/ 621 w 96005"/>
                  <a:gd name="connsiteY10" fmla="*/ 46346 h 9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005" h="99065">
                    <a:moveTo>
                      <a:pt x="621" y="46346"/>
                    </a:moveTo>
                    <a:lnTo>
                      <a:pt x="52" y="36868"/>
                    </a:lnTo>
                    <a:cubicBezTo>
                      <a:pt x="-227" y="33860"/>
                      <a:pt x="617" y="30855"/>
                      <a:pt x="2423" y="28433"/>
                    </a:cubicBezTo>
                    <a:cubicBezTo>
                      <a:pt x="23090" y="3507"/>
                      <a:pt x="63191" y="0"/>
                      <a:pt x="93433" y="0"/>
                    </a:cubicBezTo>
                    <a:cubicBezTo>
                      <a:pt x="95708" y="0"/>
                      <a:pt x="96088" y="853"/>
                      <a:pt x="95993" y="3128"/>
                    </a:cubicBezTo>
                    <a:lnTo>
                      <a:pt x="95993" y="92028"/>
                    </a:lnTo>
                    <a:cubicBezTo>
                      <a:pt x="95424" y="96672"/>
                      <a:pt x="91916" y="98378"/>
                      <a:pt x="87461" y="98946"/>
                    </a:cubicBezTo>
                    <a:lnTo>
                      <a:pt x="65940" y="98946"/>
                    </a:lnTo>
                    <a:cubicBezTo>
                      <a:pt x="60724" y="99657"/>
                      <a:pt x="55594" y="97149"/>
                      <a:pt x="52952" y="92596"/>
                    </a:cubicBezTo>
                    <a:cubicBezTo>
                      <a:pt x="41576" y="74304"/>
                      <a:pt x="32191" y="60467"/>
                      <a:pt x="10955" y="52506"/>
                    </a:cubicBezTo>
                    <a:cubicBezTo>
                      <a:pt x="7921" y="50800"/>
                      <a:pt x="1759" y="50421"/>
                      <a:pt x="621" y="46346"/>
                    </a:cubicBezTo>
                    <a:close/>
                  </a:path>
                </a:pathLst>
              </a:custGeom>
              <a:solidFill>
                <a:schemeClr val="accent4"/>
              </a:solidFill>
              <a:ln w="9391" cap="flat">
                <a:noFill/>
                <a:prstDash val="solid"/>
                <a:miter/>
              </a:ln>
            </p:spPr>
            <p:txBody>
              <a:bodyPr rtlCol="0" anchor="ctr"/>
              <a:lstStyle/>
              <a:p>
                <a:endParaRPr lang="fr-FR"/>
              </a:p>
            </p:txBody>
          </p:sp>
        </p:grpSp>
      </p:grpSp>
      <p:grpSp>
        <p:nvGrpSpPr>
          <p:cNvPr id="13" name="Group 12">
            <a:extLst>
              <a:ext uri="{FF2B5EF4-FFF2-40B4-BE49-F238E27FC236}">
                <a16:creationId xmlns:a16="http://schemas.microsoft.com/office/drawing/2014/main" id="{A21A4468-DE7E-41F6-AE3C-A5128BF750F1}"/>
              </a:ext>
              <a:ext uri="{C183D7F6-B498-43B3-948B-1728B52AA6E4}">
                <adec:decorative xmlns:adec="http://schemas.microsoft.com/office/drawing/2017/decorative" val="1"/>
              </a:ext>
            </a:extLst>
          </p:cNvPr>
          <p:cNvGrpSpPr/>
          <p:nvPr/>
        </p:nvGrpSpPr>
        <p:grpSpPr>
          <a:xfrm>
            <a:off x="2895134" y="1451343"/>
            <a:ext cx="676800" cy="633600"/>
            <a:chOff x="9810217" y="1111848"/>
            <a:chExt cx="676800" cy="633600"/>
          </a:xfrm>
        </p:grpSpPr>
        <p:sp>
          <p:nvSpPr>
            <p:cNvPr id="549" name="Freeform 520">
              <a:extLst>
                <a:ext uri="{FF2B5EF4-FFF2-40B4-BE49-F238E27FC236}">
                  <a16:creationId xmlns:a16="http://schemas.microsoft.com/office/drawing/2014/main" id="{58805F3F-1648-4201-83AD-0718EDEA1635}"/>
                </a:ext>
              </a:extLst>
            </p:cNvPr>
            <p:cNvSpPr>
              <a:spLocks/>
            </p:cNvSpPr>
            <p:nvPr/>
          </p:nvSpPr>
          <p:spPr bwMode="auto">
            <a:xfrm>
              <a:off x="9810217" y="1111848"/>
              <a:ext cx="676800" cy="63360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nvGrpSpPr>
            <p:cNvPr id="584" name="Group 583">
              <a:extLst>
                <a:ext uri="{FF2B5EF4-FFF2-40B4-BE49-F238E27FC236}">
                  <a16:creationId xmlns:a16="http://schemas.microsoft.com/office/drawing/2014/main" id="{79E0F3EB-4E6E-4240-9D9F-EB430E14B56F}"/>
                </a:ext>
              </a:extLst>
            </p:cNvPr>
            <p:cNvGrpSpPr>
              <a:grpSpLocks noChangeAspect="1"/>
            </p:cNvGrpSpPr>
            <p:nvPr/>
          </p:nvGrpSpPr>
          <p:grpSpPr>
            <a:xfrm>
              <a:off x="9913998" y="1250848"/>
              <a:ext cx="402766" cy="360000"/>
              <a:chOff x="6099093" y="-457767"/>
              <a:chExt cx="731378" cy="653717"/>
            </a:xfrm>
          </p:grpSpPr>
          <p:sp>
            <p:nvSpPr>
              <p:cNvPr id="592" name="Freeform 274">
                <a:extLst>
                  <a:ext uri="{FF2B5EF4-FFF2-40B4-BE49-F238E27FC236}">
                    <a16:creationId xmlns:a16="http://schemas.microsoft.com/office/drawing/2014/main" id="{4428A7EE-E498-446A-B3F1-1289FA8D21D2}"/>
                  </a:ext>
                </a:extLst>
              </p:cNvPr>
              <p:cNvSpPr/>
              <p:nvPr/>
            </p:nvSpPr>
            <p:spPr>
              <a:xfrm>
                <a:off x="6176352" y="-457767"/>
                <a:ext cx="654119" cy="653717"/>
              </a:xfrm>
              <a:custGeom>
                <a:avLst/>
                <a:gdLst>
                  <a:gd name="connsiteX0" fmla="*/ 127036 w 225915"/>
                  <a:gd name="connsiteY0" fmla="*/ 202916 h 224524"/>
                  <a:gd name="connsiteX1" fmla="*/ 129690 w 225915"/>
                  <a:gd name="connsiteY1" fmla="*/ 202063 h 224524"/>
                  <a:gd name="connsiteX2" fmla="*/ 130733 w 225915"/>
                  <a:gd name="connsiteY2" fmla="*/ 199504 h 224524"/>
                  <a:gd name="connsiteX3" fmla="*/ 139455 w 225915"/>
                  <a:gd name="connsiteY3" fmla="*/ 94587 h 224524"/>
                  <a:gd name="connsiteX4" fmla="*/ 196515 w 225915"/>
                  <a:gd name="connsiteY4" fmla="*/ 113340 h 224524"/>
                  <a:gd name="connsiteX5" fmla="*/ 204110 w 225915"/>
                  <a:gd name="connsiteY5" fmla="*/ 108424 h 224524"/>
                  <a:gd name="connsiteX6" fmla="*/ 211600 w 225915"/>
                  <a:gd name="connsiteY6" fmla="*/ 199504 h 224524"/>
                  <a:gd name="connsiteX7" fmla="*/ 215582 w 225915"/>
                  <a:gd name="connsiteY7" fmla="*/ 202916 h 224524"/>
                  <a:gd name="connsiteX8" fmla="*/ 222313 w 225915"/>
                  <a:gd name="connsiteY8" fmla="*/ 209645 h 224524"/>
                  <a:gd name="connsiteX9" fmla="*/ 225915 w 225915"/>
                  <a:gd name="connsiteY9" fmla="*/ 224525 h 224524"/>
                  <a:gd name="connsiteX10" fmla="*/ 116892 w 225915"/>
                  <a:gd name="connsiteY10" fmla="*/ 224525 h 224524"/>
                  <a:gd name="connsiteX11" fmla="*/ 120305 w 225915"/>
                  <a:gd name="connsiteY11" fmla="*/ 209834 h 224524"/>
                  <a:gd name="connsiteX12" fmla="*/ 127036 w 225915"/>
                  <a:gd name="connsiteY12" fmla="*/ 203105 h 224524"/>
                  <a:gd name="connsiteX13" fmla="*/ 97363 w 225915"/>
                  <a:gd name="connsiteY13" fmla="*/ 190 h 224524"/>
                  <a:gd name="connsiteX14" fmla="*/ 168465 w 225915"/>
                  <a:gd name="connsiteY14" fmla="*/ 33930 h 224524"/>
                  <a:gd name="connsiteX15" fmla="*/ 135568 w 225915"/>
                  <a:gd name="connsiteY15" fmla="*/ 70608 h 224524"/>
                  <a:gd name="connsiteX16" fmla="*/ 82573 w 225915"/>
                  <a:gd name="connsiteY16" fmla="*/ 45303 h 224524"/>
                  <a:gd name="connsiteX17" fmla="*/ 106634 w 225915"/>
                  <a:gd name="connsiteY17" fmla="*/ 17729 h 224524"/>
                  <a:gd name="connsiteX18" fmla="*/ 97837 w 225915"/>
                  <a:gd name="connsiteY18" fmla="*/ 0 h 224524"/>
                  <a:gd name="connsiteX19" fmla="*/ 28441 w 225915"/>
                  <a:gd name="connsiteY19" fmla="*/ 39143 h 224524"/>
                  <a:gd name="connsiteX20" fmla="*/ 28441 w 225915"/>
                  <a:gd name="connsiteY20" fmla="*/ 46061 h 224524"/>
                  <a:gd name="connsiteX21" fmla="*/ 17349 w 225915"/>
                  <a:gd name="connsiteY21" fmla="*/ 52980 h 224524"/>
                  <a:gd name="connsiteX22" fmla="*/ 26829 w 225915"/>
                  <a:gd name="connsiteY22" fmla="*/ 67575 h 224524"/>
                  <a:gd name="connsiteX23" fmla="*/ 37826 w 225915"/>
                  <a:gd name="connsiteY23" fmla="*/ 60467 h 224524"/>
                  <a:gd name="connsiteX24" fmla="*/ 43989 w 225915"/>
                  <a:gd name="connsiteY24" fmla="*/ 63500 h 224524"/>
                  <a:gd name="connsiteX25" fmla="*/ 73377 w 225915"/>
                  <a:gd name="connsiteY25" fmla="*/ 44545 h 224524"/>
                  <a:gd name="connsiteX26" fmla="*/ 54417 w 225915"/>
                  <a:gd name="connsiteY26" fmla="*/ 22272 h 224524"/>
                  <a:gd name="connsiteX27" fmla="*/ 0 w 225915"/>
                  <a:gd name="connsiteY27" fmla="*/ 70798 h 224524"/>
                  <a:gd name="connsiteX28" fmla="*/ 17539 w 225915"/>
                  <a:gd name="connsiteY28" fmla="*/ 59425 h 224524"/>
                  <a:gd name="connsiteX29" fmla="*/ 21520 w 225915"/>
                  <a:gd name="connsiteY29" fmla="*/ 65490 h 224524"/>
                  <a:gd name="connsiteX30" fmla="*/ 4077 w 225915"/>
                  <a:gd name="connsiteY30" fmla="*/ 76769 h 2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5915" h="224524">
                    <a:moveTo>
                      <a:pt x="127036" y="202916"/>
                    </a:moveTo>
                    <a:cubicBezTo>
                      <a:pt x="128001" y="203010"/>
                      <a:pt x="128961" y="202701"/>
                      <a:pt x="129690" y="202063"/>
                    </a:cubicBezTo>
                    <a:cubicBezTo>
                      <a:pt x="130356" y="201377"/>
                      <a:pt x="130729" y="200459"/>
                      <a:pt x="130733" y="199504"/>
                    </a:cubicBezTo>
                    <a:lnTo>
                      <a:pt x="139455" y="94587"/>
                    </a:lnTo>
                    <a:cubicBezTo>
                      <a:pt x="150032" y="115517"/>
                      <a:pt x="175578" y="123913"/>
                      <a:pt x="196515" y="113340"/>
                    </a:cubicBezTo>
                    <a:cubicBezTo>
                      <a:pt x="199214" y="111976"/>
                      <a:pt x="201761" y="110328"/>
                      <a:pt x="204110" y="108424"/>
                    </a:cubicBezTo>
                    <a:cubicBezTo>
                      <a:pt x="206575" y="138373"/>
                      <a:pt x="209135" y="169649"/>
                      <a:pt x="211600" y="199504"/>
                    </a:cubicBezTo>
                    <a:cubicBezTo>
                      <a:pt x="211600" y="202821"/>
                      <a:pt x="213306" y="202821"/>
                      <a:pt x="215582" y="202916"/>
                    </a:cubicBezTo>
                    <a:cubicBezTo>
                      <a:pt x="219279" y="202916"/>
                      <a:pt x="221554" y="206043"/>
                      <a:pt x="222313" y="209645"/>
                    </a:cubicBezTo>
                    <a:lnTo>
                      <a:pt x="225915" y="224525"/>
                    </a:lnTo>
                    <a:lnTo>
                      <a:pt x="116892" y="224525"/>
                    </a:lnTo>
                    <a:lnTo>
                      <a:pt x="120305" y="209834"/>
                    </a:lnTo>
                    <a:cubicBezTo>
                      <a:pt x="121063" y="206233"/>
                      <a:pt x="123338" y="203105"/>
                      <a:pt x="127036" y="203105"/>
                    </a:cubicBezTo>
                    <a:close/>
                    <a:moveTo>
                      <a:pt x="97363" y="190"/>
                    </a:moveTo>
                    <a:lnTo>
                      <a:pt x="168465" y="33930"/>
                    </a:lnTo>
                    <a:cubicBezTo>
                      <a:pt x="150800" y="37897"/>
                      <a:pt x="137593" y="52622"/>
                      <a:pt x="135568" y="70608"/>
                    </a:cubicBezTo>
                    <a:lnTo>
                      <a:pt x="82573" y="45303"/>
                    </a:lnTo>
                    <a:cubicBezTo>
                      <a:pt x="96834" y="44331"/>
                      <a:pt x="107606" y="31986"/>
                      <a:pt x="106634" y="17729"/>
                    </a:cubicBezTo>
                    <a:cubicBezTo>
                      <a:pt x="106168" y="10887"/>
                      <a:pt x="103003" y="4511"/>
                      <a:pt x="97837" y="0"/>
                    </a:cubicBezTo>
                    <a:close/>
                    <a:moveTo>
                      <a:pt x="28441" y="39143"/>
                    </a:moveTo>
                    <a:lnTo>
                      <a:pt x="28441" y="46061"/>
                    </a:lnTo>
                    <a:lnTo>
                      <a:pt x="17349" y="52980"/>
                    </a:lnTo>
                    <a:lnTo>
                      <a:pt x="26829" y="67575"/>
                    </a:lnTo>
                    <a:lnTo>
                      <a:pt x="37826" y="60467"/>
                    </a:lnTo>
                    <a:lnTo>
                      <a:pt x="43989" y="63500"/>
                    </a:lnTo>
                    <a:lnTo>
                      <a:pt x="73377" y="44545"/>
                    </a:lnTo>
                    <a:cubicBezTo>
                      <a:pt x="63108" y="41676"/>
                      <a:pt x="55607" y="32865"/>
                      <a:pt x="54417" y="22272"/>
                    </a:cubicBezTo>
                    <a:close/>
                    <a:moveTo>
                      <a:pt x="0" y="70798"/>
                    </a:moveTo>
                    <a:lnTo>
                      <a:pt x="17539" y="59425"/>
                    </a:lnTo>
                    <a:lnTo>
                      <a:pt x="21520" y="65490"/>
                    </a:lnTo>
                    <a:lnTo>
                      <a:pt x="4077" y="76769"/>
                    </a:lnTo>
                    <a:close/>
                  </a:path>
                </a:pathLst>
              </a:custGeom>
              <a:solidFill>
                <a:schemeClr val="bg1"/>
              </a:solidFill>
              <a:ln w="9391" cap="flat">
                <a:noFill/>
                <a:prstDash val="solid"/>
                <a:miter/>
              </a:ln>
            </p:spPr>
            <p:txBody>
              <a:bodyPr rtlCol="0" anchor="ctr"/>
              <a:lstStyle/>
              <a:p>
                <a:endParaRPr lang="fr-FR" dirty="0"/>
              </a:p>
            </p:txBody>
          </p:sp>
          <p:sp>
            <p:nvSpPr>
              <p:cNvPr id="593" name="Freeform 282">
                <a:extLst>
                  <a:ext uri="{FF2B5EF4-FFF2-40B4-BE49-F238E27FC236}">
                    <a16:creationId xmlns:a16="http://schemas.microsoft.com/office/drawing/2014/main" id="{A2DB41C5-30D1-42A2-855D-14B23E5D7851}"/>
                  </a:ext>
                </a:extLst>
              </p:cNvPr>
              <p:cNvSpPr/>
              <p:nvPr/>
            </p:nvSpPr>
            <p:spPr>
              <a:xfrm rot="19455000">
                <a:off x="6136896" y="-331996"/>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594" name="Freeform 283">
                <a:extLst>
                  <a:ext uri="{FF2B5EF4-FFF2-40B4-BE49-F238E27FC236}">
                    <a16:creationId xmlns:a16="http://schemas.microsoft.com/office/drawing/2014/main" id="{DBA09068-71C6-4C4D-9089-C7DF6E25FEC2}"/>
                  </a:ext>
                </a:extLst>
              </p:cNvPr>
              <p:cNvSpPr/>
              <p:nvPr/>
            </p:nvSpPr>
            <p:spPr>
              <a:xfrm>
                <a:off x="6102788" y="-269569"/>
                <a:ext cx="46938" cy="27870"/>
              </a:xfrm>
              <a:custGeom>
                <a:avLst/>
                <a:gdLst>
                  <a:gd name="connsiteX0" fmla="*/ 14884 w 16211"/>
                  <a:gd name="connsiteY0" fmla="*/ 9572 h 9572"/>
                  <a:gd name="connsiteX1" fmla="*/ 16211 w 16211"/>
                  <a:gd name="connsiteY1" fmla="*/ 2938 h 9572"/>
                  <a:gd name="connsiteX2" fmla="*/ 1232 w 16211"/>
                  <a:gd name="connsiteY2" fmla="*/ 0 h 9572"/>
                  <a:gd name="connsiteX3" fmla="*/ 0 w 16211"/>
                  <a:gd name="connsiteY3" fmla="*/ 6729 h 9572"/>
                  <a:gd name="connsiteX4" fmla="*/ 14884 w 16211"/>
                  <a:gd name="connsiteY4" fmla="*/ 9572 h 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1" h="9572">
                    <a:moveTo>
                      <a:pt x="14884" y="9572"/>
                    </a:moveTo>
                    <a:lnTo>
                      <a:pt x="16211" y="2938"/>
                    </a:lnTo>
                    <a:lnTo>
                      <a:pt x="1232" y="0"/>
                    </a:lnTo>
                    <a:lnTo>
                      <a:pt x="0" y="6729"/>
                    </a:lnTo>
                    <a:lnTo>
                      <a:pt x="14884" y="9572"/>
                    </a:lnTo>
                    <a:close/>
                  </a:path>
                </a:pathLst>
              </a:custGeom>
              <a:solidFill>
                <a:srgbClr val="FFFFFF"/>
              </a:solidFill>
              <a:ln w="9391" cap="flat">
                <a:noFill/>
                <a:prstDash val="solid"/>
                <a:miter/>
              </a:ln>
            </p:spPr>
            <p:txBody>
              <a:bodyPr rtlCol="0" anchor="ctr"/>
              <a:lstStyle/>
              <a:p>
                <a:endParaRPr lang="fr-FR"/>
              </a:p>
            </p:txBody>
          </p:sp>
          <p:sp>
            <p:nvSpPr>
              <p:cNvPr id="595" name="Freeform 284">
                <a:extLst>
                  <a:ext uri="{FF2B5EF4-FFF2-40B4-BE49-F238E27FC236}">
                    <a16:creationId xmlns:a16="http://schemas.microsoft.com/office/drawing/2014/main" id="{E165CA9C-44B7-43CE-B920-6509FBBF6448}"/>
                  </a:ext>
                </a:extLst>
              </p:cNvPr>
              <p:cNvSpPr/>
              <p:nvPr/>
            </p:nvSpPr>
            <p:spPr>
              <a:xfrm rot="19559551">
                <a:off x="6099093" y="-221121"/>
                <a:ext cx="64860" cy="19615"/>
              </a:xfrm>
              <a:custGeom>
                <a:avLst/>
                <a:gdLst>
                  <a:gd name="connsiteX0" fmla="*/ 0 w 22401"/>
                  <a:gd name="connsiteY0" fmla="*/ 0 h 6737"/>
                  <a:gd name="connsiteX1" fmla="*/ 22401 w 22401"/>
                  <a:gd name="connsiteY1" fmla="*/ 0 h 6737"/>
                  <a:gd name="connsiteX2" fmla="*/ 22401 w 22401"/>
                  <a:gd name="connsiteY2" fmla="*/ 6737 h 6737"/>
                  <a:gd name="connsiteX3" fmla="*/ 0 w 22401"/>
                  <a:gd name="connsiteY3" fmla="*/ 6737 h 6737"/>
                </a:gdLst>
                <a:ahLst/>
                <a:cxnLst>
                  <a:cxn ang="0">
                    <a:pos x="connsiteX0" y="connsiteY0"/>
                  </a:cxn>
                  <a:cxn ang="0">
                    <a:pos x="connsiteX1" y="connsiteY1"/>
                  </a:cxn>
                  <a:cxn ang="0">
                    <a:pos x="connsiteX2" y="connsiteY2"/>
                  </a:cxn>
                  <a:cxn ang="0">
                    <a:pos x="connsiteX3" y="connsiteY3"/>
                  </a:cxn>
                </a:cxnLst>
                <a:rect l="l" t="t" r="r" b="b"/>
                <a:pathLst>
                  <a:path w="22401" h="6737">
                    <a:moveTo>
                      <a:pt x="0" y="0"/>
                    </a:moveTo>
                    <a:lnTo>
                      <a:pt x="22401" y="0"/>
                    </a:lnTo>
                    <a:lnTo>
                      <a:pt x="22401" y="6737"/>
                    </a:lnTo>
                    <a:lnTo>
                      <a:pt x="0" y="6737"/>
                    </a:lnTo>
                    <a:close/>
                  </a:path>
                </a:pathLst>
              </a:custGeom>
              <a:solidFill>
                <a:srgbClr val="FFFFFF"/>
              </a:solidFill>
              <a:ln w="9403" cap="flat">
                <a:noFill/>
                <a:prstDash val="solid"/>
                <a:miter/>
              </a:ln>
            </p:spPr>
            <p:txBody>
              <a:bodyPr rtlCol="0" anchor="ctr"/>
              <a:lstStyle/>
              <a:p>
                <a:endParaRPr lang="fr-FR"/>
              </a:p>
            </p:txBody>
          </p:sp>
          <p:sp>
            <p:nvSpPr>
              <p:cNvPr id="596" name="Freeform 285">
                <a:extLst>
                  <a:ext uri="{FF2B5EF4-FFF2-40B4-BE49-F238E27FC236}">
                    <a16:creationId xmlns:a16="http://schemas.microsoft.com/office/drawing/2014/main" id="{906B4365-7568-4418-B9DE-D027B32D8226}"/>
                  </a:ext>
                </a:extLst>
              </p:cNvPr>
              <p:cNvSpPr/>
              <p:nvPr/>
            </p:nvSpPr>
            <p:spPr>
              <a:xfrm>
                <a:off x="6170590" y="-209966"/>
                <a:ext cx="19761" cy="44425"/>
              </a:xfrm>
              <a:custGeom>
                <a:avLst/>
                <a:gdLst>
                  <a:gd name="connsiteX0" fmla="*/ 6731 w 6825"/>
                  <a:gd name="connsiteY0" fmla="*/ 0 h 15258"/>
                  <a:gd name="connsiteX1" fmla="*/ 6826 w 6825"/>
                  <a:gd name="connsiteY1" fmla="*/ 15259 h 15258"/>
                  <a:gd name="connsiteX2" fmla="*/ 95 w 6825"/>
                  <a:gd name="connsiteY2" fmla="*/ 15259 h 15258"/>
                  <a:gd name="connsiteX3" fmla="*/ 0 w 6825"/>
                  <a:gd name="connsiteY3" fmla="*/ 0 h 15258"/>
                  <a:gd name="connsiteX4" fmla="*/ 6731 w 6825"/>
                  <a:gd name="connsiteY4" fmla="*/ 0 h 15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5" h="15258">
                    <a:moveTo>
                      <a:pt x="6731" y="0"/>
                    </a:moveTo>
                    <a:lnTo>
                      <a:pt x="6826" y="15259"/>
                    </a:lnTo>
                    <a:lnTo>
                      <a:pt x="95" y="15259"/>
                    </a:lnTo>
                    <a:lnTo>
                      <a:pt x="0" y="0"/>
                    </a:lnTo>
                    <a:lnTo>
                      <a:pt x="6731" y="0"/>
                    </a:lnTo>
                    <a:close/>
                  </a:path>
                </a:pathLst>
              </a:custGeom>
              <a:solidFill>
                <a:srgbClr val="FFFFFF"/>
              </a:solidFill>
              <a:ln w="9391" cap="flat">
                <a:noFill/>
                <a:prstDash val="solid"/>
                <a:miter/>
              </a:ln>
            </p:spPr>
            <p:txBody>
              <a:bodyPr rtlCol="0" anchor="ctr"/>
              <a:lstStyle/>
              <a:p>
                <a:endParaRPr lang="fr-FR"/>
              </a:p>
            </p:txBody>
          </p:sp>
          <p:sp>
            <p:nvSpPr>
              <p:cNvPr id="597" name="Freeform 286">
                <a:extLst>
                  <a:ext uri="{FF2B5EF4-FFF2-40B4-BE49-F238E27FC236}">
                    <a16:creationId xmlns:a16="http://schemas.microsoft.com/office/drawing/2014/main" id="{7B5E7BFE-F200-455C-9547-F0BC784B1C0A}"/>
                  </a:ext>
                </a:extLst>
              </p:cNvPr>
              <p:cNvSpPr/>
              <p:nvPr/>
            </p:nvSpPr>
            <p:spPr>
              <a:xfrm rot="19455000">
                <a:off x="6216176" y="-224419"/>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598" name="Freeform 287">
                <a:extLst>
                  <a:ext uri="{FF2B5EF4-FFF2-40B4-BE49-F238E27FC236}">
                    <a16:creationId xmlns:a16="http://schemas.microsoft.com/office/drawing/2014/main" id="{E1685962-5543-4DBE-8973-41C27F09245E}"/>
                  </a:ext>
                </a:extLst>
              </p:cNvPr>
              <p:cNvSpPr/>
              <p:nvPr/>
            </p:nvSpPr>
            <p:spPr>
              <a:xfrm>
                <a:off x="6596877" y="-332485"/>
                <a:ext cx="186106" cy="187092"/>
              </a:xfrm>
              <a:custGeom>
                <a:avLst/>
                <a:gdLst>
                  <a:gd name="connsiteX0" fmla="*/ 64276 w 64276"/>
                  <a:gd name="connsiteY0" fmla="*/ 32129 h 64258"/>
                  <a:gd name="connsiteX1" fmla="*/ 32138 w 64276"/>
                  <a:gd name="connsiteY1" fmla="*/ 64258 h 64258"/>
                  <a:gd name="connsiteX2" fmla="*/ 0 w 64276"/>
                  <a:gd name="connsiteY2" fmla="*/ 32129 h 64258"/>
                  <a:gd name="connsiteX3" fmla="*/ 32138 w 64276"/>
                  <a:gd name="connsiteY3" fmla="*/ 0 h 64258"/>
                  <a:gd name="connsiteX4" fmla="*/ 64276 w 64276"/>
                  <a:gd name="connsiteY4" fmla="*/ 32129 h 64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76" h="64258">
                    <a:moveTo>
                      <a:pt x="64276" y="32129"/>
                    </a:moveTo>
                    <a:cubicBezTo>
                      <a:pt x="64276" y="49874"/>
                      <a:pt x="49888" y="64258"/>
                      <a:pt x="32138" y="64258"/>
                    </a:cubicBezTo>
                    <a:cubicBezTo>
                      <a:pt x="14389" y="64258"/>
                      <a:pt x="0" y="49874"/>
                      <a:pt x="0" y="32129"/>
                    </a:cubicBezTo>
                    <a:cubicBezTo>
                      <a:pt x="0" y="14385"/>
                      <a:pt x="14389" y="0"/>
                      <a:pt x="32138" y="0"/>
                    </a:cubicBezTo>
                    <a:cubicBezTo>
                      <a:pt x="49888" y="0"/>
                      <a:pt x="64276" y="14385"/>
                      <a:pt x="64276" y="32129"/>
                    </a:cubicBezTo>
                    <a:close/>
                  </a:path>
                </a:pathLst>
              </a:custGeom>
              <a:solidFill>
                <a:srgbClr val="FFFFFF"/>
              </a:solidFill>
              <a:ln w="9391" cap="flat">
                <a:noFill/>
                <a:prstDash val="solid"/>
                <a:miter/>
              </a:ln>
            </p:spPr>
            <p:txBody>
              <a:bodyPr rtlCol="0" anchor="ctr"/>
              <a:lstStyle/>
              <a:p>
                <a:endParaRPr lang="fr-FR"/>
              </a:p>
            </p:txBody>
          </p:sp>
          <p:sp>
            <p:nvSpPr>
              <p:cNvPr id="599" name="Freeform 288">
                <a:extLst>
                  <a:ext uri="{FF2B5EF4-FFF2-40B4-BE49-F238E27FC236}">
                    <a16:creationId xmlns:a16="http://schemas.microsoft.com/office/drawing/2014/main" id="{18BC26B4-03CC-4217-BBAC-2DCCE6075DDC}"/>
                  </a:ext>
                </a:extLst>
              </p:cNvPr>
              <p:cNvSpPr/>
              <p:nvPr/>
            </p:nvSpPr>
            <p:spPr>
              <a:xfrm>
                <a:off x="6362736" y="-446176"/>
                <a:ext cx="92778" cy="93269"/>
              </a:xfrm>
              <a:custGeom>
                <a:avLst/>
                <a:gdLst>
                  <a:gd name="connsiteX0" fmla="*/ 32043 w 32043"/>
                  <a:gd name="connsiteY0" fmla="*/ 16017 h 32034"/>
                  <a:gd name="connsiteX1" fmla="*/ 16022 w 32043"/>
                  <a:gd name="connsiteY1" fmla="*/ 32034 h 32034"/>
                  <a:gd name="connsiteX2" fmla="*/ 0 w 32043"/>
                  <a:gd name="connsiteY2" fmla="*/ 16017 h 32034"/>
                  <a:gd name="connsiteX3" fmla="*/ 16022 w 32043"/>
                  <a:gd name="connsiteY3" fmla="*/ 0 h 32034"/>
                  <a:gd name="connsiteX4" fmla="*/ 32043 w 32043"/>
                  <a:gd name="connsiteY4" fmla="*/ 16017 h 32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43" h="32034">
                    <a:moveTo>
                      <a:pt x="32043" y="16017"/>
                    </a:moveTo>
                    <a:cubicBezTo>
                      <a:pt x="32043" y="24863"/>
                      <a:pt x="24870" y="32034"/>
                      <a:pt x="16022" y="32034"/>
                    </a:cubicBezTo>
                    <a:cubicBezTo>
                      <a:pt x="7173" y="32034"/>
                      <a:pt x="0" y="24863"/>
                      <a:pt x="0" y="16017"/>
                    </a:cubicBezTo>
                    <a:cubicBezTo>
                      <a:pt x="0" y="7171"/>
                      <a:pt x="7173" y="0"/>
                      <a:pt x="16022" y="0"/>
                    </a:cubicBezTo>
                    <a:cubicBezTo>
                      <a:pt x="24870" y="0"/>
                      <a:pt x="32043" y="7171"/>
                      <a:pt x="32043" y="16017"/>
                    </a:cubicBezTo>
                    <a:close/>
                  </a:path>
                </a:pathLst>
              </a:custGeom>
              <a:solidFill>
                <a:srgbClr val="FFFFFF"/>
              </a:solidFill>
              <a:ln w="9391" cap="flat">
                <a:noFill/>
                <a:prstDash val="solid"/>
                <a:miter/>
              </a:ln>
            </p:spPr>
            <p:txBody>
              <a:bodyPr rtlCol="0" anchor="ctr"/>
              <a:lstStyle/>
              <a:p>
                <a:endParaRPr lang="fr-FR"/>
              </a:p>
            </p:txBody>
          </p:sp>
        </p:grpSp>
      </p:grpSp>
      <p:grpSp>
        <p:nvGrpSpPr>
          <p:cNvPr id="58" name="Group 57">
            <a:extLst>
              <a:ext uri="{FF2B5EF4-FFF2-40B4-BE49-F238E27FC236}">
                <a16:creationId xmlns:a16="http://schemas.microsoft.com/office/drawing/2014/main" id="{4F8CA127-6238-44DF-9E86-916CB167195F}"/>
              </a:ext>
              <a:ext uri="{C183D7F6-B498-43B3-948B-1728B52AA6E4}">
                <adec:decorative xmlns:adec="http://schemas.microsoft.com/office/drawing/2017/decorative" val="1"/>
              </a:ext>
            </a:extLst>
          </p:cNvPr>
          <p:cNvGrpSpPr/>
          <p:nvPr/>
        </p:nvGrpSpPr>
        <p:grpSpPr>
          <a:xfrm>
            <a:off x="5409143" y="2634235"/>
            <a:ext cx="680204" cy="633600"/>
            <a:chOff x="6030180" y="2426182"/>
            <a:chExt cx="680204" cy="633600"/>
          </a:xfrm>
        </p:grpSpPr>
        <p:sp>
          <p:nvSpPr>
            <p:cNvPr id="602" name="Freeform 229">
              <a:extLst>
                <a:ext uri="{FF2B5EF4-FFF2-40B4-BE49-F238E27FC236}">
                  <a16:creationId xmlns:a16="http://schemas.microsoft.com/office/drawing/2014/main" id="{E673FE85-119A-449E-B146-831E18B27985}"/>
                </a:ext>
              </a:extLst>
            </p:cNvPr>
            <p:cNvSpPr>
              <a:spLocks/>
            </p:cNvSpPr>
            <p:nvPr/>
          </p:nvSpPr>
          <p:spPr bwMode="auto">
            <a:xfrm>
              <a:off x="6030180" y="2426182"/>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Freeform 17">
              <a:extLst>
                <a:ext uri="{FF2B5EF4-FFF2-40B4-BE49-F238E27FC236}">
                  <a16:creationId xmlns:a16="http://schemas.microsoft.com/office/drawing/2014/main" id="{05710B16-2C34-4AA1-A2DF-101C1128DFEA}"/>
                </a:ext>
              </a:extLst>
            </p:cNvPr>
            <p:cNvSpPr>
              <a:spLocks noChangeAspect="1" noEditPoints="1"/>
            </p:cNvSpPr>
            <p:nvPr/>
          </p:nvSpPr>
          <p:spPr bwMode="auto">
            <a:xfrm>
              <a:off x="6193775" y="2573605"/>
              <a:ext cx="360000" cy="353897"/>
            </a:xfrm>
            <a:custGeom>
              <a:avLst/>
              <a:gdLst>
                <a:gd name="T0" fmla="*/ 664 w 676"/>
                <a:gd name="T1" fmla="*/ 133 h 642"/>
                <a:gd name="T2" fmla="*/ 591 w 676"/>
                <a:gd name="T3" fmla="*/ 111 h 642"/>
                <a:gd name="T4" fmla="*/ 334 w 676"/>
                <a:gd name="T5" fmla="*/ 0 h 642"/>
                <a:gd name="T6" fmla="*/ 85 w 676"/>
                <a:gd name="T7" fmla="*/ 133 h 642"/>
                <a:gd name="T8" fmla="*/ 13 w 676"/>
                <a:gd name="T9" fmla="*/ 134 h 642"/>
                <a:gd name="T10" fmla="*/ 0 w 676"/>
                <a:gd name="T11" fmla="*/ 259 h 642"/>
                <a:gd name="T12" fmla="*/ 36 w 676"/>
                <a:gd name="T13" fmla="*/ 275 h 642"/>
                <a:gd name="T14" fmla="*/ 54 w 676"/>
                <a:gd name="T15" fmla="*/ 162 h 642"/>
                <a:gd name="T16" fmla="*/ 73 w 676"/>
                <a:gd name="T17" fmla="*/ 434 h 642"/>
                <a:gd name="T18" fmla="*/ 126 w 676"/>
                <a:gd name="T19" fmla="*/ 565 h 642"/>
                <a:gd name="T20" fmla="*/ 152 w 676"/>
                <a:gd name="T21" fmla="*/ 642 h 642"/>
                <a:gd name="T22" fmla="*/ 211 w 676"/>
                <a:gd name="T23" fmla="*/ 616 h 642"/>
                <a:gd name="T24" fmla="*/ 465 w 676"/>
                <a:gd name="T25" fmla="*/ 566 h 642"/>
                <a:gd name="T26" fmla="*/ 491 w 676"/>
                <a:gd name="T27" fmla="*/ 642 h 642"/>
                <a:gd name="T28" fmla="*/ 550 w 676"/>
                <a:gd name="T29" fmla="*/ 616 h 642"/>
                <a:gd name="T30" fmla="*/ 603 w 676"/>
                <a:gd name="T31" fmla="*/ 518 h 642"/>
                <a:gd name="T32" fmla="*/ 593 w 676"/>
                <a:gd name="T33" fmla="*/ 162 h 642"/>
                <a:gd name="T34" fmla="*/ 622 w 676"/>
                <a:gd name="T35" fmla="*/ 259 h 642"/>
                <a:gd name="T36" fmla="*/ 658 w 676"/>
                <a:gd name="T37" fmla="*/ 275 h 642"/>
                <a:gd name="T38" fmla="*/ 676 w 676"/>
                <a:gd name="T39" fmla="*/ 149 h 642"/>
                <a:gd name="T40" fmla="*/ 202 w 676"/>
                <a:gd name="T41" fmla="*/ 69 h 642"/>
                <a:gd name="T42" fmla="*/ 458 w 676"/>
                <a:gd name="T43" fmla="*/ 52 h 642"/>
                <a:gd name="T44" fmla="*/ 474 w 676"/>
                <a:gd name="T45" fmla="*/ 70 h 642"/>
                <a:gd name="T46" fmla="*/ 218 w 676"/>
                <a:gd name="T47" fmla="*/ 86 h 642"/>
                <a:gd name="T48" fmla="*/ 202 w 676"/>
                <a:gd name="T49" fmla="*/ 69 h 642"/>
                <a:gd name="T50" fmla="*/ 252 w 676"/>
                <a:gd name="T51" fmla="*/ 504 h 642"/>
                <a:gd name="T52" fmla="*/ 120 w 676"/>
                <a:gd name="T53" fmla="*/ 457 h 642"/>
                <a:gd name="T54" fmla="*/ 254 w 676"/>
                <a:gd name="T55" fmla="*/ 490 h 642"/>
                <a:gd name="T56" fmla="*/ 513 w 676"/>
                <a:gd name="T57" fmla="*/ 504 h 642"/>
                <a:gd name="T58" fmla="*/ 417 w 676"/>
                <a:gd name="T59" fmla="*/ 502 h 642"/>
                <a:gd name="T60" fmla="*/ 550 w 676"/>
                <a:gd name="T61" fmla="*/ 455 h 642"/>
                <a:gd name="T62" fmla="*/ 513 w 676"/>
                <a:gd name="T63" fmla="*/ 504 h 642"/>
                <a:gd name="T64" fmla="*/ 134 w 676"/>
                <a:gd name="T65" fmla="*/ 354 h 642"/>
                <a:gd name="T66" fmla="*/ 124 w 676"/>
                <a:gd name="T67" fmla="*/ 146 h 642"/>
                <a:gd name="T68" fmla="*/ 141 w 676"/>
                <a:gd name="T69" fmla="*/ 124 h 642"/>
                <a:gd name="T70" fmla="*/ 535 w 676"/>
                <a:gd name="T71" fmla="*/ 128 h 642"/>
                <a:gd name="T72" fmla="*/ 560 w 676"/>
                <a:gd name="T73" fmla="*/ 33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6" h="642">
                  <a:moveTo>
                    <a:pt x="664" y="134"/>
                  </a:moveTo>
                  <a:cubicBezTo>
                    <a:pt x="664" y="133"/>
                    <a:pt x="664" y="133"/>
                    <a:pt x="664" y="133"/>
                  </a:cubicBezTo>
                  <a:cubicBezTo>
                    <a:pt x="591" y="133"/>
                    <a:pt x="591" y="133"/>
                    <a:pt x="591" y="133"/>
                  </a:cubicBezTo>
                  <a:cubicBezTo>
                    <a:pt x="591" y="126"/>
                    <a:pt x="591" y="118"/>
                    <a:pt x="591" y="111"/>
                  </a:cubicBezTo>
                  <a:cubicBezTo>
                    <a:pt x="590" y="99"/>
                    <a:pt x="585" y="68"/>
                    <a:pt x="542" y="41"/>
                  </a:cubicBezTo>
                  <a:cubicBezTo>
                    <a:pt x="485" y="5"/>
                    <a:pt x="402" y="0"/>
                    <a:pt x="334" y="0"/>
                  </a:cubicBezTo>
                  <a:cubicBezTo>
                    <a:pt x="96" y="0"/>
                    <a:pt x="86" y="100"/>
                    <a:pt x="86" y="111"/>
                  </a:cubicBezTo>
                  <a:cubicBezTo>
                    <a:pt x="85" y="118"/>
                    <a:pt x="85" y="126"/>
                    <a:pt x="85" y="133"/>
                  </a:cubicBezTo>
                  <a:cubicBezTo>
                    <a:pt x="8" y="133"/>
                    <a:pt x="18" y="133"/>
                    <a:pt x="13" y="133"/>
                  </a:cubicBezTo>
                  <a:cubicBezTo>
                    <a:pt x="13" y="134"/>
                    <a:pt x="13" y="134"/>
                    <a:pt x="13" y="134"/>
                  </a:cubicBezTo>
                  <a:cubicBezTo>
                    <a:pt x="5" y="136"/>
                    <a:pt x="0" y="142"/>
                    <a:pt x="0" y="149"/>
                  </a:cubicBezTo>
                  <a:cubicBezTo>
                    <a:pt x="0" y="259"/>
                    <a:pt x="0" y="259"/>
                    <a:pt x="0" y="259"/>
                  </a:cubicBezTo>
                  <a:cubicBezTo>
                    <a:pt x="0" y="268"/>
                    <a:pt x="8" y="275"/>
                    <a:pt x="18" y="275"/>
                  </a:cubicBezTo>
                  <a:cubicBezTo>
                    <a:pt x="36" y="275"/>
                    <a:pt x="36" y="275"/>
                    <a:pt x="36" y="275"/>
                  </a:cubicBezTo>
                  <a:cubicBezTo>
                    <a:pt x="46" y="275"/>
                    <a:pt x="54" y="268"/>
                    <a:pt x="54" y="259"/>
                  </a:cubicBezTo>
                  <a:cubicBezTo>
                    <a:pt x="54" y="162"/>
                    <a:pt x="54" y="162"/>
                    <a:pt x="54" y="162"/>
                  </a:cubicBezTo>
                  <a:cubicBezTo>
                    <a:pt x="84" y="162"/>
                    <a:pt x="84" y="162"/>
                    <a:pt x="84" y="162"/>
                  </a:cubicBezTo>
                  <a:cubicBezTo>
                    <a:pt x="77" y="293"/>
                    <a:pt x="73" y="315"/>
                    <a:pt x="73" y="434"/>
                  </a:cubicBezTo>
                  <a:cubicBezTo>
                    <a:pt x="74" y="461"/>
                    <a:pt x="74" y="490"/>
                    <a:pt x="73" y="518"/>
                  </a:cubicBezTo>
                  <a:cubicBezTo>
                    <a:pt x="72" y="541"/>
                    <a:pt x="92" y="564"/>
                    <a:pt x="126" y="565"/>
                  </a:cubicBezTo>
                  <a:cubicBezTo>
                    <a:pt x="126" y="616"/>
                    <a:pt x="126" y="616"/>
                    <a:pt x="126" y="616"/>
                  </a:cubicBezTo>
                  <a:cubicBezTo>
                    <a:pt x="126" y="630"/>
                    <a:pt x="138" y="642"/>
                    <a:pt x="152" y="642"/>
                  </a:cubicBezTo>
                  <a:cubicBezTo>
                    <a:pt x="185" y="642"/>
                    <a:pt x="185" y="642"/>
                    <a:pt x="185" y="642"/>
                  </a:cubicBezTo>
                  <a:cubicBezTo>
                    <a:pt x="199" y="642"/>
                    <a:pt x="211" y="630"/>
                    <a:pt x="211" y="616"/>
                  </a:cubicBezTo>
                  <a:cubicBezTo>
                    <a:pt x="211" y="566"/>
                    <a:pt x="211" y="566"/>
                    <a:pt x="211" y="566"/>
                  </a:cubicBezTo>
                  <a:cubicBezTo>
                    <a:pt x="299" y="568"/>
                    <a:pt x="377" y="568"/>
                    <a:pt x="465" y="566"/>
                  </a:cubicBezTo>
                  <a:cubicBezTo>
                    <a:pt x="465" y="616"/>
                    <a:pt x="465" y="616"/>
                    <a:pt x="465" y="616"/>
                  </a:cubicBezTo>
                  <a:cubicBezTo>
                    <a:pt x="465" y="630"/>
                    <a:pt x="477" y="642"/>
                    <a:pt x="491" y="642"/>
                  </a:cubicBezTo>
                  <a:cubicBezTo>
                    <a:pt x="524" y="642"/>
                    <a:pt x="524" y="642"/>
                    <a:pt x="524" y="642"/>
                  </a:cubicBezTo>
                  <a:cubicBezTo>
                    <a:pt x="539" y="642"/>
                    <a:pt x="550" y="630"/>
                    <a:pt x="550" y="616"/>
                  </a:cubicBezTo>
                  <a:cubicBezTo>
                    <a:pt x="550" y="565"/>
                    <a:pt x="550" y="565"/>
                    <a:pt x="550" y="565"/>
                  </a:cubicBezTo>
                  <a:cubicBezTo>
                    <a:pt x="584" y="564"/>
                    <a:pt x="604" y="541"/>
                    <a:pt x="603" y="518"/>
                  </a:cubicBezTo>
                  <a:cubicBezTo>
                    <a:pt x="603" y="490"/>
                    <a:pt x="603" y="461"/>
                    <a:pt x="603" y="434"/>
                  </a:cubicBezTo>
                  <a:cubicBezTo>
                    <a:pt x="603" y="314"/>
                    <a:pt x="599" y="292"/>
                    <a:pt x="593" y="162"/>
                  </a:cubicBezTo>
                  <a:cubicBezTo>
                    <a:pt x="622" y="162"/>
                    <a:pt x="622" y="162"/>
                    <a:pt x="622" y="162"/>
                  </a:cubicBezTo>
                  <a:cubicBezTo>
                    <a:pt x="622" y="259"/>
                    <a:pt x="622" y="259"/>
                    <a:pt x="622" y="259"/>
                  </a:cubicBezTo>
                  <a:cubicBezTo>
                    <a:pt x="622" y="268"/>
                    <a:pt x="630" y="275"/>
                    <a:pt x="640" y="275"/>
                  </a:cubicBezTo>
                  <a:cubicBezTo>
                    <a:pt x="658" y="275"/>
                    <a:pt x="658" y="275"/>
                    <a:pt x="658" y="275"/>
                  </a:cubicBezTo>
                  <a:cubicBezTo>
                    <a:pt x="668" y="275"/>
                    <a:pt x="676" y="268"/>
                    <a:pt x="676" y="259"/>
                  </a:cubicBezTo>
                  <a:cubicBezTo>
                    <a:pt x="676" y="149"/>
                    <a:pt x="676" y="149"/>
                    <a:pt x="676" y="149"/>
                  </a:cubicBezTo>
                  <a:cubicBezTo>
                    <a:pt x="676" y="142"/>
                    <a:pt x="671" y="136"/>
                    <a:pt x="664" y="134"/>
                  </a:cubicBezTo>
                  <a:close/>
                  <a:moveTo>
                    <a:pt x="202" y="69"/>
                  </a:moveTo>
                  <a:cubicBezTo>
                    <a:pt x="202" y="60"/>
                    <a:pt x="209" y="52"/>
                    <a:pt x="218" y="52"/>
                  </a:cubicBezTo>
                  <a:cubicBezTo>
                    <a:pt x="458" y="52"/>
                    <a:pt x="458" y="52"/>
                    <a:pt x="458" y="52"/>
                  </a:cubicBezTo>
                  <a:cubicBezTo>
                    <a:pt x="467" y="52"/>
                    <a:pt x="474" y="60"/>
                    <a:pt x="474" y="69"/>
                  </a:cubicBezTo>
                  <a:cubicBezTo>
                    <a:pt x="474" y="70"/>
                    <a:pt x="474" y="70"/>
                    <a:pt x="474" y="70"/>
                  </a:cubicBezTo>
                  <a:cubicBezTo>
                    <a:pt x="474" y="79"/>
                    <a:pt x="467" y="86"/>
                    <a:pt x="458" y="86"/>
                  </a:cubicBezTo>
                  <a:cubicBezTo>
                    <a:pt x="218" y="86"/>
                    <a:pt x="218" y="86"/>
                    <a:pt x="218" y="86"/>
                  </a:cubicBezTo>
                  <a:cubicBezTo>
                    <a:pt x="209" y="86"/>
                    <a:pt x="202" y="79"/>
                    <a:pt x="202" y="70"/>
                  </a:cubicBezTo>
                  <a:lnTo>
                    <a:pt x="202" y="69"/>
                  </a:lnTo>
                  <a:close/>
                  <a:moveTo>
                    <a:pt x="259" y="502"/>
                  </a:moveTo>
                  <a:cubicBezTo>
                    <a:pt x="259" y="502"/>
                    <a:pt x="257" y="504"/>
                    <a:pt x="252" y="504"/>
                  </a:cubicBezTo>
                  <a:cubicBezTo>
                    <a:pt x="163" y="504"/>
                    <a:pt x="163" y="504"/>
                    <a:pt x="163" y="504"/>
                  </a:cubicBezTo>
                  <a:cubicBezTo>
                    <a:pt x="139" y="504"/>
                    <a:pt x="113" y="464"/>
                    <a:pt x="120" y="457"/>
                  </a:cubicBezTo>
                  <a:cubicBezTo>
                    <a:pt x="121" y="457"/>
                    <a:pt x="122" y="455"/>
                    <a:pt x="126" y="455"/>
                  </a:cubicBezTo>
                  <a:cubicBezTo>
                    <a:pt x="217" y="468"/>
                    <a:pt x="235" y="465"/>
                    <a:pt x="254" y="490"/>
                  </a:cubicBezTo>
                  <a:cubicBezTo>
                    <a:pt x="259" y="496"/>
                    <a:pt x="260" y="501"/>
                    <a:pt x="259" y="502"/>
                  </a:cubicBezTo>
                  <a:close/>
                  <a:moveTo>
                    <a:pt x="513" y="504"/>
                  </a:moveTo>
                  <a:cubicBezTo>
                    <a:pt x="424" y="504"/>
                    <a:pt x="424" y="504"/>
                    <a:pt x="424" y="504"/>
                  </a:cubicBezTo>
                  <a:cubicBezTo>
                    <a:pt x="419" y="504"/>
                    <a:pt x="417" y="502"/>
                    <a:pt x="417" y="502"/>
                  </a:cubicBezTo>
                  <a:cubicBezTo>
                    <a:pt x="417" y="501"/>
                    <a:pt x="418" y="496"/>
                    <a:pt x="422" y="490"/>
                  </a:cubicBezTo>
                  <a:cubicBezTo>
                    <a:pt x="442" y="465"/>
                    <a:pt x="459" y="468"/>
                    <a:pt x="550" y="455"/>
                  </a:cubicBezTo>
                  <a:cubicBezTo>
                    <a:pt x="554" y="455"/>
                    <a:pt x="556" y="457"/>
                    <a:pt x="556" y="457"/>
                  </a:cubicBezTo>
                  <a:cubicBezTo>
                    <a:pt x="563" y="464"/>
                    <a:pt x="538" y="504"/>
                    <a:pt x="513" y="504"/>
                  </a:cubicBezTo>
                  <a:close/>
                  <a:moveTo>
                    <a:pt x="542" y="354"/>
                  </a:moveTo>
                  <a:cubicBezTo>
                    <a:pt x="413" y="356"/>
                    <a:pt x="271" y="356"/>
                    <a:pt x="134" y="354"/>
                  </a:cubicBezTo>
                  <a:cubicBezTo>
                    <a:pt x="124" y="354"/>
                    <a:pt x="116" y="345"/>
                    <a:pt x="116" y="335"/>
                  </a:cubicBezTo>
                  <a:cubicBezTo>
                    <a:pt x="117" y="272"/>
                    <a:pt x="123" y="209"/>
                    <a:pt x="124" y="146"/>
                  </a:cubicBezTo>
                  <a:cubicBezTo>
                    <a:pt x="124" y="136"/>
                    <a:pt x="132" y="128"/>
                    <a:pt x="141" y="128"/>
                  </a:cubicBezTo>
                  <a:cubicBezTo>
                    <a:pt x="141" y="124"/>
                    <a:pt x="141" y="124"/>
                    <a:pt x="141" y="124"/>
                  </a:cubicBezTo>
                  <a:cubicBezTo>
                    <a:pt x="141" y="128"/>
                    <a:pt x="141" y="128"/>
                    <a:pt x="141" y="128"/>
                  </a:cubicBezTo>
                  <a:cubicBezTo>
                    <a:pt x="272" y="130"/>
                    <a:pt x="404" y="130"/>
                    <a:pt x="535" y="128"/>
                  </a:cubicBezTo>
                  <a:cubicBezTo>
                    <a:pt x="545" y="128"/>
                    <a:pt x="553" y="136"/>
                    <a:pt x="553" y="146"/>
                  </a:cubicBezTo>
                  <a:cubicBezTo>
                    <a:pt x="554" y="209"/>
                    <a:pt x="559" y="272"/>
                    <a:pt x="560" y="335"/>
                  </a:cubicBezTo>
                  <a:cubicBezTo>
                    <a:pt x="560" y="345"/>
                    <a:pt x="552" y="353"/>
                    <a:pt x="542" y="3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60" name="Group 59">
            <a:extLst>
              <a:ext uri="{FF2B5EF4-FFF2-40B4-BE49-F238E27FC236}">
                <a16:creationId xmlns:a16="http://schemas.microsoft.com/office/drawing/2014/main" id="{437C191A-B5A1-484E-87A2-C6AF443FC6C8}"/>
              </a:ext>
              <a:ext uri="{C183D7F6-B498-43B3-948B-1728B52AA6E4}">
                <adec:decorative xmlns:adec="http://schemas.microsoft.com/office/drawing/2017/decorative" val="1"/>
              </a:ext>
            </a:extLst>
          </p:cNvPr>
          <p:cNvGrpSpPr/>
          <p:nvPr/>
        </p:nvGrpSpPr>
        <p:grpSpPr>
          <a:xfrm>
            <a:off x="7115815" y="2634235"/>
            <a:ext cx="680204" cy="633600"/>
            <a:chOff x="6985705" y="2450681"/>
            <a:chExt cx="680204" cy="633600"/>
          </a:xfrm>
        </p:grpSpPr>
        <p:sp>
          <p:nvSpPr>
            <p:cNvPr id="603" name="Freeform 229">
              <a:extLst>
                <a:ext uri="{FF2B5EF4-FFF2-40B4-BE49-F238E27FC236}">
                  <a16:creationId xmlns:a16="http://schemas.microsoft.com/office/drawing/2014/main" id="{F1374127-FD17-4AF2-A1A8-B2C3D1339DA1}"/>
                </a:ext>
              </a:extLst>
            </p:cNvPr>
            <p:cNvSpPr>
              <a:spLocks/>
            </p:cNvSpPr>
            <p:nvPr/>
          </p:nvSpPr>
          <p:spPr bwMode="auto">
            <a:xfrm>
              <a:off x="6985705" y="2450681"/>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7" name="Graphic 95">
              <a:extLst>
                <a:ext uri="{FF2B5EF4-FFF2-40B4-BE49-F238E27FC236}">
                  <a16:creationId xmlns:a16="http://schemas.microsoft.com/office/drawing/2014/main" id="{8B57AD10-94AB-4798-AE6B-BA3BA208620A}"/>
                </a:ext>
              </a:extLst>
            </p:cNvPr>
            <p:cNvGrpSpPr>
              <a:grpSpLocks noChangeAspect="1"/>
            </p:cNvGrpSpPr>
            <p:nvPr/>
          </p:nvGrpSpPr>
          <p:grpSpPr>
            <a:xfrm>
              <a:off x="7113477" y="2649282"/>
              <a:ext cx="432001" cy="277399"/>
              <a:chOff x="5865225" y="3279797"/>
              <a:chExt cx="460355" cy="293980"/>
            </a:xfrm>
          </p:grpSpPr>
          <p:sp>
            <p:nvSpPr>
              <p:cNvPr id="359" name="Freeform 43">
                <a:extLst>
                  <a:ext uri="{FF2B5EF4-FFF2-40B4-BE49-F238E27FC236}">
                    <a16:creationId xmlns:a16="http://schemas.microsoft.com/office/drawing/2014/main" id="{BDAE7BEB-D033-47DE-BD60-92B5E383F2B3}"/>
                  </a:ext>
                </a:extLst>
              </p:cNvPr>
              <p:cNvSpPr/>
              <p:nvPr/>
            </p:nvSpPr>
            <p:spPr>
              <a:xfrm>
                <a:off x="6166059" y="3356161"/>
                <a:ext cx="159521" cy="180873"/>
              </a:xfrm>
              <a:custGeom>
                <a:avLst/>
                <a:gdLst>
                  <a:gd name="connsiteX0" fmla="*/ 7015 w 159521"/>
                  <a:gd name="connsiteY0" fmla="*/ 6495 h 180873"/>
                  <a:gd name="connsiteX1" fmla="*/ 0 w 159521"/>
                  <a:gd name="connsiteY1" fmla="*/ 173491 h 180873"/>
                  <a:gd name="connsiteX2" fmla="*/ 138791 w 159521"/>
                  <a:gd name="connsiteY2" fmla="*/ 178703 h 180873"/>
                  <a:gd name="connsiteX3" fmla="*/ 150262 w 159521"/>
                  <a:gd name="connsiteY3" fmla="*/ 82695 h 180873"/>
                  <a:gd name="connsiteX4" fmla="*/ 85417 w 159521"/>
                  <a:gd name="connsiteY4" fmla="*/ 3273 h 180873"/>
                  <a:gd name="connsiteX5" fmla="*/ 7015 w 159521"/>
                  <a:gd name="connsiteY5" fmla="*/ 6495 h 18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521" h="180873">
                    <a:moveTo>
                      <a:pt x="7015" y="6495"/>
                    </a:moveTo>
                    <a:cubicBezTo>
                      <a:pt x="7015" y="6495"/>
                      <a:pt x="2560" y="159369"/>
                      <a:pt x="0" y="173491"/>
                    </a:cubicBezTo>
                    <a:cubicBezTo>
                      <a:pt x="0" y="173491"/>
                      <a:pt x="113763" y="185717"/>
                      <a:pt x="138791" y="178703"/>
                    </a:cubicBezTo>
                    <a:cubicBezTo>
                      <a:pt x="163819" y="171690"/>
                      <a:pt x="164293" y="108759"/>
                      <a:pt x="150262" y="82695"/>
                    </a:cubicBezTo>
                    <a:cubicBezTo>
                      <a:pt x="136232" y="56632"/>
                      <a:pt x="128458" y="12087"/>
                      <a:pt x="85417" y="3273"/>
                    </a:cubicBezTo>
                    <a:cubicBezTo>
                      <a:pt x="59406" y="-1996"/>
                      <a:pt x="32506" y="-890"/>
                      <a:pt x="7015" y="6495"/>
                    </a:cubicBezTo>
                  </a:path>
                </a:pathLst>
              </a:custGeom>
              <a:solidFill>
                <a:srgbClr val="FFFFFF"/>
              </a:solidFill>
              <a:ln w="9391" cap="flat">
                <a:solidFill>
                  <a:schemeClr val="accent2"/>
                </a:solidFill>
                <a:prstDash val="solid"/>
                <a:miter/>
              </a:ln>
            </p:spPr>
            <p:txBody>
              <a:bodyPr rtlCol="0" anchor="ctr"/>
              <a:lstStyle/>
              <a:p>
                <a:endParaRPr lang="fr-FR"/>
              </a:p>
            </p:txBody>
          </p:sp>
          <p:sp>
            <p:nvSpPr>
              <p:cNvPr id="366" name="Freeform 44">
                <a:extLst>
                  <a:ext uri="{FF2B5EF4-FFF2-40B4-BE49-F238E27FC236}">
                    <a16:creationId xmlns:a16="http://schemas.microsoft.com/office/drawing/2014/main" id="{98DC1FA4-F1E3-46B9-BBF6-3411946949F0}"/>
                  </a:ext>
                </a:extLst>
              </p:cNvPr>
              <p:cNvSpPr/>
              <p:nvPr/>
            </p:nvSpPr>
            <p:spPr>
              <a:xfrm>
                <a:off x="5865225" y="3279797"/>
                <a:ext cx="311028" cy="251326"/>
              </a:xfrm>
              <a:custGeom>
                <a:avLst/>
                <a:gdLst>
                  <a:gd name="connsiteX0" fmla="*/ 7988 w 311028"/>
                  <a:gd name="connsiteY0" fmla="*/ 8839 h 251326"/>
                  <a:gd name="connsiteX1" fmla="*/ 1067 w 311028"/>
                  <a:gd name="connsiteY1" fmla="*/ 239240 h 251326"/>
                  <a:gd name="connsiteX2" fmla="*/ 300739 w 311028"/>
                  <a:gd name="connsiteY2" fmla="*/ 250234 h 251326"/>
                  <a:gd name="connsiteX3" fmla="*/ 306143 w 311028"/>
                  <a:gd name="connsiteY3" fmla="*/ 6470 h 251326"/>
                  <a:gd name="connsiteX4" fmla="*/ 8272 w 311028"/>
                  <a:gd name="connsiteY4" fmla="*/ 9218 h 251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028" h="251326">
                    <a:moveTo>
                      <a:pt x="7988" y="8839"/>
                    </a:moveTo>
                    <a:cubicBezTo>
                      <a:pt x="7988" y="8839"/>
                      <a:pt x="-3483" y="202751"/>
                      <a:pt x="1067" y="239240"/>
                    </a:cubicBezTo>
                    <a:cubicBezTo>
                      <a:pt x="1067" y="239240"/>
                      <a:pt x="175410" y="255636"/>
                      <a:pt x="300739" y="250234"/>
                    </a:cubicBezTo>
                    <a:cubicBezTo>
                      <a:pt x="300739" y="250234"/>
                      <a:pt x="319700" y="44001"/>
                      <a:pt x="306143" y="6470"/>
                    </a:cubicBezTo>
                    <a:cubicBezTo>
                      <a:pt x="236273" y="-9547"/>
                      <a:pt x="8272" y="9218"/>
                      <a:pt x="8272" y="9218"/>
                    </a:cubicBezTo>
                  </a:path>
                </a:pathLst>
              </a:custGeom>
              <a:solidFill>
                <a:srgbClr val="FFFFFF"/>
              </a:solidFill>
              <a:ln w="9391" cap="flat">
                <a:solidFill>
                  <a:schemeClr val="accent2"/>
                </a:solidFill>
                <a:prstDash val="solid"/>
                <a:miter/>
              </a:ln>
            </p:spPr>
            <p:txBody>
              <a:bodyPr rtlCol="0" anchor="ctr"/>
              <a:lstStyle/>
              <a:p>
                <a:endParaRPr lang="fr-FR"/>
              </a:p>
            </p:txBody>
          </p:sp>
          <p:sp>
            <p:nvSpPr>
              <p:cNvPr id="367" name="Freeform 45">
                <a:extLst>
                  <a:ext uri="{FF2B5EF4-FFF2-40B4-BE49-F238E27FC236}">
                    <a16:creationId xmlns:a16="http://schemas.microsoft.com/office/drawing/2014/main" id="{151F91D3-031C-4843-9FC9-EAD335955170}"/>
                  </a:ext>
                </a:extLst>
              </p:cNvPr>
              <p:cNvSpPr/>
              <p:nvPr/>
            </p:nvSpPr>
            <p:spPr>
              <a:xfrm>
                <a:off x="5865225" y="3279797"/>
                <a:ext cx="311028" cy="251326"/>
              </a:xfrm>
              <a:custGeom>
                <a:avLst/>
                <a:gdLst>
                  <a:gd name="connsiteX0" fmla="*/ 7988 w 311028"/>
                  <a:gd name="connsiteY0" fmla="*/ 8839 h 251326"/>
                  <a:gd name="connsiteX1" fmla="*/ 1067 w 311028"/>
                  <a:gd name="connsiteY1" fmla="*/ 239240 h 251326"/>
                  <a:gd name="connsiteX2" fmla="*/ 300739 w 311028"/>
                  <a:gd name="connsiteY2" fmla="*/ 250234 h 251326"/>
                  <a:gd name="connsiteX3" fmla="*/ 306143 w 311028"/>
                  <a:gd name="connsiteY3" fmla="*/ 6470 h 251326"/>
                  <a:gd name="connsiteX4" fmla="*/ 8272 w 311028"/>
                  <a:gd name="connsiteY4" fmla="*/ 9218 h 251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028" h="251326">
                    <a:moveTo>
                      <a:pt x="7988" y="8839"/>
                    </a:moveTo>
                    <a:cubicBezTo>
                      <a:pt x="7988" y="8839"/>
                      <a:pt x="-3483" y="202751"/>
                      <a:pt x="1067" y="239240"/>
                    </a:cubicBezTo>
                    <a:cubicBezTo>
                      <a:pt x="1067" y="239240"/>
                      <a:pt x="175410" y="255636"/>
                      <a:pt x="300739" y="250234"/>
                    </a:cubicBezTo>
                    <a:cubicBezTo>
                      <a:pt x="300739" y="250234"/>
                      <a:pt x="319700" y="44001"/>
                      <a:pt x="306143" y="6470"/>
                    </a:cubicBezTo>
                    <a:cubicBezTo>
                      <a:pt x="236273" y="-9547"/>
                      <a:pt x="8272" y="9218"/>
                      <a:pt x="8272" y="9218"/>
                    </a:cubicBezTo>
                  </a:path>
                </a:pathLst>
              </a:custGeom>
              <a:solidFill>
                <a:srgbClr val="FFFFFF"/>
              </a:solidFill>
              <a:ln w="9391" cap="flat">
                <a:solidFill>
                  <a:schemeClr val="accent2"/>
                </a:solidFill>
                <a:prstDash val="solid"/>
                <a:miter/>
              </a:ln>
            </p:spPr>
            <p:txBody>
              <a:bodyPr rtlCol="0" anchor="ctr"/>
              <a:lstStyle/>
              <a:p>
                <a:endParaRPr lang="fr-FR"/>
              </a:p>
            </p:txBody>
          </p:sp>
          <p:sp>
            <p:nvSpPr>
              <p:cNvPr id="368" name="Freeform 46">
                <a:extLst>
                  <a:ext uri="{FF2B5EF4-FFF2-40B4-BE49-F238E27FC236}">
                    <a16:creationId xmlns:a16="http://schemas.microsoft.com/office/drawing/2014/main" id="{143F78DE-9A08-4FAA-8B09-EB4C047517AF}"/>
                  </a:ext>
                </a:extLst>
              </p:cNvPr>
              <p:cNvSpPr/>
              <p:nvPr/>
            </p:nvSpPr>
            <p:spPr>
              <a:xfrm>
                <a:off x="6187106" y="3500417"/>
                <a:ext cx="77188" cy="73360"/>
              </a:xfrm>
              <a:custGeom>
                <a:avLst/>
                <a:gdLst>
                  <a:gd name="connsiteX0" fmla="*/ 7489 w 77188"/>
                  <a:gd name="connsiteY0" fmla="*/ 59468 h 73360"/>
                  <a:gd name="connsiteX1" fmla="*/ 14166 w 77188"/>
                  <a:gd name="connsiteY1" fmla="*/ 8704 h 73360"/>
                  <a:gd name="connsiteX2" fmla="*/ 15926 w 77188"/>
                  <a:gd name="connsiteY2" fmla="*/ 7436 h 73360"/>
                  <a:gd name="connsiteX3" fmla="*/ 70248 w 77188"/>
                  <a:gd name="connsiteY3" fmla="*/ 15113 h 73360"/>
                  <a:gd name="connsiteX4" fmla="*/ 63495 w 77188"/>
                  <a:gd name="connsiteY4" fmla="*/ 63296 h 73360"/>
                  <a:gd name="connsiteX5" fmla="*/ 60768 w 77188"/>
                  <a:gd name="connsiteY5" fmla="*/ 65154 h 73360"/>
                  <a:gd name="connsiteX6" fmla="*/ 7868 w 77188"/>
                  <a:gd name="connsiteY6" fmla="*/ 59468 h 7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88" h="73360">
                    <a:moveTo>
                      <a:pt x="7489" y="59468"/>
                    </a:moveTo>
                    <a:cubicBezTo>
                      <a:pt x="-4689" y="43606"/>
                      <a:pt x="-1700" y="20879"/>
                      <a:pt x="14166" y="8704"/>
                    </a:cubicBezTo>
                    <a:cubicBezTo>
                      <a:pt x="14740" y="8264"/>
                      <a:pt x="15327" y="7841"/>
                      <a:pt x="15926" y="7436"/>
                    </a:cubicBezTo>
                    <a:cubicBezTo>
                      <a:pt x="33177" y="-4925"/>
                      <a:pt x="57100" y="-1544"/>
                      <a:pt x="70248" y="15113"/>
                    </a:cubicBezTo>
                    <a:cubicBezTo>
                      <a:pt x="81692" y="30282"/>
                      <a:pt x="78669" y="51855"/>
                      <a:pt x="63495" y="63296"/>
                    </a:cubicBezTo>
                    <a:cubicBezTo>
                      <a:pt x="62616" y="63959"/>
                      <a:pt x="61706" y="64579"/>
                      <a:pt x="60768" y="65154"/>
                    </a:cubicBezTo>
                    <a:cubicBezTo>
                      <a:pt x="44540" y="78018"/>
                      <a:pt x="20989" y="75487"/>
                      <a:pt x="7868" y="59468"/>
                    </a:cubicBezTo>
                  </a:path>
                </a:pathLst>
              </a:custGeom>
              <a:solidFill>
                <a:schemeClr val="bg1"/>
              </a:solidFill>
              <a:ln w="9391" cap="flat">
                <a:solidFill>
                  <a:schemeClr val="accent2"/>
                </a:solidFill>
                <a:prstDash val="solid"/>
                <a:miter/>
              </a:ln>
            </p:spPr>
            <p:txBody>
              <a:bodyPr rtlCol="0" anchor="ctr"/>
              <a:lstStyle/>
              <a:p>
                <a:endParaRPr lang="fr-FR"/>
              </a:p>
            </p:txBody>
          </p:sp>
          <p:sp>
            <p:nvSpPr>
              <p:cNvPr id="369" name="Freeform 47">
                <a:extLst>
                  <a:ext uri="{FF2B5EF4-FFF2-40B4-BE49-F238E27FC236}">
                    <a16:creationId xmlns:a16="http://schemas.microsoft.com/office/drawing/2014/main" id="{CD916321-6888-4D52-B982-6077854792F9}"/>
                  </a:ext>
                </a:extLst>
              </p:cNvPr>
              <p:cNvSpPr/>
              <p:nvPr/>
            </p:nvSpPr>
            <p:spPr>
              <a:xfrm>
                <a:off x="5914293" y="3494067"/>
                <a:ext cx="77063" cy="73360"/>
              </a:xfrm>
              <a:custGeom>
                <a:avLst/>
                <a:gdLst>
                  <a:gd name="connsiteX0" fmla="*/ 7554 w 77063"/>
                  <a:gd name="connsiteY0" fmla="*/ 59468 h 73360"/>
                  <a:gd name="connsiteX1" fmla="*/ 14082 w 77063"/>
                  <a:gd name="connsiteY1" fmla="*/ 8685 h 73360"/>
                  <a:gd name="connsiteX2" fmla="*/ 15801 w 77063"/>
                  <a:gd name="connsiteY2" fmla="*/ 7436 h 73360"/>
                  <a:gd name="connsiteX3" fmla="*/ 70123 w 77063"/>
                  <a:gd name="connsiteY3" fmla="*/ 15113 h 73360"/>
                  <a:gd name="connsiteX4" fmla="*/ 63370 w 77063"/>
                  <a:gd name="connsiteY4" fmla="*/ 63296 h 73360"/>
                  <a:gd name="connsiteX5" fmla="*/ 60643 w 77063"/>
                  <a:gd name="connsiteY5" fmla="*/ 65154 h 73360"/>
                  <a:gd name="connsiteX6" fmla="*/ 7743 w 77063"/>
                  <a:gd name="connsiteY6" fmla="*/ 59468 h 7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063" h="73360">
                    <a:moveTo>
                      <a:pt x="7554" y="59468"/>
                    </a:moveTo>
                    <a:cubicBezTo>
                      <a:pt x="-4671" y="43642"/>
                      <a:pt x="-1748" y="20906"/>
                      <a:pt x="14082" y="8685"/>
                    </a:cubicBezTo>
                    <a:cubicBezTo>
                      <a:pt x="14643" y="8252"/>
                      <a:pt x="15216" y="7835"/>
                      <a:pt x="15801" y="7436"/>
                    </a:cubicBezTo>
                    <a:cubicBezTo>
                      <a:pt x="33052" y="-4925"/>
                      <a:pt x="56975" y="-1544"/>
                      <a:pt x="70123" y="15113"/>
                    </a:cubicBezTo>
                    <a:cubicBezTo>
                      <a:pt x="81568" y="30282"/>
                      <a:pt x="78545" y="51855"/>
                      <a:pt x="63370" y="63296"/>
                    </a:cubicBezTo>
                    <a:cubicBezTo>
                      <a:pt x="62492" y="63959"/>
                      <a:pt x="61581" y="64579"/>
                      <a:pt x="60643" y="65154"/>
                    </a:cubicBezTo>
                    <a:cubicBezTo>
                      <a:pt x="44415" y="78018"/>
                      <a:pt x="20865" y="75487"/>
                      <a:pt x="7743" y="59468"/>
                    </a:cubicBezTo>
                  </a:path>
                </a:pathLst>
              </a:custGeom>
              <a:solidFill>
                <a:schemeClr val="bg1"/>
              </a:solidFill>
              <a:ln w="9391" cap="flat">
                <a:solidFill>
                  <a:schemeClr val="accent2"/>
                </a:solidFill>
                <a:prstDash val="solid"/>
                <a:miter/>
              </a:ln>
            </p:spPr>
            <p:txBody>
              <a:bodyPr rtlCol="0" anchor="ctr"/>
              <a:lstStyle/>
              <a:p>
                <a:endParaRPr lang="fr-FR" dirty="0"/>
              </a:p>
            </p:txBody>
          </p:sp>
          <p:sp>
            <p:nvSpPr>
              <p:cNvPr id="370" name="Freeform 48">
                <a:extLst>
                  <a:ext uri="{FF2B5EF4-FFF2-40B4-BE49-F238E27FC236}">
                    <a16:creationId xmlns:a16="http://schemas.microsoft.com/office/drawing/2014/main" id="{C4246CB8-0A08-40BC-A447-0C1DF326FEC7}"/>
                  </a:ext>
                </a:extLst>
              </p:cNvPr>
              <p:cNvSpPr/>
              <p:nvPr/>
            </p:nvSpPr>
            <p:spPr>
              <a:xfrm>
                <a:off x="6191508" y="3381843"/>
                <a:ext cx="84522" cy="61671"/>
              </a:xfrm>
              <a:custGeom>
                <a:avLst/>
                <a:gdLst>
                  <a:gd name="connsiteX0" fmla="*/ 4035 w 84522"/>
                  <a:gd name="connsiteY0" fmla="*/ 3370 h 61671"/>
                  <a:gd name="connsiteX1" fmla="*/ 1665 w 84522"/>
                  <a:gd name="connsiteY1" fmla="*/ 60709 h 61671"/>
                  <a:gd name="connsiteX2" fmla="*/ 84522 w 84522"/>
                  <a:gd name="connsiteY2" fmla="*/ 58340 h 61671"/>
                  <a:gd name="connsiteX3" fmla="*/ 75042 w 84522"/>
                  <a:gd name="connsiteY3" fmla="*/ 3370 h 61671"/>
                  <a:gd name="connsiteX4" fmla="*/ 4319 w 84522"/>
                  <a:gd name="connsiteY4" fmla="*/ 3370 h 61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22" h="61671">
                    <a:moveTo>
                      <a:pt x="4035" y="3370"/>
                    </a:moveTo>
                    <a:cubicBezTo>
                      <a:pt x="432" y="18534"/>
                      <a:pt x="-1653" y="51232"/>
                      <a:pt x="1665" y="60709"/>
                    </a:cubicBezTo>
                    <a:cubicBezTo>
                      <a:pt x="1665" y="60709"/>
                      <a:pt x="68690" y="64027"/>
                      <a:pt x="84522" y="58340"/>
                    </a:cubicBezTo>
                    <a:cubicBezTo>
                      <a:pt x="84522" y="58340"/>
                      <a:pt x="83764" y="10952"/>
                      <a:pt x="75042" y="3370"/>
                    </a:cubicBezTo>
                    <a:cubicBezTo>
                      <a:pt x="66320" y="-4212"/>
                      <a:pt x="4319" y="3370"/>
                      <a:pt x="4319" y="3370"/>
                    </a:cubicBezTo>
                  </a:path>
                </a:pathLst>
              </a:custGeom>
              <a:solidFill>
                <a:schemeClr val="accent2"/>
              </a:solidFill>
              <a:ln w="9391" cap="flat">
                <a:solidFill>
                  <a:schemeClr val="accent2"/>
                </a:solidFill>
                <a:prstDash val="solid"/>
                <a:miter/>
              </a:ln>
            </p:spPr>
            <p:txBody>
              <a:bodyPr rtlCol="0" anchor="ctr"/>
              <a:lstStyle/>
              <a:p>
                <a:endParaRPr lang="fr-FR" dirty="0"/>
              </a:p>
            </p:txBody>
          </p:sp>
        </p:grpSp>
      </p:grpSp>
      <p:grpSp>
        <p:nvGrpSpPr>
          <p:cNvPr id="44" name="Group 43">
            <a:extLst>
              <a:ext uri="{FF2B5EF4-FFF2-40B4-BE49-F238E27FC236}">
                <a16:creationId xmlns:a16="http://schemas.microsoft.com/office/drawing/2014/main" id="{14BC3975-4E04-48FE-92C8-7DAD204BB5BD}"/>
              </a:ext>
              <a:ext uri="{C183D7F6-B498-43B3-948B-1728B52AA6E4}">
                <adec:decorative xmlns:adec="http://schemas.microsoft.com/office/drawing/2017/decorative" val="1"/>
              </a:ext>
            </a:extLst>
          </p:cNvPr>
          <p:cNvGrpSpPr/>
          <p:nvPr/>
        </p:nvGrpSpPr>
        <p:grpSpPr>
          <a:xfrm>
            <a:off x="1170140" y="2634235"/>
            <a:ext cx="680204" cy="633600"/>
            <a:chOff x="1285826" y="2429401"/>
            <a:chExt cx="680204" cy="633600"/>
          </a:xfrm>
        </p:grpSpPr>
        <p:sp>
          <p:nvSpPr>
            <p:cNvPr id="683" name="Freeform 229">
              <a:extLst>
                <a:ext uri="{FF2B5EF4-FFF2-40B4-BE49-F238E27FC236}">
                  <a16:creationId xmlns:a16="http://schemas.microsoft.com/office/drawing/2014/main" id="{4084CDD4-7F61-4519-A78D-D3AA4AD0F4B6}"/>
                </a:ext>
              </a:extLst>
            </p:cNvPr>
            <p:cNvSpPr>
              <a:spLocks/>
            </p:cNvSpPr>
            <p:nvPr/>
          </p:nvSpPr>
          <p:spPr bwMode="auto">
            <a:xfrm>
              <a:off x="1285826" y="2429401"/>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49" name="Group 8">
              <a:extLst>
                <a:ext uri="{FF2B5EF4-FFF2-40B4-BE49-F238E27FC236}">
                  <a16:creationId xmlns:a16="http://schemas.microsoft.com/office/drawing/2014/main" id="{4040D4D6-810F-4ACA-941E-A8E5A1DA355B}"/>
                </a:ext>
              </a:extLst>
            </p:cNvPr>
            <p:cNvGrpSpPr>
              <a:grpSpLocks noChangeAspect="1"/>
            </p:cNvGrpSpPr>
            <p:nvPr/>
          </p:nvGrpSpPr>
          <p:grpSpPr>
            <a:xfrm>
              <a:off x="1386845" y="2681036"/>
              <a:ext cx="432002" cy="223134"/>
              <a:chOff x="9141739" y="1897808"/>
              <a:chExt cx="673100" cy="347663"/>
            </a:xfrm>
          </p:grpSpPr>
          <p:sp>
            <p:nvSpPr>
              <p:cNvPr id="450" name="Freeform 93">
                <a:extLst>
                  <a:ext uri="{FF2B5EF4-FFF2-40B4-BE49-F238E27FC236}">
                    <a16:creationId xmlns:a16="http://schemas.microsoft.com/office/drawing/2014/main" id="{7FC832C9-3F02-4D7F-9E4F-94255ACBEC9A}"/>
                  </a:ext>
                </a:extLst>
              </p:cNvPr>
              <p:cNvSpPr>
                <a:spLocks noEditPoints="1"/>
              </p:cNvSpPr>
              <p:nvPr/>
            </p:nvSpPr>
            <p:spPr bwMode="auto">
              <a:xfrm>
                <a:off x="9213176" y="2101008"/>
                <a:ext cx="144462" cy="144463"/>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0 w 80"/>
                  <a:gd name="T11" fmla="*/ 61 h 80"/>
                  <a:gd name="T12" fmla="*/ 20 w 80"/>
                  <a:gd name="T13" fmla="*/ 40 h 80"/>
                  <a:gd name="T14" fmla="*/ 40 w 80"/>
                  <a:gd name="T15" fmla="*/ 20 h 80"/>
                  <a:gd name="T16" fmla="*/ 61 w 80"/>
                  <a:gd name="T17" fmla="*/ 40 h 80"/>
                  <a:gd name="T18" fmla="*/ 40 w 80"/>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0" y="61"/>
                    </a:moveTo>
                    <a:cubicBezTo>
                      <a:pt x="29" y="61"/>
                      <a:pt x="20" y="52"/>
                      <a:pt x="20" y="40"/>
                    </a:cubicBezTo>
                    <a:cubicBezTo>
                      <a:pt x="20" y="29"/>
                      <a:pt x="29" y="20"/>
                      <a:pt x="40" y="20"/>
                    </a:cubicBezTo>
                    <a:cubicBezTo>
                      <a:pt x="51" y="20"/>
                      <a:pt x="61" y="29"/>
                      <a:pt x="61" y="40"/>
                    </a:cubicBezTo>
                    <a:cubicBezTo>
                      <a:pt x="61" y="52"/>
                      <a:pt x="51" y="61"/>
                      <a:pt x="40" y="6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51" name="Freeform 94">
                <a:extLst>
                  <a:ext uri="{FF2B5EF4-FFF2-40B4-BE49-F238E27FC236}">
                    <a16:creationId xmlns:a16="http://schemas.microsoft.com/office/drawing/2014/main" id="{223DF398-2A33-423E-982B-695E211A3DEA}"/>
                  </a:ext>
                </a:extLst>
              </p:cNvPr>
              <p:cNvSpPr>
                <a:spLocks noEditPoints="1"/>
              </p:cNvSpPr>
              <p:nvPr/>
            </p:nvSpPr>
            <p:spPr bwMode="auto">
              <a:xfrm>
                <a:off x="9586239" y="2101008"/>
                <a:ext cx="142875" cy="144463"/>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0 w 80"/>
                  <a:gd name="T11" fmla="*/ 61 h 80"/>
                  <a:gd name="T12" fmla="*/ 19 w 80"/>
                  <a:gd name="T13" fmla="*/ 40 h 80"/>
                  <a:gd name="T14" fmla="*/ 40 w 80"/>
                  <a:gd name="T15" fmla="*/ 20 h 80"/>
                  <a:gd name="T16" fmla="*/ 60 w 80"/>
                  <a:gd name="T17" fmla="*/ 40 h 80"/>
                  <a:gd name="T18" fmla="*/ 40 w 80"/>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0" y="61"/>
                    </a:moveTo>
                    <a:cubicBezTo>
                      <a:pt x="29" y="61"/>
                      <a:pt x="19" y="52"/>
                      <a:pt x="19" y="40"/>
                    </a:cubicBezTo>
                    <a:cubicBezTo>
                      <a:pt x="19" y="29"/>
                      <a:pt x="29" y="20"/>
                      <a:pt x="40" y="20"/>
                    </a:cubicBezTo>
                    <a:cubicBezTo>
                      <a:pt x="51" y="20"/>
                      <a:pt x="60" y="29"/>
                      <a:pt x="60" y="40"/>
                    </a:cubicBezTo>
                    <a:cubicBezTo>
                      <a:pt x="60" y="52"/>
                      <a:pt x="51" y="61"/>
                      <a:pt x="40" y="6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59" name="Freeform 95">
                <a:extLst>
                  <a:ext uri="{FF2B5EF4-FFF2-40B4-BE49-F238E27FC236}">
                    <a16:creationId xmlns:a16="http://schemas.microsoft.com/office/drawing/2014/main" id="{2866645B-FF12-452B-907E-23A43829212D}"/>
                  </a:ext>
                </a:extLst>
              </p:cNvPr>
              <p:cNvSpPr>
                <a:spLocks noEditPoints="1"/>
              </p:cNvSpPr>
              <p:nvPr/>
            </p:nvSpPr>
            <p:spPr bwMode="auto">
              <a:xfrm>
                <a:off x="9141739" y="1897808"/>
                <a:ext cx="673100" cy="301625"/>
              </a:xfrm>
              <a:custGeom>
                <a:avLst/>
                <a:gdLst>
                  <a:gd name="T0" fmla="*/ 361 w 376"/>
                  <a:gd name="T1" fmla="*/ 98 h 169"/>
                  <a:gd name="T2" fmla="*/ 326 w 376"/>
                  <a:gd name="T3" fmla="*/ 70 h 169"/>
                  <a:gd name="T4" fmla="*/ 325 w 376"/>
                  <a:gd name="T5" fmla="*/ 70 h 169"/>
                  <a:gd name="T6" fmla="*/ 281 w 376"/>
                  <a:gd name="T7" fmla="*/ 59 h 169"/>
                  <a:gd name="T8" fmla="*/ 182 w 376"/>
                  <a:gd name="T9" fmla="*/ 0 h 169"/>
                  <a:gd name="T10" fmla="*/ 177 w 376"/>
                  <a:gd name="T11" fmla="*/ 0 h 169"/>
                  <a:gd name="T12" fmla="*/ 58 w 376"/>
                  <a:gd name="T13" fmla="*/ 60 h 169"/>
                  <a:gd name="T14" fmla="*/ 9 w 376"/>
                  <a:gd name="T15" fmla="*/ 103 h 169"/>
                  <a:gd name="T16" fmla="*/ 0 w 376"/>
                  <a:gd name="T17" fmla="*/ 125 h 169"/>
                  <a:gd name="T18" fmla="*/ 0 w 376"/>
                  <a:gd name="T19" fmla="*/ 136 h 169"/>
                  <a:gd name="T20" fmla="*/ 32 w 376"/>
                  <a:gd name="T21" fmla="*/ 169 h 169"/>
                  <a:gd name="T22" fmla="*/ 30 w 376"/>
                  <a:gd name="T23" fmla="*/ 154 h 169"/>
                  <a:gd name="T24" fmla="*/ 80 w 376"/>
                  <a:gd name="T25" fmla="*/ 104 h 169"/>
                  <a:gd name="T26" fmla="*/ 130 w 376"/>
                  <a:gd name="T27" fmla="*/ 154 h 169"/>
                  <a:gd name="T28" fmla="*/ 128 w 376"/>
                  <a:gd name="T29" fmla="*/ 168 h 169"/>
                  <a:gd name="T30" fmla="*/ 240 w 376"/>
                  <a:gd name="T31" fmla="*/ 168 h 169"/>
                  <a:gd name="T32" fmla="*/ 238 w 376"/>
                  <a:gd name="T33" fmla="*/ 154 h 169"/>
                  <a:gd name="T34" fmla="*/ 288 w 376"/>
                  <a:gd name="T35" fmla="*/ 104 h 169"/>
                  <a:gd name="T36" fmla="*/ 338 w 376"/>
                  <a:gd name="T37" fmla="*/ 154 h 169"/>
                  <a:gd name="T38" fmla="*/ 336 w 376"/>
                  <a:gd name="T39" fmla="*/ 169 h 169"/>
                  <a:gd name="T40" fmla="*/ 343 w 376"/>
                  <a:gd name="T41" fmla="*/ 169 h 169"/>
                  <a:gd name="T42" fmla="*/ 376 w 376"/>
                  <a:gd name="T43" fmla="*/ 136 h 169"/>
                  <a:gd name="T44" fmla="*/ 376 w 376"/>
                  <a:gd name="T45" fmla="*/ 125 h 169"/>
                  <a:gd name="T46" fmla="*/ 361 w 376"/>
                  <a:gd name="T47" fmla="*/ 98 h 169"/>
                  <a:gd name="T48" fmla="*/ 69 w 376"/>
                  <a:gd name="T49" fmla="*/ 72 h 169"/>
                  <a:gd name="T50" fmla="*/ 177 w 376"/>
                  <a:gd name="T51" fmla="*/ 17 h 169"/>
                  <a:gd name="T52" fmla="*/ 181 w 376"/>
                  <a:gd name="T53" fmla="*/ 17 h 169"/>
                  <a:gd name="T54" fmla="*/ 270 w 376"/>
                  <a:gd name="T55" fmla="*/ 72 h 169"/>
                  <a:gd name="T56" fmla="*/ 69 w 376"/>
                  <a:gd name="T57" fmla="*/ 7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6" h="169">
                    <a:moveTo>
                      <a:pt x="361" y="98"/>
                    </a:moveTo>
                    <a:cubicBezTo>
                      <a:pt x="351" y="81"/>
                      <a:pt x="335" y="74"/>
                      <a:pt x="326" y="70"/>
                    </a:cubicBezTo>
                    <a:cubicBezTo>
                      <a:pt x="325" y="70"/>
                      <a:pt x="325" y="70"/>
                      <a:pt x="325" y="70"/>
                    </a:cubicBezTo>
                    <a:cubicBezTo>
                      <a:pt x="311" y="64"/>
                      <a:pt x="294" y="61"/>
                      <a:pt x="281" y="59"/>
                    </a:cubicBezTo>
                    <a:cubicBezTo>
                      <a:pt x="249" y="2"/>
                      <a:pt x="203" y="1"/>
                      <a:pt x="182" y="0"/>
                    </a:cubicBezTo>
                    <a:cubicBezTo>
                      <a:pt x="180" y="0"/>
                      <a:pt x="178" y="0"/>
                      <a:pt x="177" y="0"/>
                    </a:cubicBezTo>
                    <a:cubicBezTo>
                      <a:pt x="111" y="0"/>
                      <a:pt x="72" y="41"/>
                      <a:pt x="58" y="60"/>
                    </a:cubicBezTo>
                    <a:cubicBezTo>
                      <a:pt x="27" y="69"/>
                      <a:pt x="13" y="87"/>
                      <a:pt x="9" y="103"/>
                    </a:cubicBezTo>
                    <a:cubicBezTo>
                      <a:pt x="3" y="109"/>
                      <a:pt x="0" y="117"/>
                      <a:pt x="0" y="125"/>
                    </a:cubicBezTo>
                    <a:cubicBezTo>
                      <a:pt x="0" y="136"/>
                      <a:pt x="0" y="136"/>
                      <a:pt x="0" y="136"/>
                    </a:cubicBezTo>
                    <a:cubicBezTo>
                      <a:pt x="0" y="154"/>
                      <a:pt x="14" y="168"/>
                      <a:pt x="32" y="169"/>
                    </a:cubicBezTo>
                    <a:cubicBezTo>
                      <a:pt x="31" y="164"/>
                      <a:pt x="30" y="159"/>
                      <a:pt x="30" y="154"/>
                    </a:cubicBezTo>
                    <a:cubicBezTo>
                      <a:pt x="30" y="127"/>
                      <a:pt x="52" y="104"/>
                      <a:pt x="80" y="104"/>
                    </a:cubicBezTo>
                    <a:cubicBezTo>
                      <a:pt x="108" y="104"/>
                      <a:pt x="130" y="127"/>
                      <a:pt x="130" y="154"/>
                    </a:cubicBezTo>
                    <a:cubicBezTo>
                      <a:pt x="130" y="159"/>
                      <a:pt x="129" y="164"/>
                      <a:pt x="128" y="168"/>
                    </a:cubicBezTo>
                    <a:cubicBezTo>
                      <a:pt x="240" y="168"/>
                      <a:pt x="240" y="168"/>
                      <a:pt x="240" y="168"/>
                    </a:cubicBezTo>
                    <a:cubicBezTo>
                      <a:pt x="239" y="164"/>
                      <a:pt x="238" y="159"/>
                      <a:pt x="238" y="154"/>
                    </a:cubicBezTo>
                    <a:cubicBezTo>
                      <a:pt x="238" y="127"/>
                      <a:pt x="260" y="104"/>
                      <a:pt x="288" y="104"/>
                    </a:cubicBezTo>
                    <a:cubicBezTo>
                      <a:pt x="316" y="104"/>
                      <a:pt x="338" y="127"/>
                      <a:pt x="338" y="154"/>
                    </a:cubicBezTo>
                    <a:cubicBezTo>
                      <a:pt x="338" y="159"/>
                      <a:pt x="337" y="164"/>
                      <a:pt x="336" y="169"/>
                    </a:cubicBezTo>
                    <a:cubicBezTo>
                      <a:pt x="343" y="169"/>
                      <a:pt x="343" y="169"/>
                      <a:pt x="343" y="169"/>
                    </a:cubicBezTo>
                    <a:cubicBezTo>
                      <a:pt x="361" y="169"/>
                      <a:pt x="376" y="154"/>
                      <a:pt x="376" y="136"/>
                    </a:cubicBezTo>
                    <a:cubicBezTo>
                      <a:pt x="376" y="125"/>
                      <a:pt x="376" y="125"/>
                      <a:pt x="376" y="125"/>
                    </a:cubicBezTo>
                    <a:cubicBezTo>
                      <a:pt x="376" y="114"/>
                      <a:pt x="370" y="104"/>
                      <a:pt x="361" y="98"/>
                    </a:cubicBezTo>
                    <a:close/>
                    <a:moveTo>
                      <a:pt x="69" y="72"/>
                    </a:moveTo>
                    <a:cubicBezTo>
                      <a:pt x="80" y="57"/>
                      <a:pt x="115" y="17"/>
                      <a:pt x="177" y="17"/>
                    </a:cubicBezTo>
                    <a:cubicBezTo>
                      <a:pt x="178" y="17"/>
                      <a:pt x="180" y="17"/>
                      <a:pt x="181" y="17"/>
                    </a:cubicBezTo>
                    <a:cubicBezTo>
                      <a:pt x="201" y="17"/>
                      <a:pt x="242" y="19"/>
                      <a:pt x="270" y="72"/>
                    </a:cubicBezTo>
                    <a:lnTo>
                      <a:pt x="69" y="7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nvGrpSpPr>
            <p:cNvPr id="655" name="Group 654">
              <a:extLst>
                <a:ext uri="{FF2B5EF4-FFF2-40B4-BE49-F238E27FC236}">
                  <a16:creationId xmlns:a16="http://schemas.microsoft.com/office/drawing/2014/main" id="{B8CAD477-9ECA-4E18-99A4-B4EF46DDEA9B}"/>
                </a:ext>
              </a:extLst>
            </p:cNvPr>
            <p:cNvGrpSpPr/>
            <p:nvPr/>
          </p:nvGrpSpPr>
          <p:grpSpPr>
            <a:xfrm rot="1882129">
              <a:off x="1700403" y="2583309"/>
              <a:ext cx="154352" cy="105936"/>
              <a:chOff x="1527590" y="1349844"/>
              <a:chExt cx="154352" cy="105936"/>
            </a:xfrm>
          </p:grpSpPr>
          <p:sp>
            <p:nvSpPr>
              <p:cNvPr id="656" name="Freeform 136">
                <a:extLst>
                  <a:ext uri="{FF2B5EF4-FFF2-40B4-BE49-F238E27FC236}">
                    <a16:creationId xmlns:a16="http://schemas.microsoft.com/office/drawing/2014/main" id="{D435BFC3-32CF-476E-9506-C8D55D9C4F34}"/>
                  </a:ext>
                </a:extLst>
              </p:cNvPr>
              <p:cNvSpPr>
                <a:spLocks/>
              </p:cNvSpPr>
              <p:nvPr/>
            </p:nvSpPr>
            <p:spPr bwMode="auto">
              <a:xfrm>
                <a:off x="1527590" y="1349844"/>
                <a:ext cx="154352" cy="56752"/>
              </a:xfrm>
              <a:custGeom>
                <a:avLst/>
                <a:gdLst>
                  <a:gd name="T0" fmla="*/ 0 w 61"/>
                  <a:gd name="T1" fmla="*/ 17 h 21"/>
                  <a:gd name="T2" fmla="*/ 0 w 61"/>
                  <a:gd name="T3" fmla="*/ 20 h 21"/>
                  <a:gd name="T4" fmla="*/ 4 w 61"/>
                  <a:gd name="T5" fmla="*/ 20 h 21"/>
                  <a:gd name="T6" fmla="*/ 57 w 61"/>
                  <a:gd name="T7" fmla="*/ 19 h 21"/>
                  <a:gd name="T8" fmla="*/ 59 w 61"/>
                  <a:gd name="T9" fmla="*/ 20 h 21"/>
                  <a:gd name="T10" fmla="*/ 60 w 61"/>
                  <a:gd name="T11" fmla="*/ 19 h 21"/>
                  <a:gd name="T12" fmla="*/ 60 w 61"/>
                  <a:gd name="T13" fmla="*/ 16 h 21"/>
                  <a:gd name="T14" fmla="*/ 0 w 61"/>
                  <a:gd name="T15" fmla="*/ 1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1">
                    <a:moveTo>
                      <a:pt x="0" y="17"/>
                    </a:moveTo>
                    <a:cubicBezTo>
                      <a:pt x="0" y="17"/>
                      <a:pt x="0" y="19"/>
                      <a:pt x="0" y="20"/>
                    </a:cubicBezTo>
                    <a:cubicBezTo>
                      <a:pt x="1" y="21"/>
                      <a:pt x="3" y="21"/>
                      <a:pt x="4" y="20"/>
                    </a:cubicBezTo>
                    <a:cubicBezTo>
                      <a:pt x="18" y="5"/>
                      <a:pt x="42" y="5"/>
                      <a:pt x="57" y="19"/>
                    </a:cubicBezTo>
                    <a:cubicBezTo>
                      <a:pt x="58" y="20"/>
                      <a:pt x="58" y="20"/>
                      <a:pt x="59" y="20"/>
                    </a:cubicBezTo>
                    <a:cubicBezTo>
                      <a:pt x="59" y="20"/>
                      <a:pt x="60" y="20"/>
                      <a:pt x="60" y="19"/>
                    </a:cubicBezTo>
                    <a:cubicBezTo>
                      <a:pt x="61" y="18"/>
                      <a:pt x="61" y="17"/>
                      <a:pt x="60" y="16"/>
                    </a:cubicBezTo>
                    <a:cubicBezTo>
                      <a:pt x="44" y="0"/>
                      <a:pt x="17" y="0"/>
                      <a:pt x="0" y="1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137">
                <a:extLst>
                  <a:ext uri="{FF2B5EF4-FFF2-40B4-BE49-F238E27FC236}">
                    <a16:creationId xmlns:a16="http://schemas.microsoft.com/office/drawing/2014/main" id="{4CE7D5ED-CBC9-429B-8DC4-6EE847C3F00D}"/>
                  </a:ext>
                </a:extLst>
              </p:cNvPr>
              <p:cNvSpPr>
                <a:spLocks/>
              </p:cNvSpPr>
              <p:nvPr/>
            </p:nvSpPr>
            <p:spPr bwMode="auto">
              <a:xfrm>
                <a:off x="1547774" y="1385157"/>
                <a:ext cx="113983" cy="42879"/>
              </a:xfrm>
              <a:custGeom>
                <a:avLst/>
                <a:gdLst>
                  <a:gd name="T0" fmla="*/ 1 w 45"/>
                  <a:gd name="T1" fmla="*/ 12 h 16"/>
                  <a:gd name="T2" fmla="*/ 1 w 45"/>
                  <a:gd name="T3" fmla="*/ 15 h 16"/>
                  <a:gd name="T4" fmla="*/ 4 w 45"/>
                  <a:gd name="T5" fmla="*/ 15 h 16"/>
                  <a:gd name="T6" fmla="*/ 41 w 45"/>
                  <a:gd name="T7" fmla="*/ 15 h 16"/>
                  <a:gd name="T8" fmla="*/ 42 w 45"/>
                  <a:gd name="T9" fmla="*/ 16 h 16"/>
                  <a:gd name="T10" fmla="*/ 44 w 45"/>
                  <a:gd name="T11" fmla="*/ 15 h 16"/>
                  <a:gd name="T12" fmla="*/ 44 w 45"/>
                  <a:gd name="T13" fmla="*/ 12 h 16"/>
                  <a:gd name="T14" fmla="*/ 1 w 45"/>
                  <a:gd name="T15" fmla="*/ 1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6">
                    <a:moveTo>
                      <a:pt x="1" y="12"/>
                    </a:moveTo>
                    <a:cubicBezTo>
                      <a:pt x="0" y="13"/>
                      <a:pt x="0" y="14"/>
                      <a:pt x="1" y="15"/>
                    </a:cubicBezTo>
                    <a:cubicBezTo>
                      <a:pt x="2" y="16"/>
                      <a:pt x="3" y="16"/>
                      <a:pt x="4" y="15"/>
                    </a:cubicBezTo>
                    <a:cubicBezTo>
                      <a:pt x="14" y="5"/>
                      <a:pt x="31" y="5"/>
                      <a:pt x="41" y="15"/>
                    </a:cubicBezTo>
                    <a:cubicBezTo>
                      <a:pt x="41" y="15"/>
                      <a:pt x="42" y="16"/>
                      <a:pt x="42" y="16"/>
                    </a:cubicBezTo>
                    <a:cubicBezTo>
                      <a:pt x="43" y="16"/>
                      <a:pt x="44" y="15"/>
                      <a:pt x="44" y="15"/>
                    </a:cubicBezTo>
                    <a:cubicBezTo>
                      <a:pt x="45" y="14"/>
                      <a:pt x="45" y="13"/>
                      <a:pt x="44" y="12"/>
                    </a:cubicBezTo>
                    <a:cubicBezTo>
                      <a:pt x="32" y="0"/>
                      <a:pt x="13" y="0"/>
                      <a:pt x="1" y="12"/>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138">
                <a:extLst>
                  <a:ext uri="{FF2B5EF4-FFF2-40B4-BE49-F238E27FC236}">
                    <a16:creationId xmlns:a16="http://schemas.microsoft.com/office/drawing/2014/main" id="{4F537C3C-DBC2-409C-ADE8-5DF1895D869D}"/>
                  </a:ext>
                </a:extLst>
              </p:cNvPr>
              <p:cNvSpPr>
                <a:spLocks/>
              </p:cNvSpPr>
              <p:nvPr/>
            </p:nvSpPr>
            <p:spPr bwMode="auto">
              <a:xfrm>
                <a:off x="1572708" y="1428035"/>
                <a:ext cx="62929" cy="27745"/>
              </a:xfrm>
              <a:custGeom>
                <a:avLst/>
                <a:gdLst>
                  <a:gd name="T0" fmla="*/ 1 w 25"/>
                  <a:gd name="T1" fmla="*/ 6 h 10"/>
                  <a:gd name="T2" fmla="*/ 1 w 25"/>
                  <a:gd name="T3" fmla="*/ 9 h 10"/>
                  <a:gd name="T4" fmla="*/ 4 w 25"/>
                  <a:gd name="T5" fmla="*/ 9 h 10"/>
                  <a:gd name="T6" fmla="*/ 21 w 25"/>
                  <a:gd name="T7" fmla="*/ 9 h 10"/>
                  <a:gd name="T8" fmla="*/ 22 w 25"/>
                  <a:gd name="T9" fmla="*/ 10 h 10"/>
                  <a:gd name="T10" fmla="*/ 24 w 25"/>
                  <a:gd name="T11" fmla="*/ 9 h 10"/>
                  <a:gd name="T12" fmla="*/ 24 w 25"/>
                  <a:gd name="T13" fmla="*/ 6 h 10"/>
                  <a:gd name="T14" fmla="*/ 1 w 2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0">
                    <a:moveTo>
                      <a:pt x="1" y="6"/>
                    </a:moveTo>
                    <a:cubicBezTo>
                      <a:pt x="0" y="7"/>
                      <a:pt x="0" y="8"/>
                      <a:pt x="1" y="9"/>
                    </a:cubicBezTo>
                    <a:cubicBezTo>
                      <a:pt x="2" y="10"/>
                      <a:pt x="4" y="10"/>
                      <a:pt x="4" y="9"/>
                    </a:cubicBezTo>
                    <a:cubicBezTo>
                      <a:pt x="9" y="5"/>
                      <a:pt x="16" y="5"/>
                      <a:pt x="21" y="9"/>
                    </a:cubicBezTo>
                    <a:cubicBezTo>
                      <a:pt x="21" y="10"/>
                      <a:pt x="22" y="10"/>
                      <a:pt x="22" y="10"/>
                    </a:cubicBezTo>
                    <a:cubicBezTo>
                      <a:pt x="23" y="10"/>
                      <a:pt x="23" y="10"/>
                      <a:pt x="24" y="9"/>
                    </a:cubicBezTo>
                    <a:cubicBezTo>
                      <a:pt x="25" y="8"/>
                      <a:pt x="25" y="7"/>
                      <a:pt x="24" y="6"/>
                    </a:cubicBezTo>
                    <a:cubicBezTo>
                      <a:pt x="18" y="0"/>
                      <a:pt x="7" y="0"/>
                      <a:pt x="1" y="6"/>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7" name="Group 56">
            <a:extLst>
              <a:ext uri="{FF2B5EF4-FFF2-40B4-BE49-F238E27FC236}">
                <a16:creationId xmlns:a16="http://schemas.microsoft.com/office/drawing/2014/main" id="{0FA4E343-9783-444F-8851-82FAC81A7E35}"/>
              </a:ext>
              <a:ext uri="{C183D7F6-B498-43B3-948B-1728B52AA6E4}">
                <adec:decorative xmlns:adec="http://schemas.microsoft.com/office/drawing/2017/decorative" val="1"/>
              </a:ext>
            </a:extLst>
          </p:cNvPr>
          <p:cNvGrpSpPr/>
          <p:nvPr/>
        </p:nvGrpSpPr>
        <p:grpSpPr>
          <a:xfrm>
            <a:off x="6262479" y="2634235"/>
            <a:ext cx="680204" cy="633600"/>
            <a:chOff x="3917719" y="-231187"/>
            <a:chExt cx="680204" cy="633600"/>
          </a:xfrm>
        </p:grpSpPr>
        <p:sp>
          <p:nvSpPr>
            <p:cNvPr id="601" name="Freeform 229">
              <a:extLst>
                <a:ext uri="{FF2B5EF4-FFF2-40B4-BE49-F238E27FC236}">
                  <a16:creationId xmlns:a16="http://schemas.microsoft.com/office/drawing/2014/main" id="{DAB70115-06D1-42FE-9368-5909C2374FE6}"/>
                </a:ext>
              </a:extLst>
            </p:cNvPr>
            <p:cNvSpPr>
              <a:spLocks/>
            </p:cNvSpPr>
            <p:nvPr/>
          </p:nvSpPr>
          <p:spPr bwMode="auto">
            <a:xfrm>
              <a:off x="3917719" y="-231187"/>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6" name="Group 55">
              <a:extLst>
                <a:ext uri="{FF2B5EF4-FFF2-40B4-BE49-F238E27FC236}">
                  <a16:creationId xmlns:a16="http://schemas.microsoft.com/office/drawing/2014/main" id="{45A07BB9-FEE4-4466-9617-9AF3C6E7197B}"/>
                </a:ext>
              </a:extLst>
            </p:cNvPr>
            <p:cNvGrpSpPr/>
            <p:nvPr/>
          </p:nvGrpSpPr>
          <p:grpSpPr>
            <a:xfrm>
              <a:off x="4062931" y="-18314"/>
              <a:ext cx="405209" cy="225265"/>
              <a:chOff x="4062931" y="-18314"/>
              <a:chExt cx="405209" cy="225265"/>
            </a:xfrm>
            <a:solidFill>
              <a:schemeClr val="bg1"/>
            </a:solidFill>
          </p:grpSpPr>
          <p:sp>
            <p:nvSpPr>
              <p:cNvPr id="49" name="Freeform: Shape 48">
                <a:extLst>
                  <a:ext uri="{FF2B5EF4-FFF2-40B4-BE49-F238E27FC236}">
                    <a16:creationId xmlns:a16="http://schemas.microsoft.com/office/drawing/2014/main" id="{A5336DFB-3B9B-4757-92EB-48B7831166FA}"/>
                  </a:ext>
                </a:extLst>
              </p:cNvPr>
              <p:cNvSpPr/>
              <p:nvPr/>
            </p:nvSpPr>
            <p:spPr>
              <a:xfrm>
                <a:off x="4352587" y="142562"/>
                <a:ext cx="64389" cy="64389"/>
              </a:xfrm>
              <a:custGeom>
                <a:avLst/>
                <a:gdLst>
                  <a:gd name="connsiteX0" fmla="*/ 64389 w 64389"/>
                  <a:gd name="connsiteY0" fmla="*/ 32194 h 64389"/>
                  <a:gd name="connsiteX1" fmla="*/ 32195 w 64389"/>
                  <a:gd name="connsiteY1" fmla="*/ 64389 h 64389"/>
                  <a:gd name="connsiteX2" fmla="*/ 0 w 64389"/>
                  <a:gd name="connsiteY2" fmla="*/ 32194 h 64389"/>
                  <a:gd name="connsiteX3" fmla="*/ 32195 w 64389"/>
                  <a:gd name="connsiteY3" fmla="*/ 0 h 64389"/>
                  <a:gd name="connsiteX4" fmla="*/ 64389 w 64389"/>
                  <a:gd name="connsiteY4" fmla="*/ 32194 h 64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9" h="64389">
                    <a:moveTo>
                      <a:pt x="64389" y="32194"/>
                    </a:moveTo>
                    <a:cubicBezTo>
                      <a:pt x="64389" y="49975"/>
                      <a:pt x="49975" y="64389"/>
                      <a:pt x="32195" y="64389"/>
                    </a:cubicBezTo>
                    <a:cubicBezTo>
                      <a:pt x="14414" y="64389"/>
                      <a:pt x="0" y="49975"/>
                      <a:pt x="0" y="32194"/>
                    </a:cubicBezTo>
                    <a:cubicBezTo>
                      <a:pt x="0" y="14414"/>
                      <a:pt x="14414" y="0"/>
                      <a:pt x="32195" y="0"/>
                    </a:cubicBezTo>
                    <a:cubicBezTo>
                      <a:pt x="49975" y="0"/>
                      <a:pt x="64389" y="14414"/>
                      <a:pt x="64389" y="32194"/>
                    </a:cubicBezTo>
                    <a:close/>
                  </a:path>
                </a:pathLst>
              </a:custGeom>
              <a:grp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84B34CCC-AE9D-44F7-A83D-7EF1365C91AE}"/>
                  </a:ext>
                </a:extLst>
              </p:cNvPr>
              <p:cNvSpPr/>
              <p:nvPr/>
            </p:nvSpPr>
            <p:spPr>
              <a:xfrm>
                <a:off x="4065468" y="153326"/>
                <a:ext cx="29657" cy="21431"/>
              </a:xfrm>
              <a:custGeom>
                <a:avLst/>
                <a:gdLst>
                  <a:gd name="connsiteX0" fmla="*/ -523 w 29657"/>
                  <a:gd name="connsiteY0" fmla="*/ -275 h 21431"/>
                  <a:gd name="connsiteX1" fmla="*/ 29005 w 29657"/>
                  <a:gd name="connsiteY1" fmla="*/ -275 h 21431"/>
                  <a:gd name="connsiteX2" fmla="*/ 24337 w 29657"/>
                  <a:gd name="connsiteY2" fmla="*/ 21156 h 21431"/>
                  <a:gd name="connsiteX3" fmla="*/ 15575 w 29657"/>
                  <a:gd name="connsiteY3" fmla="*/ 21156 h 21431"/>
                  <a:gd name="connsiteX4" fmla="*/ -523 w 29657"/>
                  <a:gd name="connsiteY4" fmla="*/ -275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57" h="21431">
                    <a:moveTo>
                      <a:pt x="-523" y="-275"/>
                    </a:moveTo>
                    <a:lnTo>
                      <a:pt x="29005" y="-275"/>
                    </a:lnTo>
                    <a:cubicBezTo>
                      <a:pt x="26012" y="6479"/>
                      <a:pt x="24424" y="13770"/>
                      <a:pt x="24337" y="21156"/>
                    </a:cubicBezTo>
                    <a:lnTo>
                      <a:pt x="15575" y="21156"/>
                    </a:lnTo>
                    <a:cubicBezTo>
                      <a:pt x="-3190" y="21156"/>
                      <a:pt x="-523" y="-275"/>
                      <a:pt x="-523" y="-275"/>
                    </a:cubicBezTo>
                    <a:close/>
                  </a:path>
                </a:pathLst>
              </a:custGeom>
              <a:grp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55BCBEBF-CDED-4526-B963-9171F538F6DC}"/>
                  </a:ext>
                </a:extLst>
              </p:cNvPr>
              <p:cNvSpPr/>
              <p:nvPr/>
            </p:nvSpPr>
            <p:spPr>
              <a:xfrm>
                <a:off x="4062931" y="-18314"/>
                <a:ext cx="396716" cy="161162"/>
              </a:xfrm>
              <a:custGeom>
                <a:avLst/>
                <a:gdLst>
                  <a:gd name="connsiteX0" fmla="*/ 78023 w 396716"/>
                  <a:gd name="connsiteY0" fmla="*/ 149934 h 161162"/>
                  <a:gd name="connsiteX1" fmla="*/ 108122 w 396716"/>
                  <a:gd name="connsiteY1" fmla="*/ 160888 h 161162"/>
                  <a:gd name="connsiteX2" fmla="*/ 295288 w 396716"/>
                  <a:gd name="connsiteY2" fmla="*/ 160888 h 161162"/>
                  <a:gd name="connsiteX3" fmla="*/ 325292 w 396716"/>
                  <a:gd name="connsiteY3" fmla="*/ 149934 h 161162"/>
                  <a:gd name="connsiteX4" fmla="*/ 356249 w 396716"/>
                  <a:gd name="connsiteY4" fmla="*/ 160888 h 161162"/>
                  <a:gd name="connsiteX5" fmla="*/ 396063 w 396716"/>
                  <a:gd name="connsiteY5" fmla="*/ 160888 h 161162"/>
                  <a:gd name="connsiteX6" fmla="*/ 396063 w 396716"/>
                  <a:gd name="connsiteY6" fmla="*/ 120312 h 161162"/>
                  <a:gd name="connsiteX7" fmla="*/ 370441 w 396716"/>
                  <a:gd name="connsiteY7" fmla="*/ 60209 h 161162"/>
                  <a:gd name="connsiteX8" fmla="*/ 328912 w 396716"/>
                  <a:gd name="connsiteY8" fmla="*/ 32205 h 161162"/>
                  <a:gd name="connsiteX9" fmla="*/ 278524 w 396716"/>
                  <a:gd name="connsiteY9" fmla="*/ 32205 h 161162"/>
                  <a:gd name="connsiteX10" fmla="*/ 262740 w 396716"/>
                  <a:gd name="connsiteY10" fmla="*/ 44161 h 161162"/>
                  <a:gd name="connsiteX11" fmla="*/ 262618 w 396716"/>
                  <a:gd name="connsiteY11" fmla="*/ 46588 h 161162"/>
                  <a:gd name="connsiteX12" fmla="*/ 262618 w 396716"/>
                  <a:gd name="connsiteY12" fmla="*/ 127074 h 161162"/>
                  <a:gd name="connsiteX13" fmla="*/ 245758 w 396716"/>
                  <a:gd name="connsiteY13" fmla="*/ 127074 h 161162"/>
                  <a:gd name="connsiteX14" fmla="*/ 245758 w 396716"/>
                  <a:gd name="connsiteY14" fmla="*/ -275 h 161162"/>
                  <a:gd name="connsiteX15" fmla="*/ -653 w 396716"/>
                  <a:gd name="connsiteY15" fmla="*/ -275 h 161162"/>
                  <a:gd name="connsiteX16" fmla="*/ -653 w 396716"/>
                  <a:gd name="connsiteY16" fmla="*/ 160602 h 161162"/>
                  <a:gd name="connsiteX17" fmla="*/ 46972 w 396716"/>
                  <a:gd name="connsiteY17" fmla="*/ 160602 h 161162"/>
                  <a:gd name="connsiteX18" fmla="*/ 78023 w 396716"/>
                  <a:gd name="connsiteY18" fmla="*/ 149934 h 16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6716" h="161162">
                    <a:moveTo>
                      <a:pt x="78023" y="149934"/>
                    </a:moveTo>
                    <a:cubicBezTo>
                      <a:pt x="89034" y="149921"/>
                      <a:pt x="99695" y="153801"/>
                      <a:pt x="108122" y="160888"/>
                    </a:cubicBezTo>
                    <a:lnTo>
                      <a:pt x="295288" y="160888"/>
                    </a:lnTo>
                    <a:cubicBezTo>
                      <a:pt x="303677" y="153800"/>
                      <a:pt x="314309" y="149919"/>
                      <a:pt x="325292" y="149934"/>
                    </a:cubicBezTo>
                    <a:cubicBezTo>
                      <a:pt x="336592" y="149750"/>
                      <a:pt x="347580" y="153638"/>
                      <a:pt x="356249" y="160888"/>
                    </a:cubicBezTo>
                    <a:lnTo>
                      <a:pt x="396063" y="160888"/>
                    </a:lnTo>
                    <a:lnTo>
                      <a:pt x="396063" y="120312"/>
                    </a:lnTo>
                    <a:cubicBezTo>
                      <a:pt x="396063" y="120312"/>
                      <a:pt x="380156" y="81354"/>
                      <a:pt x="370441" y="60209"/>
                    </a:cubicBezTo>
                    <a:cubicBezTo>
                      <a:pt x="364670" y="42446"/>
                      <a:pt x="347542" y="30897"/>
                      <a:pt x="328912" y="32205"/>
                    </a:cubicBezTo>
                    <a:lnTo>
                      <a:pt x="278524" y="32205"/>
                    </a:lnTo>
                    <a:cubicBezTo>
                      <a:pt x="270864" y="31148"/>
                      <a:pt x="263797" y="36501"/>
                      <a:pt x="262740" y="44161"/>
                    </a:cubicBezTo>
                    <a:cubicBezTo>
                      <a:pt x="262629" y="44965"/>
                      <a:pt x="262588" y="45777"/>
                      <a:pt x="262618" y="46588"/>
                    </a:cubicBezTo>
                    <a:lnTo>
                      <a:pt x="262618" y="127074"/>
                    </a:lnTo>
                    <a:lnTo>
                      <a:pt x="245758" y="127074"/>
                    </a:lnTo>
                    <a:lnTo>
                      <a:pt x="245758" y="-275"/>
                    </a:lnTo>
                    <a:lnTo>
                      <a:pt x="-653" y="-275"/>
                    </a:lnTo>
                    <a:lnTo>
                      <a:pt x="-653" y="160602"/>
                    </a:lnTo>
                    <a:lnTo>
                      <a:pt x="46972" y="160602"/>
                    </a:lnTo>
                    <a:cubicBezTo>
                      <a:pt x="55730" y="153478"/>
                      <a:pt x="66736" y="149697"/>
                      <a:pt x="78023" y="149934"/>
                    </a:cubicBezTo>
                    <a:close/>
                  </a:path>
                </a:pathLst>
              </a:custGeom>
              <a:grp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80C33629-56F3-42E6-A59B-7503C87BCD0F}"/>
                  </a:ext>
                </a:extLst>
              </p:cNvPr>
              <p:cNvSpPr/>
              <p:nvPr/>
            </p:nvSpPr>
            <p:spPr>
              <a:xfrm>
                <a:off x="4341823" y="24549"/>
                <a:ext cx="96583" cy="75341"/>
              </a:xfrm>
              <a:custGeom>
                <a:avLst/>
                <a:gdLst>
                  <a:gd name="connsiteX0" fmla="*/ -653 w 96583"/>
                  <a:gd name="connsiteY0" fmla="*/ -181 h 75341"/>
                  <a:gd name="connsiteX1" fmla="*/ 48115 w 96583"/>
                  <a:gd name="connsiteY1" fmla="*/ -181 h 75341"/>
                  <a:gd name="connsiteX2" fmla="*/ 73356 w 96583"/>
                  <a:gd name="connsiteY2" fmla="*/ 17917 h 75341"/>
                  <a:gd name="connsiteX3" fmla="*/ 95930 w 96583"/>
                  <a:gd name="connsiteY3" fmla="*/ 75067 h 75341"/>
                  <a:gd name="connsiteX4" fmla="*/ 71546 w 96583"/>
                  <a:gd name="connsiteY4" fmla="*/ 75067 h 75341"/>
                  <a:gd name="connsiteX5" fmla="*/ 55258 w 96583"/>
                  <a:gd name="connsiteY5" fmla="*/ 59446 h 75341"/>
                  <a:gd name="connsiteX6" fmla="*/ 35446 w 96583"/>
                  <a:gd name="connsiteY6" fmla="*/ 52207 h 75341"/>
                  <a:gd name="connsiteX7" fmla="*/ -653 w 96583"/>
                  <a:gd name="connsiteY7" fmla="*/ 52207 h 75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583" h="75341">
                    <a:moveTo>
                      <a:pt x="-653" y="-181"/>
                    </a:moveTo>
                    <a:lnTo>
                      <a:pt x="48115" y="-181"/>
                    </a:lnTo>
                    <a:cubicBezTo>
                      <a:pt x="59846" y="-1220"/>
                      <a:pt x="70575" y="6472"/>
                      <a:pt x="73356" y="17917"/>
                    </a:cubicBezTo>
                    <a:cubicBezTo>
                      <a:pt x="80595" y="35062"/>
                      <a:pt x="91358" y="62208"/>
                      <a:pt x="95930" y="75067"/>
                    </a:cubicBezTo>
                    <a:lnTo>
                      <a:pt x="71546" y="75067"/>
                    </a:lnTo>
                    <a:lnTo>
                      <a:pt x="55258" y="59446"/>
                    </a:lnTo>
                    <a:cubicBezTo>
                      <a:pt x="50133" y="54093"/>
                      <a:pt x="42815" y="51419"/>
                      <a:pt x="35446" y="52207"/>
                    </a:cubicBezTo>
                    <a:lnTo>
                      <a:pt x="-653" y="52207"/>
                    </a:lnTo>
                    <a:close/>
                  </a:path>
                </a:pathLst>
              </a:custGeom>
              <a:solidFill>
                <a:schemeClr val="accent2"/>
              </a:solid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A52740EC-EB2F-4AA9-9243-F1712702E5E2}"/>
                  </a:ext>
                </a:extLst>
              </p:cNvPr>
              <p:cNvSpPr/>
              <p:nvPr/>
            </p:nvSpPr>
            <p:spPr>
              <a:xfrm>
                <a:off x="4180946" y="153326"/>
                <a:ext cx="171450" cy="21431"/>
              </a:xfrm>
              <a:custGeom>
                <a:avLst/>
                <a:gdLst>
                  <a:gd name="connsiteX0" fmla="*/ -653 w 171450"/>
                  <a:gd name="connsiteY0" fmla="*/ -275 h 21431"/>
                  <a:gd name="connsiteX1" fmla="*/ 170797 w 171450"/>
                  <a:gd name="connsiteY1" fmla="*/ -275 h 21431"/>
                  <a:gd name="connsiteX2" fmla="*/ 164605 w 171450"/>
                  <a:gd name="connsiteY2" fmla="*/ 21156 h 21431"/>
                  <a:gd name="connsiteX3" fmla="*/ 5824 w 171450"/>
                  <a:gd name="connsiteY3" fmla="*/ 21156 h 21431"/>
                  <a:gd name="connsiteX4" fmla="*/ -653 w 171450"/>
                  <a:gd name="connsiteY4" fmla="*/ -275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1431">
                    <a:moveTo>
                      <a:pt x="-653" y="-275"/>
                    </a:moveTo>
                    <a:lnTo>
                      <a:pt x="170797" y="-275"/>
                    </a:lnTo>
                    <a:cubicBezTo>
                      <a:pt x="166910" y="6212"/>
                      <a:pt x="164777" y="13597"/>
                      <a:pt x="164605" y="21156"/>
                    </a:cubicBezTo>
                    <a:lnTo>
                      <a:pt x="5824" y="21156"/>
                    </a:lnTo>
                    <a:cubicBezTo>
                      <a:pt x="5565" y="13571"/>
                      <a:pt x="3333" y="6184"/>
                      <a:pt x="-653" y="-275"/>
                    </a:cubicBezTo>
                    <a:close/>
                  </a:path>
                </a:pathLst>
              </a:custGeom>
              <a:grp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CAE66E0-622B-469E-B79C-A7ECC577D05E}"/>
                  </a:ext>
                </a:extLst>
              </p:cNvPr>
              <p:cNvSpPr/>
              <p:nvPr/>
            </p:nvSpPr>
            <p:spPr>
              <a:xfrm>
                <a:off x="4427644" y="153326"/>
                <a:ext cx="40496" cy="21431"/>
              </a:xfrm>
              <a:custGeom>
                <a:avLst/>
                <a:gdLst>
                  <a:gd name="connsiteX0" fmla="*/ 23731 w 40496"/>
                  <a:gd name="connsiteY0" fmla="*/ 21156 h 21431"/>
                  <a:gd name="connsiteX1" fmla="*/ 5252 w 40496"/>
                  <a:gd name="connsiteY1" fmla="*/ 21156 h 21431"/>
                  <a:gd name="connsiteX2" fmla="*/ -653 w 40496"/>
                  <a:gd name="connsiteY2" fmla="*/ -275 h 21431"/>
                  <a:gd name="connsiteX3" fmla="*/ 39733 w 40496"/>
                  <a:gd name="connsiteY3" fmla="*/ -275 h 21431"/>
                  <a:gd name="connsiteX4" fmla="*/ 23731 w 40496"/>
                  <a:gd name="connsiteY4" fmla="*/ 21156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6" h="21431">
                    <a:moveTo>
                      <a:pt x="23731" y="21156"/>
                    </a:moveTo>
                    <a:lnTo>
                      <a:pt x="5252" y="21156"/>
                    </a:lnTo>
                    <a:cubicBezTo>
                      <a:pt x="5085" y="13635"/>
                      <a:pt x="3056" y="6271"/>
                      <a:pt x="-653" y="-275"/>
                    </a:cubicBezTo>
                    <a:lnTo>
                      <a:pt x="39733" y="-275"/>
                    </a:lnTo>
                    <a:cubicBezTo>
                      <a:pt x="39733" y="-275"/>
                      <a:pt x="42209" y="21156"/>
                      <a:pt x="23731" y="21156"/>
                    </a:cubicBezTo>
                    <a:close/>
                  </a:path>
                </a:pathLst>
              </a:custGeom>
              <a:grp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DA21FE76-AD5D-4A11-B200-56329D0803AE}"/>
                  </a:ext>
                </a:extLst>
              </p:cNvPr>
              <p:cNvSpPr/>
              <p:nvPr/>
            </p:nvSpPr>
            <p:spPr>
              <a:xfrm>
                <a:off x="4105889" y="142562"/>
                <a:ext cx="64388" cy="64389"/>
              </a:xfrm>
              <a:custGeom>
                <a:avLst/>
                <a:gdLst>
                  <a:gd name="connsiteX0" fmla="*/ 64389 w 64388"/>
                  <a:gd name="connsiteY0" fmla="*/ 32194 h 64389"/>
                  <a:gd name="connsiteX1" fmla="*/ 32195 w 64388"/>
                  <a:gd name="connsiteY1" fmla="*/ 64389 h 64389"/>
                  <a:gd name="connsiteX2" fmla="*/ 0 w 64388"/>
                  <a:gd name="connsiteY2" fmla="*/ 32194 h 64389"/>
                  <a:gd name="connsiteX3" fmla="*/ 32195 w 64388"/>
                  <a:gd name="connsiteY3" fmla="*/ 0 h 64389"/>
                  <a:gd name="connsiteX4" fmla="*/ 64389 w 64388"/>
                  <a:gd name="connsiteY4" fmla="*/ 32194 h 64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8" h="64389">
                    <a:moveTo>
                      <a:pt x="64389" y="32194"/>
                    </a:moveTo>
                    <a:cubicBezTo>
                      <a:pt x="64389" y="49975"/>
                      <a:pt x="49975" y="64389"/>
                      <a:pt x="32195" y="64389"/>
                    </a:cubicBezTo>
                    <a:cubicBezTo>
                      <a:pt x="14414" y="64389"/>
                      <a:pt x="0" y="49975"/>
                      <a:pt x="0" y="32194"/>
                    </a:cubicBezTo>
                    <a:cubicBezTo>
                      <a:pt x="0" y="14414"/>
                      <a:pt x="14414" y="0"/>
                      <a:pt x="32195" y="0"/>
                    </a:cubicBezTo>
                    <a:cubicBezTo>
                      <a:pt x="49975" y="0"/>
                      <a:pt x="64389" y="14414"/>
                      <a:pt x="64389" y="32194"/>
                    </a:cubicBezTo>
                    <a:close/>
                  </a:path>
                </a:pathLst>
              </a:custGeom>
              <a:grpFill/>
              <a:ln w="9525" cap="flat">
                <a:noFill/>
                <a:prstDash val="solid"/>
                <a:miter/>
              </a:ln>
            </p:spPr>
            <p:txBody>
              <a:bodyPr rtlCol="0" anchor="ctr"/>
              <a:lstStyle/>
              <a:p>
                <a:endParaRPr lang="en-US"/>
              </a:p>
            </p:txBody>
          </p:sp>
        </p:grpSp>
      </p:grpSp>
      <p:grpSp>
        <p:nvGrpSpPr>
          <p:cNvPr id="59" name="Group 58">
            <a:extLst>
              <a:ext uri="{FF2B5EF4-FFF2-40B4-BE49-F238E27FC236}">
                <a16:creationId xmlns:a16="http://schemas.microsoft.com/office/drawing/2014/main" id="{80D28CED-86A1-4EFE-B62A-29BE4A7D2F59}"/>
              </a:ext>
              <a:ext uri="{C183D7F6-B498-43B3-948B-1728B52AA6E4}">
                <adec:decorative xmlns:adec="http://schemas.microsoft.com/office/drawing/2017/decorative" val="1"/>
              </a:ext>
            </a:extLst>
          </p:cNvPr>
          <p:cNvGrpSpPr/>
          <p:nvPr/>
        </p:nvGrpSpPr>
        <p:grpSpPr>
          <a:xfrm>
            <a:off x="10504565" y="2634235"/>
            <a:ext cx="674150" cy="633600"/>
            <a:chOff x="10588809" y="1366513"/>
            <a:chExt cx="674150" cy="633600"/>
          </a:xfrm>
        </p:grpSpPr>
        <p:sp>
          <p:nvSpPr>
            <p:cNvPr id="703" name="Freeform 41">
              <a:extLst>
                <a:ext uri="{FF2B5EF4-FFF2-40B4-BE49-F238E27FC236}">
                  <a16:creationId xmlns:a16="http://schemas.microsoft.com/office/drawing/2014/main" id="{B61D5A70-2A85-4567-99FB-B6B39EA90582}"/>
                </a:ext>
              </a:extLst>
            </p:cNvPr>
            <p:cNvSpPr>
              <a:spLocks/>
            </p:cNvSpPr>
            <p:nvPr/>
          </p:nvSpPr>
          <p:spPr bwMode="auto">
            <a:xfrm>
              <a:off x="10588809" y="1366513"/>
              <a:ext cx="674150" cy="63360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2" name="Group 41">
              <a:extLst>
                <a:ext uri="{FF2B5EF4-FFF2-40B4-BE49-F238E27FC236}">
                  <a16:creationId xmlns:a16="http://schemas.microsoft.com/office/drawing/2014/main" id="{0AAD46D1-3474-4CAC-BF39-B5197DB1D520}"/>
                </a:ext>
              </a:extLst>
            </p:cNvPr>
            <p:cNvGrpSpPr>
              <a:grpSpLocks noChangeAspect="1"/>
            </p:cNvGrpSpPr>
            <p:nvPr/>
          </p:nvGrpSpPr>
          <p:grpSpPr>
            <a:xfrm>
              <a:off x="10720745" y="1473203"/>
              <a:ext cx="396000" cy="372395"/>
              <a:chOff x="11503575" y="2423568"/>
              <a:chExt cx="432000" cy="406250"/>
            </a:xfrm>
          </p:grpSpPr>
          <p:sp>
            <p:nvSpPr>
              <p:cNvPr id="583" name="Graphic 364">
                <a:extLst>
                  <a:ext uri="{FF2B5EF4-FFF2-40B4-BE49-F238E27FC236}">
                    <a16:creationId xmlns:a16="http://schemas.microsoft.com/office/drawing/2014/main" id="{9AE597CE-5799-4DB2-88CB-606019CA0E05}"/>
                  </a:ext>
                </a:extLst>
              </p:cNvPr>
              <p:cNvSpPr>
                <a:spLocks noChangeAspect="1"/>
              </p:cNvSpPr>
              <p:nvPr/>
            </p:nvSpPr>
            <p:spPr>
              <a:xfrm>
                <a:off x="11503575" y="2578818"/>
                <a:ext cx="432000" cy="251000"/>
              </a:xfrm>
              <a:custGeom>
                <a:avLst/>
                <a:gdLst>
                  <a:gd name="connsiteX0" fmla="*/ 479392 w 597851"/>
                  <a:gd name="connsiteY0" fmla="*/ 110152 h 347362"/>
                  <a:gd name="connsiteX1" fmla="*/ 447755 w 597851"/>
                  <a:gd name="connsiteY1" fmla="*/ 114515 h 347362"/>
                  <a:gd name="connsiteX2" fmla="*/ 425936 w 597851"/>
                  <a:gd name="connsiteY2" fmla="*/ 69800 h 347362"/>
                  <a:gd name="connsiteX3" fmla="*/ 417209 w 597851"/>
                  <a:gd name="connsiteY3" fmla="*/ 45806 h 347362"/>
                  <a:gd name="connsiteX4" fmla="*/ 460846 w 597851"/>
                  <a:gd name="connsiteY4" fmla="*/ 45806 h 347362"/>
                  <a:gd name="connsiteX5" fmla="*/ 470664 w 597851"/>
                  <a:gd name="connsiteY5" fmla="*/ 55622 h 347362"/>
                  <a:gd name="connsiteX6" fmla="*/ 460846 w 597851"/>
                  <a:gd name="connsiteY6" fmla="*/ 65437 h 347362"/>
                  <a:gd name="connsiteX7" fmla="*/ 459755 w 597851"/>
                  <a:gd name="connsiteY7" fmla="*/ 65437 h 347362"/>
                  <a:gd name="connsiteX8" fmla="*/ 443391 w 597851"/>
                  <a:gd name="connsiteY8" fmla="*/ 81796 h 347362"/>
                  <a:gd name="connsiteX9" fmla="*/ 457489 w 597851"/>
                  <a:gd name="connsiteY9" fmla="*/ 98156 h 347362"/>
                  <a:gd name="connsiteX10" fmla="*/ 459755 w 597851"/>
                  <a:gd name="connsiteY10" fmla="*/ 98156 h 347362"/>
                  <a:gd name="connsiteX11" fmla="*/ 460846 w 597851"/>
                  <a:gd name="connsiteY11" fmla="*/ 98156 h 347362"/>
                  <a:gd name="connsiteX12" fmla="*/ 503392 w 597851"/>
                  <a:gd name="connsiteY12" fmla="*/ 55622 h 347362"/>
                  <a:gd name="connsiteX13" fmla="*/ 460846 w 597851"/>
                  <a:gd name="connsiteY13" fmla="*/ 13087 h 347362"/>
                  <a:gd name="connsiteX14" fmla="*/ 393209 w 597851"/>
                  <a:gd name="connsiteY14" fmla="*/ 13087 h 347362"/>
                  <a:gd name="connsiteX15" fmla="*/ 377436 w 597851"/>
                  <a:gd name="connsiteY15" fmla="*/ 32071 h 347362"/>
                  <a:gd name="connsiteX16" fmla="*/ 377936 w 597851"/>
                  <a:gd name="connsiteY16" fmla="*/ 34900 h 347362"/>
                  <a:gd name="connsiteX17" fmla="*/ 387754 w 597851"/>
                  <a:gd name="connsiteY17" fmla="*/ 59984 h 347362"/>
                  <a:gd name="connsiteX18" fmla="*/ 243752 w 597851"/>
                  <a:gd name="connsiteY18" fmla="*/ 59984 h 347362"/>
                  <a:gd name="connsiteX19" fmla="*/ 235025 w 597851"/>
                  <a:gd name="connsiteY19" fmla="*/ 32719 h 347362"/>
                  <a:gd name="connsiteX20" fmla="*/ 260116 w 597851"/>
                  <a:gd name="connsiteY20" fmla="*/ 32719 h 347362"/>
                  <a:gd name="connsiteX21" fmla="*/ 276480 w 597851"/>
                  <a:gd name="connsiteY21" fmla="*/ 16359 h 347362"/>
                  <a:gd name="connsiteX22" fmla="*/ 260116 w 597851"/>
                  <a:gd name="connsiteY22" fmla="*/ 0 h 347362"/>
                  <a:gd name="connsiteX23" fmla="*/ 183751 w 597851"/>
                  <a:gd name="connsiteY23" fmla="*/ 0 h 347362"/>
                  <a:gd name="connsiteX24" fmla="*/ 167387 w 597851"/>
                  <a:gd name="connsiteY24" fmla="*/ 16359 h 347362"/>
                  <a:gd name="connsiteX25" fmla="*/ 183751 w 597851"/>
                  <a:gd name="connsiteY25" fmla="*/ 32719 h 347362"/>
                  <a:gd name="connsiteX26" fmla="*/ 201206 w 597851"/>
                  <a:gd name="connsiteY26" fmla="*/ 32719 h 347362"/>
                  <a:gd name="connsiteX27" fmla="*/ 213206 w 597851"/>
                  <a:gd name="connsiteY27" fmla="*/ 71981 h 347362"/>
                  <a:gd name="connsiteX28" fmla="*/ 180478 w 597851"/>
                  <a:gd name="connsiteY28" fmla="*/ 122149 h 347362"/>
                  <a:gd name="connsiteX29" fmla="*/ 130296 w 597851"/>
                  <a:gd name="connsiteY29" fmla="*/ 110152 h 347362"/>
                  <a:gd name="connsiteX30" fmla="*/ 554 w 597851"/>
                  <a:gd name="connsiteY30" fmla="*/ 217112 h 347362"/>
                  <a:gd name="connsiteX31" fmla="*/ 107542 w 597851"/>
                  <a:gd name="connsiteY31" fmla="*/ 346817 h 347362"/>
                  <a:gd name="connsiteX32" fmla="*/ 130296 w 597851"/>
                  <a:gd name="connsiteY32" fmla="*/ 346817 h 347362"/>
                  <a:gd name="connsiteX33" fmla="*/ 247025 w 597851"/>
                  <a:gd name="connsiteY33" fmla="*/ 246480 h 347362"/>
                  <a:gd name="connsiteX34" fmla="*/ 279752 w 597851"/>
                  <a:gd name="connsiteY34" fmla="*/ 265020 h 347362"/>
                  <a:gd name="connsiteX35" fmla="*/ 315753 w 597851"/>
                  <a:gd name="connsiteY35" fmla="*/ 229030 h 347362"/>
                  <a:gd name="connsiteX36" fmla="*/ 313571 w 597851"/>
                  <a:gd name="connsiteY36" fmla="*/ 214852 h 347362"/>
                  <a:gd name="connsiteX37" fmla="*/ 407391 w 597851"/>
                  <a:gd name="connsiteY37" fmla="*/ 105790 h 347362"/>
                  <a:gd name="connsiteX38" fmla="*/ 418300 w 597851"/>
                  <a:gd name="connsiteY38" fmla="*/ 127602 h 347362"/>
                  <a:gd name="connsiteX39" fmla="*/ 379652 w 597851"/>
                  <a:gd name="connsiteY39" fmla="*/ 289634 h 347362"/>
                  <a:gd name="connsiteX40" fmla="*/ 541730 w 597851"/>
                  <a:gd name="connsiteY40" fmla="*/ 328273 h 347362"/>
                  <a:gd name="connsiteX41" fmla="*/ 580378 w 597851"/>
                  <a:gd name="connsiteY41" fmla="*/ 166240 h 347362"/>
                  <a:gd name="connsiteX42" fmla="*/ 479392 w 597851"/>
                  <a:gd name="connsiteY42" fmla="*/ 110152 h 347362"/>
                  <a:gd name="connsiteX43" fmla="*/ 375754 w 597851"/>
                  <a:gd name="connsiteY43" fmla="*/ 92703 h 347362"/>
                  <a:gd name="connsiteX44" fmla="*/ 288480 w 597851"/>
                  <a:gd name="connsiteY44" fmla="*/ 193039 h 347362"/>
                  <a:gd name="connsiteX45" fmla="*/ 285207 w 597851"/>
                  <a:gd name="connsiteY45" fmla="*/ 193039 h 347362"/>
                  <a:gd name="connsiteX46" fmla="*/ 253570 w 597851"/>
                  <a:gd name="connsiteY46" fmla="*/ 92703 h 347362"/>
                  <a:gd name="connsiteX47" fmla="*/ 214297 w 597851"/>
                  <a:gd name="connsiteY47" fmla="*/ 212671 h 347362"/>
                  <a:gd name="connsiteX48" fmla="*/ 160842 w 597851"/>
                  <a:gd name="connsiteY48" fmla="*/ 212671 h 347362"/>
                  <a:gd name="connsiteX49" fmla="*/ 190297 w 597851"/>
                  <a:gd name="connsiteY49" fmla="*/ 166865 h 347362"/>
                  <a:gd name="connsiteX50" fmla="*/ 214297 w 597851"/>
                  <a:gd name="connsiteY50" fmla="*/ 212671 h 347362"/>
                  <a:gd name="connsiteX51" fmla="*/ 226297 w 597851"/>
                  <a:gd name="connsiteY51" fmla="*/ 112334 h 347362"/>
                  <a:gd name="connsiteX52" fmla="*/ 254661 w 597851"/>
                  <a:gd name="connsiteY52" fmla="*/ 202855 h 347362"/>
                  <a:gd name="connsiteX53" fmla="*/ 247025 w 597851"/>
                  <a:gd name="connsiteY53" fmla="*/ 211580 h 347362"/>
                  <a:gd name="connsiteX54" fmla="*/ 207751 w 597851"/>
                  <a:gd name="connsiteY54" fmla="*/ 139599 h 347362"/>
                  <a:gd name="connsiteX55" fmla="*/ 130296 w 597851"/>
                  <a:gd name="connsiteY55" fmla="*/ 315189 h 347362"/>
                  <a:gd name="connsiteX56" fmla="*/ 44113 w 597851"/>
                  <a:gd name="connsiteY56" fmla="*/ 229030 h 347362"/>
                  <a:gd name="connsiteX57" fmla="*/ 130296 w 597851"/>
                  <a:gd name="connsiteY57" fmla="*/ 142871 h 347362"/>
                  <a:gd name="connsiteX58" fmla="*/ 163023 w 597851"/>
                  <a:gd name="connsiteY58" fmla="*/ 149415 h 347362"/>
                  <a:gd name="connsiteX59" fmla="*/ 116114 w 597851"/>
                  <a:gd name="connsiteY59" fmla="*/ 220305 h 347362"/>
                  <a:gd name="connsiteX60" fmla="*/ 116114 w 597851"/>
                  <a:gd name="connsiteY60" fmla="*/ 236664 h 347362"/>
                  <a:gd name="connsiteX61" fmla="*/ 130296 w 597851"/>
                  <a:gd name="connsiteY61" fmla="*/ 245389 h 347362"/>
                  <a:gd name="connsiteX62" fmla="*/ 214297 w 597851"/>
                  <a:gd name="connsiteY62" fmla="*/ 245389 h 347362"/>
                  <a:gd name="connsiteX63" fmla="*/ 130296 w 597851"/>
                  <a:gd name="connsiteY63" fmla="*/ 315189 h 347362"/>
                  <a:gd name="connsiteX64" fmla="*/ 479392 w 597851"/>
                  <a:gd name="connsiteY64" fmla="*/ 315189 h 347362"/>
                  <a:gd name="connsiteX65" fmla="*/ 392571 w 597851"/>
                  <a:gd name="connsiteY65" fmla="*/ 229672 h 347362"/>
                  <a:gd name="connsiteX66" fmla="*/ 431391 w 597851"/>
                  <a:gd name="connsiteY66" fmla="*/ 157049 h 347362"/>
                  <a:gd name="connsiteX67" fmla="*/ 469574 w 597851"/>
                  <a:gd name="connsiteY67" fmla="*/ 235573 h 347362"/>
                  <a:gd name="connsiteX68" fmla="*/ 484846 w 597851"/>
                  <a:gd name="connsiteY68" fmla="*/ 245389 h 347362"/>
                  <a:gd name="connsiteX69" fmla="*/ 491392 w 597851"/>
                  <a:gd name="connsiteY69" fmla="*/ 243208 h 347362"/>
                  <a:gd name="connsiteX70" fmla="*/ 499028 w 597851"/>
                  <a:gd name="connsiteY70" fmla="*/ 221395 h 347362"/>
                  <a:gd name="connsiteX71" fmla="*/ 461937 w 597851"/>
                  <a:gd name="connsiteY71" fmla="*/ 145052 h 347362"/>
                  <a:gd name="connsiteX72" fmla="*/ 479392 w 597851"/>
                  <a:gd name="connsiteY72" fmla="*/ 142871 h 347362"/>
                  <a:gd name="connsiteX73" fmla="*/ 565575 w 597851"/>
                  <a:gd name="connsiteY73" fmla="*/ 229030 h 347362"/>
                  <a:gd name="connsiteX74" fmla="*/ 479392 w 597851"/>
                  <a:gd name="connsiteY74" fmla="*/ 315189 h 34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97851" h="347362">
                    <a:moveTo>
                      <a:pt x="479392" y="110152"/>
                    </a:moveTo>
                    <a:cubicBezTo>
                      <a:pt x="468719" y="110456"/>
                      <a:pt x="458111" y="111918"/>
                      <a:pt x="447755" y="114515"/>
                    </a:cubicBezTo>
                    <a:lnTo>
                      <a:pt x="425936" y="69800"/>
                    </a:lnTo>
                    <a:lnTo>
                      <a:pt x="417209" y="45806"/>
                    </a:lnTo>
                    <a:lnTo>
                      <a:pt x="460846" y="45806"/>
                    </a:lnTo>
                    <a:cubicBezTo>
                      <a:pt x="466269" y="45806"/>
                      <a:pt x="470664" y="50200"/>
                      <a:pt x="470664" y="55622"/>
                    </a:cubicBezTo>
                    <a:cubicBezTo>
                      <a:pt x="470664" y="61043"/>
                      <a:pt x="466269" y="65437"/>
                      <a:pt x="460846" y="65437"/>
                    </a:cubicBezTo>
                    <a:lnTo>
                      <a:pt x="459755" y="65437"/>
                    </a:lnTo>
                    <a:cubicBezTo>
                      <a:pt x="450718" y="65437"/>
                      <a:pt x="443391" y="72762"/>
                      <a:pt x="443391" y="81796"/>
                    </a:cubicBezTo>
                    <a:cubicBezTo>
                      <a:pt x="442765" y="90206"/>
                      <a:pt x="449077" y="97530"/>
                      <a:pt x="457489" y="98156"/>
                    </a:cubicBezTo>
                    <a:cubicBezTo>
                      <a:pt x="458243" y="98211"/>
                      <a:pt x="459001" y="98211"/>
                      <a:pt x="459755" y="98156"/>
                    </a:cubicBezTo>
                    <a:lnTo>
                      <a:pt x="460846" y="98156"/>
                    </a:lnTo>
                    <a:cubicBezTo>
                      <a:pt x="484344" y="98156"/>
                      <a:pt x="503392" y="79112"/>
                      <a:pt x="503392" y="55622"/>
                    </a:cubicBezTo>
                    <a:cubicBezTo>
                      <a:pt x="502817" y="32373"/>
                      <a:pt x="484101" y="13662"/>
                      <a:pt x="460846" y="13087"/>
                    </a:cubicBezTo>
                    <a:lnTo>
                      <a:pt x="393209" y="13087"/>
                    </a:lnTo>
                    <a:cubicBezTo>
                      <a:pt x="383610" y="13975"/>
                      <a:pt x="376548" y="22474"/>
                      <a:pt x="377436" y="32071"/>
                    </a:cubicBezTo>
                    <a:cubicBezTo>
                      <a:pt x="377525" y="33026"/>
                      <a:pt x="377691" y="33972"/>
                      <a:pt x="377936" y="34900"/>
                    </a:cubicBezTo>
                    <a:lnTo>
                      <a:pt x="387754" y="59984"/>
                    </a:lnTo>
                    <a:lnTo>
                      <a:pt x="243752" y="59984"/>
                    </a:lnTo>
                    <a:lnTo>
                      <a:pt x="235025" y="32719"/>
                    </a:lnTo>
                    <a:lnTo>
                      <a:pt x="260116" y="32719"/>
                    </a:lnTo>
                    <a:cubicBezTo>
                      <a:pt x="269153" y="32719"/>
                      <a:pt x="276480" y="25394"/>
                      <a:pt x="276480" y="16359"/>
                    </a:cubicBezTo>
                    <a:cubicBezTo>
                      <a:pt x="276480" y="7325"/>
                      <a:pt x="269153" y="0"/>
                      <a:pt x="260116" y="0"/>
                    </a:cubicBezTo>
                    <a:lnTo>
                      <a:pt x="183751" y="0"/>
                    </a:lnTo>
                    <a:cubicBezTo>
                      <a:pt x="174714" y="0"/>
                      <a:pt x="167387" y="7325"/>
                      <a:pt x="167387" y="16359"/>
                    </a:cubicBezTo>
                    <a:cubicBezTo>
                      <a:pt x="167387" y="25394"/>
                      <a:pt x="174714" y="32719"/>
                      <a:pt x="183751" y="32719"/>
                    </a:cubicBezTo>
                    <a:lnTo>
                      <a:pt x="201206" y="32719"/>
                    </a:lnTo>
                    <a:lnTo>
                      <a:pt x="213206" y="71981"/>
                    </a:lnTo>
                    <a:lnTo>
                      <a:pt x="180478" y="122149"/>
                    </a:lnTo>
                    <a:cubicBezTo>
                      <a:pt x="164936" y="114236"/>
                      <a:pt x="147737" y="110124"/>
                      <a:pt x="130296" y="110152"/>
                    </a:cubicBezTo>
                    <a:cubicBezTo>
                      <a:pt x="64924" y="103872"/>
                      <a:pt x="6837" y="151758"/>
                      <a:pt x="554" y="217112"/>
                    </a:cubicBezTo>
                    <a:cubicBezTo>
                      <a:pt x="-5729" y="282465"/>
                      <a:pt x="42171" y="340536"/>
                      <a:pt x="107542" y="346817"/>
                    </a:cubicBezTo>
                    <a:cubicBezTo>
                      <a:pt x="115110" y="347544"/>
                      <a:pt x="122729" y="347544"/>
                      <a:pt x="130296" y="346817"/>
                    </a:cubicBezTo>
                    <a:cubicBezTo>
                      <a:pt x="188704" y="346920"/>
                      <a:pt x="238372" y="304228"/>
                      <a:pt x="247025" y="246480"/>
                    </a:cubicBezTo>
                    <a:cubicBezTo>
                      <a:pt x="253920" y="257976"/>
                      <a:pt x="266344" y="265014"/>
                      <a:pt x="279752" y="265020"/>
                    </a:cubicBezTo>
                    <a:cubicBezTo>
                      <a:pt x="299635" y="265020"/>
                      <a:pt x="315753" y="248906"/>
                      <a:pt x="315753" y="229030"/>
                    </a:cubicBezTo>
                    <a:cubicBezTo>
                      <a:pt x="315641" y="224230"/>
                      <a:pt x="314908" y="219464"/>
                      <a:pt x="313571" y="214852"/>
                    </a:cubicBezTo>
                    <a:lnTo>
                      <a:pt x="407391" y="105790"/>
                    </a:lnTo>
                    <a:lnTo>
                      <a:pt x="418300" y="127602"/>
                    </a:lnTo>
                    <a:cubicBezTo>
                      <a:pt x="362871" y="161676"/>
                      <a:pt x="345567" y="234221"/>
                      <a:pt x="379652" y="289634"/>
                    </a:cubicBezTo>
                    <a:cubicBezTo>
                      <a:pt x="413736" y="345049"/>
                      <a:pt x="486301" y="362347"/>
                      <a:pt x="541730" y="328273"/>
                    </a:cubicBezTo>
                    <a:cubicBezTo>
                      <a:pt x="597158" y="294199"/>
                      <a:pt x="614463" y="221654"/>
                      <a:pt x="580378" y="166240"/>
                    </a:cubicBezTo>
                    <a:cubicBezTo>
                      <a:pt x="558823" y="131197"/>
                      <a:pt x="520542" y="109935"/>
                      <a:pt x="479392" y="110152"/>
                    </a:cubicBezTo>
                    <a:close/>
                    <a:moveTo>
                      <a:pt x="375754" y="92703"/>
                    </a:moveTo>
                    <a:lnTo>
                      <a:pt x="288480" y="193039"/>
                    </a:lnTo>
                    <a:lnTo>
                      <a:pt x="285207" y="193039"/>
                    </a:lnTo>
                    <a:lnTo>
                      <a:pt x="253570" y="92703"/>
                    </a:lnTo>
                    <a:close/>
                    <a:moveTo>
                      <a:pt x="214297" y="212671"/>
                    </a:moveTo>
                    <a:lnTo>
                      <a:pt x="160842" y="212671"/>
                    </a:lnTo>
                    <a:lnTo>
                      <a:pt x="190297" y="166865"/>
                    </a:lnTo>
                    <a:cubicBezTo>
                      <a:pt x="202687" y="179398"/>
                      <a:pt x="211046" y="195350"/>
                      <a:pt x="214297" y="212671"/>
                    </a:cubicBezTo>
                    <a:close/>
                    <a:moveTo>
                      <a:pt x="226297" y="112334"/>
                    </a:moveTo>
                    <a:lnTo>
                      <a:pt x="254661" y="202855"/>
                    </a:lnTo>
                    <a:cubicBezTo>
                      <a:pt x="251563" y="205228"/>
                      <a:pt x="248967" y="208195"/>
                      <a:pt x="247025" y="211580"/>
                    </a:cubicBezTo>
                    <a:cubicBezTo>
                      <a:pt x="242707" y="183749"/>
                      <a:pt x="228819" y="158296"/>
                      <a:pt x="207751" y="139599"/>
                    </a:cubicBezTo>
                    <a:close/>
                    <a:moveTo>
                      <a:pt x="130296" y="315189"/>
                    </a:moveTo>
                    <a:cubicBezTo>
                      <a:pt x="82699" y="315189"/>
                      <a:pt x="44113" y="276615"/>
                      <a:pt x="44113" y="229030"/>
                    </a:cubicBezTo>
                    <a:cubicBezTo>
                      <a:pt x="44113" y="181445"/>
                      <a:pt x="82699" y="142871"/>
                      <a:pt x="130296" y="142871"/>
                    </a:cubicBezTo>
                    <a:cubicBezTo>
                      <a:pt x="141533" y="142842"/>
                      <a:pt x="152662" y="145066"/>
                      <a:pt x="163023" y="149415"/>
                    </a:cubicBezTo>
                    <a:lnTo>
                      <a:pt x="116114" y="220305"/>
                    </a:lnTo>
                    <a:cubicBezTo>
                      <a:pt x="112945" y="225298"/>
                      <a:pt x="112945" y="231671"/>
                      <a:pt x="116114" y="236664"/>
                    </a:cubicBezTo>
                    <a:cubicBezTo>
                      <a:pt x="118456" y="242333"/>
                      <a:pt x="124178" y="245854"/>
                      <a:pt x="130296" y="245389"/>
                    </a:cubicBezTo>
                    <a:lnTo>
                      <a:pt x="214297" y="245389"/>
                    </a:lnTo>
                    <a:cubicBezTo>
                      <a:pt x="206502" y="285688"/>
                      <a:pt x="171353" y="314896"/>
                      <a:pt x="130296" y="315189"/>
                    </a:cubicBezTo>
                    <a:close/>
                    <a:moveTo>
                      <a:pt x="479392" y="315189"/>
                    </a:moveTo>
                    <a:cubicBezTo>
                      <a:pt x="431796" y="315542"/>
                      <a:pt x="392924" y="277255"/>
                      <a:pt x="392571" y="229672"/>
                    </a:cubicBezTo>
                    <a:cubicBezTo>
                      <a:pt x="392353" y="200449"/>
                      <a:pt x="406969" y="173108"/>
                      <a:pt x="431391" y="157049"/>
                    </a:cubicBezTo>
                    <a:lnTo>
                      <a:pt x="469574" y="235573"/>
                    </a:lnTo>
                    <a:cubicBezTo>
                      <a:pt x="472216" y="241627"/>
                      <a:pt x="478240" y="245499"/>
                      <a:pt x="484846" y="245389"/>
                    </a:cubicBezTo>
                    <a:lnTo>
                      <a:pt x="491392" y="243208"/>
                    </a:lnTo>
                    <a:cubicBezTo>
                      <a:pt x="499517" y="239286"/>
                      <a:pt x="502934" y="229527"/>
                      <a:pt x="499028" y="221395"/>
                    </a:cubicBezTo>
                    <a:lnTo>
                      <a:pt x="461937" y="145052"/>
                    </a:lnTo>
                    <a:lnTo>
                      <a:pt x="479392" y="142871"/>
                    </a:lnTo>
                    <a:cubicBezTo>
                      <a:pt x="526990" y="142871"/>
                      <a:pt x="565575" y="181445"/>
                      <a:pt x="565575" y="229030"/>
                    </a:cubicBezTo>
                    <a:cubicBezTo>
                      <a:pt x="565575" y="276615"/>
                      <a:pt x="526990" y="315189"/>
                      <a:pt x="479392" y="315189"/>
                    </a:cubicBezTo>
                    <a:close/>
                  </a:path>
                </a:pathLst>
              </a:custGeom>
              <a:solidFill>
                <a:schemeClr val="bg1"/>
              </a:solidFill>
              <a:ln w="10867" cap="flat">
                <a:noFill/>
                <a:prstDash val="solid"/>
                <a:miter/>
              </a:ln>
            </p:spPr>
            <p:txBody>
              <a:bodyPr rtlCol="0" anchor="ctr"/>
              <a:lstStyle/>
              <a:p>
                <a:endParaRPr lang="en-US" dirty="0"/>
              </a:p>
            </p:txBody>
          </p:sp>
          <p:grpSp>
            <p:nvGrpSpPr>
              <p:cNvPr id="618" name="Group 617">
                <a:extLst>
                  <a:ext uri="{FF2B5EF4-FFF2-40B4-BE49-F238E27FC236}">
                    <a16:creationId xmlns:a16="http://schemas.microsoft.com/office/drawing/2014/main" id="{7F32B8DC-43CA-4C77-AFF8-E653594859D5}"/>
                  </a:ext>
                </a:extLst>
              </p:cNvPr>
              <p:cNvGrpSpPr/>
              <p:nvPr/>
            </p:nvGrpSpPr>
            <p:grpSpPr>
              <a:xfrm>
                <a:off x="11661800" y="2423568"/>
                <a:ext cx="154352" cy="105936"/>
                <a:chOff x="1527590" y="1349844"/>
                <a:chExt cx="154352" cy="105936"/>
              </a:xfrm>
            </p:grpSpPr>
            <p:sp>
              <p:nvSpPr>
                <p:cNvPr id="619" name="Freeform 136">
                  <a:extLst>
                    <a:ext uri="{FF2B5EF4-FFF2-40B4-BE49-F238E27FC236}">
                      <a16:creationId xmlns:a16="http://schemas.microsoft.com/office/drawing/2014/main" id="{176554C5-1C4F-4FF7-A6C3-07F958F69570}"/>
                    </a:ext>
                  </a:extLst>
                </p:cNvPr>
                <p:cNvSpPr>
                  <a:spLocks/>
                </p:cNvSpPr>
                <p:nvPr/>
              </p:nvSpPr>
              <p:spPr bwMode="auto">
                <a:xfrm>
                  <a:off x="1527590" y="1349844"/>
                  <a:ext cx="154352" cy="56752"/>
                </a:xfrm>
                <a:custGeom>
                  <a:avLst/>
                  <a:gdLst>
                    <a:gd name="T0" fmla="*/ 0 w 61"/>
                    <a:gd name="T1" fmla="*/ 17 h 21"/>
                    <a:gd name="T2" fmla="*/ 0 w 61"/>
                    <a:gd name="T3" fmla="*/ 20 h 21"/>
                    <a:gd name="T4" fmla="*/ 4 w 61"/>
                    <a:gd name="T5" fmla="*/ 20 h 21"/>
                    <a:gd name="T6" fmla="*/ 57 w 61"/>
                    <a:gd name="T7" fmla="*/ 19 h 21"/>
                    <a:gd name="T8" fmla="*/ 59 w 61"/>
                    <a:gd name="T9" fmla="*/ 20 h 21"/>
                    <a:gd name="T10" fmla="*/ 60 w 61"/>
                    <a:gd name="T11" fmla="*/ 19 h 21"/>
                    <a:gd name="T12" fmla="*/ 60 w 61"/>
                    <a:gd name="T13" fmla="*/ 16 h 21"/>
                    <a:gd name="T14" fmla="*/ 0 w 61"/>
                    <a:gd name="T15" fmla="*/ 1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1">
                      <a:moveTo>
                        <a:pt x="0" y="17"/>
                      </a:moveTo>
                      <a:cubicBezTo>
                        <a:pt x="0" y="17"/>
                        <a:pt x="0" y="19"/>
                        <a:pt x="0" y="20"/>
                      </a:cubicBezTo>
                      <a:cubicBezTo>
                        <a:pt x="1" y="21"/>
                        <a:pt x="3" y="21"/>
                        <a:pt x="4" y="20"/>
                      </a:cubicBezTo>
                      <a:cubicBezTo>
                        <a:pt x="18" y="5"/>
                        <a:pt x="42" y="5"/>
                        <a:pt x="57" y="19"/>
                      </a:cubicBezTo>
                      <a:cubicBezTo>
                        <a:pt x="58" y="20"/>
                        <a:pt x="58" y="20"/>
                        <a:pt x="59" y="20"/>
                      </a:cubicBezTo>
                      <a:cubicBezTo>
                        <a:pt x="59" y="20"/>
                        <a:pt x="60" y="20"/>
                        <a:pt x="60" y="19"/>
                      </a:cubicBezTo>
                      <a:cubicBezTo>
                        <a:pt x="61" y="18"/>
                        <a:pt x="61" y="17"/>
                        <a:pt x="60" y="16"/>
                      </a:cubicBezTo>
                      <a:cubicBezTo>
                        <a:pt x="44" y="0"/>
                        <a:pt x="17" y="0"/>
                        <a:pt x="0" y="1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37">
                  <a:extLst>
                    <a:ext uri="{FF2B5EF4-FFF2-40B4-BE49-F238E27FC236}">
                      <a16:creationId xmlns:a16="http://schemas.microsoft.com/office/drawing/2014/main" id="{3A136431-D6A2-4EC7-B762-FB639635E8A1}"/>
                    </a:ext>
                  </a:extLst>
                </p:cNvPr>
                <p:cNvSpPr>
                  <a:spLocks/>
                </p:cNvSpPr>
                <p:nvPr/>
              </p:nvSpPr>
              <p:spPr bwMode="auto">
                <a:xfrm>
                  <a:off x="1547774" y="1385157"/>
                  <a:ext cx="113983" cy="42879"/>
                </a:xfrm>
                <a:custGeom>
                  <a:avLst/>
                  <a:gdLst>
                    <a:gd name="T0" fmla="*/ 1 w 45"/>
                    <a:gd name="T1" fmla="*/ 12 h 16"/>
                    <a:gd name="T2" fmla="*/ 1 w 45"/>
                    <a:gd name="T3" fmla="*/ 15 h 16"/>
                    <a:gd name="T4" fmla="*/ 4 w 45"/>
                    <a:gd name="T5" fmla="*/ 15 h 16"/>
                    <a:gd name="T6" fmla="*/ 41 w 45"/>
                    <a:gd name="T7" fmla="*/ 15 h 16"/>
                    <a:gd name="T8" fmla="*/ 42 w 45"/>
                    <a:gd name="T9" fmla="*/ 16 h 16"/>
                    <a:gd name="T10" fmla="*/ 44 w 45"/>
                    <a:gd name="T11" fmla="*/ 15 h 16"/>
                    <a:gd name="T12" fmla="*/ 44 w 45"/>
                    <a:gd name="T13" fmla="*/ 12 h 16"/>
                    <a:gd name="T14" fmla="*/ 1 w 45"/>
                    <a:gd name="T15" fmla="*/ 1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6">
                      <a:moveTo>
                        <a:pt x="1" y="12"/>
                      </a:moveTo>
                      <a:cubicBezTo>
                        <a:pt x="0" y="13"/>
                        <a:pt x="0" y="14"/>
                        <a:pt x="1" y="15"/>
                      </a:cubicBezTo>
                      <a:cubicBezTo>
                        <a:pt x="2" y="16"/>
                        <a:pt x="3" y="16"/>
                        <a:pt x="4" y="15"/>
                      </a:cubicBezTo>
                      <a:cubicBezTo>
                        <a:pt x="14" y="5"/>
                        <a:pt x="31" y="5"/>
                        <a:pt x="41" y="15"/>
                      </a:cubicBezTo>
                      <a:cubicBezTo>
                        <a:pt x="41" y="15"/>
                        <a:pt x="42" y="16"/>
                        <a:pt x="42" y="16"/>
                      </a:cubicBezTo>
                      <a:cubicBezTo>
                        <a:pt x="43" y="16"/>
                        <a:pt x="44" y="15"/>
                        <a:pt x="44" y="15"/>
                      </a:cubicBezTo>
                      <a:cubicBezTo>
                        <a:pt x="45" y="14"/>
                        <a:pt x="45" y="13"/>
                        <a:pt x="44" y="12"/>
                      </a:cubicBezTo>
                      <a:cubicBezTo>
                        <a:pt x="32" y="0"/>
                        <a:pt x="13" y="0"/>
                        <a:pt x="1" y="12"/>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38">
                  <a:extLst>
                    <a:ext uri="{FF2B5EF4-FFF2-40B4-BE49-F238E27FC236}">
                      <a16:creationId xmlns:a16="http://schemas.microsoft.com/office/drawing/2014/main" id="{4606EFDB-EEE5-4D2C-A726-52009C67F700}"/>
                    </a:ext>
                  </a:extLst>
                </p:cNvPr>
                <p:cNvSpPr>
                  <a:spLocks/>
                </p:cNvSpPr>
                <p:nvPr/>
              </p:nvSpPr>
              <p:spPr bwMode="auto">
                <a:xfrm>
                  <a:off x="1572708" y="1428035"/>
                  <a:ext cx="62929" cy="27745"/>
                </a:xfrm>
                <a:custGeom>
                  <a:avLst/>
                  <a:gdLst>
                    <a:gd name="T0" fmla="*/ 1 w 25"/>
                    <a:gd name="T1" fmla="*/ 6 h 10"/>
                    <a:gd name="T2" fmla="*/ 1 w 25"/>
                    <a:gd name="T3" fmla="*/ 9 h 10"/>
                    <a:gd name="T4" fmla="*/ 4 w 25"/>
                    <a:gd name="T5" fmla="*/ 9 h 10"/>
                    <a:gd name="T6" fmla="*/ 21 w 25"/>
                    <a:gd name="T7" fmla="*/ 9 h 10"/>
                    <a:gd name="T8" fmla="*/ 22 w 25"/>
                    <a:gd name="T9" fmla="*/ 10 h 10"/>
                    <a:gd name="T10" fmla="*/ 24 w 25"/>
                    <a:gd name="T11" fmla="*/ 9 h 10"/>
                    <a:gd name="T12" fmla="*/ 24 w 25"/>
                    <a:gd name="T13" fmla="*/ 6 h 10"/>
                    <a:gd name="T14" fmla="*/ 1 w 2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0">
                      <a:moveTo>
                        <a:pt x="1" y="6"/>
                      </a:moveTo>
                      <a:cubicBezTo>
                        <a:pt x="0" y="7"/>
                        <a:pt x="0" y="8"/>
                        <a:pt x="1" y="9"/>
                      </a:cubicBezTo>
                      <a:cubicBezTo>
                        <a:pt x="2" y="10"/>
                        <a:pt x="4" y="10"/>
                        <a:pt x="4" y="9"/>
                      </a:cubicBezTo>
                      <a:cubicBezTo>
                        <a:pt x="9" y="5"/>
                        <a:pt x="16" y="5"/>
                        <a:pt x="21" y="9"/>
                      </a:cubicBezTo>
                      <a:cubicBezTo>
                        <a:pt x="21" y="10"/>
                        <a:pt x="22" y="10"/>
                        <a:pt x="22" y="10"/>
                      </a:cubicBezTo>
                      <a:cubicBezTo>
                        <a:pt x="23" y="10"/>
                        <a:pt x="23" y="10"/>
                        <a:pt x="24" y="9"/>
                      </a:cubicBezTo>
                      <a:cubicBezTo>
                        <a:pt x="25" y="8"/>
                        <a:pt x="25" y="7"/>
                        <a:pt x="24" y="6"/>
                      </a:cubicBezTo>
                      <a:cubicBezTo>
                        <a:pt x="18" y="0"/>
                        <a:pt x="7" y="0"/>
                        <a:pt x="1" y="6"/>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97" name="Group 96">
            <a:extLst>
              <a:ext uri="{FF2B5EF4-FFF2-40B4-BE49-F238E27FC236}">
                <a16:creationId xmlns:a16="http://schemas.microsoft.com/office/drawing/2014/main" id="{A7BCCF71-D0C3-48BA-824A-8551B9D5F214}"/>
              </a:ext>
              <a:ext uri="{C183D7F6-B498-43B3-948B-1728B52AA6E4}">
                <adec:decorative xmlns:adec="http://schemas.microsoft.com/office/drawing/2017/decorative" val="1"/>
              </a:ext>
            </a:extLst>
          </p:cNvPr>
          <p:cNvGrpSpPr/>
          <p:nvPr/>
        </p:nvGrpSpPr>
        <p:grpSpPr>
          <a:xfrm>
            <a:off x="2626023" y="5099656"/>
            <a:ext cx="676738" cy="633600"/>
            <a:chOff x="2899963" y="5020008"/>
            <a:chExt cx="676738" cy="633600"/>
          </a:xfrm>
        </p:grpSpPr>
        <p:sp>
          <p:nvSpPr>
            <p:cNvPr id="466" name="Freeform 89">
              <a:extLst>
                <a:ext uri="{FF2B5EF4-FFF2-40B4-BE49-F238E27FC236}">
                  <a16:creationId xmlns:a16="http://schemas.microsoft.com/office/drawing/2014/main" id="{E958B38D-F085-4568-B695-8C878DDE99AB}"/>
                </a:ext>
              </a:extLst>
            </p:cNvPr>
            <p:cNvSpPr>
              <a:spLocks/>
            </p:cNvSpPr>
            <p:nvPr/>
          </p:nvSpPr>
          <p:spPr bwMode="auto">
            <a:xfrm>
              <a:off x="2899963" y="5020008"/>
              <a:ext cx="676738" cy="633600"/>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pic>
          <p:nvPicPr>
            <p:cNvPr id="63" name="Graphic 62">
              <a:extLst>
                <a:ext uri="{FF2B5EF4-FFF2-40B4-BE49-F238E27FC236}">
                  <a16:creationId xmlns:a16="http://schemas.microsoft.com/office/drawing/2014/main" id="{655CB8D6-D741-4158-8071-5C1476B628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36178" y="5214850"/>
              <a:ext cx="432000" cy="288000"/>
            </a:xfrm>
            <a:prstGeom prst="rect">
              <a:avLst/>
            </a:prstGeom>
          </p:spPr>
        </p:pic>
      </p:grpSp>
      <p:sp>
        <p:nvSpPr>
          <p:cNvPr id="374" name="Rectangle 373">
            <a:extLst>
              <a:ext uri="{FF2B5EF4-FFF2-40B4-BE49-F238E27FC236}">
                <a16:creationId xmlns:a16="http://schemas.microsoft.com/office/drawing/2014/main" id="{9B04E1DB-66F1-DE43-99E3-307F2D158ABF}"/>
              </a:ext>
              <a:ext uri="{C183D7F6-B498-43B3-948B-1728B52AA6E4}">
                <adec:decorative xmlns:adec="http://schemas.microsoft.com/office/drawing/2017/decorative" val="1"/>
              </a:ext>
            </a:extLst>
          </p:cNvPr>
          <p:cNvSpPr/>
          <p:nvPr/>
        </p:nvSpPr>
        <p:spPr>
          <a:xfrm>
            <a:off x="404813" y="506050"/>
            <a:ext cx="1325684"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SECTORS</a:t>
            </a:r>
          </a:p>
        </p:txBody>
      </p:sp>
    </p:spTree>
    <p:extLst>
      <p:ext uri="{BB962C8B-B14F-4D97-AF65-F5344CB8AC3E}">
        <p14:creationId xmlns:p14="http://schemas.microsoft.com/office/powerpoint/2010/main" val="35763566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 name="Freeform 228">
            <a:extLst>
              <a:ext uri="{FF2B5EF4-FFF2-40B4-BE49-F238E27FC236}">
                <a16:creationId xmlns:a16="http://schemas.microsoft.com/office/drawing/2014/main" id="{9EE699A0-0841-4036-9D39-007D71967F9F}"/>
              </a:ext>
              <a:ext uri="{C183D7F6-B498-43B3-948B-1728B52AA6E4}">
                <adec:decorative xmlns:adec="http://schemas.microsoft.com/office/drawing/2017/decorative" val="1"/>
              </a:ext>
            </a:extLst>
          </p:cNvPr>
          <p:cNvSpPr>
            <a:spLocks/>
          </p:cNvSpPr>
          <p:nvPr/>
        </p:nvSpPr>
        <p:spPr bwMode="auto">
          <a:xfrm>
            <a:off x="1188990" y="5542053"/>
            <a:ext cx="674066" cy="633600"/>
          </a:xfrm>
          <a:custGeom>
            <a:avLst/>
            <a:gdLst>
              <a:gd name="T0" fmla="*/ 69 w 481"/>
              <a:gd name="T1" fmla="*/ 351 h 449"/>
              <a:gd name="T2" fmla="*/ 115 w 481"/>
              <a:gd name="T3" fmla="*/ 66 h 449"/>
              <a:gd name="T4" fmla="*/ 412 w 481"/>
              <a:gd name="T5" fmla="*/ 108 h 449"/>
              <a:gd name="T6" fmla="*/ 358 w 481"/>
              <a:gd name="T7" fmla="*/ 382 h 449"/>
              <a:gd name="T8" fmla="*/ 69 w 481"/>
              <a:gd name="T9" fmla="*/ 351 h 449"/>
            </a:gdLst>
            <a:ahLst/>
            <a:cxnLst>
              <a:cxn ang="0">
                <a:pos x="T0" y="T1"/>
              </a:cxn>
              <a:cxn ang="0">
                <a:pos x="T2" y="T3"/>
              </a:cxn>
              <a:cxn ang="0">
                <a:pos x="T4" y="T5"/>
              </a:cxn>
              <a:cxn ang="0">
                <a:pos x="T6" y="T7"/>
              </a:cxn>
              <a:cxn ang="0">
                <a:pos x="T8" y="T9"/>
              </a:cxn>
            </a:cxnLst>
            <a:rect l="0" t="0" r="r" b="b"/>
            <a:pathLst>
              <a:path w="481" h="449">
                <a:moveTo>
                  <a:pt x="69" y="351"/>
                </a:moveTo>
                <a:cubicBezTo>
                  <a:pt x="0" y="261"/>
                  <a:pt x="21" y="133"/>
                  <a:pt x="115" y="66"/>
                </a:cubicBezTo>
                <a:cubicBezTo>
                  <a:pt x="210" y="0"/>
                  <a:pt x="343" y="18"/>
                  <a:pt x="412" y="108"/>
                </a:cubicBezTo>
                <a:cubicBezTo>
                  <a:pt x="481" y="198"/>
                  <a:pt x="452" y="315"/>
                  <a:pt x="358" y="382"/>
                </a:cubicBezTo>
                <a:cubicBezTo>
                  <a:pt x="263" y="449"/>
                  <a:pt x="138" y="441"/>
                  <a:pt x="69" y="351"/>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86" name="Groupe 385">
            <a:extLst>
              <a:ext uri="{FF2B5EF4-FFF2-40B4-BE49-F238E27FC236}">
                <a16:creationId xmlns:a16="http://schemas.microsoft.com/office/drawing/2014/main" id="{06CB247C-D94C-4BBE-8F84-292899BE0A9E}"/>
              </a:ext>
              <a:ext uri="{C183D7F6-B498-43B3-948B-1728B52AA6E4}">
                <adec:decorative xmlns:adec="http://schemas.microsoft.com/office/drawing/2017/decorative" val="1"/>
              </a:ext>
            </a:extLst>
          </p:cNvPr>
          <p:cNvGrpSpPr>
            <a:grpSpLocks noChangeAspect="1"/>
          </p:cNvGrpSpPr>
          <p:nvPr/>
        </p:nvGrpSpPr>
        <p:grpSpPr>
          <a:xfrm>
            <a:off x="2883473" y="1458706"/>
            <a:ext cx="675511" cy="633600"/>
            <a:chOff x="5037139" y="2103437"/>
            <a:chExt cx="869950" cy="815975"/>
          </a:xfrm>
        </p:grpSpPr>
        <p:sp>
          <p:nvSpPr>
            <p:cNvPr id="173" name="Freeform 90">
              <a:extLst>
                <a:ext uri="{FF2B5EF4-FFF2-40B4-BE49-F238E27FC236}">
                  <a16:creationId xmlns:a16="http://schemas.microsoft.com/office/drawing/2014/main" id="{42F29E2E-430C-479C-85BA-58C3321AC8C3}"/>
                </a:ext>
              </a:extLst>
            </p:cNvPr>
            <p:cNvSpPr>
              <a:spLocks/>
            </p:cNvSpPr>
            <p:nvPr/>
          </p:nvSpPr>
          <p:spPr bwMode="auto">
            <a:xfrm>
              <a:off x="5037139" y="2103437"/>
              <a:ext cx="869950" cy="815975"/>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2"/>
                    <a:pt x="172" y="185"/>
                  </a:cubicBezTo>
                  <a:cubicBezTo>
                    <a:pt x="127" y="217"/>
                    <a:pt x="66" y="213"/>
                    <a:pt x="33" y="170"/>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5" name="Groupe 384">
              <a:extLst>
                <a:ext uri="{FF2B5EF4-FFF2-40B4-BE49-F238E27FC236}">
                  <a16:creationId xmlns:a16="http://schemas.microsoft.com/office/drawing/2014/main" id="{3A1E095A-F574-4816-8E44-17D83218040D}"/>
                </a:ext>
              </a:extLst>
            </p:cNvPr>
            <p:cNvGrpSpPr/>
            <p:nvPr/>
          </p:nvGrpSpPr>
          <p:grpSpPr>
            <a:xfrm>
              <a:off x="5251451" y="2314575"/>
              <a:ext cx="419100" cy="398463"/>
              <a:chOff x="5251451" y="2314575"/>
              <a:chExt cx="419100" cy="398463"/>
            </a:xfrm>
          </p:grpSpPr>
          <p:sp>
            <p:nvSpPr>
              <p:cNvPr id="205" name="Freeform 122">
                <a:extLst>
                  <a:ext uri="{FF2B5EF4-FFF2-40B4-BE49-F238E27FC236}">
                    <a16:creationId xmlns:a16="http://schemas.microsoft.com/office/drawing/2014/main" id="{B13ED689-EF0E-4102-9435-D1BD59BB5599}"/>
                  </a:ext>
                </a:extLst>
              </p:cNvPr>
              <p:cNvSpPr>
                <a:spLocks noEditPoints="1"/>
              </p:cNvSpPr>
              <p:nvPr/>
            </p:nvSpPr>
            <p:spPr bwMode="auto">
              <a:xfrm>
                <a:off x="5251451" y="2314575"/>
                <a:ext cx="419100" cy="398463"/>
              </a:xfrm>
              <a:custGeom>
                <a:avLst/>
                <a:gdLst>
                  <a:gd name="T0" fmla="*/ 97 w 112"/>
                  <a:gd name="T1" fmla="*/ 106 h 106"/>
                  <a:gd name="T2" fmla="*/ 2 w 112"/>
                  <a:gd name="T3" fmla="*/ 106 h 106"/>
                  <a:gd name="T4" fmla="*/ 7 w 112"/>
                  <a:gd name="T5" fmla="*/ 0 h 106"/>
                  <a:gd name="T6" fmla="*/ 106 w 112"/>
                  <a:gd name="T7" fmla="*/ 0 h 106"/>
                  <a:gd name="T8" fmla="*/ 111 w 112"/>
                  <a:gd name="T9" fmla="*/ 91 h 106"/>
                  <a:gd name="T10" fmla="*/ 97 w 112"/>
                  <a:gd name="T11" fmla="*/ 106 h 106"/>
                  <a:gd name="T12" fmla="*/ 112 w 112"/>
                  <a:gd name="T13" fmla="*/ 106 h 106"/>
                  <a:gd name="T14" fmla="*/ 112 w 112"/>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06">
                    <a:moveTo>
                      <a:pt x="97" y="106"/>
                    </a:moveTo>
                    <a:cubicBezTo>
                      <a:pt x="97" y="106"/>
                      <a:pt x="0" y="106"/>
                      <a:pt x="2" y="106"/>
                    </a:cubicBezTo>
                    <a:cubicBezTo>
                      <a:pt x="3" y="105"/>
                      <a:pt x="7" y="0"/>
                      <a:pt x="7" y="0"/>
                    </a:cubicBezTo>
                    <a:cubicBezTo>
                      <a:pt x="106" y="0"/>
                      <a:pt x="106" y="0"/>
                      <a:pt x="106" y="0"/>
                    </a:cubicBezTo>
                    <a:cubicBezTo>
                      <a:pt x="111" y="91"/>
                      <a:pt x="111" y="91"/>
                      <a:pt x="111" y="91"/>
                    </a:cubicBezTo>
                    <a:cubicBezTo>
                      <a:pt x="112" y="99"/>
                      <a:pt x="105" y="106"/>
                      <a:pt x="97" y="106"/>
                    </a:cubicBezTo>
                    <a:close/>
                    <a:moveTo>
                      <a:pt x="112" y="106"/>
                    </a:moveTo>
                    <a:cubicBezTo>
                      <a:pt x="112" y="106"/>
                      <a:pt x="112" y="106"/>
                      <a:pt x="112" y="106"/>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25">
                <a:extLst>
                  <a:ext uri="{FF2B5EF4-FFF2-40B4-BE49-F238E27FC236}">
                    <a16:creationId xmlns:a16="http://schemas.microsoft.com/office/drawing/2014/main" id="{5F16AE03-D834-483F-925A-1BC42E5C8DC7}"/>
                  </a:ext>
                </a:extLst>
              </p:cNvPr>
              <p:cNvSpPr>
                <a:spLocks noEditPoints="1"/>
              </p:cNvSpPr>
              <p:nvPr/>
            </p:nvSpPr>
            <p:spPr bwMode="auto">
              <a:xfrm>
                <a:off x="5359401" y="2355850"/>
                <a:ext cx="206375" cy="179388"/>
              </a:xfrm>
              <a:custGeom>
                <a:avLst/>
                <a:gdLst>
                  <a:gd name="T0" fmla="*/ 28 w 55"/>
                  <a:gd name="T1" fmla="*/ 48 h 48"/>
                  <a:gd name="T2" fmla="*/ 0 w 55"/>
                  <a:gd name="T3" fmla="*/ 21 h 48"/>
                  <a:gd name="T4" fmla="*/ 0 w 55"/>
                  <a:gd name="T5" fmla="*/ 4 h 48"/>
                  <a:gd name="T6" fmla="*/ 4 w 55"/>
                  <a:gd name="T7" fmla="*/ 0 h 48"/>
                  <a:gd name="T8" fmla="*/ 8 w 55"/>
                  <a:gd name="T9" fmla="*/ 4 h 48"/>
                  <a:gd name="T10" fmla="*/ 8 w 55"/>
                  <a:gd name="T11" fmla="*/ 21 h 48"/>
                  <a:gd name="T12" fmla="*/ 28 w 55"/>
                  <a:gd name="T13" fmla="*/ 41 h 48"/>
                  <a:gd name="T14" fmla="*/ 48 w 55"/>
                  <a:gd name="T15" fmla="*/ 21 h 48"/>
                  <a:gd name="T16" fmla="*/ 48 w 55"/>
                  <a:gd name="T17" fmla="*/ 4 h 48"/>
                  <a:gd name="T18" fmla="*/ 51 w 55"/>
                  <a:gd name="T19" fmla="*/ 0 h 48"/>
                  <a:gd name="T20" fmla="*/ 55 w 55"/>
                  <a:gd name="T21" fmla="*/ 4 h 48"/>
                  <a:gd name="T22" fmla="*/ 55 w 55"/>
                  <a:gd name="T23" fmla="*/ 21 h 48"/>
                  <a:gd name="T24" fmla="*/ 28 w 55"/>
                  <a:gd name="T25" fmla="*/ 48 h 48"/>
                  <a:gd name="T26" fmla="*/ 28 w 55"/>
                  <a:gd name="T27" fmla="*/ 48 h 48"/>
                  <a:gd name="T28" fmla="*/ 28 w 55"/>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48">
                    <a:moveTo>
                      <a:pt x="28" y="48"/>
                    </a:moveTo>
                    <a:cubicBezTo>
                      <a:pt x="13" y="48"/>
                      <a:pt x="0" y="36"/>
                      <a:pt x="0" y="21"/>
                    </a:cubicBezTo>
                    <a:cubicBezTo>
                      <a:pt x="0" y="4"/>
                      <a:pt x="0" y="4"/>
                      <a:pt x="0" y="4"/>
                    </a:cubicBezTo>
                    <a:cubicBezTo>
                      <a:pt x="0" y="2"/>
                      <a:pt x="2" y="0"/>
                      <a:pt x="4" y="0"/>
                    </a:cubicBezTo>
                    <a:cubicBezTo>
                      <a:pt x="6" y="0"/>
                      <a:pt x="8" y="2"/>
                      <a:pt x="8" y="4"/>
                    </a:cubicBezTo>
                    <a:cubicBezTo>
                      <a:pt x="8" y="21"/>
                      <a:pt x="8" y="21"/>
                      <a:pt x="8" y="21"/>
                    </a:cubicBezTo>
                    <a:cubicBezTo>
                      <a:pt x="8" y="32"/>
                      <a:pt x="17" y="41"/>
                      <a:pt x="28" y="41"/>
                    </a:cubicBezTo>
                    <a:cubicBezTo>
                      <a:pt x="39" y="41"/>
                      <a:pt x="48" y="32"/>
                      <a:pt x="48" y="21"/>
                    </a:cubicBezTo>
                    <a:cubicBezTo>
                      <a:pt x="48" y="4"/>
                      <a:pt x="48" y="4"/>
                      <a:pt x="48" y="4"/>
                    </a:cubicBezTo>
                    <a:cubicBezTo>
                      <a:pt x="48" y="2"/>
                      <a:pt x="49" y="0"/>
                      <a:pt x="51" y="0"/>
                    </a:cubicBezTo>
                    <a:cubicBezTo>
                      <a:pt x="54" y="0"/>
                      <a:pt x="55" y="2"/>
                      <a:pt x="55" y="4"/>
                    </a:cubicBezTo>
                    <a:cubicBezTo>
                      <a:pt x="55" y="21"/>
                      <a:pt x="55" y="21"/>
                      <a:pt x="55" y="21"/>
                    </a:cubicBezTo>
                    <a:cubicBezTo>
                      <a:pt x="55" y="36"/>
                      <a:pt x="43" y="48"/>
                      <a:pt x="28" y="48"/>
                    </a:cubicBezTo>
                    <a:close/>
                    <a:moveTo>
                      <a:pt x="28" y="48"/>
                    </a:moveTo>
                    <a:cubicBezTo>
                      <a:pt x="28" y="48"/>
                      <a:pt x="28" y="48"/>
                      <a:pt x="28" y="48"/>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56" name="Freeform 273">
            <a:extLst>
              <a:ext uri="{FF2B5EF4-FFF2-40B4-BE49-F238E27FC236}">
                <a16:creationId xmlns:a16="http://schemas.microsoft.com/office/drawing/2014/main" id="{278922AF-1A89-480E-9C57-04541345BC78}"/>
              </a:ext>
              <a:ext uri="{C183D7F6-B498-43B3-948B-1728B52AA6E4}">
                <adec:decorative xmlns:adec="http://schemas.microsoft.com/office/drawing/2017/decorative" val="1"/>
              </a:ext>
            </a:extLst>
          </p:cNvPr>
          <p:cNvSpPr>
            <a:spLocks/>
          </p:cNvSpPr>
          <p:nvPr/>
        </p:nvSpPr>
        <p:spPr bwMode="auto">
          <a:xfrm>
            <a:off x="11712000" y="25830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75">
            <a:extLst>
              <a:ext uri="{FF2B5EF4-FFF2-40B4-BE49-F238E27FC236}">
                <a16:creationId xmlns:a16="http://schemas.microsoft.com/office/drawing/2014/main" id="{21526F2D-4197-4EF5-8094-F86EDEF0FE4B}"/>
              </a:ext>
              <a:ext uri="{C183D7F6-B498-43B3-948B-1728B52AA6E4}">
                <adec:decorative xmlns:adec="http://schemas.microsoft.com/office/drawing/2017/decorative" val="1"/>
              </a:ext>
            </a:extLst>
          </p:cNvPr>
          <p:cNvSpPr>
            <a:spLocks/>
          </p:cNvSpPr>
          <p:nvPr/>
        </p:nvSpPr>
        <p:spPr bwMode="auto">
          <a:xfrm>
            <a:off x="11712000" y="2583005"/>
            <a:ext cx="0" cy="476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2" name="Groupe 181">
            <a:extLst>
              <a:ext uri="{FF2B5EF4-FFF2-40B4-BE49-F238E27FC236}">
                <a16:creationId xmlns:a16="http://schemas.microsoft.com/office/drawing/2014/main" id="{EEEB0AB1-46D4-4173-ACE3-2B40A6B059B8}"/>
              </a:ext>
              <a:ext uri="{C183D7F6-B498-43B3-948B-1728B52AA6E4}">
                <adec:decorative xmlns:adec="http://schemas.microsoft.com/office/drawing/2017/decorative" val="1"/>
              </a:ext>
            </a:extLst>
          </p:cNvPr>
          <p:cNvGrpSpPr>
            <a:grpSpLocks noChangeAspect="1"/>
          </p:cNvGrpSpPr>
          <p:nvPr/>
        </p:nvGrpSpPr>
        <p:grpSpPr>
          <a:xfrm>
            <a:off x="339252" y="4150773"/>
            <a:ext cx="676827" cy="633600"/>
            <a:chOff x="7291868" y="5262375"/>
            <a:chExt cx="869950" cy="814388"/>
          </a:xfrm>
        </p:grpSpPr>
        <p:sp>
          <p:nvSpPr>
            <p:cNvPr id="183" name="Freeform 251">
              <a:extLst>
                <a:ext uri="{FF2B5EF4-FFF2-40B4-BE49-F238E27FC236}">
                  <a16:creationId xmlns:a16="http://schemas.microsoft.com/office/drawing/2014/main" id="{FF72B6DC-CD3C-48A0-8E8E-00C400E4BC3B}"/>
                </a:ext>
              </a:extLst>
            </p:cNvPr>
            <p:cNvSpPr>
              <a:spLocks/>
            </p:cNvSpPr>
            <p:nvPr/>
          </p:nvSpPr>
          <p:spPr bwMode="auto">
            <a:xfrm>
              <a:off x="7291868" y="5262375"/>
              <a:ext cx="869950" cy="814388"/>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5">
              <a:extLst>
                <a:ext uri="{FF2B5EF4-FFF2-40B4-BE49-F238E27FC236}">
                  <a16:creationId xmlns:a16="http://schemas.microsoft.com/office/drawing/2014/main" id="{5AF579C9-A3F4-4C4B-BD5A-89BB939D863A}"/>
                </a:ext>
              </a:extLst>
            </p:cNvPr>
            <p:cNvSpPr>
              <a:spLocks/>
            </p:cNvSpPr>
            <p:nvPr/>
          </p:nvSpPr>
          <p:spPr bwMode="auto">
            <a:xfrm>
              <a:off x="7693506" y="5468750"/>
              <a:ext cx="119063" cy="115888"/>
            </a:xfrm>
            <a:custGeom>
              <a:avLst/>
              <a:gdLst>
                <a:gd name="T0" fmla="*/ 24 w 32"/>
                <a:gd name="T1" fmla="*/ 26 h 31"/>
                <a:gd name="T2" fmla="*/ 4 w 32"/>
                <a:gd name="T3" fmla="*/ 25 h 31"/>
                <a:gd name="T4" fmla="*/ 4 w 32"/>
                <a:gd name="T5" fmla="*/ 24 h 31"/>
                <a:gd name="T6" fmla="*/ 1 w 32"/>
                <a:gd name="T7" fmla="*/ 20 h 31"/>
                <a:gd name="T8" fmla="*/ 7 w 32"/>
                <a:gd name="T9" fmla="*/ 5 h 31"/>
                <a:gd name="T10" fmla="*/ 27 w 32"/>
                <a:gd name="T11" fmla="*/ 8 h 31"/>
                <a:gd name="T12" fmla="*/ 24 w 32"/>
                <a:gd name="T13" fmla="*/ 26 h 31"/>
              </a:gdLst>
              <a:ahLst/>
              <a:cxnLst>
                <a:cxn ang="0">
                  <a:pos x="T0" y="T1"/>
                </a:cxn>
                <a:cxn ang="0">
                  <a:pos x="T2" y="T3"/>
                </a:cxn>
                <a:cxn ang="0">
                  <a:pos x="T4" y="T5"/>
                </a:cxn>
                <a:cxn ang="0">
                  <a:pos x="T6" y="T7"/>
                </a:cxn>
                <a:cxn ang="0">
                  <a:pos x="T8" y="T9"/>
                </a:cxn>
                <a:cxn ang="0">
                  <a:pos x="T10" y="T11"/>
                </a:cxn>
                <a:cxn ang="0">
                  <a:pos x="T12" y="T13"/>
                </a:cxn>
              </a:cxnLst>
              <a:rect l="0" t="0" r="r" b="b"/>
              <a:pathLst>
                <a:path w="32" h="31">
                  <a:moveTo>
                    <a:pt x="24" y="26"/>
                  </a:moveTo>
                  <a:cubicBezTo>
                    <a:pt x="17" y="31"/>
                    <a:pt x="9" y="31"/>
                    <a:pt x="4" y="25"/>
                  </a:cubicBezTo>
                  <a:cubicBezTo>
                    <a:pt x="4" y="25"/>
                    <a:pt x="4" y="24"/>
                    <a:pt x="4" y="24"/>
                  </a:cubicBezTo>
                  <a:cubicBezTo>
                    <a:pt x="3" y="23"/>
                    <a:pt x="2" y="21"/>
                    <a:pt x="1" y="20"/>
                  </a:cubicBezTo>
                  <a:cubicBezTo>
                    <a:pt x="0" y="14"/>
                    <a:pt x="2" y="8"/>
                    <a:pt x="7" y="5"/>
                  </a:cubicBezTo>
                  <a:cubicBezTo>
                    <a:pt x="13" y="0"/>
                    <a:pt x="22" y="1"/>
                    <a:pt x="27" y="8"/>
                  </a:cubicBezTo>
                  <a:cubicBezTo>
                    <a:pt x="32" y="14"/>
                    <a:pt x="30" y="22"/>
                    <a:pt x="24" y="2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76">
              <a:extLst>
                <a:ext uri="{FF2B5EF4-FFF2-40B4-BE49-F238E27FC236}">
                  <a16:creationId xmlns:a16="http://schemas.microsoft.com/office/drawing/2014/main" id="{7FED2384-F5CA-4DDB-8D9A-A48D05F80029}"/>
                </a:ext>
              </a:extLst>
            </p:cNvPr>
            <p:cNvSpPr>
              <a:spLocks noEditPoints="1"/>
            </p:cNvSpPr>
            <p:nvPr/>
          </p:nvSpPr>
          <p:spPr bwMode="auto">
            <a:xfrm>
              <a:off x="7528406" y="5510025"/>
              <a:ext cx="390525" cy="352425"/>
            </a:xfrm>
            <a:custGeom>
              <a:avLst/>
              <a:gdLst>
                <a:gd name="T0" fmla="*/ 99 w 104"/>
                <a:gd name="T1" fmla="*/ 42 h 94"/>
                <a:gd name="T2" fmla="*/ 96 w 104"/>
                <a:gd name="T3" fmla="*/ 42 h 94"/>
                <a:gd name="T4" fmla="*/ 76 w 104"/>
                <a:gd name="T5" fmla="*/ 15 h 94"/>
                <a:gd name="T6" fmla="*/ 57 w 104"/>
                <a:gd name="T7" fmla="*/ 24 h 94"/>
                <a:gd name="T8" fmla="*/ 39 w 104"/>
                <a:gd name="T9" fmla="*/ 9 h 94"/>
                <a:gd name="T10" fmla="*/ 29 w 104"/>
                <a:gd name="T11" fmla="*/ 1 h 94"/>
                <a:gd name="T12" fmla="*/ 26 w 104"/>
                <a:gd name="T13" fmla="*/ 3 h 94"/>
                <a:gd name="T14" fmla="*/ 24 w 104"/>
                <a:gd name="T15" fmla="*/ 18 h 94"/>
                <a:gd name="T16" fmla="*/ 12 w 104"/>
                <a:gd name="T17" fmla="*/ 34 h 94"/>
                <a:gd name="T18" fmla="*/ 5 w 104"/>
                <a:gd name="T19" fmla="*/ 34 h 94"/>
                <a:gd name="T20" fmla="*/ 0 w 104"/>
                <a:gd name="T21" fmla="*/ 39 h 94"/>
                <a:gd name="T22" fmla="*/ 0 w 104"/>
                <a:gd name="T23" fmla="*/ 54 h 94"/>
                <a:gd name="T24" fmla="*/ 5 w 104"/>
                <a:gd name="T25" fmla="*/ 59 h 94"/>
                <a:gd name="T26" fmla="*/ 11 w 104"/>
                <a:gd name="T27" fmla="*/ 59 h 94"/>
                <a:gd name="T28" fmla="*/ 28 w 104"/>
                <a:gd name="T29" fmla="*/ 81 h 94"/>
                <a:gd name="T30" fmla="*/ 28 w 104"/>
                <a:gd name="T31" fmla="*/ 89 h 94"/>
                <a:gd name="T32" fmla="*/ 30 w 104"/>
                <a:gd name="T33" fmla="*/ 91 h 94"/>
                <a:gd name="T34" fmla="*/ 41 w 104"/>
                <a:gd name="T35" fmla="*/ 94 h 94"/>
                <a:gd name="T36" fmla="*/ 44 w 104"/>
                <a:gd name="T37" fmla="*/ 92 h 94"/>
                <a:gd name="T38" fmla="*/ 44 w 104"/>
                <a:gd name="T39" fmla="*/ 90 h 94"/>
                <a:gd name="T40" fmla="*/ 44 w 104"/>
                <a:gd name="T41" fmla="*/ 86 h 94"/>
                <a:gd name="T42" fmla="*/ 53 w 104"/>
                <a:gd name="T43" fmla="*/ 87 h 94"/>
                <a:gd name="T44" fmla="*/ 61 w 104"/>
                <a:gd name="T45" fmla="*/ 86 h 94"/>
                <a:gd name="T46" fmla="*/ 61 w 104"/>
                <a:gd name="T47" fmla="*/ 91 h 94"/>
                <a:gd name="T48" fmla="*/ 64 w 104"/>
                <a:gd name="T49" fmla="*/ 93 h 94"/>
                <a:gd name="T50" fmla="*/ 75 w 104"/>
                <a:gd name="T51" fmla="*/ 91 h 94"/>
                <a:gd name="T52" fmla="*/ 77 w 104"/>
                <a:gd name="T53" fmla="*/ 89 h 94"/>
                <a:gd name="T54" fmla="*/ 77 w 104"/>
                <a:gd name="T55" fmla="*/ 81 h 94"/>
                <a:gd name="T56" fmla="*/ 96 w 104"/>
                <a:gd name="T57" fmla="*/ 52 h 94"/>
                <a:gd name="T58" fmla="*/ 99 w 104"/>
                <a:gd name="T59" fmla="*/ 52 h 94"/>
                <a:gd name="T60" fmla="*/ 104 w 104"/>
                <a:gd name="T61" fmla="*/ 47 h 94"/>
                <a:gd name="T62" fmla="*/ 99 w 104"/>
                <a:gd name="T63" fmla="*/ 42 h 94"/>
                <a:gd name="T64" fmla="*/ 33 w 104"/>
                <a:gd name="T65" fmla="*/ 38 h 94"/>
                <a:gd name="T66" fmla="*/ 27 w 104"/>
                <a:gd name="T67" fmla="*/ 37 h 94"/>
                <a:gd name="T68" fmla="*/ 27 w 104"/>
                <a:gd name="T69" fmla="*/ 37 h 94"/>
                <a:gd name="T70" fmla="*/ 26 w 104"/>
                <a:gd name="T71" fmla="*/ 36 h 94"/>
                <a:gd name="T72" fmla="*/ 28 w 104"/>
                <a:gd name="T73" fmla="*/ 31 h 94"/>
                <a:gd name="T74" fmla="*/ 34 w 104"/>
                <a:gd name="T75" fmla="*/ 32 h 94"/>
                <a:gd name="T76" fmla="*/ 33 w 104"/>
                <a:gd name="T77" fmla="*/ 3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 h="94">
                  <a:moveTo>
                    <a:pt x="99" y="42"/>
                  </a:moveTo>
                  <a:cubicBezTo>
                    <a:pt x="96" y="42"/>
                    <a:pt x="96" y="42"/>
                    <a:pt x="96" y="42"/>
                  </a:cubicBezTo>
                  <a:cubicBezTo>
                    <a:pt x="94" y="18"/>
                    <a:pt x="78" y="23"/>
                    <a:pt x="76" y="15"/>
                  </a:cubicBezTo>
                  <a:cubicBezTo>
                    <a:pt x="71" y="20"/>
                    <a:pt x="64" y="24"/>
                    <a:pt x="57" y="24"/>
                  </a:cubicBezTo>
                  <a:cubicBezTo>
                    <a:pt x="48" y="24"/>
                    <a:pt x="42" y="18"/>
                    <a:pt x="39" y="9"/>
                  </a:cubicBezTo>
                  <a:cubicBezTo>
                    <a:pt x="29" y="1"/>
                    <a:pt x="29" y="1"/>
                    <a:pt x="29" y="1"/>
                  </a:cubicBezTo>
                  <a:cubicBezTo>
                    <a:pt x="27" y="0"/>
                    <a:pt x="26" y="1"/>
                    <a:pt x="26" y="3"/>
                  </a:cubicBezTo>
                  <a:cubicBezTo>
                    <a:pt x="24" y="18"/>
                    <a:pt x="24" y="18"/>
                    <a:pt x="24" y="18"/>
                  </a:cubicBezTo>
                  <a:cubicBezTo>
                    <a:pt x="19" y="22"/>
                    <a:pt x="14" y="28"/>
                    <a:pt x="12" y="34"/>
                  </a:cubicBezTo>
                  <a:cubicBezTo>
                    <a:pt x="5" y="34"/>
                    <a:pt x="5" y="34"/>
                    <a:pt x="5" y="34"/>
                  </a:cubicBezTo>
                  <a:cubicBezTo>
                    <a:pt x="2" y="34"/>
                    <a:pt x="0" y="36"/>
                    <a:pt x="0" y="39"/>
                  </a:cubicBezTo>
                  <a:cubicBezTo>
                    <a:pt x="0" y="54"/>
                    <a:pt x="0" y="54"/>
                    <a:pt x="0" y="54"/>
                  </a:cubicBezTo>
                  <a:cubicBezTo>
                    <a:pt x="0" y="57"/>
                    <a:pt x="2" y="59"/>
                    <a:pt x="5" y="59"/>
                  </a:cubicBezTo>
                  <a:cubicBezTo>
                    <a:pt x="11" y="59"/>
                    <a:pt x="11" y="59"/>
                    <a:pt x="11" y="59"/>
                  </a:cubicBezTo>
                  <a:cubicBezTo>
                    <a:pt x="14" y="68"/>
                    <a:pt x="20" y="76"/>
                    <a:pt x="28" y="81"/>
                  </a:cubicBezTo>
                  <a:cubicBezTo>
                    <a:pt x="28" y="89"/>
                    <a:pt x="28" y="89"/>
                    <a:pt x="28" y="89"/>
                  </a:cubicBezTo>
                  <a:cubicBezTo>
                    <a:pt x="28" y="90"/>
                    <a:pt x="29" y="91"/>
                    <a:pt x="30" y="91"/>
                  </a:cubicBezTo>
                  <a:cubicBezTo>
                    <a:pt x="33" y="93"/>
                    <a:pt x="38" y="94"/>
                    <a:pt x="41" y="94"/>
                  </a:cubicBezTo>
                  <a:cubicBezTo>
                    <a:pt x="43" y="94"/>
                    <a:pt x="44" y="93"/>
                    <a:pt x="44" y="92"/>
                  </a:cubicBezTo>
                  <a:cubicBezTo>
                    <a:pt x="44" y="91"/>
                    <a:pt x="44" y="90"/>
                    <a:pt x="44" y="90"/>
                  </a:cubicBezTo>
                  <a:cubicBezTo>
                    <a:pt x="44" y="86"/>
                    <a:pt x="44" y="86"/>
                    <a:pt x="44" y="86"/>
                  </a:cubicBezTo>
                  <a:cubicBezTo>
                    <a:pt x="47" y="87"/>
                    <a:pt x="50" y="87"/>
                    <a:pt x="53" y="87"/>
                  </a:cubicBezTo>
                  <a:cubicBezTo>
                    <a:pt x="56" y="87"/>
                    <a:pt x="58" y="87"/>
                    <a:pt x="61" y="86"/>
                  </a:cubicBezTo>
                  <a:cubicBezTo>
                    <a:pt x="61" y="91"/>
                    <a:pt x="61" y="91"/>
                    <a:pt x="61" y="91"/>
                  </a:cubicBezTo>
                  <a:cubicBezTo>
                    <a:pt x="61" y="93"/>
                    <a:pt x="62" y="94"/>
                    <a:pt x="64" y="93"/>
                  </a:cubicBezTo>
                  <a:cubicBezTo>
                    <a:pt x="75" y="91"/>
                    <a:pt x="75" y="91"/>
                    <a:pt x="75" y="91"/>
                  </a:cubicBezTo>
                  <a:cubicBezTo>
                    <a:pt x="76" y="91"/>
                    <a:pt x="77" y="90"/>
                    <a:pt x="77" y="89"/>
                  </a:cubicBezTo>
                  <a:cubicBezTo>
                    <a:pt x="77" y="81"/>
                    <a:pt x="77" y="81"/>
                    <a:pt x="77" y="81"/>
                  </a:cubicBezTo>
                  <a:cubicBezTo>
                    <a:pt x="87" y="74"/>
                    <a:pt x="95" y="64"/>
                    <a:pt x="96" y="52"/>
                  </a:cubicBezTo>
                  <a:cubicBezTo>
                    <a:pt x="99" y="52"/>
                    <a:pt x="99" y="52"/>
                    <a:pt x="99" y="52"/>
                  </a:cubicBezTo>
                  <a:cubicBezTo>
                    <a:pt x="102" y="52"/>
                    <a:pt x="104" y="50"/>
                    <a:pt x="104" y="47"/>
                  </a:cubicBezTo>
                  <a:cubicBezTo>
                    <a:pt x="104" y="44"/>
                    <a:pt x="102" y="42"/>
                    <a:pt x="99" y="42"/>
                  </a:cubicBezTo>
                  <a:close/>
                  <a:moveTo>
                    <a:pt x="33" y="38"/>
                  </a:moveTo>
                  <a:cubicBezTo>
                    <a:pt x="31" y="39"/>
                    <a:pt x="28" y="39"/>
                    <a:pt x="27" y="37"/>
                  </a:cubicBezTo>
                  <a:cubicBezTo>
                    <a:pt x="27" y="37"/>
                    <a:pt x="27" y="37"/>
                    <a:pt x="27" y="37"/>
                  </a:cubicBezTo>
                  <a:cubicBezTo>
                    <a:pt x="26" y="37"/>
                    <a:pt x="26" y="36"/>
                    <a:pt x="26" y="36"/>
                  </a:cubicBezTo>
                  <a:cubicBezTo>
                    <a:pt x="26" y="34"/>
                    <a:pt x="26" y="32"/>
                    <a:pt x="28" y="31"/>
                  </a:cubicBezTo>
                  <a:cubicBezTo>
                    <a:pt x="30" y="30"/>
                    <a:pt x="32" y="30"/>
                    <a:pt x="34" y="32"/>
                  </a:cubicBezTo>
                  <a:cubicBezTo>
                    <a:pt x="35" y="34"/>
                    <a:pt x="35" y="36"/>
                    <a:pt x="33" y="3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e 5">
            <a:extLst>
              <a:ext uri="{FF2B5EF4-FFF2-40B4-BE49-F238E27FC236}">
                <a16:creationId xmlns:a16="http://schemas.microsoft.com/office/drawing/2014/main" id="{71463482-437F-4BCC-BDD1-FCF6151289C2}"/>
              </a:ext>
              <a:ext uri="{C183D7F6-B498-43B3-948B-1728B52AA6E4}">
                <adec:decorative xmlns:adec="http://schemas.microsoft.com/office/drawing/2017/decorative" val="1"/>
              </a:ext>
            </a:extLst>
          </p:cNvPr>
          <p:cNvGrpSpPr>
            <a:grpSpLocks noChangeAspect="1"/>
          </p:cNvGrpSpPr>
          <p:nvPr/>
        </p:nvGrpSpPr>
        <p:grpSpPr>
          <a:xfrm>
            <a:off x="4589097" y="4150773"/>
            <a:ext cx="678063" cy="633600"/>
            <a:chOff x="8782619" y="4509000"/>
            <a:chExt cx="871538" cy="814388"/>
          </a:xfrm>
        </p:grpSpPr>
        <p:sp>
          <p:nvSpPr>
            <p:cNvPr id="186" name="Freeform 249">
              <a:extLst>
                <a:ext uri="{FF2B5EF4-FFF2-40B4-BE49-F238E27FC236}">
                  <a16:creationId xmlns:a16="http://schemas.microsoft.com/office/drawing/2014/main" id="{B6387945-DAD5-440A-82B9-51C24A5C4F14}"/>
                </a:ext>
              </a:extLst>
            </p:cNvPr>
            <p:cNvSpPr>
              <a:spLocks/>
            </p:cNvSpPr>
            <p:nvPr/>
          </p:nvSpPr>
          <p:spPr bwMode="auto">
            <a:xfrm>
              <a:off x="8782619" y="4509000"/>
              <a:ext cx="871538" cy="814388"/>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77">
              <a:extLst>
                <a:ext uri="{FF2B5EF4-FFF2-40B4-BE49-F238E27FC236}">
                  <a16:creationId xmlns:a16="http://schemas.microsoft.com/office/drawing/2014/main" id="{EB5CF289-A67C-49DB-A2C3-507909ABD9AC}"/>
                </a:ext>
              </a:extLst>
            </p:cNvPr>
            <p:cNvSpPr>
              <a:spLocks noChangeAspect="1"/>
            </p:cNvSpPr>
            <p:nvPr/>
          </p:nvSpPr>
          <p:spPr bwMode="auto">
            <a:xfrm>
              <a:off x="9076304" y="4725958"/>
              <a:ext cx="302197" cy="432000"/>
            </a:xfrm>
            <a:custGeom>
              <a:avLst/>
              <a:gdLst>
                <a:gd name="T0" fmla="*/ 43 w 63"/>
                <a:gd name="T1" fmla="*/ 90 h 90"/>
                <a:gd name="T2" fmla="*/ 44 w 63"/>
                <a:gd name="T3" fmla="*/ 89 h 90"/>
                <a:gd name="T4" fmla="*/ 17 w 63"/>
                <a:gd name="T5" fmla="*/ 52 h 90"/>
                <a:gd name="T6" fmla="*/ 17 w 63"/>
                <a:gd name="T7" fmla="*/ 52 h 90"/>
                <a:gd name="T8" fmla="*/ 45 w 63"/>
                <a:gd name="T9" fmla="*/ 32 h 90"/>
                <a:gd name="T10" fmla="*/ 45 w 63"/>
                <a:gd name="T11" fmla="*/ 32 h 90"/>
                <a:gd name="T12" fmla="*/ 54 w 63"/>
                <a:gd name="T13" fmla="*/ 32 h 90"/>
                <a:gd name="T14" fmla="*/ 55 w 63"/>
                <a:gd name="T15" fmla="*/ 32 h 90"/>
                <a:gd name="T16" fmla="*/ 59 w 63"/>
                <a:gd name="T17" fmla="*/ 26 h 90"/>
                <a:gd name="T18" fmla="*/ 58 w 63"/>
                <a:gd name="T19" fmla="*/ 24 h 90"/>
                <a:gd name="T20" fmla="*/ 44 w 63"/>
                <a:gd name="T21" fmla="*/ 24 h 90"/>
                <a:gd name="T22" fmla="*/ 39 w 63"/>
                <a:gd name="T23" fmla="*/ 16 h 90"/>
                <a:gd name="T24" fmla="*/ 39 w 63"/>
                <a:gd name="T25" fmla="*/ 15 h 90"/>
                <a:gd name="T26" fmla="*/ 39 w 63"/>
                <a:gd name="T27" fmla="*/ 15 h 90"/>
                <a:gd name="T28" fmla="*/ 48 w 63"/>
                <a:gd name="T29" fmla="*/ 15 h 90"/>
                <a:gd name="T30" fmla="*/ 59 w 63"/>
                <a:gd name="T31" fmla="*/ 10 h 90"/>
                <a:gd name="T32" fmla="*/ 60 w 63"/>
                <a:gd name="T33" fmla="*/ 7 h 90"/>
                <a:gd name="T34" fmla="*/ 6 w 63"/>
                <a:gd name="T35" fmla="*/ 7 h 90"/>
                <a:gd name="T36" fmla="*/ 0 w 63"/>
                <a:gd name="T37" fmla="*/ 16 h 90"/>
                <a:gd name="T38" fmla="*/ 17 w 63"/>
                <a:gd name="T39" fmla="*/ 16 h 90"/>
                <a:gd name="T40" fmla="*/ 17 w 63"/>
                <a:gd name="T41" fmla="*/ 16 h 90"/>
                <a:gd name="T42" fmla="*/ 31 w 63"/>
                <a:gd name="T43" fmla="*/ 24 h 90"/>
                <a:gd name="T44" fmla="*/ 31 w 63"/>
                <a:gd name="T45" fmla="*/ 24 h 90"/>
                <a:gd name="T46" fmla="*/ 6 w 63"/>
                <a:gd name="T47" fmla="*/ 24 h 90"/>
                <a:gd name="T48" fmla="*/ 5 w 63"/>
                <a:gd name="T49" fmla="*/ 25 h 90"/>
                <a:gd name="T50" fmla="*/ 2 w 63"/>
                <a:gd name="T51" fmla="*/ 30 h 90"/>
                <a:gd name="T52" fmla="*/ 3 w 63"/>
                <a:gd name="T53" fmla="*/ 32 h 90"/>
                <a:gd name="T54" fmla="*/ 32 w 63"/>
                <a:gd name="T55" fmla="*/ 32 h 90"/>
                <a:gd name="T56" fmla="*/ 3 w 63"/>
                <a:gd name="T57" fmla="*/ 45 h 90"/>
                <a:gd name="T58" fmla="*/ 3 w 63"/>
                <a:gd name="T59" fmla="*/ 45 h 90"/>
                <a:gd name="T60" fmla="*/ 3 w 63"/>
                <a:gd name="T61" fmla="*/ 52 h 90"/>
                <a:gd name="T62" fmla="*/ 3 w 63"/>
                <a:gd name="T63" fmla="*/ 52 h 90"/>
                <a:gd name="T64" fmla="*/ 31 w 63"/>
                <a:gd name="T65" fmla="*/ 90 h 90"/>
                <a:gd name="T66" fmla="*/ 32 w 63"/>
                <a:gd name="T67" fmla="*/ 90 h 90"/>
                <a:gd name="T68" fmla="*/ 43 w 63"/>
                <a:gd name="T6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90">
                  <a:moveTo>
                    <a:pt x="43" y="90"/>
                  </a:moveTo>
                  <a:cubicBezTo>
                    <a:pt x="44" y="90"/>
                    <a:pt x="44" y="89"/>
                    <a:pt x="44" y="89"/>
                  </a:cubicBezTo>
                  <a:cubicBezTo>
                    <a:pt x="34" y="76"/>
                    <a:pt x="27" y="65"/>
                    <a:pt x="17" y="52"/>
                  </a:cubicBezTo>
                  <a:cubicBezTo>
                    <a:pt x="16" y="52"/>
                    <a:pt x="17" y="52"/>
                    <a:pt x="17" y="52"/>
                  </a:cubicBezTo>
                  <a:cubicBezTo>
                    <a:pt x="33" y="53"/>
                    <a:pt x="46" y="41"/>
                    <a:pt x="45" y="32"/>
                  </a:cubicBezTo>
                  <a:cubicBezTo>
                    <a:pt x="45" y="32"/>
                    <a:pt x="45" y="32"/>
                    <a:pt x="45" y="32"/>
                  </a:cubicBezTo>
                  <a:cubicBezTo>
                    <a:pt x="54" y="32"/>
                    <a:pt x="54" y="32"/>
                    <a:pt x="54" y="32"/>
                  </a:cubicBezTo>
                  <a:cubicBezTo>
                    <a:pt x="55" y="32"/>
                    <a:pt x="55" y="32"/>
                    <a:pt x="55" y="32"/>
                  </a:cubicBezTo>
                  <a:cubicBezTo>
                    <a:pt x="59" y="26"/>
                    <a:pt x="59" y="26"/>
                    <a:pt x="59" y="26"/>
                  </a:cubicBezTo>
                  <a:cubicBezTo>
                    <a:pt x="59" y="25"/>
                    <a:pt x="59" y="24"/>
                    <a:pt x="58" y="24"/>
                  </a:cubicBezTo>
                  <a:cubicBezTo>
                    <a:pt x="44" y="24"/>
                    <a:pt x="44" y="24"/>
                    <a:pt x="44" y="24"/>
                  </a:cubicBezTo>
                  <a:cubicBezTo>
                    <a:pt x="43" y="20"/>
                    <a:pt x="41" y="17"/>
                    <a:pt x="39" y="16"/>
                  </a:cubicBezTo>
                  <a:cubicBezTo>
                    <a:pt x="39" y="15"/>
                    <a:pt x="39" y="15"/>
                    <a:pt x="39" y="15"/>
                  </a:cubicBezTo>
                  <a:cubicBezTo>
                    <a:pt x="39" y="15"/>
                    <a:pt x="39" y="15"/>
                    <a:pt x="39" y="15"/>
                  </a:cubicBezTo>
                  <a:cubicBezTo>
                    <a:pt x="48" y="15"/>
                    <a:pt x="48" y="15"/>
                    <a:pt x="48" y="15"/>
                  </a:cubicBezTo>
                  <a:cubicBezTo>
                    <a:pt x="53" y="15"/>
                    <a:pt x="57" y="13"/>
                    <a:pt x="59" y="10"/>
                  </a:cubicBezTo>
                  <a:cubicBezTo>
                    <a:pt x="59" y="9"/>
                    <a:pt x="60" y="8"/>
                    <a:pt x="60" y="7"/>
                  </a:cubicBezTo>
                  <a:cubicBezTo>
                    <a:pt x="63" y="0"/>
                    <a:pt x="10" y="9"/>
                    <a:pt x="6" y="7"/>
                  </a:cubicBezTo>
                  <a:cubicBezTo>
                    <a:pt x="0" y="16"/>
                    <a:pt x="0" y="16"/>
                    <a:pt x="0" y="16"/>
                  </a:cubicBezTo>
                  <a:cubicBezTo>
                    <a:pt x="17" y="16"/>
                    <a:pt x="17" y="16"/>
                    <a:pt x="17" y="16"/>
                  </a:cubicBezTo>
                  <a:cubicBezTo>
                    <a:pt x="17" y="16"/>
                    <a:pt x="17" y="16"/>
                    <a:pt x="17" y="16"/>
                  </a:cubicBezTo>
                  <a:cubicBezTo>
                    <a:pt x="22" y="17"/>
                    <a:pt x="28" y="20"/>
                    <a:pt x="31" y="24"/>
                  </a:cubicBezTo>
                  <a:cubicBezTo>
                    <a:pt x="31" y="24"/>
                    <a:pt x="31" y="24"/>
                    <a:pt x="31" y="24"/>
                  </a:cubicBezTo>
                  <a:cubicBezTo>
                    <a:pt x="6" y="24"/>
                    <a:pt x="6" y="24"/>
                    <a:pt x="6" y="24"/>
                  </a:cubicBezTo>
                  <a:cubicBezTo>
                    <a:pt x="6" y="24"/>
                    <a:pt x="6" y="25"/>
                    <a:pt x="5" y="25"/>
                  </a:cubicBezTo>
                  <a:cubicBezTo>
                    <a:pt x="2" y="30"/>
                    <a:pt x="2" y="30"/>
                    <a:pt x="2" y="30"/>
                  </a:cubicBezTo>
                  <a:cubicBezTo>
                    <a:pt x="1" y="31"/>
                    <a:pt x="2" y="32"/>
                    <a:pt x="3" y="32"/>
                  </a:cubicBezTo>
                  <a:cubicBezTo>
                    <a:pt x="32" y="32"/>
                    <a:pt x="32" y="32"/>
                    <a:pt x="32" y="32"/>
                  </a:cubicBezTo>
                  <a:cubicBezTo>
                    <a:pt x="32" y="36"/>
                    <a:pt x="20" y="45"/>
                    <a:pt x="3" y="45"/>
                  </a:cubicBezTo>
                  <a:cubicBezTo>
                    <a:pt x="3" y="45"/>
                    <a:pt x="3" y="45"/>
                    <a:pt x="3" y="45"/>
                  </a:cubicBezTo>
                  <a:cubicBezTo>
                    <a:pt x="3" y="47"/>
                    <a:pt x="3" y="49"/>
                    <a:pt x="3" y="52"/>
                  </a:cubicBezTo>
                  <a:cubicBezTo>
                    <a:pt x="3" y="52"/>
                    <a:pt x="3" y="52"/>
                    <a:pt x="3" y="52"/>
                  </a:cubicBezTo>
                  <a:cubicBezTo>
                    <a:pt x="13" y="65"/>
                    <a:pt x="21" y="78"/>
                    <a:pt x="31" y="90"/>
                  </a:cubicBezTo>
                  <a:cubicBezTo>
                    <a:pt x="31" y="90"/>
                    <a:pt x="31" y="90"/>
                    <a:pt x="32" y="90"/>
                  </a:cubicBezTo>
                  <a:lnTo>
                    <a:pt x="43" y="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7E83"/>
                </a:solidFill>
              </a:endParaRPr>
            </a:p>
          </p:txBody>
        </p:sp>
      </p:grpSp>
      <p:grpSp>
        <p:nvGrpSpPr>
          <p:cNvPr id="192" name="Groupe 191">
            <a:extLst>
              <a:ext uri="{FF2B5EF4-FFF2-40B4-BE49-F238E27FC236}">
                <a16:creationId xmlns:a16="http://schemas.microsoft.com/office/drawing/2014/main" id="{FFEBCF03-8860-48B3-BBB9-282038D6E41F}"/>
              </a:ext>
              <a:ext uri="{C183D7F6-B498-43B3-948B-1728B52AA6E4}">
                <adec:decorative xmlns:adec="http://schemas.microsoft.com/office/drawing/2017/decorative" val="1"/>
              </a:ext>
            </a:extLst>
          </p:cNvPr>
          <p:cNvGrpSpPr>
            <a:grpSpLocks noChangeAspect="1"/>
          </p:cNvGrpSpPr>
          <p:nvPr/>
        </p:nvGrpSpPr>
        <p:grpSpPr>
          <a:xfrm>
            <a:off x="2049509" y="2795400"/>
            <a:ext cx="678063" cy="633600"/>
            <a:chOff x="3735388" y="3686176"/>
            <a:chExt cx="871538" cy="814388"/>
          </a:xfrm>
        </p:grpSpPr>
        <p:sp>
          <p:nvSpPr>
            <p:cNvPr id="193" name="Freeform 84">
              <a:extLst>
                <a:ext uri="{FF2B5EF4-FFF2-40B4-BE49-F238E27FC236}">
                  <a16:creationId xmlns:a16="http://schemas.microsoft.com/office/drawing/2014/main" id="{8AD13192-0B02-4896-B957-85884F688015}"/>
                </a:ext>
              </a:extLst>
            </p:cNvPr>
            <p:cNvSpPr>
              <a:spLocks/>
            </p:cNvSpPr>
            <p:nvPr/>
          </p:nvSpPr>
          <p:spPr bwMode="auto">
            <a:xfrm>
              <a:off x="3735388" y="3686176"/>
              <a:ext cx="871538" cy="814388"/>
            </a:xfrm>
            <a:custGeom>
              <a:avLst/>
              <a:gdLst>
                <a:gd name="T0" fmla="*/ 33 w 232"/>
                <a:gd name="T1" fmla="*/ 169 h 217"/>
                <a:gd name="T2" fmla="*/ 55 w 232"/>
                <a:gd name="T3" fmla="*/ 32 h 217"/>
                <a:gd name="T4" fmla="*/ 198 w 232"/>
                <a:gd name="T5" fmla="*/ 52 h 217"/>
                <a:gd name="T6" fmla="*/ 172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8" y="52"/>
                  </a:cubicBezTo>
                  <a:cubicBezTo>
                    <a:pt x="232" y="96"/>
                    <a:pt x="218" y="152"/>
                    <a:pt x="172" y="184"/>
                  </a:cubicBezTo>
                  <a:cubicBezTo>
                    <a:pt x="127" y="217"/>
                    <a:pt x="66" y="213"/>
                    <a:pt x="33" y="169"/>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94" name="Groupe 193">
              <a:extLst>
                <a:ext uri="{FF2B5EF4-FFF2-40B4-BE49-F238E27FC236}">
                  <a16:creationId xmlns:a16="http://schemas.microsoft.com/office/drawing/2014/main" id="{A298C992-C846-4B88-B478-B691C9D016A8}"/>
                </a:ext>
              </a:extLst>
            </p:cNvPr>
            <p:cNvGrpSpPr/>
            <p:nvPr/>
          </p:nvGrpSpPr>
          <p:grpSpPr>
            <a:xfrm>
              <a:off x="3979863" y="3941763"/>
              <a:ext cx="409575" cy="319088"/>
              <a:chOff x="3979863" y="3941763"/>
              <a:chExt cx="409575" cy="319088"/>
            </a:xfrm>
          </p:grpSpPr>
          <p:sp>
            <p:nvSpPr>
              <p:cNvPr id="195" name="Freeform 201">
                <a:extLst>
                  <a:ext uri="{FF2B5EF4-FFF2-40B4-BE49-F238E27FC236}">
                    <a16:creationId xmlns:a16="http://schemas.microsoft.com/office/drawing/2014/main" id="{D780F9AC-AB20-43BD-9755-55C0B99D170D}"/>
                  </a:ext>
                </a:extLst>
              </p:cNvPr>
              <p:cNvSpPr>
                <a:spLocks noEditPoints="1"/>
              </p:cNvSpPr>
              <p:nvPr/>
            </p:nvSpPr>
            <p:spPr bwMode="auto">
              <a:xfrm>
                <a:off x="3979863" y="3941763"/>
                <a:ext cx="409575" cy="319088"/>
              </a:xfrm>
              <a:custGeom>
                <a:avLst/>
                <a:gdLst>
                  <a:gd name="T0" fmla="*/ 4 w 109"/>
                  <a:gd name="T1" fmla="*/ 1 h 85"/>
                  <a:gd name="T2" fmla="*/ 0 w 109"/>
                  <a:gd name="T3" fmla="*/ 1 h 85"/>
                  <a:gd name="T4" fmla="*/ 39 w 109"/>
                  <a:gd name="T5" fmla="*/ 40 h 85"/>
                  <a:gd name="T6" fmla="*/ 42 w 109"/>
                  <a:gd name="T7" fmla="*/ 40 h 85"/>
                  <a:gd name="T8" fmla="*/ 54 w 109"/>
                  <a:gd name="T9" fmla="*/ 30 h 85"/>
                  <a:gd name="T10" fmla="*/ 38 w 109"/>
                  <a:gd name="T11" fmla="*/ 14 h 85"/>
                  <a:gd name="T12" fmla="*/ 4 w 109"/>
                  <a:gd name="T13" fmla="*/ 1 h 85"/>
                  <a:gd name="T14" fmla="*/ 65 w 109"/>
                  <a:gd name="T15" fmla="*/ 42 h 85"/>
                  <a:gd name="T16" fmla="*/ 65 w 109"/>
                  <a:gd name="T17" fmla="*/ 41 h 85"/>
                  <a:gd name="T18" fmla="*/ 65 w 109"/>
                  <a:gd name="T19" fmla="*/ 40 h 85"/>
                  <a:gd name="T20" fmla="*/ 64 w 109"/>
                  <a:gd name="T21" fmla="*/ 39 h 85"/>
                  <a:gd name="T22" fmla="*/ 63 w 109"/>
                  <a:gd name="T23" fmla="*/ 37 h 85"/>
                  <a:gd name="T24" fmla="*/ 62 w 109"/>
                  <a:gd name="T25" fmla="*/ 36 h 85"/>
                  <a:gd name="T26" fmla="*/ 62 w 109"/>
                  <a:gd name="T27" fmla="*/ 36 h 85"/>
                  <a:gd name="T28" fmla="*/ 62 w 109"/>
                  <a:gd name="T29" fmla="*/ 35 h 85"/>
                  <a:gd name="T30" fmla="*/ 60 w 109"/>
                  <a:gd name="T31" fmla="*/ 34 h 85"/>
                  <a:gd name="T32" fmla="*/ 60 w 109"/>
                  <a:gd name="T33" fmla="*/ 34 h 85"/>
                  <a:gd name="T34" fmla="*/ 60 w 109"/>
                  <a:gd name="T35" fmla="*/ 34 h 85"/>
                  <a:gd name="T36" fmla="*/ 55 w 109"/>
                  <a:gd name="T37" fmla="*/ 33 h 85"/>
                  <a:gd name="T38" fmla="*/ 44 w 109"/>
                  <a:gd name="T39" fmla="*/ 42 h 85"/>
                  <a:gd name="T40" fmla="*/ 44 w 109"/>
                  <a:gd name="T41" fmla="*/ 43 h 85"/>
                  <a:gd name="T42" fmla="*/ 44 w 109"/>
                  <a:gd name="T43" fmla="*/ 44 h 85"/>
                  <a:gd name="T44" fmla="*/ 45 w 109"/>
                  <a:gd name="T45" fmla="*/ 46 h 85"/>
                  <a:gd name="T46" fmla="*/ 45 w 109"/>
                  <a:gd name="T47" fmla="*/ 47 h 85"/>
                  <a:gd name="T48" fmla="*/ 46 w 109"/>
                  <a:gd name="T49" fmla="*/ 49 h 85"/>
                  <a:gd name="T50" fmla="*/ 46 w 109"/>
                  <a:gd name="T51" fmla="*/ 49 h 85"/>
                  <a:gd name="T52" fmla="*/ 47 w 109"/>
                  <a:gd name="T53" fmla="*/ 49 h 85"/>
                  <a:gd name="T54" fmla="*/ 47 w 109"/>
                  <a:gd name="T55" fmla="*/ 50 h 85"/>
                  <a:gd name="T56" fmla="*/ 47 w 109"/>
                  <a:gd name="T57" fmla="*/ 50 h 85"/>
                  <a:gd name="T58" fmla="*/ 49 w 109"/>
                  <a:gd name="T59" fmla="*/ 51 h 85"/>
                  <a:gd name="T60" fmla="*/ 50 w 109"/>
                  <a:gd name="T61" fmla="*/ 52 h 85"/>
                  <a:gd name="T62" fmla="*/ 52 w 109"/>
                  <a:gd name="T63" fmla="*/ 53 h 85"/>
                  <a:gd name="T64" fmla="*/ 52 w 109"/>
                  <a:gd name="T65" fmla="*/ 53 h 85"/>
                  <a:gd name="T66" fmla="*/ 55 w 109"/>
                  <a:gd name="T67" fmla="*/ 53 h 85"/>
                  <a:gd name="T68" fmla="*/ 65 w 109"/>
                  <a:gd name="T69" fmla="*/ 44 h 85"/>
                  <a:gd name="T70" fmla="*/ 65 w 109"/>
                  <a:gd name="T71" fmla="*/ 43 h 85"/>
                  <a:gd name="T72" fmla="*/ 65 w 109"/>
                  <a:gd name="T73" fmla="*/ 43 h 85"/>
                  <a:gd name="T74" fmla="*/ 65 w 109"/>
                  <a:gd name="T75" fmla="*/ 42 h 85"/>
                  <a:gd name="T76" fmla="*/ 55 w 109"/>
                  <a:gd name="T77" fmla="*/ 49 h 85"/>
                  <a:gd name="T78" fmla="*/ 49 w 109"/>
                  <a:gd name="T79" fmla="*/ 43 h 85"/>
                  <a:gd name="T80" fmla="*/ 55 w 109"/>
                  <a:gd name="T81" fmla="*/ 37 h 85"/>
                  <a:gd name="T82" fmla="*/ 60 w 109"/>
                  <a:gd name="T83" fmla="*/ 43 h 85"/>
                  <a:gd name="T84" fmla="*/ 55 w 109"/>
                  <a:gd name="T85" fmla="*/ 49 h 85"/>
                  <a:gd name="T86" fmla="*/ 71 w 109"/>
                  <a:gd name="T87" fmla="*/ 46 h 85"/>
                  <a:gd name="T88" fmla="*/ 68 w 109"/>
                  <a:gd name="T89" fmla="*/ 45 h 85"/>
                  <a:gd name="T90" fmla="*/ 55 w 109"/>
                  <a:gd name="T91" fmla="*/ 56 h 85"/>
                  <a:gd name="T92" fmla="*/ 73 w 109"/>
                  <a:gd name="T93" fmla="*/ 74 h 85"/>
                  <a:gd name="T94" fmla="*/ 98 w 109"/>
                  <a:gd name="T95" fmla="*/ 85 h 85"/>
                  <a:gd name="T96" fmla="*/ 109 w 109"/>
                  <a:gd name="T97" fmla="*/ 85 h 85"/>
                  <a:gd name="T98" fmla="*/ 71 w 109"/>
                  <a:gd name="T99" fmla="*/ 4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 h="85">
                    <a:moveTo>
                      <a:pt x="4" y="1"/>
                    </a:moveTo>
                    <a:cubicBezTo>
                      <a:pt x="2" y="1"/>
                      <a:pt x="0" y="1"/>
                      <a:pt x="0" y="1"/>
                    </a:cubicBezTo>
                    <a:cubicBezTo>
                      <a:pt x="39" y="40"/>
                      <a:pt x="39" y="40"/>
                      <a:pt x="39" y="40"/>
                    </a:cubicBezTo>
                    <a:cubicBezTo>
                      <a:pt x="42" y="40"/>
                      <a:pt x="42" y="40"/>
                      <a:pt x="42" y="40"/>
                    </a:cubicBezTo>
                    <a:cubicBezTo>
                      <a:pt x="43" y="34"/>
                      <a:pt x="48" y="30"/>
                      <a:pt x="54" y="30"/>
                    </a:cubicBezTo>
                    <a:cubicBezTo>
                      <a:pt x="51" y="28"/>
                      <a:pt x="46" y="21"/>
                      <a:pt x="38" y="14"/>
                    </a:cubicBezTo>
                    <a:cubicBezTo>
                      <a:pt x="29" y="5"/>
                      <a:pt x="17" y="0"/>
                      <a:pt x="4" y="1"/>
                    </a:cubicBezTo>
                    <a:close/>
                    <a:moveTo>
                      <a:pt x="65" y="42"/>
                    </a:moveTo>
                    <a:cubicBezTo>
                      <a:pt x="65" y="42"/>
                      <a:pt x="65" y="41"/>
                      <a:pt x="65" y="41"/>
                    </a:cubicBezTo>
                    <a:cubicBezTo>
                      <a:pt x="65" y="41"/>
                      <a:pt x="65" y="40"/>
                      <a:pt x="65" y="40"/>
                    </a:cubicBezTo>
                    <a:cubicBezTo>
                      <a:pt x="64" y="40"/>
                      <a:pt x="64" y="39"/>
                      <a:pt x="64" y="39"/>
                    </a:cubicBezTo>
                    <a:cubicBezTo>
                      <a:pt x="64" y="38"/>
                      <a:pt x="64" y="38"/>
                      <a:pt x="63" y="37"/>
                    </a:cubicBezTo>
                    <a:cubicBezTo>
                      <a:pt x="63" y="37"/>
                      <a:pt x="63" y="37"/>
                      <a:pt x="62" y="36"/>
                    </a:cubicBezTo>
                    <a:cubicBezTo>
                      <a:pt x="62" y="36"/>
                      <a:pt x="62" y="36"/>
                      <a:pt x="62" y="36"/>
                    </a:cubicBezTo>
                    <a:cubicBezTo>
                      <a:pt x="62" y="36"/>
                      <a:pt x="62" y="35"/>
                      <a:pt x="62" y="35"/>
                    </a:cubicBezTo>
                    <a:cubicBezTo>
                      <a:pt x="61" y="35"/>
                      <a:pt x="61" y="35"/>
                      <a:pt x="60" y="34"/>
                    </a:cubicBezTo>
                    <a:cubicBezTo>
                      <a:pt x="60" y="34"/>
                      <a:pt x="60" y="34"/>
                      <a:pt x="60" y="34"/>
                    </a:cubicBezTo>
                    <a:cubicBezTo>
                      <a:pt x="60" y="34"/>
                      <a:pt x="60" y="34"/>
                      <a:pt x="60" y="34"/>
                    </a:cubicBezTo>
                    <a:cubicBezTo>
                      <a:pt x="58" y="33"/>
                      <a:pt x="57" y="33"/>
                      <a:pt x="55" y="33"/>
                    </a:cubicBezTo>
                    <a:cubicBezTo>
                      <a:pt x="49" y="33"/>
                      <a:pt x="45" y="37"/>
                      <a:pt x="44" y="42"/>
                    </a:cubicBezTo>
                    <a:cubicBezTo>
                      <a:pt x="44" y="42"/>
                      <a:pt x="44" y="43"/>
                      <a:pt x="44" y="43"/>
                    </a:cubicBezTo>
                    <a:cubicBezTo>
                      <a:pt x="44" y="43"/>
                      <a:pt x="44" y="44"/>
                      <a:pt x="44" y="44"/>
                    </a:cubicBezTo>
                    <a:cubicBezTo>
                      <a:pt x="45" y="45"/>
                      <a:pt x="45" y="45"/>
                      <a:pt x="45" y="46"/>
                    </a:cubicBezTo>
                    <a:cubicBezTo>
                      <a:pt x="45" y="46"/>
                      <a:pt x="45" y="47"/>
                      <a:pt x="45" y="47"/>
                    </a:cubicBezTo>
                    <a:cubicBezTo>
                      <a:pt x="45" y="48"/>
                      <a:pt x="46" y="48"/>
                      <a:pt x="46" y="49"/>
                    </a:cubicBezTo>
                    <a:cubicBezTo>
                      <a:pt x="46" y="49"/>
                      <a:pt x="46" y="49"/>
                      <a:pt x="46" y="49"/>
                    </a:cubicBezTo>
                    <a:cubicBezTo>
                      <a:pt x="46" y="49"/>
                      <a:pt x="47" y="49"/>
                      <a:pt x="47" y="49"/>
                    </a:cubicBezTo>
                    <a:cubicBezTo>
                      <a:pt x="47" y="50"/>
                      <a:pt x="47" y="50"/>
                      <a:pt x="47" y="50"/>
                    </a:cubicBezTo>
                    <a:cubicBezTo>
                      <a:pt x="47" y="50"/>
                      <a:pt x="47" y="50"/>
                      <a:pt x="47" y="50"/>
                    </a:cubicBezTo>
                    <a:cubicBezTo>
                      <a:pt x="48" y="51"/>
                      <a:pt x="48" y="51"/>
                      <a:pt x="49" y="51"/>
                    </a:cubicBezTo>
                    <a:cubicBezTo>
                      <a:pt x="49" y="52"/>
                      <a:pt x="50" y="52"/>
                      <a:pt x="50" y="52"/>
                    </a:cubicBezTo>
                    <a:cubicBezTo>
                      <a:pt x="50" y="52"/>
                      <a:pt x="51" y="53"/>
                      <a:pt x="52" y="53"/>
                    </a:cubicBezTo>
                    <a:cubicBezTo>
                      <a:pt x="52" y="53"/>
                      <a:pt x="52" y="53"/>
                      <a:pt x="52" y="53"/>
                    </a:cubicBezTo>
                    <a:cubicBezTo>
                      <a:pt x="53" y="53"/>
                      <a:pt x="54" y="53"/>
                      <a:pt x="55" y="53"/>
                    </a:cubicBezTo>
                    <a:cubicBezTo>
                      <a:pt x="60" y="53"/>
                      <a:pt x="64" y="49"/>
                      <a:pt x="65" y="44"/>
                    </a:cubicBezTo>
                    <a:cubicBezTo>
                      <a:pt x="65" y="44"/>
                      <a:pt x="65" y="43"/>
                      <a:pt x="65" y="43"/>
                    </a:cubicBezTo>
                    <a:cubicBezTo>
                      <a:pt x="65" y="43"/>
                      <a:pt x="65" y="43"/>
                      <a:pt x="65" y="43"/>
                    </a:cubicBezTo>
                    <a:cubicBezTo>
                      <a:pt x="65" y="43"/>
                      <a:pt x="65" y="42"/>
                      <a:pt x="65" y="42"/>
                    </a:cubicBezTo>
                    <a:close/>
                    <a:moveTo>
                      <a:pt x="55" y="49"/>
                    </a:moveTo>
                    <a:cubicBezTo>
                      <a:pt x="52" y="49"/>
                      <a:pt x="49" y="46"/>
                      <a:pt x="49" y="43"/>
                    </a:cubicBezTo>
                    <a:cubicBezTo>
                      <a:pt x="49" y="40"/>
                      <a:pt x="52" y="37"/>
                      <a:pt x="55" y="37"/>
                    </a:cubicBezTo>
                    <a:cubicBezTo>
                      <a:pt x="58" y="37"/>
                      <a:pt x="60" y="40"/>
                      <a:pt x="60" y="43"/>
                    </a:cubicBezTo>
                    <a:cubicBezTo>
                      <a:pt x="60" y="46"/>
                      <a:pt x="58" y="49"/>
                      <a:pt x="55" y="49"/>
                    </a:cubicBezTo>
                    <a:close/>
                    <a:moveTo>
                      <a:pt x="71" y="46"/>
                    </a:moveTo>
                    <a:cubicBezTo>
                      <a:pt x="68" y="45"/>
                      <a:pt x="68" y="45"/>
                      <a:pt x="68" y="45"/>
                    </a:cubicBezTo>
                    <a:cubicBezTo>
                      <a:pt x="66" y="51"/>
                      <a:pt x="61" y="56"/>
                      <a:pt x="55" y="56"/>
                    </a:cubicBezTo>
                    <a:cubicBezTo>
                      <a:pt x="58" y="57"/>
                      <a:pt x="73" y="74"/>
                      <a:pt x="73" y="74"/>
                    </a:cubicBezTo>
                    <a:cubicBezTo>
                      <a:pt x="80" y="81"/>
                      <a:pt x="89" y="85"/>
                      <a:pt x="98" y="85"/>
                    </a:cubicBezTo>
                    <a:cubicBezTo>
                      <a:pt x="109" y="85"/>
                      <a:pt x="109" y="85"/>
                      <a:pt x="109" y="85"/>
                    </a:cubicBezTo>
                    <a:lnTo>
                      <a:pt x="71" y="4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02">
                <a:extLst>
                  <a:ext uri="{FF2B5EF4-FFF2-40B4-BE49-F238E27FC236}">
                    <a16:creationId xmlns:a16="http://schemas.microsoft.com/office/drawing/2014/main" id="{EA6605F3-6D1D-4ABA-9E07-CF1A7AA9F48F}"/>
                  </a:ext>
                </a:extLst>
              </p:cNvPr>
              <p:cNvSpPr>
                <a:spLocks/>
              </p:cNvSpPr>
              <p:nvPr/>
            </p:nvSpPr>
            <p:spPr bwMode="auto">
              <a:xfrm>
                <a:off x="4092576" y="4121151"/>
                <a:ext cx="74613" cy="76200"/>
              </a:xfrm>
              <a:custGeom>
                <a:avLst/>
                <a:gdLst>
                  <a:gd name="T0" fmla="*/ 20 w 20"/>
                  <a:gd name="T1" fmla="*/ 20 h 20"/>
                  <a:gd name="T2" fmla="*/ 0 w 20"/>
                  <a:gd name="T3" fmla="*/ 0 h 20"/>
                </a:gdLst>
                <a:ahLst/>
                <a:cxnLst>
                  <a:cxn ang="0">
                    <a:pos x="T0" y="T1"/>
                  </a:cxn>
                  <a:cxn ang="0">
                    <a:pos x="T2" y="T3"/>
                  </a:cxn>
                </a:cxnLst>
                <a:rect l="0" t="0" r="r" b="b"/>
                <a:pathLst>
                  <a:path w="20" h="20">
                    <a:moveTo>
                      <a:pt x="20" y="20"/>
                    </a:moveTo>
                    <a:cubicBezTo>
                      <a:pt x="9" y="20"/>
                      <a:pt x="0" y="11"/>
                      <a:pt x="0" y="0"/>
                    </a:cubicBezTo>
                  </a:path>
                </a:pathLst>
              </a:custGeom>
              <a:noFill/>
              <a:ln w="1905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7" name="Freeform 203">
                <a:extLst>
                  <a:ext uri="{FF2B5EF4-FFF2-40B4-BE49-F238E27FC236}">
                    <a16:creationId xmlns:a16="http://schemas.microsoft.com/office/drawing/2014/main" id="{DE238E60-E77D-42DD-9EE8-4297F1B1D714}"/>
                  </a:ext>
                </a:extLst>
              </p:cNvPr>
              <p:cNvSpPr>
                <a:spLocks/>
              </p:cNvSpPr>
              <p:nvPr/>
            </p:nvSpPr>
            <p:spPr bwMode="auto">
              <a:xfrm>
                <a:off x="4051301" y="4117976"/>
                <a:ext cx="120650" cy="120650"/>
              </a:xfrm>
              <a:custGeom>
                <a:avLst/>
                <a:gdLst>
                  <a:gd name="T0" fmla="*/ 32 w 32"/>
                  <a:gd name="T1" fmla="*/ 32 h 32"/>
                  <a:gd name="T2" fmla="*/ 0 w 32"/>
                  <a:gd name="T3" fmla="*/ 0 h 32"/>
                </a:gdLst>
                <a:ahLst/>
                <a:cxnLst>
                  <a:cxn ang="0">
                    <a:pos x="T0" y="T1"/>
                  </a:cxn>
                  <a:cxn ang="0">
                    <a:pos x="T2" y="T3"/>
                  </a:cxn>
                </a:cxnLst>
                <a:rect l="0" t="0" r="r" b="b"/>
                <a:pathLst>
                  <a:path w="32" h="32">
                    <a:moveTo>
                      <a:pt x="32" y="32"/>
                    </a:moveTo>
                    <a:cubicBezTo>
                      <a:pt x="14" y="32"/>
                      <a:pt x="0" y="18"/>
                      <a:pt x="0" y="0"/>
                    </a:cubicBezTo>
                  </a:path>
                </a:pathLst>
              </a:custGeom>
              <a:noFill/>
              <a:ln w="1905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10" name="Groupe 209">
            <a:extLst>
              <a:ext uri="{FF2B5EF4-FFF2-40B4-BE49-F238E27FC236}">
                <a16:creationId xmlns:a16="http://schemas.microsoft.com/office/drawing/2014/main" id="{9BF6F7CE-193D-45A4-B566-A87A1B7F2FAA}"/>
              </a:ext>
              <a:ext uri="{C183D7F6-B498-43B3-948B-1728B52AA6E4}">
                <adec:decorative xmlns:adec="http://schemas.microsoft.com/office/drawing/2017/decorative" val="1"/>
              </a:ext>
            </a:extLst>
          </p:cNvPr>
          <p:cNvGrpSpPr>
            <a:grpSpLocks noChangeAspect="1"/>
          </p:cNvGrpSpPr>
          <p:nvPr/>
        </p:nvGrpSpPr>
        <p:grpSpPr>
          <a:xfrm>
            <a:off x="1195395" y="2795400"/>
            <a:ext cx="679210" cy="633600"/>
            <a:chOff x="4081812" y="225514"/>
            <a:chExt cx="874713" cy="815975"/>
          </a:xfrm>
        </p:grpSpPr>
        <p:sp>
          <p:nvSpPr>
            <p:cNvPr id="211" name="Freeform 194">
              <a:extLst>
                <a:ext uri="{FF2B5EF4-FFF2-40B4-BE49-F238E27FC236}">
                  <a16:creationId xmlns:a16="http://schemas.microsoft.com/office/drawing/2014/main" id="{96B7F5F8-6CBD-4F0E-BB19-A33718729E90}"/>
                </a:ext>
              </a:extLst>
            </p:cNvPr>
            <p:cNvSpPr>
              <a:spLocks/>
            </p:cNvSpPr>
            <p:nvPr/>
          </p:nvSpPr>
          <p:spPr bwMode="auto">
            <a:xfrm>
              <a:off x="4081812" y="225514"/>
              <a:ext cx="874713" cy="815975"/>
            </a:xfrm>
            <a:custGeom>
              <a:avLst/>
              <a:gdLst>
                <a:gd name="T0" fmla="*/ 34 w 233"/>
                <a:gd name="T1" fmla="*/ 170 h 217"/>
                <a:gd name="T2" fmla="*/ 56 w 233"/>
                <a:gd name="T3" fmla="*/ 32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3"/>
                  </a:cubicBezTo>
                  <a:cubicBezTo>
                    <a:pt x="233" y="96"/>
                    <a:pt x="219" y="152"/>
                    <a:pt x="173" y="185"/>
                  </a:cubicBezTo>
                  <a:cubicBezTo>
                    <a:pt x="127"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12" name="Groupe 211">
              <a:extLst>
                <a:ext uri="{FF2B5EF4-FFF2-40B4-BE49-F238E27FC236}">
                  <a16:creationId xmlns:a16="http://schemas.microsoft.com/office/drawing/2014/main" id="{96235BFA-259A-477B-84B9-3508003C610F}"/>
                </a:ext>
              </a:extLst>
            </p:cNvPr>
            <p:cNvGrpSpPr/>
            <p:nvPr/>
          </p:nvGrpSpPr>
          <p:grpSpPr>
            <a:xfrm>
              <a:off x="4340225" y="433388"/>
              <a:ext cx="333375" cy="376237"/>
              <a:chOff x="4340225" y="433388"/>
              <a:chExt cx="333375" cy="376237"/>
            </a:xfrm>
          </p:grpSpPr>
          <p:sp>
            <p:nvSpPr>
              <p:cNvPr id="213" name="Freeform 232">
                <a:extLst>
                  <a:ext uri="{FF2B5EF4-FFF2-40B4-BE49-F238E27FC236}">
                    <a16:creationId xmlns:a16="http://schemas.microsoft.com/office/drawing/2014/main" id="{2A0B8BB7-0998-4657-B70D-98C4F051C7BA}"/>
                  </a:ext>
                </a:extLst>
              </p:cNvPr>
              <p:cNvSpPr>
                <a:spLocks/>
              </p:cNvSpPr>
              <p:nvPr/>
            </p:nvSpPr>
            <p:spPr bwMode="auto">
              <a:xfrm>
                <a:off x="4557713" y="523875"/>
                <a:ext cx="30163" cy="66675"/>
              </a:xfrm>
              <a:custGeom>
                <a:avLst/>
                <a:gdLst>
                  <a:gd name="T0" fmla="*/ 3 w 8"/>
                  <a:gd name="T1" fmla="*/ 18 h 18"/>
                  <a:gd name="T2" fmla="*/ 1 w 8"/>
                  <a:gd name="T3" fmla="*/ 17 h 18"/>
                  <a:gd name="T4" fmla="*/ 1 w 8"/>
                  <a:gd name="T5" fmla="*/ 14 h 18"/>
                  <a:gd name="T6" fmla="*/ 2 w 8"/>
                  <a:gd name="T7" fmla="*/ 7 h 18"/>
                  <a:gd name="T8" fmla="*/ 1 w 8"/>
                  <a:gd name="T9" fmla="*/ 6 h 18"/>
                  <a:gd name="T10" fmla="*/ 1 w 8"/>
                  <a:gd name="T11" fmla="*/ 5 h 18"/>
                  <a:gd name="T12" fmla="*/ 1 w 8"/>
                  <a:gd name="T13" fmla="*/ 1 h 18"/>
                  <a:gd name="T14" fmla="*/ 5 w 8"/>
                  <a:gd name="T15" fmla="*/ 1 h 18"/>
                  <a:gd name="T16" fmla="*/ 6 w 8"/>
                  <a:gd name="T17" fmla="*/ 3 h 18"/>
                  <a:gd name="T18" fmla="*/ 6 w 8"/>
                  <a:gd name="T19" fmla="*/ 4 h 18"/>
                  <a:gd name="T20" fmla="*/ 7 w 8"/>
                  <a:gd name="T21" fmla="*/ 5 h 18"/>
                  <a:gd name="T22" fmla="*/ 5 w 8"/>
                  <a:gd name="T23" fmla="*/ 17 h 18"/>
                  <a:gd name="T24" fmla="*/ 3 w 8"/>
                  <a:gd name="T2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8">
                    <a:moveTo>
                      <a:pt x="3" y="18"/>
                    </a:moveTo>
                    <a:cubicBezTo>
                      <a:pt x="2" y="18"/>
                      <a:pt x="2" y="18"/>
                      <a:pt x="1" y="17"/>
                    </a:cubicBezTo>
                    <a:cubicBezTo>
                      <a:pt x="0" y="16"/>
                      <a:pt x="0" y="15"/>
                      <a:pt x="1" y="14"/>
                    </a:cubicBezTo>
                    <a:cubicBezTo>
                      <a:pt x="2" y="12"/>
                      <a:pt x="3" y="10"/>
                      <a:pt x="2" y="7"/>
                    </a:cubicBezTo>
                    <a:cubicBezTo>
                      <a:pt x="2" y="6"/>
                      <a:pt x="2" y="6"/>
                      <a:pt x="1" y="6"/>
                    </a:cubicBezTo>
                    <a:cubicBezTo>
                      <a:pt x="1" y="5"/>
                      <a:pt x="1" y="5"/>
                      <a:pt x="1" y="5"/>
                    </a:cubicBezTo>
                    <a:cubicBezTo>
                      <a:pt x="0" y="4"/>
                      <a:pt x="0" y="2"/>
                      <a:pt x="1" y="1"/>
                    </a:cubicBezTo>
                    <a:cubicBezTo>
                      <a:pt x="2" y="0"/>
                      <a:pt x="4" y="0"/>
                      <a:pt x="5" y="1"/>
                    </a:cubicBezTo>
                    <a:cubicBezTo>
                      <a:pt x="5" y="2"/>
                      <a:pt x="5" y="3"/>
                      <a:pt x="6" y="3"/>
                    </a:cubicBezTo>
                    <a:cubicBezTo>
                      <a:pt x="6" y="3"/>
                      <a:pt x="6" y="4"/>
                      <a:pt x="6" y="4"/>
                    </a:cubicBezTo>
                    <a:cubicBezTo>
                      <a:pt x="7" y="4"/>
                      <a:pt x="7" y="5"/>
                      <a:pt x="7" y="5"/>
                    </a:cubicBezTo>
                    <a:cubicBezTo>
                      <a:pt x="8" y="9"/>
                      <a:pt x="7" y="14"/>
                      <a:pt x="5" y="17"/>
                    </a:cubicBezTo>
                    <a:cubicBezTo>
                      <a:pt x="4" y="18"/>
                      <a:pt x="3" y="18"/>
                      <a:pt x="3" y="1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33">
                <a:extLst>
                  <a:ext uri="{FF2B5EF4-FFF2-40B4-BE49-F238E27FC236}">
                    <a16:creationId xmlns:a16="http://schemas.microsoft.com/office/drawing/2014/main" id="{72F85CD5-119E-4409-B0CB-4F42D63C496F}"/>
                  </a:ext>
                </a:extLst>
              </p:cNvPr>
              <p:cNvSpPr>
                <a:spLocks/>
              </p:cNvSpPr>
              <p:nvPr/>
            </p:nvSpPr>
            <p:spPr bwMode="auto">
              <a:xfrm>
                <a:off x="4584700" y="482600"/>
                <a:ext cx="44450" cy="149225"/>
              </a:xfrm>
              <a:custGeom>
                <a:avLst/>
                <a:gdLst>
                  <a:gd name="T0" fmla="*/ 3 w 12"/>
                  <a:gd name="T1" fmla="*/ 40 h 40"/>
                  <a:gd name="T2" fmla="*/ 1 w 12"/>
                  <a:gd name="T3" fmla="*/ 39 h 40"/>
                  <a:gd name="T4" fmla="*/ 1 w 12"/>
                  <a:gd name="T5" fmla="*/ 36 h 40"/>
                  <a:gd name="T6" fmla="*/ 7 w 12"/>
                  <a:gd name="T7" fmla="*/ 20 h 40"/>
                  <a:gd name="T8" fmla="*/ 1 w 12"/>
                  <a:gd name="T9" fmla="*/ 5 h 40"/>
                  <a:gd name="T10" fmla="*/ 1 w 12"/>
                  <a:gd name="T11" fmla="*/ 1 h 40"/>
                  <a:gd name="T12" fmla="*/ 5 w 12"/>
                  <a:gd name="T13" fmla="*/ 1 h 40"/>
                  <a:gd name="T14" fmla="*/ 12 w 12"/>
                  <a:gd name="T15" fmla="*/ 20 h 40"/>
                  <a:gd name="T16" fmla="*/ 4 w 12"/>
                  <a:gd name="T17" fmla="*/ 39 h 40"/>
                  <a:gd name="T18" fmla="*/ 3 w 12"/>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0">
                    <a:moveTo>
                      <a:pt x="3" y="40"/>
                    </a:moveTo>
                    <a:cubicBezTo>
                      <a:pt x="2" y="40"/>
                      <a:pt x="1" y="40"/>
                      <a:pt x="1" y="39"/>
                    </a:cubicBezTo>
                    <a:cubicBezTo>
                      <a:pt x="0" y="38"/>
                      <a:pt x="0" y="37"/>
                      <a:pt x="1" y="36"/>
                    </a:cubicBezTo>
                    <a:cubicBezTo>
                      <a:pt x="5" y="32"/>
                      <a:pt x="7" y="26"/>
                      <a:pt x="7" y="20"/>
                    </a:cubicBezTo>
                    <a:cubicBezTo>
                      <a:pt x="7" y="13"/>
                      <a:pt x="4" y="8"/>
                      <a:pt x="1" y="5"/>
                    </a:cubicBezTo>
                    <a:cubicBezTo>
                      <a:pt x="0" y="4"/>
                      <a:pt x="0" y="2"/>
                      <a:pt x="1" y="1"/>
                    </a:cubicBezTo>
                    <a:cubicBezTo>
                      <a:pt x="2" y="0"/>
                      <a:pt x="4" y="0"/>
                      <a:pt x="5" y="1"/>
                    </a:cubicBezTo>
                    <a:cubicBezTo>
                      <a:pt x="8" y="5"/>
                      <a:pt x="12" y="12"/>
                      <a:pt x="12" y="20"/>
                    </a:cubicBezTo>
                    <a:cubicBezTo>
                      <a:pt x="12" y="27"/>
                      <a:pt x="9" y="35"/>
                      <a:pt x="4" y="39"/>
                    </a:cubicBezTo>
                    <a:cubicBezTo>
                      <a:pt x="4" y="40"/>
                      <a:pt x="3" y="40"/>
                      <a:pt x="3" y="4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234">
                <a:extLst>
                  <a:ext uri="{FF2B5EF4-FFF2-40B4-BE49-F238E27FC236}">
                    <a16:creationId xmlns:a16="http://schemas.microsoft.com/office/drawing/2014/main" id="{B7A1FCC7-57CF-47B2-BFE0-06F0F5D79078}"/>
                  </a:ext>
                </a:extLst>
              </p:cNvPr>
              <p:cNvSpPr>
                <a:spLocks/>
              </p:cNvSpPr>
              <p:nvPr/>
            </p:nvSpPr>
            <p:spPr bwMode="auto">
              <a:xfrm>
                <a:off x="4584700" y="433388"/>
                <a:ext cx="88900" cy="244475"/>
              </a:xfrm>
              <a:custGeom>
                <a:avLst/>
                <a:gdLst>
                  <a:gd name="T0" fmla="*/ 7 w 24"/>
                  <a:gd name="T1" fmla="*/ 65 h 65"/>
                  <a:gd name="T2" fmla="*/ 4 w 24"/>
                  <a:gd name="T3" fmla="*/ 64 h 65"/>
                  <a:gd name="T4" fmla="*/ 5 w 24"/>
                  <a:gd name="T5" fmla="*/ 61 h 65"/>
                  <a:gd name="T6" fmla="*/ 19 w 24"/>
                  <a:gd name="T7" fmla="*/ 34 h 65"/>
                  <a:gd name="T8" fmla="*/ 1 w 24"/>
                  <a:gd name="T9" fmla="*/ 5 h 65"/>
                  <a:gd name="T10" fmla="*/ 0 w 24"/>
                  <a:gd name="T11" fmla="*/ 1 h 65"/>
                  <a:gd name="T12" fmla="*/ 4 w 24"/>
                  <a:gd name="T13" fmla="*/ 0 h 65"/>
                  <a:gd name="T14" fmla="*/ 24 w 24"/>
                  <a:gd name="T15" fmla="*/ 34 h 65"/>
                  <a:gd name="T16" fmla="*/ 8 w 24"/>
                  <a:gd name="T17" fmla="*/ 65 h 65"/>
                  <a:gd name="T18" fmla="*/ 7 w 24"/>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65">
                    <a:moveTo>
                      <a:pt x="7" y="65"/>
                    </a:moveTo>
                    <a:cubicBezTo>
                      <a:pt x="6" y="65"/>
                      <a:pt x="5" y="65"/>
                      <a:pt x="4" y="64"/>
                    </a:cubicBezTo>
                    <a:cubicBezTo>
                      <a:pt x="4" y="63"/>
                      <a:pt x="4" y="62"/>
                      <a:pt x="5" y="61"/>
                    </a:cubicBezTo>
                    <a:cubicBezTo>
                      <a:pt x="14" y="54"/>
                      <a:pt x="19" y="45"/>
                      <a:pt x="19" y="34"/>
                    </a:cubicBezTo>
                    <a:cubicBezTo>
                      <a:pt x="19" y="22"/>
                      <a:pt x="13" y="11"/>
                      <a:pt x="1" y="5"/>
                    </a:cubicBezTo>
                    <a:cubicBezTo>
                      <a:pt x="0" y="4"/>
                      <a:pt x="0" y="2"/>
                      <a:pt x="0" y="1"/>
                    </a:cubicBezTo>
                    <a:cubicBezTo>
                      <a:pt x="1" y="0"/>
                      <a:pt x="3" y="0"/>
                      <a:pt x="4" y="0"/>
                    </a:cubicBezTo>
                    <a:cubicBezTo>
                      <a:pt x="17" y="8"/>
                      <a:pt x="24" y="20"/>
                      <a:pt x="24" y="34"/>
                    </a:cubicBezTo>
                    <a:cubicBezTo>
                      <a:pt x="24" y="46"/>
                      <a:pt x="18" y="58"/>
                      <a:pt x="8" y="65"/>
                    </a:cubicBezTo>
                    <a:cubicBezTo>
                      <a:pt x="8" y="65"/>
                      <a:pt x="7" y="65"/>
                      <a:pt x="7" y="6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235">
                <a:extLst>
                  <a:ext uri="{FF2B5EF4-FFF2-40B4-BE49-F238E27FC236}">
                    <a16:creationId xmlns:a16="http://schemas.microsoft.com/office/drawing/2014/main" id="{736046D7-54D7-4807-B8C7-4C1CF7E479CC}"/>
                  </a:ext>
                </a:extLst>
              </p:cNvPr>
              <p:cNvSpPr>
                <a:spLocks/>
              </p:cNvSpPr>
              <p:nvPr/>
            </p:nvSpPr>
            <p:spPr bwMode="auto">
              <a:xfrm>
                <a:off x="4425950" y="523875"/>
                <a:ext cx="30163" cy="66675"/>
              </a:xfrm>
              <a:custGeom>
                <a:avLst/>
                <a:gdLst>
                  <a:gd name="T0" fmla="*/ 5 w 8"/>
                  <a:gd name="T1" fmla="*/ 18 h 18"/>
                  <a:gd name="T2" fmla="*/ 3 w 8"/>
                  <a:gd name="T3" fmla="*/ 17 h 18"/>
                  <a:gd name="T4" fmla="*/ 1 w 8"/>
                  <a:gd name="T5" fmla="*/ 5 h 18"/>
                  <a:gd name="T6" fmla="*/ 2 w 8"/>
                  <a:gd name="T7" fmla="*/ 4 h 18"/>
                  <a:gd name="T8" fmla="*/ 2 w 8"/>
                  <a:gd name="T9" fmla="*/ 4 h 18"/>
                  <a:gd name="T10" fmla="*/ 4 w 8"/>
                  <a:gd name="T11" fmla="*/ 1 h 18"/>
                  <a:gd name="T12" fmla="*/ 8 w 8"/>
                  <a:gd name="T13" fmla="*/ 2 h 18"/>
                  <a:gd name="T14" fmla="*/ 7 w 8"/>
                  <a:gd name="T15" fmla="*/ 5 h 18"/>
                  <a:gd name="T16" fmla="*/ 7 w 8"/>
                  <a:gd name="T17" fmla="*/ 6 h 18"/>
                  <a:gd name="T18" fmla="*/ 6 w 8"/>
                  <a:gd name="T19" fmla="*/ 7 h 18"/>
                  <a:gd name="T20" fmla="*/ 7 w 8"/>
                  <a:gd name="T21" fmla="*/ 14 h 18"/>
                  <a:gd name="T22" fmla="*/ 6 w 8"/>
                  <a:gd name="T23" fmla="*/ 18 h 18"/>
                  <a:gd name="T24" fmla="*/ 5 w 8"/>
                  <a:gd name="T2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8">
                    <a:moveTo>
                      <a:pt x="5" y="18"/>
                    </a:moveTo>
                    <a:cubicBezTo>
                      <a:pt x="4" y="18"/>
                      <a:pt x="3" y="18"/>
                      <a:pt x="3" y="17"/>
                    </a:cubicBezTo>
                    <a:cubicBezTo>
                      <a:pt x="1" y="14"/>
                      <a:pt x="0" y="9"/>
                      <a:pt x="1" y="5"/>
                    </a:cubicBezTo>
                    <a:cubicBezTo>
                      <a:pt x="1" y="5"/>
                      <a:pt x="2" y="4"/>
                      <a:pt x="2" y="4"/>
                    </a:cubicBezTo>
                    <a:cubicBezTo>
                      <a:pt x="2" y="4"/>
                      <a:pt x="2" y="4"/>
                      <a:pt x="2" y="4"/>
                    </a:cubicBezTo>
                    <a:cubicBezTo>
                      <a:pt x="2" y="3"/>
                      <a:pt x="3" y="2"/>
                      <a:pt x="4" y="1"/>
                    </a:cubicBezTo>
                    <a:cubicBezTo>
                      <a:pt x="5" y="0"/>
                      <a:pt x="7" y="1"/>
                      <a:pt x="8" y="2"/>
                    </a:cubicBezTo>
                    <a:cubicBezTo>
                      <a:pt x="8" y="3"/>
                      <a:pt x="8" y="5"/>
                      <a:pt x="7" y="5"/>
                    </a:cubicBezTo>
                    <a:cubicBezTo>
                      <a:pt x="7" y="5"/>
                      <a:pt x="7" y="6"/>
                      <a:pt x="7" y="6"/>
                    </a:cubicBezTo>
                    <a:cubicBezTo>
                      <a:pt x="6" y="6"/>
                      <a:pt x="6" y="6"/>
                      <a:pt x="6" y="7"/>
                    </a:cubicBezTo>
                    <a:cubicBezTo>
                      <a:pt x="5" y="9"/>
                      <a:pt x="6" y="12"/>
                      <a:pt x="7" y="14"/>
                    </a:cubicBezTo>
                    <a:cubicBezTo>
                      <a:pt x="8" y="15"/>
                      <a:pt x="7" y="17"/>
                      <a:pt x="6" y="18"/>
                    </a:cubicBezTo>
                    <a:cubicBezTo>
                      <a:pt x="6" y="18"/>
                      <a:pt x="5" y="18"/>
                      <a:pt x="5" y="1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236">
                <a:extLst>
                  <a:ext uri="{FF2B5EF4-FFF2-40B4-BE49-F238E27FC236}">
                    <a16:creationId xmlns:a16="http://schemas.microsoft.com/office/drawing/2014/main" id="{BA7AEBD1-1440-4B43-BA83-146224473AA1}"/>
                  </a:ext>
                </a:extLst>
              </p:cNvPr>
              <p:cNvSpPr>
                <a:spLocks/>
              </p:cNvSpPr>
              <p:nvPr/>
            </p:nvSpPr>
            <p:spPr bwMode="auto">
              <a:xfrm>
                <a:off x="4381500" y="482600"/>
                <a:ext cx="49213" cy="149225"/>
              </a:xfrm>
              <a:custGeom>
                <a:avLst/>
                <a:gdLst>
                  <a:gd name="T0" fmla="*/ 11 w 13"/>
                  <a:gd name="T1" fmla="*/ 40 h 40"/>
                  <a:gd name="T2" fmla="*/ 9 w 13"/>
                  <a:gd name="T3" fmla="*/ 40 h 40"/>
                  <a:gd name="T4" fmla="*/ 0 w 13"/>
                  <a:gd name="T5" fmla="*/ 20 h 40"/>
                  <a:gd name="T6" fmla="*/ 8 w 13"/>
                  <a:gd name="T7" fmla="*/ 1 h 40"/>
                  <a:gd name="T8" fmla="*/ 12 w 13"/>
                  <a:gd name="T9" fmla="*/ 1 h 40"/>
                  <a:gd name="T10" fmla="*/ 12 w 13"/>
                  <a:gd name="T11" fmla="*/ 5 h 40"/>
                  <a:gd name="T12" fmla="*/ 5 w 13"/>
                  <a:gd name="T13" fmla="*/ 20 h 40"/>
                  <a:gd name="T14" fmla="*/ 12 w 13"/>
                  <a:gd name="T15" fmla="*/ 35 h 40"/>
                  <a:gd name="T16" fmla="*/ 13 w 13"/>
                  <a:gd name="T17" fmla="*/ 39 h 40"/>
                  <a:gd name="T18" fmla="*/ 11 w 13"/>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40">
                    <a:moveTo>
                      <a:pt x="11" y="40"/>
                    </a:moveTo>
                    <a:cubicBezTo>
                      <a:pt x="10" y="40"/>
                      <a:pt x="9" y="40"/>
                      <a:pt x="9" y="40"/>
                    </a:cubicBezTo>
                    <a:cubicBezTo>
                      <a:pt x="3" y="35"/>
                      <a:pt x="0" y="28"/>
                      <a:pt x="0" y="20"/>
                    </a:cubicBezTo>
                    <a:cubicBezTo>
                      <a:pt x="0" y="13"/>
                      <a:pt x="3" y="7"/>
                      <a:pt x="8" y="1"/>
                    </a:cubicBezTo>
                    <a:cubicBezTo>
                      <a:pt x="9" y="0"/>
                      <a:pt x="11" y="0"/>
                      <a:pt x="12" y="1"/>
                    </a:cubicBezTo>
                    <a:cubicBezTo>
                      <a:pt x="13" y="2"/>
                      <a:pt x="13" y="4"/>
                      <a:pt x="12" y="5"/>
                    </a:cubicBezTo>
                    <a:cubicBezTo>
                      <a:pt x="7" y="9"/>
                      <a:pt x="5" y="15"/>
                      <a:pt x="5" y="20"/>
                    </a:cubicBezTo>
                    <a:cubicBezTo>
                      <a:pt x="5" y="27"/>
                      <a:pt x="8" y="32"/>
                      <a:pt x="12" y="35"/>
                    </a:cubicBezTo>
                    <a:cubicBezTo>
                      <a:pt x="13" y="36"/>
                      <a:pt x="13" y="38"/>
                      <a:pt x="13" y="39"/>
                    </a:cubicBezTo>
                    <a:cubicBezTo>
                      <a:pt x="12" y="40"/>
                      <a:pt x="11" y="40"/>
                      <a:pt x="11" y="4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237">
                <a:extLst>
                  <a:ext uri="{FF2B5EF4-FFF2-40B4-BE49-F238E27FC236}">
                    <a16:creationId xmlns:a16="http://schemas.microsoft.com/office/drawing/2014/main" id="{15515A7E-E30C-430C-876B-B674FD445FE0}"/>
                  </a:ext>
                </a:extLst>
              </p:cNvPr>
              <p:cNvSpPr>
                <a:spLocks/>
              </p:cNvSpPr>
              <p:nvPr/>
            </p:nvSpPr>
            <p:spPr bwMode="auto">
              <a:xfrm>
                <a:off x="4340225" y="433388"/>
                <a:ext cx="90488" cy="244475"/>
              </a:xfrm>
              <a:custGeom>
                <a:avLst/>
                <a:gdLst>
                  <a:gd name="T0" fmla="*/ 17 w 24"/>
                  <a:gd name="T1" fmla="*/ 65 h 65"/>
                  <a:gd name="T2" fmla="*/ 15 w 24"/>
                  <a:gd name="T3" fmla="*/ 65 h 65"/>
                  <a:gd name="T4" fmla="*/ 0 w 24"/>
                  <a:gd name="T5" fmla="*/ 34 h 65"/>
                  <a:gd name="T6" fmla="*/ 20 w 24"/>
                  <a:gd name="T7" fmla="*/ 0 h 65"/>
                  <a:gd name="T8" fmla="*/ 24 w 24"/>
                  <a:gd name="T9" fmla="*/ 1 h 65"/>
                  <a:gd name="T10" fmla="*/ 23 w 24"/>
                  <a:gd name="T11" fmla="*/ 5 h 65"/>
                  <a:gd name="T12" fmla="*/ 5 w 24"/>
                  <a:gd name="T13" fmla="*/ 34 h 65"/>
                  <a:gd name="T14" fmla="*/ 18 w 24"/>
                  <a:gd name="T15" fmla="*/ 61 h 65"/>
                  <a:gd name="T16" fmla="*/ 19 w 24"/>
                  <a:gd name="T17" fmla="*/ 64 h 65"/>
                  <a:gd name="T18" fmla="*/ 17 w 24"/>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65">
                    <a:moveTo>
                      <a:pt x="17" y="65"/>
                    </a:moveTo>
                    <a:cubicBezTo>
                      <a:pt x="16" y="65"/>
                      <a:pt x="16" y="65"/>
                      <a:pt x="15" y="65"/>
                    </a:cubicBezTo>
                    <a:cubicBezTo>
                      <a:pt x="6" y="57"/>
                      <a:pt x="0" y="46"/>
                      <a:pt x="0" y="34"/>
                    </a:cubicBezTo>
                    <a:cubicBezTo>
                      <a:pt x="0" y="20"/>
                      <a:pt x="7" y="8"/>
                      <a:pt x="20" y="0"/>
                    </a:cubicBezTo>
                    <a:cubicBezTo>
                      <a:pt x="21" y="0"/>
                      <a:pt x="23" y="0"/>
                      <a:pt x="24" y="1"/>
                    </a:cubicBezTo>
                    <a:cubicBezTo>
                      <a:pt x="24" y="2"/>
                      <a:pt x="24" y="4"/>
                      <a:pt x="23" y="5"/>
                    </a:cubicBezTo>
                    <a:cubicBezTo>
                      <a:pt x="11" y="11"/>
                      <a:pt x="5" y="22"/>
                      <a:pt x="5" y="34"/>
                    </a:cubicBezTo>
                    <a:cubicBezTo>
                      <a:pt x="5" y="44"/>
                      <a:pt x="10" y="54"/>
                      <a:pt x="18" y="61"/>
                    </a:cubicBezTo>
                    <a:cubicBezTo>
                      <a:pt x="20" y="62"/>
                      <a:pt x="20" y="63"/>
                      <a:pt x="19" y="64"/>
                    </a:cubicBezTo>
                    <a:cubicBezTo>
                      <a:pt x="18" y="65"/>
                      <a:pt x="18" y="65"/>
                      <a:pt x="17" y="6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238">
                <a:extLst>
                  <a:ext uri="{FF2B5EF4-FFF2-40B4-BE49-F238E27FC236}">
                    <a16:creationId xmlns:a16="http://schemas.microsoft.com/office/drawing/2014/main" id="{9C2ACFD0-C8D6-462C-8D6B-00BE3E2D182E}"/>
                  </a:ext>
                </a:extLst>
              </p:cNvPr>
              <p:cNvSpPr>
                <a:spLocks/>
              </p:cNvSpPr>
              <p:nvPr/>
            </p:nvSpPr>
            <p:spPr bwMode="auto">
              <a:xfrm>
                <a:off x="4497388" y="584200"/>
                <a:ext cx="19050" cy="225425"/>
              </a:xfrm>
              <a:custGeom>
                <a:avLst/>
                <a:gdLst>
                  <a:gd name="T0" fmla="*/ 3 w 5"/>
                  <a:gd name="T1" fmla="*/ 60 h 60"/>
                  <a:gd name="T2" fmla="*/ 0 w 5"/>
                  <a:gd name="T3" fmla="*/ 57 h 60"/>
                  <a:gd name="T4" fmla="*/ 0 w 5"/>
                  <a:gd name="T5" fmla="*/ 3 h 60"/>
                  <a:gd name="T6" fmla="*/ 3 w 5"/>
                  <a:gd name="T7" fmla="*/ 0 h 60"/>
                  <a:gd name="T8" fmla="*/ 5 w 5"/>
                  <a:gd name="T9" fmla="*/ 3 h 60"/>
                  <a:gd name="T10" fmla="*/ 5 w 5"/>
                  <a:gd name="T11" fmla="*/ 57 h 60"/>
                  <a:gd name="T12" fmla="*/ 3 w 5"/>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 h="60">
                    <a:moveTo>
                      <a:pt x="3" y="60"/>
                    </a:moveTo>
                    <a:cubicBezTo>
                      <a:pt x="1" y="60"/>
                      <a:pt x="0" y="59"/>
                      <a:pt x="0" y="57"/>
                    </a:cubicBezTo>
                    <a:cubicBezTo>
                      <a:pt x="0" y="3"/>
                      <a:pt x="0" y="3"/>
                      <a:pt x="0" y="3"/>
                    </a:cubicBezTo>
                    <a:cubicBezTo>
                      <a:pt x="0" y="1"/>
                      <a:pt x="1" y="0"/>
                      <a:pt x="3" y="0"/>
                    </a:cubicBezTo>
                    <a:cubicBezTo>
                      <a:pt x="4" y="0"/>
                      <a:pt x="5" y="1"/>
                      <a:pt x="5" y="3"/>
                    </a:cubicBezTo>
                    <a:cubicBezTo>
                      <a:pt x="5" y="57"/>
                      <a:pt x="5" y="57"/>
                      <a:pt x="5" y="57"/>
                    </a:cubicBezTo>
                    <a:cubicBezTo>
                      <a:pt x="5" y="59"/>
                      <a:pt x="4" y="60"/>
                      <a:pt x="3" y="6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239">
                <a:extLst>
                  <a:ext uri="{FF2B5EF4-FFF2-40B4-BE49-F238E27FC236}">
                    <a16:creationId xmlns:a16="http://schemas.microsoft.com/office/drawing/2014/main" id="{964FF674-1942-41B9-BC7E-BCEEF7831D3B}"/>
                  </a:ext>
                </a:extLst>
              </p:cNvPr>
              <p:cNvSpPr>
                <a:spLocks noChangeArrowheads="1"/>
              </p:cNvSpPr>
              <p:nvPr/>
            </p:nvSpPr>
            <p:spPr bwMode="auto">
              <a:xfrm>
                <a:off x="4475163" y="530225"/>
                <a:ext cx="63500" cy="60325"/>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e 10">
            <a:extLst>
              <a:ext uri="{FF2B5EF4-FFF2-40B4-BE49-F238E27FC236}">
                <a16:creationId xmlns:a16="http://schemas.microsoft.com/office/drawing/2014/main" id="{1B26DEA7-8D05-49E9-9CB3-E4EA81B93271}"/>
              </a:ext>
              <a:ext uri="{C183D7F6-B498-43B3-948B-1728B52AA6E4}">
                <adec:decorative xmlns:adec="http://schemas.microsoft.com/office/drawing/2017/decorative" val="1"/>
              </a:ext>
            </a:extLst>
          </p:cNvPr>
          <p:cNvGrpSpPr>
            <a:grpSpLocks noChangeAspect="1"/>
          </p:cNvGrpSpPr>
          <p:nvPr/>
        </p:nvGrpSpPr>
        <p:grpSpPr>
          <a:xfrm>
            <a:off x="3749044" y="2795400"/>
            <a:ext cx="677647" cy="633600"/>
            <a:chOff x="3381833" y="2781177"/>
            <a:chExt cx="770053" cy="720000"/>
          </a:xfrm>
        </p:grpSpPr>
        <p:sp>
          <p:nvSpPr>
            <p:cNvPr id="222" name="Freeform 234">
              <a:extLst>
                <a:ext uri="{FF2B5EF4-FFF2-40B4-BE49-F238E27FC236}">
                  <a16:creationId xmlns:a16="http://schemas.microsoft.com/office/drawing/2014/main" id="{667473A7-E4F7-4882-9A11-FC0450216630}"/>
                </a:ext>
              </a:extLst>
            </p:cNvPr>
            <p:cNvSpPr>
              <a:spLocks/>
            </p:cNvSpPr>
            <p:nvPr/>
          </p:nvSpPr>
          <p:spPr bwMode="auto">
            <a:xfrm>
              <a:off x="3381833" y="2781177"/>
              <a:ext cx="770053" cy="720000"/>
            </a:xfrm>
            <a:custGeom>
              <a:avLst/>
              <a:gdLst>
                <a:gd name="T0" fmla="*/ 36 w 254"/>
                <a:gd name="T1" fmla="*/ 185 h 237"/>
                <a:gd name="T2" fmla="*/ 62 w 254"/>
                <a:gd name="T3" fmla="*/ 35 h 237"/>
                <a:gd name="T4" fmla="*/ 218 w 254"/>
                <a:gd name="T5" fmla="*/ 56 h 237"/>
                <a:gd name="T6" fmla="*/ 190 w 254"/>
                <a:gd name="T7" fmla="*/ 201 h 237"/>
                <a:gd name="T8" fmla="*/ 36 w 254"/>
                <a:gd name="T9" fmla="*/ 185 h 237"/>
              </a:gdLst>
              <a:ahLst/>
              <a:cxnLst>
                <a:cxn ang="0">
                  <a:pos x="T0" y="T1"/>
                </a:cxn>
                <a:cxn ang="0">
                  <a:pos x="T2" y="T3"/>
                </a:cxn>
                <a:cxn ang="0">
                  <a:pos x="T4" y="T5"/>
                </a:cxn>
                <a:cxn ang="0">
                  <a:pos x="T6" y="T7"/>
                </a:cxn>
                <a:cxn ang="0">
                  <a:pos x="T8" y="T9"/>
                </a:cxn>
              </a:cxnLst>
              <a:rect l="0" t="0" r="r" b="b"/>
              <a:pathLst>
                <a:path w="254" h="237">
                  <a:moveTo>
                    <a:pt x="36" y="185"/>
                  </a:moveTo>
                  <a:cubicBezTo>
                    <a:pt x="0" y="137"/>
                    <a:pt x="11" y="71"/>
                    <a:pt x="62" y="35"/>
                  </a:cubicBezTo>
                  <a:cubicBezTo>
                    <a:pt x="111" y="0"/>
                    <a:pt x="181" y="9"/>
                    <a:pt x="218" y="56"/>
                  </a:cubicBezTo>
                  <a:cubicBezTo>
                    <a:pt x="254" y="104"/>
                    <a:pt x="239" y="166"/>
                    <a:pt x="190" y="201"/>
                  </a:cubicBezTo>
                  <a:cubicBezTo>
                    <a:pt x="139" y="237"/>
                    <a:pt x="74" y="232"/>
                    <a:pt x="36" y="185"/>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235">
              <a:extLst>
                <a:ext uri="{FF2B5EF4-FFF2-40B4-BE49-F238E27FC236}">
                  <a16:creationId xmlns:a16="http://schemas.microsoft.com/office/drawing/2014/main" id="{7B56DC75-D911-41EA-93E4-8D9FCBD6850D}"/>
                </a:ext>
              </a:extLst>
            </p:cNvPr>
            <p:cNvSpPr>
              <a:spLocks/>
            </p:cNvSpPr>
            <p:nvPr/>
          </p:nvSpPr>
          <p:spPr bwMode="auto">
            <a:xfrm>
              <a:off x="3606431" y="2991658"/>
              <a:ext cx="320855" cy="322139"/>
            </a:xfrm>
            <a:custGeom>
              <a:avLst/>
              <a:gdLst>
                <a:gd name="T0" fmla="*/ 17 w 106"/>
                <a:gd name="T1" fmla="*/ 3 h 106"/>
                <a:gd name="T2" fmla="*/ 20 w 106"/>
                <a:gd name="T3" fmla="*/ 6 h 106"/>
                <a:gd name="T4" fmla="*/ 24 w 106"/>
                <a:gd name="T5" fmla="*/ 9 h 106"/>
                <a:gd name="T6" fmla="*/ 26 w 106"/>
                <a:gd name="T7" fmla="*/ 12 h 106"/>
                <a:gd name="T8" fmla="*/ 30 w 106"/>
                <a:gd name="T9" fmla="*/ 15 h 106"/>
                <a:gd name="T10" fmla="*/ 33 w 106"/>
                <a:gd name="T11" fmla="*/ 18 h 106"/>
                <a:gd name="T12" fmla="*/ 36 w 106"/>
                <a:gd name="T13" fmla="*/ 21 h 106"/>
                <a:gd name="T14" fmla="*/ 39 w 106"/>
                <a:gd name="T15" fmla="*/ 24 h 106"/>
                <a:gd name="T16" fmla="*/ 38 w 106"/>
                <a:gd name="T17" fmla="*/ 30 h 106"/>
                <a:gd name="T18" fmla="*/ 29 w 106"/>
                <a:gd name="T19" fmla="*/ 42 h 106"/>
                <a:gd name="T20" fmla="*/ 31 w 106"/>
                <a:gd name="T21" fmla="*/ 47 h 106"/>
                <a:gd name="T22" fmla="*/ 34 w 106"/>
                <a:gd name="T23" fmla="*/ 50 h 106"/>
                <a:gd name="T24" fmla="*/ 37 w 106"/>
                <a:gd name="T25" fmla="*/ 53 h 106"/>
                <a:gd name="T26" fmla="*/ 40 w 106"/>
                <a:gd name="T27" fmla="*/ 56 h 106"/>
                <a:gd name="T28" fmla="*/ 43 w 106"/>
                <a:gd name="T29" fmla="*/ 60 h 106"/>
                <a:gd name="T30" fmla="*/ 46 w 106"/>
                <a:gd name="T31" fmla="*/ 62 h 106"/>
                <a:gd name="T32" fmla="*/ 50 w 106"/>
                <a:gd name="T33" fmla="*/ 66 h 106"/>
                <a:gd name="T34" fmla="*/ 53 w 106"/>
                <a:gd name="T35" fmla="*/ 69 h 106"/>
                <a:gd name="T36" fmla="*/ 57 w 106"/>
                <a:gd name="T37" fmla="*/ 72 h 106"/>
                <a:gd name="T38" fmla="*/ 60 w 106"/>
                <a:gd name="T39" fmla="*/ 74 h 106"/>
                <a:gd name="T40" fmla="*/ 64 w 106"/>
                <a:gd name="T41" fmla="*/ 77 h 106"/>
                <a:gd name="T42" fmla="*/ 70 w 106"/>
                <a:gd name="T43" fmla="*/ 76 h 106"/>
                <a:gd name="T44" fmla="*/ 73 w 106"/>
                <a:gd name="T45" fmla="*/ 72 h 106"/>
                <a:gd name="T46" fmla="*/ 76 w 106"/>
                <a:gd name="T47" fmla="*/ 69 h 106"/>
                <a:gd name="T48" fmla="*/ 82 w 106"/>
                <a:gd name="T49" fmla="*/ 67 h 106"/>
                <a:gd name="T50" fmla="*/ 85 w 106"/>
                <a:gd name="T51" fmla="*/ 70 h 106"/>
                <a:gd name="T52" fmla="*/ 88 w 106"/>
                <a:gd name="T53" fmla="*/ 73 h 106"/>
                <a:gd name="T54" fmla="*/ 91 w 106"/>
                <a:gd name="T55" fmla="*/ 76 h 106"/>
                <a:gd name="T56" fmla="*/ 94 w 106"/>
                <a:gd name="T57" fmla="*/ 80 h 106"/>
                <a:gd name="T58" fmla="*/ 97 w 106"/>
                <a:gd name="T59" fmla="*/ 82 h 106"/>
                <a:gd name="T60" fmla="*/ 100 w 106"/>
                <a:gd name="T61" fmla="*/ 86 h 106"/>
                <a:gd name="T62" fmla="*/ 103 w 106"/>
                <a:gd name="T63" fmla="*/ 89 h 106"/>
                <a:gd name="T64" fmla="*/ 102 w 106"/>
                <a:gd name="T65" fmla="*/ 97 h 106"/>
                <a:gd name="T66" fmla="*/ 102 w 106"/>
                <a:gd name="T67" fmla="*/ 98 h 106"/>
                <a:gd name="T68" fmla="*/ 101 w 106"/>
                <a:gd name="T69" fmla="*/ 98 h 106"/>
                <a:gd name="T70" fmla="*/ 71 w 106"/>
                <a:gd name="T71" fmla="*/ 104 h 106"/>
                <a:gd name="T72" fmla="*/ 67 w 106"/>
                <a:gd name="T73" fmla="*/ 103 h 106"/>
                <a:gd name="T74" fmla="*/ 62 w 106"/>
                <a:gd name="T75" fmla="*/ 101 h 106"/>
                <a:gd name="T76" fmla="*/ 58 w 106"/>
                <a:gd name="T77" fmla="*/ 99 h 106"/>
                <a:gd name="T78" fmla="*/ 54 w 106"/>
                <a:gd name="T79" fmla="*/ 96 h 106"/>
                <a:gd name="T80" fmla="*/ 50 w 106"/>
                <a:gd name="T81" fmla="*/ 94 h 106"/>
                <a:gd name="T82" fmla="*/ 46 w 106"/>
                <a:gd name="T83" fmla="*/ 91 h 106"/>
                <a:gd name="T84" fmla="*/ 43 w 106"/>
                <a:gd name="T85" fmla="*/ 89 h 106"/>
                <a:gd name="T86" fmla="*/ 39 w 106"/>
                <a:gd name="T87" fmla="*/ 86 h 106"/>
                <a:gd name="T88" fmla="*/ 36 w 106"/>
                <a:gd name="T89" fmla="*/ 83 h 106"/>
                <a:gd name="T90" fmla="*/ 33 w 106"/>
                <a:gd name="T91" fmla="*/ 80 h 106"/>
                <a:gd name="T92" fmla="*/ 30 w 106"/>
                <a:gd name="T93" fmla="*/ 77 h 106"/>
                <a:gd name="T94" fmla="*/ 27 w 106"/>
                <a:gd name="T95" fmla="*/ 74 h 106"/>
                <a:gd name="T96" fmla="*/ 24 w 106"/>
                <a:gd name="T97" fmla="*/ 71 h 106"/>
                <a:gd name="T98" fmla="*/ 20 w 106"/>
                <a:gd name="T99" fmla="*/ 67 h 106"/>
                <a:gd name="T100" fmla="*/ 18 w 106"/>
                <a:gd name="T101" fmla="*/ 64 h 106"/>
                <a:gd name="T102" fmla="*/ 15 w 106"/>
                <a:gd name="T103" fmla="*/ 61 h 106"/>
                <a:gd name="T104" fmla="*/ 13 w 106"/>
                <a:gd name="T105" fmla="*/ 58 h 106"/>
                <a:gd name="T106" fmla="*/ 10 w 106"/>
                <a:gd name="T107" fmla="*/ 53 h 106"/>
                <a:gd name="T108" fmla="*/ 8 w 106"/>
                <a:gd name="T109" fmla="*/ 50 h 106"/>
                <a:gd name="T110" fmla="*/ 5 w 106"/>
                <a:gd name="T111" fmla="*/ 45 h 106"/>
                <a:gd name="T112" fmla="*/ 4 w 106"/>
                <a:gd name="T113" fmla="*/ 41 h 106"/>
                <a:gd name="T114" fmla="*/ 0 w 106"/>
                <a:gd name="T115" fmla="*/ 31 h 106"/>
                <a:gd name="T116" fmla="*/ 0 w 106"/>
                <a:gd name="T117" fmla="*/ 19 h 106"/>
                <a:gd name="T118" fmla="*/ 6 w 106"/>
                <a:gd name="T119" fmla="*/ 6 h 106"/>
                <a:gd name="T120" fmla="*/ 6 w 106"/>
                <a:gd name="T121" fmla="*/ 6 h 106"/>
                <a:gd name="T122" fmla="*/ 8 w 106"/>
                <a:gd name="T123" fmla="*/ 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106">
                  <a:moveTo>
                    <a:pt x="12" y="0"/>
                  </a:moveTo>
                  <a:cubicBezTo>
                    <a:pt x="13" y="0"/>
                    <a:pt x="13" y="0"/>
                    <a:pt x="14" y="0"/>
                  </a:cubicBezTo>
                  <a:cubicBezTo>
                    <a:pt x="15" y="1"/>
                    <a:pt x="16" y="2"/>
                    <a:pt x="17" y="3"/>
                  </a:cubicBezTo>
                  <a:cubicBezTo>
                    <a:pt x="17" y="3"/>
                    <a:pt x="18" y="3"/>
                    <a:pt x="18" y="4"/>
                  </a:cubicBezTo>
                  <a:cubicBezTo>
                    <a:pt x="18" y="4"/>
                    <a:pt x="19" y="5"/>
                    <a:pt x="19" y="5"/>
                  </a:cubicBezTo>
                  <a:cubicBezTo>
                    <a:pt x="20" y="5"/>
                    <a:pt x="20" y="5"/>
                    <a:pt x="20" y="6"/>
                  </a:cubicBezTo>
                  <a:cubicBezTo>
                    <a:pt x="20" y="6"/>
                    <a:pt x="21" y="7"/>
                    <a:pt x="21" y="7"/>
                  </a:cubicBezTo>
                  <a:cubicBezTo>
                    <a:pt x="22" y="7"/>
                    <a:pt x="22" y="8"/>
                    <a:pt x="22" y="8"/>
                  </a:cubicBezTo>
                  <a:cubicBezTo>
                    <a:pt x="22" y="8"/>
                    <a:pt x="23" y="9"/>
                    <a:pt x="24" y="9"/>
                  </a:cubicBezTo>
                  <a:cubicBezTo>
                    <a:pt x="24" y="9"/>
                    <a:pt x="24" y="10"/>
                    <a:pt x="24" y="10"/>
                  </a:cubicBezTo>
                  <a:cubicBezTo>
                    <a:pt x="25" y="10"/>
                    <a:pt x="25" y="11"/>
                    <a:pt x="26" y="11"/>
                  </a:cubicBezTo>
                  <a:cubicBezTo>
                    <a:pt x="26" y="11"/>
                    <a:pt x="26" y="12"/>
                    <a:pt x="26" y="12"/>
                  </a:cubicBezTo>
                  <a:cubicBezTo>
                    <a:pt x="27" y="12"/>
                    <a:pt x="27" y="13"/>
                    <a:pt x="28" y="13"/>
                  </a:cubicBezTo>
                  <a:cubicBezTo>
                    <a:pt x="28" y="14"/>
                    <a:pt x="28" y="14"/>
                    <a:pt x="28" y="14"/>
                  </a:cubicBezTo>
                  <a:cubicBezTo>
                    <a:pt x="29" y="14"/>
                    <a:pt x="29" y="15"/>
                    <a:pt x="30" y="15"/>
                  </a:cubicBezTo>
                  <a:cubicBezTo>
                    <a:pt x="30" y="16"/>
                    <a:pt x="30" y="16"/>
                    <a:pt x="30" y="16"/>
                  </a:cubicBezTo>
                  <a:cubicBezTo>
                    <a:pt x="31" y="16"/>
                    <a:pt x="31" y="17"/>
                    <a:pt x="32" y="17"/>
                  </a:cubicBezTo>
                  <a:cubicBezTo>
                    <a:pt x="32" y="18"/>
                    <a:pt x="32" y="18"/>
                    <a:pt x="33" y="18"/>
                  </a:cubicBezTo>
                  <a:cubicBezTo>
                    <a:pt x="33" y="19"/>
                    <a:pt x="33" y="19"/>
                    <a:pt x="34" y="19"/>
                  </a:cubicBezTo>
                  <a:cubicBezTo>
                    <a:pt x="34" y="20"/>
                    <a:pt x="34" y="20"/>
                    <a:pt x="35" y="20"/>
                  </a:cubicBezTo>
                  <a:cubicBezTo>
                    <a:pt x="35" y="21"/>
                    <a:pt x="35" y="21"/>
                    <a:pt x="36" y="21"/>
                  </a:cubicBezTo>
                  <a:cubicBezTo>
                    <a:pt x="36" y="22"/>
                    <a:pt x="36" y="22"/>
                    <a:pt x="37" y="22"/>
                  </a:cubicBezTo>
                  <a:cubicBezTo>
                    <a:pt x="37" y="23"/>
                    <a:pt x="38" y="23"/>
                    <a:pt x="38" y="24"/>
                  </a:cubicBezTo>
                  <a:cubicBezTo>
                    <a:pt x="38" y="24"/>
                    <a:pt x="38" y="24"/>
                    <a:pt x="39" y="24"/>
                  </a:cubicBezTo>
                  <a:cubicBezTo>
                    <a:pt x="39" y="25"/>
                    <a:pt x="39" y="26"/>
                    <a:pt x="39" y="26"/>
                  </a:cubicBezTo>
                  <a:cubicBezTo>
                    <a:pt x="39" y="27"/>
                    <a:pt x="39" y="27"/>
                    <a:pt x="39" y="28"/>
                  </a:cubicBezTo>
                  <a:cubicBezTo>
                    <a:pt x="39" y="29"/>
                    <a:pt x="38" y="29"/>
                    <a:pt x="38" y="30"/>
                  </a:cubicBezTo>
                  <a:cubicBezTo>
                    <a:pt x="35" y="32"/>
                    <a:pt x="33" y="34"/>
                    <a:pt x="31" y="36"/>
                  </a:cubicBezTo>
                  <a:cubicBezTo>
                    <a:pt x="29" y="37"/>
                    <a:pt x="28" y="39"/>
                    <a:pt x="29" y="41"/>
                  </a:cubicBezTo>
                  <a:cubicBezTo>
                    <a:pt x="29" y="41"/>
                    <a:pt x="29" y="42"/>
                    <a:pt x="29" y="42"/>
                  </a:cubicBezTo>
                  <a:cubicBezTo>
                    <a:pt x="29" y="43"/>
                    <a:pt x="29" y="44"/>
                    <a:pt x="30" y="44"/>
                  </a:cubicBezTo>
                  <a:cubicBezTo>
                    <a:pt x="30" y="45"/>
                    <a:pt x="30" y="45"/>
                    <a:pt x="30" y="45"/>
                  </a:cubicBezTo>
                  <a:cubicBezTo>
                    <a:pt x="31" y="46"/>
                    <a:pt x="31" y="46"/>
                    <a:pt x="31" y="47"/>
                  </a:cubicBezTo>
                  <a:cubicBezTo>
                    <a:pt x="32" y="47"/>
                    <a:pt x="32" y="47"/>
                    <a:pt x="32" y="48"/>
                  </a:cubicBezTo>
                  <a:cubicBezTo>
                    <a:pt x="32" y="48"/>
                    <a:pt x="33" y="49"/>
                    <a:pt x="33" y="49"/>
                  </a:cubicBezTo>
                  <a:cubicBezTo>
                    <a:pt x="33" y="49"/>
                    <a:pt x="33" y="50"/>
                    <a:pt x="34" y="50"/>
                  </a:cubicBezTo>
                  <a:cubicBezTo>
                    <a:pt x="34" y="50"/>
                    <a:pt x="34" y="51"/>
                    <a:pt x="35" y="51"/>
                  </a:cubicBezTo>
                  <a:cubicBezTo>
                    <a:pt x="35" y="52"/>
                    <a:pt x="36" y="52"/>
                    <a:pt x="36" y="52"/>
                  </a:cubicBezTo>
                  <a:cubicBezTo>
                    <a:pt x="36" y="53"/>
                    <a:pt x="37" y="53"/>
                    <a:pt x="37" y="53"/>
                  </a:cubicBezTo>
                  <a:cubicBezTo>
                    <a:pt x="37" y="54"/>
                    <a:pt x="38" y="54"/>
                    <a:pt x="38" y="54"/>
                  </a:cubicBezTo>
                  <a:cubicBezTo>
                    <a:pt x="38" y="55"/>
                    <a:pt x="39" y="55"/>
                    <a:pt x="39" y="56"/>
                  </a:cubicBezTo>
                  <a:cubicBezTo>
                    <a:pt x="40" y="56"/>
                    <a:pt x="40" y="56"/>
                    <a:pt x="40" y="56"/>
                  </a:cubicBezTo>
                  <a:cubicBezTo>
                    <a:pt x="40" y="57"/>
                    <a:pt x="41" y="57"/>
                    <a:pt x="41" y="58"/>
                  </a:cubicBezTo>
                  <a:cubicBezTo>
                    <a:pt x="42" y="58"/>
                    <a:pt x="42" y="58"/>
                    <a:pt x="42" y="58"/>
                  </a:cubicBezTo>
                  <a:cubicBezTo>
                    <a:pt x="43" y="59"/>
                    <a:pt x="43" y="59"/>
                    <a:pt x="43" y="60"/>
                  </a:cubicBezTo>
                  <a:cubicBezTo>
                    <a:pt x="44" y="60"/>
                    <a:pt x="44" y="60"/>
                    <a:pt x="44" y="60"/>
                  </a:cubicBezTo>
                  <a:cubicBezTo>
                    <a:pt x="45" y="61"/>
                    <a:pt x="45" y="61"/>
                    <a:pt x="46" y="62"/>
                  </a:cubicBezTo>
                  <a:cubicBezTo>
                    <a:pt x="46" y="62"/>
                    <a:pt x="46" y="62"/>
                    <a:pt x="46" y="62"/>
                  </a:cubicBezTo>
                  <a:cubicBezTo>
                    <a:pt x="47" y="63"/>
                    <a:pt x="47" y="63"/>
                    <a:pt x="48" y="64"/>
                  </a:cubicBezTo>
                  <a:cubicBezTo>
                    <a:pt x="48" y="64"/>
                    <a:pt x="48" y="64"/>
                    <a:pt x="48" y="64"/>
                  </a:cubicBezTo>
                  <a:cubicBezTo>
                    <a:pt x="49" y="65"/>
                    <a:pt x="49" y="66"/>
                    <a:pt x="50" y="66"/>
                  </a:cubicBezTo>
                  <a:cubicBezTo>
                    <a:pt x="50" y="66"/>
                    <a:pt x="50" y="66"/>
                    <a:pt x="50" y="67"/>
                  </a:cubicBezTo>
                  <a:cubicBezTo>
                    <a:pt x="51" y="67"/>
                    <a:pt x="51" y="68"/>
                    <a:pt x="52" y="68"/>
                  </a:cubicBezTo>
                  <a:cubicBezTo>
                    <a:pt x="52" y="68"/>
                    <a:pt x="52" y="68"/>
                    <a:pt x="53" y="69"/>
                  </a:cubicBezTo>
                  <a:cubicBezTo>
                    <a:pt x="53" y="69"/>
                    <a:pt x="53" y="70"/>
                    <a:pt x="54" y="70"/>
                  </a:cubicBezTo>
                  <a:cubicBezTo>
                    <a:pt x="54" y="70"/>
                    <a:pt x="55" y="70"/>
                    <a:pt x="55" y="71"/>
                  </a:cubicBezTo>
                  <a:cubicBezTo>
                    <a:pt x="55" y="71"/>
                    <a:pt x="56" y="72"/>
                    <a:pt x="57" y="72"/>
                  </a:cubicBezTo>
                  <a:cubicBezTo>
                    <a:pt x="57" y="72"/>
                    <a:pt x="57" y="72"/>
                    <a:pt x="57" y="72"/>
                  </a:cubicBezTo>
                  <a:cubicBezTo>
                    <a:pt x="58" y="73"/>
                    <a:pt x="58" y="73"/>
                    <a:pt x="59" y="74"/>
                  </a:cubicBezTo>
                  <a:cubicBezTo>
                    <a:pt x="59" y="74"/>
                    <a:pt x="59" y="74"/>
                    <a:pt x="60" y="74"/>
                  </a:cubicBezTo>
                  <a:cubicBezTo>
                    <a:pt x="60" y="75"/>
                    <a:pt x="61" y="75"/>
                    <a:pt x="61" y="75"/>
                  </a:cubicBezTo>
                  <a:cubicBezTo>
                    <a:pt x="62" y="75"/>
                    <a:pt x="62" y="76"/>
                    <a:pt x="62" y="76"/>
                  </a:cubicBezTo>
                  <a:cubicBezTo>
                    <a:pt x="63" y="76"/>
                    <a:pt x="63" y="77"/>
                    <a:pt x="64" y="77"/>
                  </a:cubicBezTo>
                  <a:cubicBezTo>
                    <a:pt x="64" y="77"/>
                    <a:pt x="65" y="77"/>
                    <a:pt x="65" y="77"/>
                  </a:cubicBezTo>
                  <a:cubicBezTo>
                    <a:pt x="66" y="77"/>
                    <a:pt x="67" y="78"/>
                    <a:pt x="68" y="77"/>
                  </a:cubicBezTo>
                  <a:cubicBezTo>
                    <a:pt x="69" y="77"/>
                    <a:pt x="69" y="77"/>
                    <a:pt x="70" y="76"/>
                  </a:cubicBezTo>
                  <a:cubicBezTo>
                    <a:pt x="71" y="75"/>
                    <a:pt x="72" y="74"/>
                    <a:pt x="72" y="73"/>
                  </a:cubicBezTo>
                  <a:cubicBezTo>
                    <a:pt x="72" y="73"/>
                    <a:pt x="72" y="73"/>
                    <a:pt x="72" y="73"/>
                  </a:cubicBezTo>
                  <a:cubicBezTo>
                    <a:pt x="73" y="73"/>
                    <a:pt x="73" y="73"/>
                    <a:pt x="73" y="72"/>
                  </a:cubicBezTo>
                  <a:cubicBezTo>
                    <a:pt x="73" y="72"/>
                    <a:pt x="73" y="72"/>
                    <a:pt x="73" y="72"/>
                  </a:cubicBezTo>
                  <a:cubicBezTo>
                    <a:pt x="73" y="72"/>
                    <a:pt x="73" y="72"/>
                    <a:pt x="73" y="72"/>
                  </a:cubicBezTo>
                  <a:cubicBezTo>
                    <a:pt x="74" y="71"/>
                    <a:pt x="75" y="70"/>
                    <a:pt x="76" y="69"/>
                  </a:cubicBezTo>
                  <a:cubicBezTo>
                    <a:pt x="76" y="67"/>
                    <a:pt x="77" y="67"/>
                    <a:pt x="79" y="66"/>
                  </a:cubicBezTo>
                  <a:cubicBezTo>
                    <a:pt x="79" y="66"/>
                    <a:pt x="79" y="66"/>
                    <a:pt x="80" y="66"/>
                  </a:cubicBezTo>
                  <a:cubicBezTo>
                    <a:pt x="80" y="67"/>
                    <a:pt x="81" y="67"/>
                    <a:pt x="82" y="67"/>
                  </a:cubicBezTo>
                  <a:cubicBezTo>
                    <a:pt x="82" y="67"/>
                    <a:pt x="82" y="68"/>
                    <a:pt x="82" y="68"/>
                  </a:cubicBezTo>
                  <a:cubicBezTo>
                    <a:pt x="83" y="68"/>
                    <a:pt x="83" y="69"/>
                    <a:pt x="84" y="69"/>
                  </a:cubicBezTo>
                  <a:cubicBezTo>
                    <a:pt x="84" y="69"/>
                    <a:pt x="84" y="70"/>
                    <a:pt x="85" y="70"/>
                  </a:cubicBezTo>
                  <a:cubicBezTo>
                    <a:pt x="85" y="70"/>
                    <a:pt x="85" y="71"/>
                    <a:pt x="86" y="71"/>
                  </a:cubicBezTo>
                  <a:cubicBezTo>
                    <a:pt x="86" y="72"/>
                    <a:pt x="86" y="72"/>
                    <a:pt x="87" y="72"/>
                  </a:cubicBezTo>
                  <a:cubicBezTo>
                    <a:pt x="87" y="72"/>
                    <a:pt x="88" y="73"/>
                    <a:pt x="88" y="73"/>
                  </a:cubicBezTo>
                  <a:cubicBezTo>
                    <a:pt x="88" y="74"/>
                    <a:pt x="88" y="74"/>
                    <a:pt x="89" y="74"/>
                  </a:cubicBezTo>
                  <a:cubicBezTo>
                    <a:pt x="89" y="75"/>
                    <a:pt x="90" y="75"/>
                    <a:pt x="90" y="75"/>
                  </a:cubicBezTo>
                  <a:cubicBezTo>
                    <a:pt x="90" y="76"/>
                    <a:pt x="91" y="76"/>
                    <a:pt x="91" y="76"/>
                  </a:cubicBezTo>
                  <a:cubicBezTo>
                    <a:pt x="91" y="77"/>
                    <a:pt x="92" y="77"/>
                    <a:pt x="92" y="78"/>
                  </a:cubicBezTo>
                  <a:cubicBezTo>
                    <a:pt x="93" y="78"/>
                    <a:pt x="93" y="78"/>
                    <a:pt x="93" y="78"/>
                  </a:cubicBezTo>
                  <a:cubicBezTo>
                    <a:pt x="93" y="79"/>
                    <a:pt x="94" y="79"/>
                    <a:pt x="94" y="80"/>
                  </a:cubicBezTo>
                  <a:cubicBezTo>
                    <a:pt x="95" y="80"/>
                    <a:pt x="95" y="80"/>
                    <a:pt x="95" y="80"/>
                  </a:cubicBezTo>
                  <a:cubicBezTo>
                    <a:pt x="95" y="81"/>
                    <a:pt x="96" y="81"/>
                    <a:pt x="97" y="82"/>
                  </a:cubicBezTo>
                  <a:cubicBezTo>
                    <a:pt x="97" y="82"/>
                    <a:pt x="97" y="82"/>
                    <a:pt x="97" y="82"/>
                  </a:cubicBezTo>
                  <a:cubicBezTo>
                    <a:pt x="97" y="83"/>
                    <a:pt x="98" y="83"/>
                    <a:pt x="99" y="84"/>
                  </a:cubicBezTo>
                  <a:cubicBezTo>
                    <a:pt x="99" y="84"/>
                    <a:pt x="99" y="84"/>
                    <a:pt x="99" y="84"/>
                  </a:cubicBezTo>
                  <a:cubicBezTo>
                    <a:pt x="100" y="85"/>
                    <a:pt x="100" y="85"/>
                    <a:pt x="100" y="86"/>
                  </a:cubicBezTo>
                  <a:cubicBezTo>
                    <a:pt x="101" y="86"/>
                    <a:pt x="101" y="86"/>
                    <a:pt x="101" y="86"/>
                  </a:cubicBezTo>
                  <a:cubicBezTo>
                    <a:pt x="102" y="87"/>
                    <a:pt x="102" y="87"/>
                    <a:pt x="103" y="88"/>
                  </a:cubicBezTo>
                  <a:cubicBezTo>
                    <a:pt x="103" y="88"/>
                    <a:pt x="103" y="88"/>
                    <a:pt x="103" y="89"/>
                  </a:cubicBezTo>
                  <a:cubicBezTo>
                    <a:pt x="104" y="89"/>
                    <a:pt x="104" y="89"/>
                    <a:pt x="104" y="89"/>
                  </a:cubicBezTo>
                  <a:cubicBezTo>
                    <a:pt x="106" y="92"/>
                    <a:pt x="106" y="94"/>
                    <a:pt x="104" y="96"/>
                  </a:cubicBezTo>
                  <a:cubicBezTo>
                    <a:pt x="103" y="97"/>
                    <a:pt x="103" y="97"/>
                    <a:pt x="102" y="97"/>
                  </a:cubicBezTo>
                  <a:cubicBezTo>
                    <a:pt x="102" y="98"/>
                    <a:pt x="102" y="98"/>
                    <a:pt x="102" y="98"/>
                  </a:cubicBezTo>
                  <a:cubicBezTo>
                    <a:pt x="102" y="98"/>
                    <a:pt x="102" y="98"/>
                    <a:pt x="102" y="98"/>
                  </a:cubicBezTo>
                  <a:cubicBezTo>
                    <a:pt x="102" y="98"/>
                    <a:pt x="102" y="98"/>
                    <a:pt x="102" y="98"/>
                  </a:cubicBezTo>
                  <a:cubicBezTo>
                    <a:pt x="102" y="98"/>
                    <a:pt x="102" y="98"/>
                    <a:pt x="102" y="98"/>
                  </a:cubicBezTo>
                  <a:cubicBezTo>
                    <a:pt x="102" y="98"/>
                    <a:pt x="102" y="98"/>
                    <a:pt x="102" y="98"/>
                  </a:cubicBezTo>
                  <a:cubicBezTo>
                    <a:pt x="101" y="98"/>
                    <a:pt x="101" y="98"/>
                    <a:pt x="101" y="98"/>
                  </a:cubicBezTo>
                  <a:cubicBezTo>
                    <a:pt x="99" y="100"/>
                    <a:pt x="98" y="101"/>
                    <a:pt x="96" y="103"/>
                  </a:cubicBezTo>
                  <a:cubicBezTo>
                    <a:pt x="92" y="105"/>
                    <a:pt x="88" y="106"/>
                    <a:pt x="84" y="106"/>
                  </a:cubicBezTo>
                  <a:cubicBezTo>
                    <a:pt x="79" y="106"/>
                    <a:pt x="75" y="105"/>
                    <a:pt x="71" y="104"/>
                  </a:cubicBezTo>
                  <a:cubicBezTo>
                    <a:pt x="71" y="104"/>
                    <a:pt x="70" y="104"/>
                    <a:pt x="70" y="104"/>
                  </a:cubicBezTo>
                  <a:cubicBezTo>
                    <a:pt x="69" y="104"/>
                    <a:pt x="68" y="103"/>
                    <a:pt x="67" y="103"/>
                  </a:cubicBezTo>
                  <a:cubicBezTo>
                    <a:pt x="67" y="103"/>
                    <a:pt x="67" y="103"/>
                    <a:pt x="67" y="103"/>
                  </a:cubicBezTo>
                  <a:cubicBezTo>
                    <a:pt x="66" y="103"/>
                    <a:pt x="65" y="102"/>
                    <a:pt x="65" y="102"/>
                  </a:cubicBezTo>
                  <a:cubicBezTo>
                    <a:pt x="64" y="102"/>
                    <a:pt x="64" y="102"/>
                    <a:pt x="64" y="102"/>
                  </a:cubicBezTo>
                  <a:cubicBezTo>
                    <a:pt x="63" y="101"/>
                    <a:pt x="62" y="101"/>
                    <a:pt x="62" y="101"/>
                  </a:cubicBezTo>
                  <a:cubicBezTo>
                    <a:pt x="62" y="101"/>
                    <a:pt x="61" y="101"/>
                    <a:pt x="61" y="100"/>
                  </a:cubicBezTo>
                  <a:cubicBezTo>
                    <a:pt x="61" y="100"/>
                    <a:pt x="60" y="100"/>
                    <a:pt x="59" y="100"/>
                  </a:cubicBezTo>
                  <a:cubicBezTo>
                    <a:pt x="59" y="99"/>
                    <a:pt x="59" y="99"/>
                    <a:pt x="58" y="99"/>
                  </a:cubicBezTo>
                  <a:cubicBezTo>
                    <a:pt x="57" y="99"/>
                    <a:pt x="57" y="98"/>
                    <a:pt x="56" y="98"/>
                  </a:cubicBezTo>
                  <a:cubicBezTo>
                    <a:pt x="56" y="98"/>
                    <a:pt x="56" y="98"/>
                    <a:pt x="56" y="98"/>
                  </a:cubicBezTo>
                  <a:cubicBezTo>
                    <a:pt x="55" y="97"/>
                    <a:pt x="54" y="97"/>
                    <a:pt x="54" y="96"/>
                  </a:cubicBezTo>
                  <a:cubicBezTo>
                    <a:pt x="53" y="96"/>
                    <a:pt x="53" y="96"/>
                    <a:pt x="53" y="96"/>
                  </a:cubicBezTo>
                  <a:cubicBezTo>
                    <a:pt x="52" y="95"/>
                    <a:pt x="52" y="95"/>
                    <a:pt x="51" y="95"/>
                  </a:cubicBezTo>
                  <a:cubicBezTo>
                    <a:pt x="51" y="95"/>
                    <a:pt x="51" y="94"/>
                    <a:pt x="50" y="94"/>
                  </a:cubicBezTo>
                  <a:cubicBezTo>
                    <a:pt x="50" y="94"/>
                    <a:pt x="49" y="93"/>
                    <a:pt x="49" y="93"/>
                  </a:cubicBezTo>
                  <a:cubicBezTo>
                    <a:pt x="48" y="93"/>
                    <a:pt x="48" y="93"/>
                    <a:pt x="48" y="93"/>
                  </a:cubicBezTo>
                  <a:cubicBezTo>
                    <a:pt x="47" y="92"/>
                    <a:pt x="47" y="92"/>
                    <a:pt x="46" y="91"/>
                  </a:cubicBezTo>
                  <a:cubicBezTo>
                    <a:pt x="46" y="91"/>
                    <a:pt x="46" y="91"/>
                    <a:pt x="45" y="91"/>
                  </a:cubicBezTo>
                  <a:cubicBezTo>
                    <a:pt x="45" y="90"/>
                    <a:pt x="45" y="90"/>
                    <a:pt x="44" y="90"/>
                  </a:cubicBezTo>
                  <a:cubicBezTo>
                    <a:pt x="44" y="89"/>
                    <a:pt x="44" y="89"/>
                    <a:pt x="43" y="89"/>
                  </a:cubicBezTo>
                  <a:cubicBezTo>
                    <a:pt x="43" y="89"/>
                    <a:pt x="42" y="88"/>
                    <a:pt x="41" y="88"/>
                  </a:cubicBezTo>
                  <a:cubicBezTo>
                    <a:pt x="41" y="88"/>
                    <a:pt x="41" y="87"/>
                    <a:pt x="41" y="87"/>
                  </a:cubicBezTo>
                  <a:cubicBezTo>
                    <a:pt x="40" y="87"/>
                    <a:pt x="40" y="86"/>
                    <a:pt x="39" y="86"/>
                  </a:cubicBezTo>
                  <a:cubicBezTo>
                    <a:pt x="39" y="86"/>
                    <a:pt x="39" y="86"/>
                    <a:pt x="39" y="85"/>
                  </a:cubicBezTo>
                  <a:cubicBezTo>
                    <a:pt x="38" y="85"/>
                    <a:pt x="38" y="84"/>
                    <a:pt x="37" y="84"/>
                  </a:cubicBezTo>
                  <a:cubicBezTo>
                    <a:pt x="37" y="84"/>
                    <a:pt x="37" y="84"/>
                    <a:pt x="36" y="83"/>
                  </a:cubicBezTo>
                  <a:cubicBezTo>
                    <a:pt x="36" y="83"/>
                    <a:pt x="35" y="83"/>
                    <a:pt x="35" y="82"/>
                  </a:cubicBezTo>
                  <a:cubicBezTo>
                    <a:pt x="35" y="82"/>
                    <a:pt x="34" y="82"/>
                    <a:pt x="34" y="81"/>
                  </a:cubicBezTo>
                  <a:cubicBezTo>
                    <a:pt x="34" y="81"/>
                    <a:pt x="33" y="80"/>
                    <a:pt x="33" y="80"/>
                  </a:cubicBezTo>
                  <a:cubicBezTo>
                    <a:pt x="32" y="80"/>
                    <a:pt x="32" y="80"/>
                    <a:pt x="32" y="79"/>
                  </a:cubicBezTo>
                  <a:cubicBezTo>
                    <a:pt x="32" y="79"/>
                    <a:pt x="31" y="79"/>
                    <a:pt x="31" y="78"/>
                  </a:cubicBezTo>
                  <a:cubicBezTo>
                    <a:pt x="30" y="78"/>
                    <a:pt x="30" y="78"/>
                    <a:pt x="30" y="77"/>
                  </a:cubicBezTo>
                  <a:cubicBezTo>
                    <a:pt x="29" y="77"/>
                    <a:pt x="29" y="76"/>
                    <a:pt x="29" y="76"/>
                  </a:cubicBezTo>
                  <a:cubicBezTo>
                    <a:pt x="28" y="76"/>
                    <a:pt x="28" y="76"/>
                    <a:pt x="28" y="75"/>
                  </a:cubicBezTo>
                  <a:cubicBezTo>
                    <a:pt x="27" y="75"/>
                    <a:pt x="27" y="74"/>
                    <a:pt x="27" y="74"/>
                  </a:cubicBezTo>
                  <a:cubicBezTo>
                    <a:pt x="26" y="74"/>
                    <a:pt x="26" y="73"/>
                    <a:pt x="26" y="73"/>
                  </a:cubicBezTo>
                  <a:cubicBezTo>
                    <a:pt x="25" y="73"/>
                    <a:pt x="25" y="72"/>
                    <a:pt x="24" y="72"/>
                  </a:cubicBezTo>
                  <a:cubicBezTo>
                    <a:pt x="24" y="71"/>
                    <a:pt x="24" y="71"/>
                    <a:pt x="24" y="71"/>
                  </a:cubicBezTo>
                  <a:cubicBezTo>
                    <a:pt x="23" y="71"/>
                    <a:pt x="23" y="70"/>
                    <a:pt x="22" y="70"/>
                  </a:cubicBezTo>
                  <a:cubicBezTo>
                    <a:pt x="22" y="69"/>
                    <a:pt x="22" y="69"/>
                    <a:pt x="22" y="69"/>
                  </a:cubicBezTo>
                  <a:cubicBezTo>
                    <a:pt x="22" y="68"/>
                    <a:pt x="21" y="68"/>
                    <a:pt x="20" y="67"/>
                  </a:cubicBezTo>
                  <a:cubicBezTo>
                    <a:pt x="20" y="67"/>
                    <a:pt x="20" y="67"/>
                    <a:pt x="20" y="67"/>
                  </a:cubicBezTo>
                  <a:cubicBezTo>
                    <a:pt x="20" y="66"/>
                    <a:pt x="19" y="66"/>
                    <a:pt x="19" y="65"/>
                  </a:cubicBezTo>
                  <a:cubicBezTo>
                    <a:pt x="18" y="65"/>
                    <a:pt x="18" y="65"/>
                    <a:pt x="18" y="64"/>
                  </a:cubicBezTo>
                  <a:cubicBezTo>
                    <a:pt x="18" y="64"/>
                    <a:pt x="17" y="63"/>
                    <a:pt x="17" y="63"/>
                  </a:cubicBezTo>
                  <a:cubicBezTo>
                    <a:pt x="17" y="62"/>
                    <a:pt x="16" y="62"/>
                    <a:pt x="16" y="62"/>
                  </a:cubicBezTo>
                  <a:cubicBezTo>
                    <a:pt x="16" y="62"/>
                    <a:pt x="15" y="61"/>
                    <a:pt x="15" y="61"/>
                  </a:cubicBezTo>
                  <a:cubicBezTo>
                    <a:pt x="15" y="60"/>
                    <a:pt x="15" y="60"/>
                    <a:pt x="14" y="60"/>
                  </a:cubicBezTo>
                  <a:cubicBezTo>
                    <a:pt x="14" y="59"/>
                    <a:pt x="14" y="59"/>
                    <a:pt x="13" y="58"/>
                  </a:cubicBezTo>
                  <a:cubicBezTo>
                    <a:pt x="13" y="58"/>
                    <a:pt x="13" y="58"/>
                    <a:pt x="13" y="58"/>
                  </a:cubicBezTo>
                  <a:cubicBezTo>
                    <a:pt x="12" y="57"/>
                    <a:pt x="12" y="56"/>
                    <a:pt x="11" y="56"/>
                  </a:cubicBezTo>
                  <a:cubicBezTo>
                    <a:pt x="11" y="55"/>
                    <a:pt x="11" y="55"/>
                    <a:pt x="11" y="55"/>
                  </a:cubicBezTo>
                  <a:cubicBezTo>
                    <a:pt x="11" y="54"/>
                    <a:pt x="10" y="54"/>
                    <a:pt x="10" y="53"/>
                  </a:cubicBezTo>
                  <a:cubicBezTo>
                    <a:pt x="10" y="53"/>
                    <a:pt x="10" y="53"/>
                    <a:pt x="9" y="53"/>
                  </a:cubicBezTo>
                  <a:cubicBezTo>
                    <a:pt x="9" y="52"/>
                    <a:pt x="9" y="51"/>
                    <a:pt x="8" y="50"/>
                  </a:cubicBezTo>
                  <a:cubicBezTo>
                    <a:pt x="8" y="50"/>
                    <a:pt x="8" y="50"/>
                    <a:pt x="8" y="50"/>
                  </a:cubicBezTo>
                  <a:cubicBezTo>
                    <a:pt x="7" y="49"/>
                    <a:pt x="7" y="49"/>
                    <a:pt x="7" y="48"/>
                  </a:cubicBezTo>
                  <a:cubicBezTo>
                    <a:pt x="7" y="48"/>
                    <a:pt x="6" y="47"/>
                    <a:pt x="6" y="47"/>
                  </a:cubicBezTo>
                  <a:cubicBezTo>
                    <a:pt x="6" y="47"/>
                    <a:pt x="6" y="46"/>
                    <a:pt x="5" y="45"/>
                  </a:cubicBezTo>
                  <a:cubicBezTo>
                    <a:pt x="5" y="45"/>
                    <a:pt x="5" y="45"/>
                    <a:pt x="5" y="45"/>
                  </a:cubicBezTo>
                  <a:cubicBezTo>
                    <a:pt x="5" y="44"/>
                    <a:pt x="4" y="43"/>
                    <a:pt x="4" y="43"/>
                  </a:cubicBezTo>
                  <a:cubicBezTo>
                    <a:pt x="4" y="42"/>
                    <a:pt x="4" y="42"/>
                    <a:pt x="4" y="41"/>
                  </a:cubicBezTo>
                  <a:cubicBezTo>
                    <a:pt x="3" y="41"/>
                    <a:pt x="3" y="40"/>
                    <a:pt x="3" y="40"/>
                  </a:cubicBezTo>
                  <a:cubicBezTo>
                    <a:pt x="3" y="39"/>
                    <a:pt x="3" y="39"/>
                    <a:pt x="2" y="39"/>
                  </a:cubicBezTo>
                  <a:cubicBezTo>
                    <a:pt x="2" y="36"/>
                    <a:pt x="1" y="33"/>
                    <a:pt x="0" y="31"/>
                  </a:cubicBezTo>
                  <a:cubicBezTo>
                    <a:pt x="0" y="29"/>
                    <a:pt x="0" y="28"/>
                    <a:pt x="0" y="27"/>
                  </a:cubicBezTo>
                  <a:cubicBezTo>
                    <a:pt x="0" y="24"/>
                    <a:pt x="0" y="22"/>
                    <a:pt x="0" y="20"/>
                  </a:cubicBezTo>
                  <a:cubicBezTo>
                    <a:pt x="0" y="20"/>
                    <a:pt x="0" y="20"/>
                    <a:pt x="0" y="19"/>
                  </a:cubicBezTo>
                  <a:cubicBezTo>
                    <a:pt x="0" y="16"/>
                    <a:pt x="1" y="14"/>
                    <a:pt x="2" y="11"/>
                  </a:cubicBezTo>
                  <a:cubicBezTo>
                    <a:pt x="4" y="10"/>
                    <a:pt x="5" y="8"/>
                    <a:pt x="6" y="7"/>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7" y="6"/>
                    <a:pt x="7" y="6"/>
                    <a:pt x="7" y="5"/>
                  </a:cubicBezTo>
                  <a:cubicBezTo>
                    <a:pt x="7" y="5"/>
                    <a:pt x="8" y="4"/>
                    <a:pt x="8" y="4"/>
                  </a:cubicBezTo>
                  <a:cubicBezTo>
                    <a:pt x="9" y="3"/>
                    <a:pt x="10" y="1"/>
                    <a:pt x="12"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 name="Groupe 9">
              <a:extLst>
                <a:ext uri="{FF2B5EF4-FFF2-40B4-BE49-F238E27FC236}">
                  <a16:creationId xmlns:a16="http://schemas.microsoft.com/office/drawing/2014/main" id="{57972D84-2049-44B8-958E-AAA71F7E70D6}"/>
                </a:ext>
              </a:extLst>
            </p:cNvPr>
            <p:cNvGrpSpPr/>
            <p:nvPr/>
          </p:nvGrpSpPr>
          <p:grpSpPr>
            <a:xfrm>
              <a:off x="3778409" y="2973690"/>
              <a:ext cx="137326" cy="136043"/>
              <a:chOff x="3778409" y="2973690"/>
              <a:chExt cx="137326" cy="136043"/>
            </a:xfrm>
          </p:grpSpPr>
          <p:sp>
            <p:nvSpPr>
              <p:cNvPr id="225" name="Freeform 236">
                <a:extLst>
                  <a:ext uri="{FF2B5EF4-FFF2-40B4-BE49-F238E27FC236}">
                    <a16:creationId xmlns:a16="http://schemas.microsoft.com/office/drawing/2014/main" id="{04948D62-CFE3-40EE-969A-74694A86F723}"/>
                  </a:ext>
                </a:extLst>
              </p:cNvPr>
              <p:cNvSpPr>
                <a:spLocks/>
              </p:cNvSpPr>
              <p:nvPr/>
            </p:nvSpPr>
            <p:spPr bwMode="auto">
              <a:xfrm>
                <a:off x="3778409" y="2973690"/>
                <a:ext cx="137326" cy="136043"/>
              </a:xfrm>
              <a:custGeom>
                <a:avLst/>
                <a:gdLst>
                  <a:gd name="T0" fmla="*/ 0 w 45"/>
                  <a:gd name="T1" fmla="*/ 4 h 45"/>
                  <a:gd name="T2" fmla="*/ 0 w 45"/>
                  <a:gd name="T3" fmla="*/ 0 h 45"/>
                  <a:gd name="T4" fmla="*/ 1 w 45"/>
                  <a:gd name="T5" fmla="*/ 0 h 45"/>
                  <a:gd name="T6" fmla="*/ 5 w 45"/>
                  <a:gd name="T7" fmla="*/ 1 h 45"/>
                  <a:gd name="T8" fmla="*/ 9 w 45"/>
                  <a:gd name="T9" fmla="*/ 1 h 45"/>
                  <a:gd name="T10" fmla="*/ 12 w 45"/>
                  <a:gd name="T11" fmla="*/ 2 h 45"/>
                  <a:gd name="T12" fmla="*/ 15 w 45"/>
                  <a:gd name="T13" fmla="*/ 3 h 45"/>
                  <a:gd name="T14" fmla="*/ 18 w 45"/>
                  <a:gd name="T15" fmla="*/ 4 h 45"/>
                  <a:gd name="T16" fmla="*/ 21 w 45"/>
                  <a:gd name="T17" fmla="*/ 5 h 45"/>
                  <a:gd name="T18" fmla="*/ 24 w 45"/>
                  <a:gd name="T19" fmla="*/ 7 h 45"/>
                  <a:gd name="T20" fmla="*/ 26 w 45"/>
                  <a:gd name="T21" fmla="*/ 9 h 45"/>
                  <a:gd name="T22" fmla="*/ 28 w 45"/>
                  <a:gd name="T23" fmla="*/ 10 h 45"/>
                  <a:gd name="T24" fmla="*/ 31 w 45"/>
                  <a:gd name="T25" fmla="*/ 12 h 45"/>
                  <a:gd name="T26" fmla="*/ 33 w 45"/>
                  <a:gd name="T27" fmla="*/ 14 h 45"/>
                  <a:gd name="T28" fmla="*/ 35 w 45"/>
                  <a:gd name="T29" fmla="*/ 17 h 45"/>
                  <a:gd name="T30" fmla="*/ 36 w 45"/>
                  <a:gd name="T31" fmla="*/ 19 h 45"/>
                  <a:gd name="T32" fmla="*/ 38 w 45"/>
                  <a:gd name="T33" fmla="*/ 22 h 45"/>
                  <a:gd name="T34" fmla="*/ 40 w 45"/>
                  <a:gd name="T35" fmla="*/ 24 h 45"/>
                  <a:gd name="T36" fmla="*/ 41 w 45"/>
                  <a:gd name="T37" fmla="*/ 27 h 45"/>
                  <a:gd name="T38" fmla="*/ 42 w 45"/>
                  <a:gd name="T39" fmla="*/ 30 h 45"/>
                  <a:gd name="T40" fmla="*/ 43 w 45"/>
                  <a:gd name="T41" fmla="*/ 33 h 45"/>
                  <a:gd name="T42" fmla="*/ 44 w 45"/>
                  <a:gd name="T43" fmla="*/ 36 h 45"/>
                  <a:gd name="T44" fmla="*/ 44 w 45"/>
                  <a:gd name="T45" fmla="*/ 40 h 45"/>
                  <a:gd name="T46" fmla="*/ 45 w 45"/>
                  <a:gd name="T47" fmla="*/ 44 h 45"/>
                  <a:gd name="T48" fmla="*/ 43 w 45"/>
                  <a:gd name="T49" fmla="*/ 45 h 45"/>
                  <a:gd name="T50" fmla="*/ 40 w 45"/>
                  <a:gd name="T51" fmla="*/ 43 h 45"/>
                  <a:gd name="T52" fmla="*/ 40 w 45"/>
                  <a:gd name="T53" fmla="*/ 40 h 45"/>
                  <a:gd name="T54" fmla="*/ 39 w 45"/>
                  <a:gd name="T55" fmla="*/ 36 h 45"/>
                  <a:gd name="T56" fmla="*/ 38 w 45"/>
                  <a:gd name="T57" fmla="*/ 33 h 45"/>
                  <a:gd name="T58" fmla="*/ 37 w 45"/>
                  <a:gd name="T59" fmla="*/ 30 h 45"/>
                  <a:gd name="T60" fmla="*/ 36 w 45"/>
                  <a:gd name="T61" fmla="*/ 27 h 45"/>
                  <a:gd name="T62" fmla="*/ 34 w 45"/>
                  <a:gd name="T63" fmla="*/ 24 h 45"/>
                  <a:gd name="T64" fmla="*/ 33 w 45"/>
                  <a:gd name="T65" fmla="*/ 22 h 45"/>
                  <a:gd name="T66" fmla="*/ 31 w 45"/>
                  <a:gd name="T67" fmla="*/ 19 h 45"/>
                  <a:gd name="T68" fmla="*/ 29 w 45"/>
                  <a:gd name="T69" fmla="*/ 17 h 45"/>
                  <a:gd name="T70" fmla="*/ 27 w 45"/>
                  <a:gd name="T71" fmla="*/ 15 h 45"/>
                  <a:gd name="T72" fmla="*/ 24 w 45"/>
                  <a:gd name="T73" fmla="*/ 13 h 45"/>
                  <a:gd name="T74" fmla="*/ 22 w 45"/>
                  <a:gd name="T75" fmla="*/ 11 h 45"/>
                  <a:gd name="T76" fmla="*/ 19 w 45"/>
                  <a:gd name="T77" fmla="*/ 10 h 45"/>
                  <a:gd name="T78" fmla="*/ 17 w 45"/>
                  <a:gd name="T79" fmla="*/ 8 h 45"/>
                  <a:gd name="T80" fmla="*/ 14 w 45"/>
                  <a:gd name="T81" fmla="*/ 7 h 45"/>
                  <a:gd name="T82" fmla="*/ 10 w 45"/>
                  <a:gd name="T83" fmla="*/ 6 h 45"/>
                  <a:gd name="T84" fmla="*/ 7 w 45"/>
                  <a:gd name="T85" fmla="*/ 5 h 45"/>
                  <a:gd name="T86" fmla="*/ 3 w 45"/>
                  <a:gd name="T87"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 h="45">
                    <a:moveTo>
                      <a:pt x="1" y="5"/>
                    </a:moveTo>
                    <a:cubicBezTo>
                      <a:pt x="0" y="5"/>
                      <a:pt x="0" y="5"/>
                      <a:pt x="0" y="4"/>
                    </a:cubicBezTo>
                    <a:cubicBezTo>
                      <a:pt x="0" y="3"/>
                      <a:pt x="0" y="2"/>
                      <a:pt x="0" y="1"/>
                    </a:cubicBezTo>
                    <a:cubicBezTo>
                      <a:pt x="0" y="1"/>
                      <a:pt x="0" y="1"/>
                      <a:pt x="0" y="0"/>
                    </a:cubicBezTo>
                    <a:cubicBezTo>
                      <a:pt x="0" y="0"/>
                      <a:pt x="0" y="0"/>
                      <a:pt x="0" y="0"/>
                    </a:cubicBezTo>
                    <a:cubicBezTo>
                      <a:pt x="1" y="0"/>
                      <a:pt x="1" y="0"/>
                      <a:pt x="1" y="0"/>
                    </a:cubicBezTo>
                    <a:cubicBezTo>
                      <a:pt x="2" y="0"/>
                      <a:pt x="3" y="0"/>
                      <a:pt x="4" y="0"/>
                    </a:cubicBezTo>
                    <a:cubicBezTo>
                      <a:pt x="4" y="0"/>
                      <a:pt x="5" y="0"/>
                      <a:pt x="5" y="1"/>
                    </a:cubicBezTo>
                    <a:cubicBezTo>
                      <a:pt x="6" y="1"/>
                      <a:pt x="7" y="1"/>
                      <a:pt x="8" y="1"/>
                    </a:cubicBezTo>
                    <a:cubicBezTo>
                      <a:pt x="8" y="1"/>
                      <a:pt x="8" y="1"/>
                      <a:pt x="9" y="1"/>
                    </a:cubicBezTo>
                    <a:cubicBezTo>
                      <a:pt x="9" y="1"/>
                      <a:pt x="10" y="1"/>
                      <a:pt x="11" y="2"/>
                    </a:cubicBezTo>
                    <a:cubicBezTo>
                      <a:pt x="11" y="2"/>
                      <a:pt x="12" y="2"/>
                      <a:pt x="12" y="2"/>
                    </a:cubicBezTo>
                    <a:cubicBezTo>
                      <a:pt x="13" y="2"/>
                      <a:pt x="14" y="2"/>
                      <a:pt x="14" y="3"/>
                    </a:cubicBezTo>
                    <a:cubicBezTo>
                      <a:pt x="15" y="3"/>
                      <a:pt x="15" y="3"/>
                      <a:pt x="15" y="3"/>
                    </a:cubicBezTo>
                    <a:cubicBezTo>
                      <a:pt x="16" y="3"/>
                      <a:pt x="16" y="3"/>
                      <a:pt x="17" y="4"/>
                    </a:cubicBezTo>
                    <a:cubicBezTo>
                      <a:pt x="18" y="4"/>
                      <a:pt x="18" y="4"/>
                      <a:pt x="18" y="4"/>
                    </a:cubicBezTo>
                    <a:cubicBezTo>
                      <a:pt x="19" y="4"/>
                      <a:pt x="20" y="5"/>
                      <a:pt x="20" y="5"/>
                    </a:cubicBezTo>
                    <a:cubicBezTo>
                      <a:pt x="20" y="5"/>
                      <a:pt x="21" y="5"/>
                      <a:pt x="21" y="5"/>
                    </a:cubicBezTo>
                    <a:cubicBezTo>
                      <a:pt x="22" y="6"/>
                      <a:pt x="22" y="6"/>
                      <a:pt x="23" y="7"/>
                    </a:cubicBezTo>
                    <a:cubicBezTo>
                      <a:pt x="23" y="7"/>
                      <a:pt x="23" y="7"/>
                      <a:pt x="24" y="7"/>
                    </a:cubicBezTo>
                    <a:cubicBezTo>
                      <a:pt x="24" y="7"/>
                      <a:pt x="25" y="8"/>
                      <a:pt x="25" y="8"/>
                    </a:cubicBezTo>
                    <a:cubicBezTo>
                      <a:pt x="26" y="8"/>
                      <a:pt x="26" y="8"/>
                      <a:pt x="26" y="9"/>
                    </a:cubicBezTo>
                    <a:cubicBezTo>
                      <a:pt x="27" y="9"/>
                      <a:pt x="27" y="9"/>
                      <a:pt x="28" y="10"/>
                    </a:cubicBezTo>
                    <a:cubicBezTo>
                      <a:pt x="28" y="10"/>
                      <a:pt x="28" y="10"/>
                      <a:pt x="28" y="10"/>
                    </a:cubicBezTo>
                    <a:cubicBezTo>
                      <a:pt x="29" y="11"/>
                      <a:pt x="29" y="11"/>
                      <a:pt x="30" y="12"/>
                    </a:cubicBezTo>
                    <a:cubicBezTo>
                      <a:pt x="30" y="12"/>
                      <a:pt x="30" y="12"/>
                      <a:pt x="31" y="12"/>
                    </a:cubicBezTo>
                    <a:cubicBezTo>
                      <a:pt x="31" y="13"/>
                      <a:pt x="32" y="13"/>
                      <a:pt x="32" y="14"/>
                    </a:cubicBezTo>
                    <a:cubicBezTo>
                      <a:pt x="32" y="14"/>
                      <a:pt x="32" y="14"/>
                      <a:pt x="33" y="14"/>
                    </a:cubicBezTo>
                    <a:cubicBezTo>
                      <a:pt x="33" y="15"/>
                      <a:pt x="34" y="16"/>
                      <a:pt x="34" y="16"/>
                    </a:cubicBezTo>
                    <a:cubicBezTo>
                      <a:pt x="34" y="16"/>
                      <a:pt x="34" y="16"/>
                      <a:pt x="35" y="17"/>
                    </a:cubicBezTo>
                    <a:cubicBezTo>
                      <a:pt x="35" y="17"/>
                      <a:pt x="36" y="18"/>
                      <a:pt x="36" y="18"/>
                    </a:cubicBezTo>
                    <a:cubicBezTo>
                      <a:pt x="36" y="19"/>
                      <a:pt x="36" y="19"/>
                      <a:pt x="36" y="19"/>
                    </a:cubicBezTo>
                    <a:cubicBezTo>
                      <a:pt x="37" y="20"/>
                      <a:pt x="37" y="20"/>
                      <a:pt x="38" y="21"/>
                    </a:cubicBezTo>
                    <a:cubicBezTo>
                      <a:pt x="38" y="21"/>
                      <a:pt x="38" y="21"/>
                      <a:pt x="38" y="22"/>
                    </a:cubicBezTo>
                    <a:cubicBezTo>
                      <a:pt x="38" y="22"/>
                      <a:pt x="39" y="23"/>
                      <a:pt x="39" y="23"/>
                    </a:cubicBezTo>
                    <a:cubicBezTo>
                      <a:pt x="39" y="24"/>
                      <a:pt x="39" y="24"/>
                      <a:pt x="40" y="24"/>
                    </a:cubicBezTo>
                    <a:cubicBezTo>
                      <a:pt x="40" y="25"/>
                      <a:pt x="40" y="25"/>
                      <a:pt x="40" y="26"/>
                    </a:cubicBezTo>
                    <a:cubicBezTo>
                      <a:pt x="41" y="26"/>
                      <a:pt x="41" y="26"/>
                      <a:pt x="41" y="27"/>
                    </a:cubicBezTo>
                    <a:cubicBezTo>
                      <a:pt x="41" y="27"/>
                      <a:pt x="41" y="28"/>
                      <a:pt x="42" y="29"/>
                    </a:cubicBezTo>
                    <a:cubicBezTo>
                      <a:pt x="42" y="29"/>
                      <a:pt x="42" y="30"/>
                      <a:pt x="42" y="30"/>
                    </a:cubicBezTo>
                    <a:cubicBezTo>
                      <a:pt x="42" y="31"/>
                      <a:pt x="43" y="31"/>
                      <a:pt x="43" y="32"/>
                    </a:cubicBezTo>
                    <a:cubicBezTo>
                      <a:pt x="43" y="33"/>
                      <a:pt x="43" y="33"/>
                      <a:pt x="43" y="33"/>
                    </a:cubicBezTo>
                    <a:cubicBezTo>
                      <a:pt x="43" y="34"/>
                      <a:pt x="43" y="35"/>
                      <a:pt x="44" y="35"/>
                    </a:cubicBezTo>
                    <a:cubicBezTo>
                      <a:pt x="44" y="36"/>
                      <a:pt x="44" y="36"/>
                      <a:pt x="44" y="36"/>
                    </a:cubicBezTo>
                    <a:cubicBezTo>
                      <a:pt x="44" y="37"/>
                      <a:pt x="44" y="38"/>
                      <a:pt x="44" y="39"/>
                    </a:cubicBezTo>
                    <a:cubicBezTo>
                      <a:pt x="44" y="39"/>
                      <a:pt x="44" y="40"/>
                      <a:pt x="44" y="40"/>
                    </a:cubicBezTo>
                    <a:cubicBezTo>
                      <a:pt x="44" y="41"/>
                      <a:pt x="44" y="42"/>
                      <a:pt x="44" y="43"/>
                    </a:cubicBezTo>
                    <a:cubicBezTo>
                      <a:pt x="44" y="43"/>
                      <a:pt x="44" y="44"/>
                      <a:pt x="45" y="44"/>
                    </a:cubicBezTo>
                    <a:cubicBezTo>
                      <a:pt x="45" y="44"/>
                      <a:pt x="44" y="45"/>
                      <a:pt x="44" y="45"/>
                    </a:cubicBezTo>
                    <a:cubicBezTo>
                      <a:pt x="43" y="45"/>
                      <a:pt x="43" y="45"/>
                      <a:pt x="43" y="45"/>
                    </a:cubicBezTo>
                    <a:cubicBezTo>
                      <a:pt x="42" y="45"/>
                      <a:pt x="41" y="45"/>
                      <a:pt x="40" y="45"/>
                    </a:cubicBezTo>
                    <a:cubicBezTo>
                      <a:pt x="40" y="44"/>
                      <a:pt x="40" y="44"/>
                      <a:pt x="40" y="43"/>
                    </a:cubicBezTo>
                    <a:cubicBezTo>
                      <a:pt x="40" y="42"/>
                      <a:pt x="40" y="41"/>
                      <a:pt x="40" y="41"/>
                    </a:cubicBezTo>
                    <a:cubicBezTo>
                      <a:pt x="40" y="40"/>
                      <a:pt x="40" y="40"/>
                      <a:pt x="40" y="40"/>
                    </a:cubicBezTo>
                    <a:cubicBezTo>
                      <a:pt x="40" y="39"/>
                      <a:pt x="39" y="38"/>
                      <a:pt x="39" y="37"/>
                    </a:cubicBezTo>
                    <a:cubicBezTo>
                      <a:pt x="39" y="37"/>
                      <a:pt x="39" y="36"/>
                      <a:pt x="39" y="36"/>
                    </a:cubicBezTo>
                    <a:cubicBezTo>
                      <a:pt x="39" y="35"/>
                      <a:pt x="39" y="34"/>
                      <a:pt x="38" y="34"/>
                    </a:cubicBezTo>
                    <a:cubicBezTo>
                      <a:pt x="38" y="33"/>
                      <a:pt x="38" y="33"/>
                      <a:pt x="38" y="33"/>
                    </a:cubicBezTo>
                    <a:cubicBezTo>
                      <a:pt x="38" y="32"/>
                      <a:pt x="38" y="31"/>
                      <a:pt x="37" y="31"/>
                    </a:cubicBezTo>
                    <a:cubicBezTo>
                      <a:pt x="37" y="30"/>
                      <a:pt x="37" y="30"/>
                      <a:pt x="37" y="30"/>
                    </a:cubicBezTo>
                    <a:cubicBezTo>
                      <a:pt x="37" y="29"/>
                      <a:pt x="37" y="28"/>
                      <a:pt x="36" y="28"/>
                    </a:cubicBezTo>
                    <a:cubicBezTo>
                      <a:pt x="36" y="27"/>
                      <a:pt x="36" y="27"/>
                      <a:pt x="36" y="27"/>
                    </a:cubicBezTo>
                    <a:cubicBezTo>
                      <a:pt x="35" y="26"/>
                      <a:pt x="35" y="25"/>
                      <a:pt x="35" y="25"/>
                    </a:cubicBezTo>
                    <a:cubicBezTo>
                      <a:pt x="35" y="24"/>
                      <a:pt x="34" y="24"/>
                      <a:pt x="34" y="24"/>
                    </a:cubicBezTo>
                    <a:cubicBezTo>
                      <a:pt x="34" y="23"/>
                      <a:pt x="34" y="23"/>
                      <a:pt x="33" y="22"/>
                    </a:cubicBezTo>
                    <a:cubicBezTo>
                      <a:pt x="33" y="22"/>
                      <a:pt x="33" y="22"/>
                      <a:pt x="33" y="22"/>
                    </a:cubicBezTo>
                    <a:cubicBezTo>
                      <a:pt x="32" y="21"/>
                      <a:pt x="32" y="21"/>
                      <a:pt x="31" y="20"/>
                    </a:cubicBezTo>
                    <a:cubicBezTo>
                      <a:pt x="31" y="20"/>
                      <a:pt x="31" y="20"/>
                      <a:pt x="31" y="19"/>
                    </a:cubicBezTo>
                    <a:cubicBezTo>
                      <a:pt x="31" y="19"/>
                      <a:pt x="30" y="18"/>
                      <a:pt x="29" y="18"/>
                    </a:cubicBezTo>
                    <a:cubicBezTo>
                      <a:pt x="29" y="17"/>
                      <a:pt x="29" y="17"/>
                      <a:pt x="29" y="17"/>
                    </a:cubicBezTo>
                    <a:cubicBezTo>
                      <a:pt x="29" y="17"/>
                      <a:pt x="28" y="16"/>
                      <a:pt x="27" y="16"/>
                    </a:cubicBezTo>
                    <a:cubicBezTo>
                      <a:pt x="27" y="15"/>
                      <a:pt x="27" y="15"/>
                      <a:pt x="27" y="15"/>
                    </a:cubicBezTo>
                    <a:cubicBezTo>
                      <a:pt x="26" y="14"/>
                      <a:pt x="26" y="14"/>
                      <a:pt x="25" y="14"/>
                    </a:cubicBezTo>
                    <a:cubicBezTo>
                      <a:pt x="25" y="13"/>
                      <a:pt x="25" y="13"/>
                      <a:pt x="24" y="13"/>
                    </a:cubicBezTo>
                    <a:cubicBezTo>
                      <a:pt x="24" y="13"/>
                      <a:pt x="23" y="12"/>
                      <a:pt x="23" y="12"/>
                    </a:cubicBezTo>
                    <a:cubicBezTo>
                      <a:pt x="23" y="12"/>
                      <a:pt x="22" y="11"/>
                      <a:pt x="22" y="11"/>
                    </a:cubicBezTo>
                    <a:cubicBezTo>
                      <a:pt x="21" y="11"/>
                      <a:pt x="21" y="10"/>
                      <a:pt x="20" y="10"/>
                    </a:cubicBezTo>
                    <a:cubicBezTo>
                      <a:pt x="20" y="10"/>
                      <a:pt x="20" y="10"/>
                      <a:pt x="19" y="10"/>
                    </a:cubicBezTo>
                    <a:cubicBezTo>
                      <a:pt x="19" y="9"/>
                      <a:pt x="18" y="9"/>
                      <a:pt x="17" y="9"/>
                    </a:cubicBezTo>
                    <a:cubicBezTo>
                      <a:pt x="17" y="9"/>
                      <a:pt x="17" y="8"/>
                      <a:pt x="17" y="8"/>
                    </a:cubicBezTo>
                    <a:cubicBezTo>
                      <a:pt x="16" y="8"/>
                      <a:pt x="15" y="8"/>
                      <a:pt x="14" y="7"/>
                    </a:cubicBezTo>
                    <a:cubicBezTo>
                      <a:pt x="14" y="7"/>
                      <a:pt x="14" y="7"/>
                      <a:pt x="14" y="7"/>
                    </a:cubicBezTo>
                    <a:cubicBezTo>
                      <a:pt x="13" y="7"/>
                      <a:pt x="12" y="7"/>
                      <a:pt x="11" y="6"/>
                    </a:cubicBezTo>
                    <a:cubicBezTo>
                      <a:pt x="11" y="6"/>
                      <a:pt x="11" y="6"/>
                      <a:pt x="10" y="6"/>
                    </a:cubicBezTo>
                    <a:cubicBezTo>
                      <a:pt x="10" y="6"/>
                      <a:pt x="9" y="6"/>
                      <a:pt x="8" y="6"/>
                    </a:cubicBezTo>
                    <a:cubicBezTo>
                      <a:pt x="8" y="5"/>
                      <a:pt x="7" y="5"/>
                      <a:pt x="7" y="5"/>
                    </a:cubicBezTo>
                    <a:cubicBezTo>
                      <a:pt x="6" y="5"/>
                      <a:pt x="5" y="5"/>
                      <a:pt x="4" y="5"/>
                    </a:cubicBezTo>
                    <a:cubicBezTo>
                      <a:pt x="4" y="5"/>
                      <a:pt x="4" y="5"/>
                      <a:pt x="3" y="5"/>
                    </a:cubicBezTo>
                    <a:cubicBezTo>
                      <a:pt x="2" y="5"/>
                      <a:pt x="1" y="5"/>
                      <a:pt x="1"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237">
                <a:extLst>
                  <a:ext uri="{FF2B5EF4-FFF2-40B4-BE49-F238E27FC236}">
                    <a16:creationId xmlns:a16="http://schemas.microsoft.com/office/drawing/2014/main" id="{E394AAE4-E8EB-4172-BDCE-C180FD4599C0}"/>
                  </a:ext>
                </a:extLst>
              </p:cNvPr>
              <p:cNvSpPr>
                <a:spLocks/>
              </p:cNvSpPr>
              <p:nvPr/>
            </p:nvSpPr>
            <p:spPr bwMode="auto">
              <a:xfrm>
                <a:off x="3778409" y="3016042"/>
                <a:ext cx="94973" cy="93690"/>
              </a:xfrm>
              <a:custGeom>
                <a:avLst/>
                <a:gdLst>
                  <a:gd name="T0" fmla="*/ 27 w 31"/>
                  <a:gd name="T1" fmla="*/ 31 h 31"/>
                  <a:gd name="T2" fmla="*/ 27 w 31"/>
                  <a:gd name="T3" fmla="*/ 30 h 31"/>
                  <a:gd name="T4" fmla="*/ 26 w 31"/>
                  <a:gd name="T5" fmla="*/ 27 h 31"/>
                  <a:gd name="T6" fmla="*/ 26 w 31"/>
                  <a:gd name="T7" fmla="*/ 26 h 31"/>
                  <a:gd name="T8" fmla="*/ 26 w 31"/>
                  <a:gd name="T9" fmla="*/ 24 h 31"/>
                  <a:gd name="T10" fmla="*/ 25 w 31"/>
                  <a:gd name="T11" fmla="*/ 23 h 31"/>
                  <a:gd name="T12" fmla="*/ 25 w 31"/>
                  <a:gd name="T13" fmla="*/ 21 h 31"/>
                  <a:gd name="T14" fmla="*/ 24 w 31"/>
                  <a:gd name="T15" fmla="*/ 20 h 31"/>
                  <a:gd name="T16" fmla="*/ 24 w 31"/>
                  <a:gd name="T17" fmla="*/ 18 h 31"/>
                  <a:gd name="T18" fmla="*/ 23 w 31"/>
                  <a:gd name="T19" fmla="*/ 17 h 31"/>
                  <a:gd name="T20" fmla="*/ 22 w 31"/>
                  <a:gd name="T21" fmla="*/ 15 h 31"/>
                  <a:gd name="T22" fmla="*/ 21 w 31"/>
                  <a:gd name="T23" fmla="*/ 15 h 31"/>
                  <a:gd name="T24" fmla="*/ 20 w 31"/>
                  <a:gd name="T25" fmla="*/ 13 h 31"/>
                  <a:gd name="T26" fmla="*/ 19 w 31"/>
                  <a:gd name="T27" fmla="*/ 12 h 31"/>
                  <a:gd name="T28" fmla="*/ 18 w 31"/>
                  <a:gd name="T29" fmla="*/ 11 h 31"/>
                  <a:gd name="T30" fmla="*/ 17 w 31"/>
                  <a:gd name="T31" fmla="*/ 10 h 31"/>
                  <a:gd name="T32" fmla="*/ 16 w 31"/>
                  <a:gd name="T33" fmla="*/ 9 h 31"/>
                  <a:gd name="T34" fmla="*/ 15 w 31"/>
                  <a:gd name="T35" fmla="*/ 8 h 31"/>
                  <a:gd name="T36" fmla="*/ 13 w 31"/>
                  <a:gd name="T37" fmla="*/ 7 h 31"/>
                  <a:gd name="T38" fmla="*/ 12 w 31"/>
                  <a:gd name="T39" fmla="*/ 7 h 31"/>
                  <a:gd name="T40" fmla="*/ 10 w 31"/>
                  <a:gd name="T41" fmla="*/ 6 h 31"/>
                  <a:gd name="T42" fmla="*/ 9 w 31"/>
                  <a:gd name="T43" fmla="*/ 6 h 31"/>
                  <a:gd name="T44" fmla="*/ 7 w 31"/>
                  <a:gd name="T45" fmla="*/ 5 h 31"/>
                  <a:gd name="T46" fmla="*/ 6 w 31"/>
                  <a:gd name="T47" fmla="*/ 5 h 31"/>
                  <a:gd name="T48" fmla="*/ 4 w 31"/>
                  <a:gd name="T49" fmla="*/ 4 h 31"/>
                  <a:gd name="T50" fmla="*/ 3 w 31"/>
                  <a:gd name="T51" fmla="*/ 4 h 31"/>
                  <a:gd name="T52" fmla="*/ 0 w 31"/>
                  <a:gd name="T53" fmla="*/ 4 h 31"/>
                  <a:gd name="T54" fmla="*/ 0 w 31"/>
                  <a:gd name="T55" fmla="*/ 3 h 31"/>
                  <a:gd name="T56" fmla="*/ 0 w 31"/>
                  <a:gd name="T57" fmla="*/ 0 h 31"/>
                  <a:gd name="T58" fmla="*/ 0 w 31"/>
                  <a:gd name="T59" fmla="*/ 0 h 31"/>
                  <a:gd name="T60" fmla="*/ 3 w 31"/>
                  <a:gd name="T61" fmla="*/ 0 h 31"/>
                  <a:gd name="T62" fmla="*/ 4 w 31"/>
                  <a:gd name="T63" fmla="*/ 0 h 31"/>
                  <a:gd name="T64" fmla="*/ 7 w 31"/>
                  <a:gd name="T65" fmla="*/ 0 h 31"/>
                  <a:gd name="T66" fmla="*/ 8 w 31"/>
                  <a:gd name="T67" fmla="*/ 1 h 31"/>
                  <a:gd name="T68" fmla="*/ 10 w 31"/>
                  <a:gd name="T69" fmla="*/ 1 h 31"/>
                  <a:gd name="T70" fmla="*/ 11 w 31"/>
                  <a:gd name="T71" fmla="*/ 1 h 31"/>
                  <a:gd name="T72" fmla="*/ 13 w 31"/>
                  <a:gd name="T73" fmla="*/ 2 h 31"/>
                  <a:gd name="T74" fmla="*/ 14 w 31"/>
                  <a:gd name="T75" fmla="*/ 3 h 31"/>
                  <a:gd name="T76" fmla="*/ 16 w 31"/>
                  <a:gd name="T77" fmla="*/ 4 h 31"/>
                  <a:gd name="T78" fmla="*/ 16 w 31"/>
                  <a:gd name="T79" fmla="*/ 4 h 31"/>
                  <a:gd name="T80" fmla="*/ 18 w 31"/>
                  <a:gd name="T81" fmla="*/ 5 h 31"/>
                  <a:gd name="T82" fmla="*/ 19 w 31"/>
                  <a:gd name="T83" fmla="*/ 6 h 31"/>
                  <a:gd name="T84" fmla="*/ 21 w 31"/>
                  <a:gd name="T85" fmla="*/ 7 h 31"/>
                  <a:gd name="T86" fmla="*/ 21 w 31"/>
                  <a:gd name="T87" fmla="*/ 8 h 31"/>
                  <a:gd name="T88" fmla="*/ 23 w 31"/>
                  <a:gd name="T89" fmla="*/ 9 h 31"/>
                  <a:gd name="T90" fmla="*/ 23 w 31"/>
                  <a:gd name="T91" fmla="*/ 10 h 31"/>
                  <a:gd name="T92" fmla="*/ 25 w 31"/>
                  <a:gd name="T93" fmla="*/ 11 h 31"/>
                  <a:gd name="T94" fmla="*/ 25 w 31"/>
                  <a:gd name="T95" fmla="*/ 12 h 31"/>
                  <a:gd name="T96" fmla="*/ 26 w 31"/>
                  <a:gd name="T97" fmla="*/ 14 h 31"/>
                  <a:gd name="T98" fmla="*/ 27 w 31"/>
                  <a:gd name="T99" fmla="*/ 14 h 31"/>
                  <a:gd name="T100" fmla="*/ 28 w 31"/>
                  <a:gd name="T101" fmla="*/ 16 h 31"/>
                  <a:gd name="T102" fmla="*/ 28 w 31"/>
                  <a:gd name="T103" fmla="*/ 17 h 31"/>
                  <a:gd name="T104" fmla="*/ 29 w 31"/>
                  <a:gd name="T105" fmla="*/ 19 h 31"/>
                  <a:gd name="T106" fmla="*/ 29 w 31"/>
                  <a:gd name="T107" fmla="*/ 20 h 31"/>
                  <a:gd name="T108" fmla="*/ 30 w 31"/>
                  <a:gd name="T109" fmla="*/ 22 h 31"/>
                  <a:gd name="T110" fmla="*/ 30 w 31"/>
                  <a:gd name="T111" fmla="*/ 23 h 31"/>
                  <a:gd name="T112" fmla="*/ 31 w 31"/>
                  <a:gd name="T113" fmla="*/ 26 h 31"/>
                  <a:gd name="T114" fmla="*/ 31 w 31"/>
                  <a:gd name="T115" fmla="*/ 27 h 31"/>
                  <a:gd name="T116" fmla="*/ 31 w 31"/>
                  <a:gd name="T117" fmla="*/ 30 h 31"/>
                  <a:gd name="T118" fmla="*/ 31 w 31"/>
                  <a:gd name="T119" fmla="*/ 30 h 31"/>
                  <a:gd name="T120" fmla="*/ 31 w 31"/>
                  <a:gd name="T121" fmla="*/ 31 h 31"/>
                  <a:gd name="T122" fmla="*/ 30 w 31"/>
                  <a:gd name="T123" fmla="*/ 31 h 31"/>
                  <a:gd name="T124" fmla="*/ 27 w 31"/>
                  <a:gd name="T1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 h="31">
                    <a:moveTo>
                      <a:pt x="27" y="31"/>
                    </a:moveTo>
                    <a:cubicBezTo>
                      <a:pt x="27" y="31"/>
                      <a:pt x="27" y="30"/>
                      <a:pt x="27" y="30"/>
                    </a:cubicBezTo>
                    <a:cubicBezTo>
                      <a:pt x="27" y="29"/>
                      <a:pt x="27" y="28"/>
                      <a:pt x="26" y="27"/>
                    </a:cubicBezTo>
                    <a:cubicBezTo>
                      <a:pt x="26" y="27"/>
                      <a:pt x="26" y="27"/>
                      <a:pt x="26" y="26"/>
                    </a:cubicBezTo>
                    <a:cubicBezTo>
                      <a:pt x="26" y="26"/>
                      <a:pt x="26" y="25"/>
                      <a:pt x="26" y="24"/>
                    </a:cubicBezTo>
                    <a:cubicBezTo>
                      <a:pt x="26" y="23"/>
                      <a:pt x="26" y="23"/>
                      <a:pt x="25" y="23"/>
                    </a:cubicBezTo>
                    <a:cubicBezTo>
                      <a:pt x="25" y="22"/>
                      <a:pt x="25" y="21"/>
                      <a:pt x="25" y="21"/>
                    </a:cubicBezTo>
                    <a:cubicBezTo>
                      <a:pt x="25" y="20"/>
                      <a:pt x="25" y="20"/>
                      <a:pt x="24" y="20"/>
                    </a:cubicBezTo>
                    <a:cubicBezTo>
                      <a:pt x="24" y="19"/>
                      <a:pt x="24" y="19"/>
                      <a:pt x="24" y="18"/>
                    </a:cubicBezTo>
                    <a:cubicBezTo>
                      <a:pt x="23" y="18"/>
                      <a:pt x="23" y="17"/>
                      <a:pt x="23" y="17"/>
                    </a:cubicBezTo>
                    <a:cubicBezTo>
                      <a:pt x="23" y="16"/>
                      <a:pt x="22" y="16"/>
                      <a:pt x="22" y="15"/>
                    </a:cubicBezTo>
                    <a:cubicBezTo>
                      <a:pt x="22" y="15"/>
                      <a:pt x="22" y="15"/>
                      <a:pt x="21" y="15"/>
                    </a:cubicBezTo>
                    <a:cubicBezTo>
                      <a:pt x="21" y="14"/>
                      <a:pt x="21" y="13"/>
                      <a:pt x="20" y="13"/>
                    </a:cubicBezTo>
                    <a:cubicBezTo>
                      <a:pt x="20" y="13"/>
                      <a:pt x="20" y="13"/>
                      <a:pt x="19" y="12"/>
                    </a:cubicBezTo>
                    <a:cubicBezTo>
                      <a:pt x="19" y="12"/>
                      <a:pt x="19" y="11"/>
                      <a:pt x="18" y="11"/>
                    </a:cubicBezTo>
                    <a:cubicBezTo>
                      <a:pt x="18" y="11"/>
                      <a:pt x="18" y="11"/>
                      <a:pt x="17" y="10"/>
                    </a:cubicBezTo>
                    <a:cubicBezTo>
                      <a:pt x="17" y="10"/>
                      <a:pt x="16" y="9"/>
                      <a:pt x="16" y="9"/>
                    </a:cubicBezTo>
                    <a:cubicBezTo>
                      <a:pt x="15" y="9"/>
                      <a:pt x="15" y="9"/>
                      <a:pt x="15" y="8"/>
                    </a:cubicBezTo>
                    <a:cubicBezTo>
                      <a:pt x="14" y="8"/>
                      <a:pt x="14" y="8"/>
                      <a:pt x="13" y="7"/>
                    </a:cubicBezTo>
                    <a:cubicBezTo>
                      <a:pt x="13" y="7"/>
                      <a:pt x="13" y="7"/>
                      <a:pt x="12" y="7"/>
                    </a:cubicBezTo>
                    <a:cubicBezTo>
                      <a:pt x="12" y="7"/>
                      <a:pt x="11" y="6"/>
                      <a:pt x="10" y="6"/>
                    </a:cubicBezTo>
                    <a:cubicBezTo>
                      <a:pt x="10" y="6"/>
                      <a:pt x="10" y="6"/>
                      <a:pt x="9" y="6"/>
                    </a:cubicBezTo>
                    <a:cubicBezTo>
                      <a:pt x="9" y="5"/>
                      <a:pt x="8" y="5"/>
                      <a:pt x="7" y="5"/>
                    </a:cubicBezTo>
                    <a:cubicBezTo>
                      <a:pt x="7" y="5"/>
                      <a:pt x="7" y="5"/>
                      <a:pt x="6" y="5"/>
                    </a:cubicBezTo>
                    <a:cubicBezTo>
                      <a:pt x="6" y="5"/>
                      <a:pt x="5" y="4"/>
                      <a:pt x="4" y="4"/>
                    </a:cubicBezTo>
                    <a:cubicBezTo>
                      <a:pt x="3" y="4"/>
                      <a:pt x="3" y="4"/>
                      <a:pt x="3" y="4"/>
                    </a:cubicBezTo>
                    <a:cubicBezTo>
                      <a:pt x="2" y="4"/>
                      <a:pt x="1" y="4"/>
                      <a:pt x="0" y="4"/>
                    </a:cubicBezTo>
                    <a:cubicBezTo>
                      <a:pt x="0" y="4"/>
                      <a:pt x="0" y="3"/>
                      <a:pt x="0" y="3"/>
                    </a:cubicBezTo>
                    <a:cubicBezTo>
                      <a:pt x="0" y="2"/>
                      <a:pt x="0" y="1"/>
                      <a:pt x="0" y="0"/>
                    </a:cubicBezTo>
                    <a:cubicBezTo>
                      <a:pt x="0" y="0"/>
                      <a:pt x="0" y="0"/>
                      <a:pt x="0" y="0"/>
                    </a:cubicBezTo>
                    <a:cubicBezTo>
                      <a:pt x="1" y="0"/>
                      <a:pt x="2" y="0"/>
                      <a:pt x="3" y="0"/>
                    </a:cubicBezTo>
                    <a:cubicBezTo>
                      <a:pt x="4" y="0"/>
                      <a:pt x="4" y="0"/>
                      <a:pt x="4" y="0"/>
                    </a:cubicBezTo>
                    <a:cubicBezTo>
                      <a:pt x="5" y="0"/>
                      <a:pt x="6" y="0"/>
                      <a:pt x="7" y="0"/>
                    </a:cubicBezTo>
                    <a:cubicBezTo>
                      <a:pt x="7" y="0"/>
                      <a:pt x="7" y="0"/>
                      <a:pt x="8" y="1"/>
                    </a:cubicBezTo>
                    <a:cubicBezTo>
                      <a:pt x="9" y="1"/>
                      <a:pt x="9" y="1"/>
                      <a:pt x="10" y="1"/>
                    </a:cubicBezTo>
                    <a:cubicBezTo>
                      <a:pt x="10" y="1"/>
                      <a:pt x="11" y="1"/>
                      <a:pt x="11" y="1"/>
                    </a:cubicBezTo>
                    <a:cubicBezTo>
                      <a:pt x="12" y="2"/>
                      <a:pt x="12" y="2"/>
                      <a:pt x="13" y="2"/>
                    </a:cubicBezTo>
                    <a:cubicBezTo>
                      <a:pt x="13" y="2"/>
                      <a:pt x="13" y="3"/>
                      <a:pt x="14" y="3"/>
                    </a:cubicBezTo>
                    <a:cubicBezTo>
                      <a:pt x="14" y="3"/>
                      <a:pt x="15" y="3"/>
                      <a:pt x="16" y="4"/>
                    </a:cubicBezTo>
                    <a:cubicBezTo>
                      <a:pt x="16" y="4"/>
                      <a:pt x="16" y="4"/>
                      <a:pt x="16" y="4"/>
                    </a:cubicBezTo>
                    <a:cubicBezTo>
                      <a:pt x="17" y="5"/>
                      <a:pt x="18" y="5"/>
                      <a:pt x="18" y="5"/>
                    </a:cubicBezTo>
                    <a:cubicBezTo>
                      <a:pt x="19" y="6"/>
                      <a:pt x="19" y="6"/>
                      <a:pt x="19" y="6"/>
                    </a:cubicBezTo>
                    <a:cubicBezTo>
                      <a:pt x="20" y="6"/>
                      <a:pt x="20" y="7"/>
                      <a:pt x="21" y="7"/>
                    </a:cubicBezTo>
                    <a:cubicBezTo>
                      <a:pt x="21" y="7"/>
                      <a:pt x="21" y="8"/>
                      <a:pt x="21" y="8"/>
                    </a:cubicBezTo>
                    <a:cubicBezTo>
                      <a:pt x="22" y="8"/>
                      <a:pt x="22" y="9"/>
                      <a:pt x="23" y="9"/>
                    </a:cubicBezTo>
                    <a:cubicBezTo>
                      <a:pt x="23" y="9"/>
                      <a:pt x="23" y="10"/>
                      <a:pt x="23" y="10"/>
                    </a:cubicBezTo>
                    <a:cubicBezTo>
                      <a:pt x="24" y="10"/>
                      <a:pt x="24" y="11"/>
                      <a:pt x="25" y="11"/>
                    </a:cubicBezTo>
                    <a:cubicBezTo>
                      <a:pt x="25" y="12"/>
                      <a:pt x="25" y="12"/>
                      <a:pt x="25" y="12"/>
                    </a:cubicBezTo>
                    <a:cubicBezTo>
                      <a:pt x="26" y="13"/>
                      <a:pt x="26" y="13"/>
                      <a:pt x="26" y="14"/>
                    </a:cubicBezTo>
                    <a:cubicBezTo>
                      <a:pt x="26" y="14"/>
                      <a:pt x="27" y="14"/>
                      <a:pt x="27" y="14"/>
                    </a:cubicBezTo>
                    <a:cubicBezTo>
                      <a:pt x="27" y="15"/>
                      <a:pt x="27" y="16"/>
                      <a:pt x="28" y="16"/>
                    </a:cubicBezTo>
                    <a:cubicBezTo>
                      <a:pt x="28" y="17"/>
                      <a:pt x="28" y="17"/>
                      <a:pt x="28" y="17"/>
                    </a:cubicBezTo>
                    <a:cubicBezTo>
                      <a:pt x="29" y="18"/>
                      <a:pt x="29" y="19"/>
                      <a:pt x="29" y="19"/>
                    </a:cubicBezTo>
                    <a:cubicBezTo>
                      <a:pt x="29" y="20"/>
                      <a:pt x="29" y="20"/>
                      <a:pt x="29" y="20"/>
                    </a:cubicBezTo>
                    <a:cubicBezTo>
                      <a:pt x="30" y="21"/>
                      <a:pt x="30" y="21"/>
                      <a:pt x="30" y="22"/>
                    </a:cubicBezTo>
                    <a:cubicBezTo>
                      <a:pt x="30" y="23"/>
                      <a:pt x="30" y="23"/>
                      <a:pt x="30" y="23"/>
                    </a:cubicBezTo>
                    <a:cubicBezTo>
                      <a:pt x="31" y="24"/>
                      <a:pt x="31" y="25"/>
                      <a:pt x="31" y="26"/>
                    </a:cubicBezTo>
                    <a:cubicBezTo>
                      <a:pt x="31" y="26"/>
                      <a:pt x="31" y="26"/>
                      <a:pt x="31" y="27"/>
                    </a:cubicBezTo>
                    <a:cubicBezTo>
                      <a:pt x="31" y="28"/>
                      <a:pt x="31" y="29"/>
                      <a:pt x="31" y="30"/>
                    </a:cubicBezTo>
                    <a:cubicBezTo>
                      <a:pt x="31" y="30"/>
                      <a:pt x="31" y="30"/>
                      <a:pt x="31" y="30"/>
                    </a:cubicBezTo>
                    <a:cubicBezTo>
                      <a:pt x="31" y="31"/>
                      <a:pt x="31" y="31"/>
                      <a:pt x="31" y="31"/>
                    </a:cubicBezTo>
                    <a:cubicBezTo>
                      <a:pt x="31" y="31"/>
                      <a:pt x="30" y="31"/>
                      <a:pt x="30" y="31"/>
                    </a:cubicBezTo>
                    <a:cubicBezTo>
                      <a:pt x="29" y="31"/>
                      <a:pt x="28" y="31"/>
                      <a:pt x="27" y="3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238">
                <a:extLst>
                  <a:ext uri="{FF2B5EF4-FFF2-40B4-BE49-F238E27FC236}">
                    <a16:creationId xmlns:a16="http://schemas.microsoft.com/office/drawing/2014/main" id="{64E3B5F1-B847-4334-9985-093738C79E2A}"/>
                  </a:ext>
                </a:extLst>
              </p:cNvPr>
              <p:cNvSpPr>
                <a:spLocks/>
              </p:cNvSpPr>
              <p:nvPr/>
            </p:nvSpPr>
            <p:spPr bwMode="auto">
              <a:xfrm>
                <a:off x="3778409" y="3054545"/>
                <a:ext cx="55187" cy="55188"/>
              </a:xfrm>
              <a:custGeom>
                <a:avLst/>
                <a:gdLst>
                  <a:gd name="T0" fmla="*/ 15 w 18"/>
                  <a:gd name="T1" fmla="*/ 18 h 18"/>
                  <a:gd name="T2" fmla="*/ 13 w 18"/>
                  <a:gd name="T3" fmla="*/ 18 h 18"/>
                  <a:gd name="T4" fmla="*/ 13 w 18"/>
                  <a:gd name="T5" fmla="*/ 15 h 18"/>
                  <a:gd name="T6" fmla="*/ 13 w 18"/>
                  <a:gd name="T7" fmla="*/ 14 h 18"/>
                  <a:gd name="T8" fmla="*/ 12 w 18"/>
                  <a:gd name="T9" fmla="*/ 12 h 18"/>
                  <a:gd name="T10" fmla="*/ 12 w 18"/>
                  <a:gd name="T11" fmla="*/ 11 h 18"/>
                  <a:gd name="T12" fmla="*/ 11 w 18"/>
                  <a:gd name="T13" fmla="*/ 10 h 18"/>
                  <a:gd name="T14" fmla="*/ 10 w 18"/>
                  <a:gd name="T15" fmla="*/ 9 h 18"/>
                  <a:gd name="T16" fmla="*/ 8 w 18"/>
                  <a:gd name="T17" fmla="*/ 7 h 18"/>
                  <a:gd name="T18" fmla="*/ 8 w 18"/>
                  <a:gd name="T19" fmla="*/ 7 h 18"/>
                  <a:gd name="T20" fmla="*/ 6 w 18"/>
                  <a:gd name="T21" fmla="*/ 6 h 18"/>
                  <a:gd name="T22" fmla="*/ 5 w 18"/>
                  <a:gd name="T23" fmla="*/ 5 h 18"/>
                  <a:gd name="T24" fmla="*/ 3 w 18"/>
                  <a:gd name="T25" fmla="*/ 5 h 18"/>
                  <a:gd name="T26" fmla="*/ 2 w 18"/>
                  <a:gd name="T27" fmla="*/ 4 h 18"/>
                  <a:gd name="T28" fmla="*/ 1 w 18"/>
                  <a:gd name="T29" fmla="*/ 4 h 18"/>
                  <a:gd name="T30" fmla="*/ 0 w 18"/>
                  <a:gd name="T31" fmla="*/ 3 h 18"/>
                  <a:gd name="T32" fmla="*/ 0 w 18"/>
                  <a:gd name="T33" fmla="*/ 2 h 18"/>
                  <a:gd name="T34" fmla="*/ 0 w 18"/>
                  <a:gd name="T35" fmla="*/ 2 h 18"/>
                  <a:gd name="T36" fmla="*/ 2 w 18"/>
                  <a:gd name="T37" fmla="*/ 0 h 18"/>
                  <a:gd name="T38" fmla="*/ 4 w 18"/>
                  <a:gd name="T39" fmla="*/ 0 h 18"/>
                  <a:gd name="T40" fmla="*/ 6 w 18"/>
                  <a:gd name="T41" fmla="*/ 1 h 18"/>
                  <a:gd name="T42" fmla="*/ 7 w 18"/>
                  <a:gd name="T43" fmla="*/ 1 h 18"/>
                  <a:gd name="T44" fmla="*/ 9 w 18"/>
                  <a:gd name="T45" fmla="*/ 2 h 18"/>
                  <a:gd name="T46" fmla="*/ 9 w 18"/>
                  <a:gd name="T47" fmla="*/ 2 h 18"/>
                  <a:gd name="T48" fmla="*/ 11 w 18"/>
                  <a:gd name="T49" fmla="*/ 4 h 18"/>
                  <a:gd name="T50" fmla="*/ 12 w 18"/>
                  <a:gd name="T51" fmla="*/ 4 h 18"/>
                  <a:gd name="T52" fmla="*/ 13 w 18"/>
                  <a:gd name="T53" fmla="*/ 6 h 18"/>
                  <a:gd name="T54" fmla="*/ 14 w 18"/>
                  <a:gd name="T55" fmla="*/ 6 h 18"/>
                  <a:gd name="T56" fmla="*/ 15 w 18"/>
                  <a:gd name="T57" fmla="*/ 8 h 18"/>
                  <a:gd name="T58" fmla="*/ 15 w 18"/>
                  <a:gd name="T59" fmla="*/ 9 h 18"/>
                  <a:gd name="T60" fmla="*/ 16 w 18"/>
                  <a:gd name="T61" fmla="*/ 10 h 18"/>
                  <a:gd name="T62" fmla="*/ 17 w 18"/>
                  <a:gd name="T63" fmla="*/ 12 h 18"/>
                  <a:gd name="T64" fmla="*/ 18 w 18"/>
                  <a:gd name="T65" fmla="*/ 14 h 18"/>
                  <a:gd name="T66" fmla="*/ 18 w 18"/>
                  <a:gd name="T67" fmla="*/ 15 h 18"/>
                  <a:gd name="T68" fmla="*/ 18 w 18"/>
                  <a:gd name="T69" fmla="*/ 17 h 18"/>
                  <a:gd name="T70" fmla="*/ 18 w 18"/>
                  <a:gd name="T71" fmla="*/ 18 h 18"/>
                  <a:gd name="T72" fmla="*/ 15 w 18"/>
                  <a:gd name="T7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18">
                    <a:moveTo>
                      <a:pt x="15" y="18"/>
                    </a:moveTo>
                    <a:cubicBezTo>
                      <a:pt x="14" y="18"/>
                      <a:pt x="14" y="18"/>
                      <a:pt x="13" y="18"/>
                    </a:cubicBezTo>
                    <a:cubicBezTo>
                      <a:pt x="13" y="17"/>
                      <a:pt x="13" y="16"/>
                      <a:pt x="13" y="15"/>
                    </a:cubicBezTo>
                    <a:cubicBezTo>
                      <a:pt x="13" y="15"/>
                      <a:pt x="13" y="15"/>
                      <a:pt x="13" y="14"/>
                    </a:cubicBezTo>
                    <a:cubicBezTo>
                      <a:pt x="13" y="14"/>
                      <a:pt x="13" y="13"/>
                      <a:pt x="12" y="12"/>
                    </a:cubicBezTo>
                    <a:cubicBezTo>
                      <a:pt x="12" y="12"/>
                      <a:pt x="12" y="11"/>
                      <a:pt x="12" y="11"/>
                    </a:cubicBezTo>
                    <a:cubicBezTo>
                      <a:pt x="12" y="11"/>
                      <a:pt x="11" y="10"/>
                      <a:pt x="11" y="10"/>
                    </a:cubicBezTo>
                    <a:cubicBezTo>
                      <a:pt x="11" y="9"/>
                      <a:pt x="10" y="9"/>
                      <a:pt x="10" y="9"/>
                    </a:cubicBezTo>
                    <a:cubicBezTo>
                      <a:pt x="10" y="8"/>
                      <a:pt x="9" y="8"/>
                      <a:pt x="8" y="7"/>
                    </a:cubicBezTo>
                    <a:cubicBezTo>
                      <a:pt x="8" y="7"/>
                      <a:pt x="8" y="7"/>
                      <a:pt x="8" y="7"/>
                    </a:cubicBezTo>
                    <a:cubicBezTo>
                      <a:pt x="7" y="6"/>
                      <a:pt x="7" y="6"/>
                      <a:pt x="6" y="6"/>
                    </a:cubicBezTo>
                    <a:cubicBezTo>
                      <a:pt x="6" y="6"/>
                      <a:pt x="5" y="5"/>
                      <a:pt x="5" y="5"/>
                    </a:cubicBezTo>
                    <a:cubicBezTo>
                      <a:pt x="4" y="5"/>
                      <a:pt x="4" y="5"/>
                      <a:pt x="3" y="5"/>
                    </a:cubicBezTo>
                    <a:cubicBezTo>
                      <a:pt x="2" y="5"/>
                      <a:pt x="2" y="4"/>
                      <a:pt x="2" y="4"/>
                    </a:cubicBezTo>
                    <a:cubicBezTo>
                      <a:pt x="2" y="4"/>
                      <a:pt x="1" y="4"/>
                      <a:pt x="1" y="4"/>
                    </a:cubicBezTo>
                    <a:cubicBezTo>
                      <a:pt x="0" y="4"/>
                      <a:pt x="0" y="4"/>
                      <a:pt x="0" y="3"/>
                    </a:cubicBezTo>
                    <a:cubicBezTo>
                      <a:pt x="0" y="3"/>
                      <a:pt x="0" y="3"/>
                      <a:pt x="0" y="2"/>
                    </a:cubicBezTo>
                    <a:cubicBezTo>
                      <a:pt x="0" y="2"/>
                      <a:pt x="0" y="2"/>
                      <a:pt x="0" y="2"/>
                    </a:cubicBezTo>
                    <a:cubicBezTo>
                      <a:pt x="0" y="0"/>
                      <a:pt x="0" y="0"/>
                      <a:pt x="2" y="0"/>
                    </a:cubicBezTo>
                    <a:cubicBezTo>
                      <a:pt x="3" y="0"/>
                      <a:pt x="3" y="0"/>
                      <a:pt x="4" y="0"/>
                    </a:cubicBezTo>
                    <a:cubicBezTo>
                      <a:pt x="4" y="0"/>
                      <a:pt x="5" y="1"/>
                      <a:pt x="6" y="1"/>
                    </a:cubicBezTo>
                    <a:cubicBezTo>
                      <a:pt x="6" y="1"/>
                      <a:pt x="6" y="1"/>
                      <a:pt x="7" y="1"/>
                    </a:cubicBezTo>
                    <a:cubicBezTo>
                      <a:pt x="7" y="1"/>
                      <a:pt x="8" y="2"/>
                      <a:pt x="9" y="2"/>
                    </a:cubicBezTo>
                    <a:cubicBezTo>
                      <a:pt x="9" y="2"/>
                      <a:pt x="9" y="2"/>
                      <a:pt x="9" y="2"/>
                    </a:cubicBezTo>
                    <a:cubicBezTo>
                      <a:pt x="10" y="3"/>
                      <a:pt x="11" y="3"/>
                      <a:pt x="11" y="4"/>
                    </a:cubicBezTo>
                    <a:cubicBezTo>
                      <a:pt x="11" y="4"/>
                      <a:pt x="11" y="4"/>
                      <a:pt x="12" y="4"/>
                    </a:cubicBezTo>
                    <a:cubicBezTo>
                      <a:pt x="12" y="5"/>
                      <a:pt x="13" y="5"/>
                      <a:pt x="13" y="6"/>
                    </a:cubicBezTo>
                    <a:cubicBezTo>
                      <a:pt x="13" y="6"/>
                      <a:pt x="14" y="6"/>
                      <a:pt x="14" y="6"/>
                    </a:cubicBezTo>
                    <a:cubicBezTo>
                      <a:pt x="14" y="7"/>
                      <a:pt x="15" y="7"/>
                      <a:pt x="15" y="8"/>
                    </a:cubicBezTo>
                    <a:cubicBezTo>
                      <a:pt x="15" y="8"/>
                      <a:pt x="15" y="8"/>
                      <a:pt x="15" y="9"/>
                    </a:cubicBezTo>
                    <a:cubicBezTo>
                      <a:pt x="16" y="9"/>
                      <a:pt x="16" y="10"/>
                      <a:pt x="16" y="10"/>
                    </a:cubicBezTo>
                    <a:cubicBezTo>
                      <a:pt x="17" y="11"/>
                      <a:pt x="17" y="11"/>
                      <a:pt x="17" y="12"/>
                    </a:cubicBezTo>
                    <a:cubicBezTo>
                      <a:pt x="17" y="12"/>
                      <a:pt x="17" y="13"/>
                      <a:pt x="18" y="14"/>
                    </a:cubicBezTo>
                    <a:cubicBezTo>
                      <a:pt x="18" y="14"/>
                      <a:pt x="18" y="14"/>
                      <a:pt x="18" y="15"/>
                    </a:cubicBezTo>
                    <a:cubicBezTo>
                      <a:pt x="18" y="16"/>
                      <a:pt x="18" y="17"/>
                      <a:pt x="18" y="17"/>
                    </a:cubicBezTo>
                    <a:cubicBezTo>
                      <a:pt x="18" y="18"/>
                      <a:pt x="18" y="18"/>
                      <a:pt x="18" y="18"/>
                    </a:cubicBezTo>
                    <a:cubicBezTo>
                      <a:pt x="17" y="18"/>
                      <a:pt x="16" y="18"/>
                      <a:pt x="15" y="1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6" name="Groupe 235">
            <a:extLst>
              <a:ext uri="{FF2B5EF4-FFF2-40B4-BE49-F238E27FC236}">
                <a16:creationId xmlns:a16="http://schemas.microsoft.com/office/drawing/2014/main" id="{BE1DC99E-5F0F-4C97-B5DF-9EB8FFEA4D11}"/>
              </a:ext>
              <a:ext uri="{C183D7F6-B498-43B3-948B-1728B52AA6E4}">
                <adec:decorative xmlns:adec="http://schemas.microsoft.com/office/drawing/2017/decorative" val="1"/>
              </a:ext>
            </a:extLst>
          </p:cNvPr>
          <p:cNvGrpSpPr>
            <a:grpSpLocks noChangeAspect="1"/>
          </p:cNvGrpSpPr>
          <p:nvPr/>
        </p:nvGrpSpPr>
        <p:grpSpPr>
          <a:xfrm>
            <a:off x="5446187" y="1458706"/>
            <a:ext cx="676458" cy="633600"/>
            <a:chOff x="10272713" y="3460750"/>
            <a:chExt cx="927100" cy="868362"/>
          </a:xfrm>
        </p:grpSpPr>
        <p:sp>
          <p:nvSpPr>
            <p:cNvPr id="237" name="Freeform 266">
              <a:extLst>
                <a:ext uri="{FF2B5EF4-FFF2-40B4-BE49-F238E27FC236}">
                  <a16:creationId xmlns:a16="http://schemas.microsoft.com/office/drawing/2014/main" id="{3218871A-2165-4EC3-87D3-1CA959041BA3}"/>
                </a:ext>
              </a:extLst>
            </p:cNvPr>
            <p:cNvSpPr>
              <a:spLocks noChangeAspect="1"/>
            </p:cNvSpPr>
            <p:nvPr/>
          </p:nvSpPr>
          <p:spPr bwMode="auto">
            <a:xfrm>
              <a:off x="10272713" y="3460750"/>
              <a:ext cx="927100" cy="868362"/>
            </a:xfrm>
            <a:custGeom>
              <a:avLst/>
              <a:gdLst>
                <a:gd name="T0" fmla="*/ 36 w 247"/>
                <a:gd name="T1" fmla="*/ 180 h 231"/>
                <a:gd name="T2" fmla="*/ 59 w 247"/>
                <a:gd name="T3" fmla="*/ 34 h 231"/>
                <a:gd name="T4" fmla="*/ 212 w 247"/>
                <a:gd name="T5" fmla="*/ 56 h 231"/>
                <a:gd name="T6" fmla="*/ 184 w 247"/>
                <a:gd name="T7" fmla="*/ 196 h 231"/>
                <a:gd name="T8" fmla="*/ 36 w 247"/>
                <a:gd name="T9" fmla="*/ 180 h 231"/>
              </a:gdLst>
              <a:ahLst/>
              <a:cxnLst>
                <a:cxn ang="0">
                  <a:pos x="T0" y="T1"/>
                </a:cxn>
                <a:cxn ang="0">
                  <a:pos x="T2" y="T3"/>
                </a:cxn>
                <a:cxn ang="0">
                  <a:pos x="T4" y="T5"/>
                </a:cxn>
                <a:cxn ang="0">
                  <a:pos x="T6" y="T7"/>
                </a:cxn>
                <a:cxn ang="0">
                  <a:pos x="T8" y="T9"/>
                </a:cxn>
              </a:cxnLst>
              <a:rect l="0" t="0" r="r" b="b"/>
              <a:pathLst>
                <a:path w="247" h="231">
                  <a:moveTo>
                    <a:pt x="36" y="180"/>
                  </a:moveTo>
                  <a:cubicBezTo>
                    <a:pt x="0" y="134"/>
                    <a:pt x="10" y="68"/>
                    <a:pt x="59" y="34"/>
                  </a:cubicBezTo>
                  <a:cubicBezTo>
                    <a:pt x="108" y="0"/>
                    <a:pt x="176" y="9"/>
                    <a:pt x="212" y="56"/>
                  </a:cubicBezTo>
                  <a:cubicBezTo>
                    <a:pt x="247" y="102"/>
                    <a:pt x="233" y="162"/>
                    <a:pt x="184" y="196"/>
                  </a:cubicBezTo>
                  <a:cubicBezTo>
                    <a:pt x="135" y="231"/>
                    <a:pt x="71" y="227"/>
                    <a:pt x="36" y="180"/>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38" name="Freeform 267">
              <a:extLst>
                <a:ext uri="{FF2B5EF4-FFF2-40B4-BE49-F238E27FC236}">
                  <a16:creationId xmlns:a16="http://schemas.microsoft.com/office/drawing/2014/main" id="{8A5D8CF9-FED9-4A76-8ED8-7A5C46A97EC5}"/>
                </a:ext>
              </a:extLst>
            </p:cNvPr>
            <p:cNvSpPr>
              <a:spLocks noChangeAspect="1"/>
            </p:cNvSpPr>
            <p:nvPr/>
          </p:nvSpPr>
          <p:spPr bwMode="auto">
            <a:xfrm>
              <a:off x="10440988" y="3716338"/>
              <a:ext cx="458788" cy="477837"/>
            </a:xfrm>
            <a:custGeom>
              <a:avLst/>
              <a:gdLst>
                <a:gd name="T0" fmla="*/ 51 w 122"/>
                <a:gd name="T1" fmla="*/ 127 h 127"/>
                <a:gd name="T2" fmla="*/ 26 w 122"/>
                <a:gd name="T3" fmla="*/ 105 h 127"/>
                <a:gd name="T4" fmla="*/ 12 w 122"/>
                <a:gd name="T5" fmla="*/ 71 h 127"/>
                <a:gd name="T6" fmla="*/ 60 w 122"/>
                <a:gd name="T7" fmla="*/ 15 h 127"/>
                <a:gd name="T8" fmla="*/ 106 w 122"/>
                <a:gd name="T9" fmla="*/ 11 h 127"/>
                <a:gd name="T10" fmla="*/ 106 w 122"/>
                <a:gd name="T11" fmla="*/ 11 h 127"/>
                <a:gd name="T12" fmla="*/ 110 w 122"/>
                <a:gd name="T13" fmla="*/ 58 h 127"/>
                <a:gd name="T14" fmla="*/ 52 w 122"/>
                <a:gd name="T15" fmla="*/ 125 h 127"/>
                <a:gd name="T16" fmla="*/ 51 w 122"/>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127">
                  <a:moveTo>
                    <a:pt x="51" y="127"/>
                  </a:moveTo>
                  <a:cubicBezTo>
                    <a:pt x="26" y="105"/>
                    <a:pt x="26" y="105"/>
                    <a:pt x="26" y="105"/>
                  </a:cubicBezTo>
                  <a:cubicBezTo>
                    <a:pt x="12" y="93"/>
                    <a:pt x="0" y="84"/>
                    <a:pt x="12" y="71"/>
                  </a:cubicBezTo>
                  <a:cubicBezTo>
                    <a:pt x="60" y="15"/>
                    <a:pt x="60" y="15"/>
                    <a:pt x="60" y="15"/>
                  </a:cubicBezTo>
                  <a:cubicBezTo>
                    <a:pt x="72" y="1"/>
                    <a:pt x="92" y="0"/>
                    <a:pt x="106" y="11"/>
                  </a:cubicBezTo>
                  <a:cubicBezTo>
                    <a:pt x="106" y="11"/>
                    <a:pt x="106" y="11"/>
                    <a:pt x="106" y="11"/>
                  </a:cubicBezTo>
                  <a:cubicBezTo>
                    <a:pt x="120" y="23"/>
                    <a:pt x="122" y="44"/>
                    <a:pt x="110" y="58"/>
                  </a:cubicBezTo>
                  <a:cubicBezTo>
                    <a:pt x="52" y="125"/>
                    <a:pt x="52" y="125"/>
                    <a:pt x="52" y="125"/>
                  </a:cubicBezTo>
                  <a:lnTo>
                    <a:pt x="51" y="12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9" name="Freeform 268">
              <a:extLst>
                <a:ext uri="{FF2B5EF4-FFF2-40B4-BE49-F238E27FC236}">
                  <a16:creationId xmlns:a16="http://schemas.microsoft.com/office/drawing/2014/main" id="{06B64C13-A5F8-477C-BEFB-F33AEAFBFD5B}"/>
                </a:ext>
              </a:extLst>
            </p:cNvPr>
            <p:cNvSpPr>
              <a:spLocks noChangeAspect="1"/>
            </p:cNvSpPr>
            <p:nvPr/>
          </p:nvSpPr>
          <p:spPr bwMode="auto">
            <a:xfrm>
              <a:off x="10726738" y="3784600"/>
              <a:ext cx="101600" cy="101600"/>
            </a:xfrm>
            <a:custGeom>
              <a:avLst/>
              <a:gdLst>
                <a:gd name="T0" fmla="*/ 23 w 27"/>
                <a:gd name="T1" fmla="*/ 21 h 27"/>
                <a:gd name="T2" fmla="*/ 6 w 27"/>
                <a:gd name="T3" fmla="*/ 23 h 27"/>
                <a:gd name="T4" fmla="*/ 4 w 27"/>
                <a:gd name="T5" fmla="*/ 6 h 27"/>
                <a:gd name="T6" fmla="*/ 22 w 27"/>
                <a:gd name="T7" fmla="*/ 4 h 27"/>
                <a:gd name="T8" fmla="*/ 23 w 27"/>
                <a:gd name="T9" fmla="*/ 21 h 27"/>
              </a:gdLst>
              <a:ahLst/>
              <a:cxnLst>
                <a:cxn ang="0">
                  <a:pos x="T0" y="T1"/>
                </a:cxn>
                <a:cxn ang="0">
                  <a:pos x="T2" y="T3"/>
                </a:cxn>
                <a:cxn ang="0">
                  <a:pos x="T4" y="T5"/>
                </a:cxn>
                <a:cxn ang="0">
                  <a:pos x="T6" y="T7"/>
                </a:cxn>
                <a:cxn ang="0">
                  <a:pos x="T8" y="T9"/>
                </a:cxn>
              </a:cxnLst>
              <a:rect l="0" t="0" r="r" b="b"/>
              <a:pathLst>
                <a:path w="27" h="27">
                  <a:moveTo>
                    <a:pt x="23" y="21"/>
                  </a:moveTo>
                  <a:cubicBezTo>
                    <a:pt x="19" y="26"/>
                    <a:pt x="11" y="27"/>
                    <a:pt x="6" y="23"/>
                  </a:cubicBezTo>
                  <a:cubicBezTo>
                    <a:pt x="1" y="18"/>
                    <a:pt x="0" y="11"/>
                    <a:pt x="4" y="6"/>
                  </a:cubicBezTo>
                  <a:cubicBezTo>
                    <a:pt x="9" y="1"/>
                    <a:pt x="16" y="0"/>
                    <a:pt x="22" y="4"/>
                  </a:cubicBezTo>
                  <a:cubicBezTo>
                    <a:pt x="27" y="9"/>
                    <a:pt x="27" y="16"/>
                    <a:pt x="23" y="21"/>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40" name="Freeform 269">
              <a:extLst>
                <a:ext uri="{FF2B5EF4-FFF2-40B4-BE49-F238E27FC236}">
                  <a16:creationId xmlns:a16="http://schemas.microsoft.com/office/drawing/2014/main" id="{516D4D80-6CFE-496A-8532-BF9F8519832C}"/>
                </a:ext>
              </a:extLst>
            </p:cNvPr>
            <p:cNvSpPr>
              <a:spLocks noChangeAspect="1"/>
            </p:cNvSpPr>
            <p:nvPr/>
          </p:nvSpPr>
          <p:spPr bwMode="auto">
            <a:xfrm>
              <a:off x="10812463" y="3670300"/>
              <a:ext cx="200025" cy="161925"/>
            </a:xfrm>
            <a:custGeom>
              <a:avLst/>
              <a:gdLst>
                <a:gd name="T0" fmla="*/ 2 w 53"/>
                <a:gd name="T1" fmla="*/ 43 h 43"/>
                <a:gd name="T2" fmla="*/ 0 w 53"/>
                <a:gd name="T3" fmla="*/ 36 h 43"/>
                <a:gd name="T4" fmla="*/ 45 w 53"/>
                <a:gd name="T5" fmla="*/ 15 h 43"/>
                <a:gd name="T6" fmla="*/ 44 w 53"/>
                <a:gd name="T7" fmla="*/ 10 h 43"/>
                <a:gd name="T8" fmla="*/ 38 w 53"/>
                <a:gd name="T9" fmla="*/ 8 h 43"/>
                <a:gd name="T10" fmla="*/ 10 w 53"/>
                <a:gd name="T11" fmla="*/ 26 h 43"/>
                <a:gd name="T12" fmla="*/ 5 w 53"/>
                <a:gd name="T13" fmla="*/ 21 h 43"/>
                <a:gd name="T14" fmla="*/ 39 w 53"/>
                <a:gd name="T15" fmla="*/ 1 h 43"/>
                <a:gd name="T16" fmla="*/ 50 w 53"/>
                <a:gd name="T17" fmla="*/ 7 h 43"/>
                <a:gd name="T18" fmla="*/ 51 w 53"/>
                <a:gd name="T19" fmla="*/ 18 h 43"/>
                <a:gd name="T20" fmla="*/ 2 w 53"/>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43">
                  <a:moveTo>
                    <a:pt x="2" y="43"/>
                  </a:moveTo>
                  <a:cubicBezTo>
                    <a:pt x="0" y="36"/>
                    <a:pt x="0" y="36"/>
                    <a:pt x="0" y="36"/>
                  </a:cubicBezTo>
                  <a:cubicBezTo>
                    <a:pt x="36" y="27"/>
                    <a:pt x="43" y="19"/>
                    <a:pt x="45" y="15"/>
                  </a:cubicBezTo>
                  <a:cubicBezTo>
                    <a:pt x="45" y="14"/>
                    <a:pt x="45" y="13"/>
                    <a:pt x="44" y="10"/>
                  </a:cubicBezTo>
                  <a:cubicBezTo>
                    <a:pt x="43" y="8"/>
                    <a:pt x="40" y="8"/>
                    <a:pt x="38" y="8"/>
                  </a:cubicBezTo>
                  <a:cubicBezTo>
                    <a:pt x="31" y="7"/>
                    <a:pt x="20" y="14"/>
                    <a:pt x="10" y="26"/>
                  </a:cubicBezTo>
                  <a:cubicBezTo>
                    <a:pt x="5" y="21"/>
                    <a:pt x="5" y="21"/>
                    <a:pt x="5" y="21"/>
                  </a:cubicBezTo>
                  <a:cubicBezTo>
                    <a:pt x="21" y="3"/>
                    <a:pt x="33" y="0"/>
                    <a:pt x="39" y="1"/>
                  </a:cubicBezTo>
                  <a:cubicBezTo>
                    <a:pt x="44" y="1"/>
                    <a:pt x="48" y="3"/>
                    <a:pt x="50" y="7"/>
                  </a:cubicBezTo>
                  <a:cubicBezTo>
                    <a:pt x="52" y="10"/>
                    <a:pt x="53" y="14"/>
                    <a:pt x="51" y="18"/>
                  </a:cubicBezTo>
                  <a:cubicBezTo>
                    <a:pt x="47" y="28"/>
                    <a:pt x="31" y="36"/>
                    <a:pt x="2" y="4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243" name="Freeform 102">
            <a:extLst>
              <a:ext uri="{FF2B5EF4-FFF2-40B4-BE49-F238E27FC236}">
                <a16:creationId xmlns:a16="http://schemas.microsoft.com/office/drawing/2014/main" id="{EDF3F373-C547-42BE-91CF-A4528A625024}"/>
              </a:ext>
              <a:ext uri="{C183D7F6-B498-43B3-948B-1728B52AA6E4}">
                <adec:decorative xmlns:adec="http://schemas.microsoft.com/office/drawing/2017/decorative" val="1"/>
              </a:ext>
            </a:extLst>
          </p:cNvPr>
          <p:cNvSpPr>
            <a:spLocks/>
          </p:cNvSpPr>
          <p:nvPr/>
        </p:nvSpPr>
        <p:spPr bwMode="auto">
          <a:xfrm>
            <a:off x="339252" y="5542053"/>
            <a:ext cx="674300" cy="633600"/>
          </a:xfrm>
          <a:custGeom>
            <a:avLst/>
            <a:gdLst>
              <a:gd name="T0" fmla="*/ 41 w 288"/>
              <a:gd name="T1" fmla="*/ 210 h 268"/>
              <a:gd name="T2" fmla="*/ 69 w 288"/>
              <a:gd name="T3" fmla="*/ 40 h 268"/>
              <a:gd name="T4" fmla="*/ 246 w 288"/>
              <a:gd name="T5" fmla="*/ 65 h 268"/>
              <a:gd name="T6" fmla="*/ 214 w 288"/>
              <a:gd name="T7" fmla="*/ 228 h 268"/>
              <a:gd name="T8" fmla="*/ 41 w 288"/>
              <a:gd name="T9" fmla="*/ 210 h 268"/>
            </a:gdLst>
            <a:ahLst/>
            <a:cxnLst>
              <a:cxn ang="0">
                <a:pos x="T0" y="T1"/>
              </a:cxn>
              <a:cxn ang="0">
                <a:pos x="T2" y="T3"/>
              </a:cxn>
              <a:cxn ang="0">
                <a:pos x="T4" y="T5"/>
              </a:cxn>
              <a:cxn ang="0">
                <a:pos x="T6" y="T7"/>
              </a:cxn>
              <a:cxn ang="0">
                <a:pos x="T8" y="T9"/>
              </a:cxn>
            </a:cxnLst>
            <a:rect l="0" t="0" r="r" b="b"/>
            <a:pathLst>
              <a:path w="288" h="268">
                <a:moveTo>
                  <a:pt x="41" y="210"/>
                </a:moveTo>
                <a:cubicBezTo>
                  <a:pt x="0" y="156"/>
                  <a:pt x="12" y="80"/>
                  <a:pt x="69" y="40"/>
                </a:cubicBezTo>
                <a:cubicBezTo>
                  <a:pt x="125" y="0"/>
                  <a:pt x="205" y="11"/>
                  <a:pt x="246" y="65"/>
                </a:cubicBezTo>
                <a:cubicBezTo>
                  <a:pt x="288" y="119"/>
                  <a:pt x="271" y="188"/>
                  <a:pt x="214" y="228"/>
                </a:cubicBezTo>
                <a:cubicBezTo>
                  <a:pt x="157" y="268"/>
                  <a:pt x="83" y="264"/>
                  <a:pt x="41" y="210"/>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56" name="Groupe 255">
            <a:extLst>
              <a:ext uri="{FF2B5EF4-FFF2-40B4-BE49-F238E27FC236}">
                <a16:creationId xmlns:a16="http://schemas.microsoft.com/office/drawing/2014/main" id="{49DD7669-C320-4162-AFAF-EC7C6C01B3A9}"/>
              </a:ext>
              <a:ext uri="{C183D7F6-B498-43B3-948B-1728B52AA6E4}">
                <adec:decorative xmlns:adec="http://schemas.microsoft.com/office/drawing/2017/decorative" val="1"/>
              </a:ext>
            </a:extLst>
          </p:cNvPr>
          <p:cNvGrpSpPr>
            <a:grpSpLocks noChangeAspect="1"/>
          </p:cNvGrpSpPr>
          <p:nvPr/>
        </p:nvGrpSpPr>
        <p:grpSpPr>
          <a:xfrm>
            <a:off x="3738376" y="1458706"/>
            <a:ext cx="677832" cy="633600"/>
            <a:chOff x="408000" y="5269002"/>
            <a:chExt cx="900113" cy="841375"/>
          </a:xfrm>
        </p:grpSpPr>
        <p:sp>
          <p:nvSpPr>
            <p:cNvPr id="257" name="Freeform 117">
              <a:extLst>
                <a:ext uri="{FF2B5EF4-FFF2-40B4-BE49-F238E27FC236}">
                  <a16:creationId xmlns:a16="http://schemas.microsoft.com/office/drawing/2014/main" id="{140714E5-3010-467C-81E6-580DD163F999}"/>
                </a:ext>
              </a:extLst>
            </p:cNvPr>
            <p:cNvSpPr>
              <a:spLocks/>
            </p:cNvSpPr>
            <p:nvPr/>
          </p:nvSpPr>
          <p:spPr bwMode="auto">
            <a:xfrm>
              <a:off x="408000" y="5269002"/>
              <a:ext cx="900113" cy="841375"/>
            </a:xfrm>
            <a:custGeom>
              <a:avLst/>
              <a:gdLst>
                <a:gd name="T0" fmla="*/ 35 w 240"/>
                <a:gd name="T1" fmla="*/ 175 h 224"/>
                <a:gd name="T2" fmla="*/ 58 w 240"/>
                <a:gd name="T3" fmla="*/ 34 h 224"/>
                <a:gd name="T4" fmla="*/ 206 w 240"/>
                <a:gd name="T5" fmla="*/ 55 h 224"/>
                <a:gd name="T6" fmla="*/ 179 w 240"/>
                <a:gd name="T7" fmla="*/ 191 h 224"/>
                <a:gd name="T8" fmla="*/ 35 w 240"/>
                <a:gd name="T9" fmla="*/ 175 h 224"/>
              </a:gdLst>
              <a:ahLst/>
              <a:cxnLst>
                <a:cxn ang="0">
                  <a:pos x="T0" y="T1"/>
                </a:cxn>
                <a:cxn ang="0">
                  <a:pos x="T2" y="T3"/>
                </a:cxn>
                <a:cxn ang="0">
                  <a:pos x="T4" y="T5"/>
                </a:cxn>
                <a:cxn ang="0">
                  <a:pos x="T6" y="T7"/>
                </a:cxn>
                <a:cxn ang="0">
                  <a:pos x="T8" y="T9"/>
                </a:cxn>
              </a:cxnLst>
              <a:rect l="0" t="0" r="r" b="b"/>
              <a:pathLst>
                <a:path w="240" h="224">
                  <a:moveTo>
                    <a:pt x="35" y="175"/>
                  </a:moveTo>
                  <a:cubicBezTo>
                    <a:pt x="0" y="131"/>
                    <a:pt x="11" y="67"/>
                    <a:pt x="58" y="34"/>
                  </a:cubicBezTo>
                  <a:cubicBezTo>
                    <a:pt x="105" y="0"/>
                    <a:pt x="171" y="10"/>
                    <a:pt x="206" y="55"/>
                  </a:cubicBezTo>
                  <a:cubicBezTo>
                    <a:pt x="240" y="99"/>
                    <a:pt x="226" y="158"/>
                    <a:pt x="179" y="191"/>
                  </a:cubicBezTo>
                  <a:cubicBezTo>
                    <a:pt x="132" y="224"/>
                    <a:pt x="69" y="220"/>
                    <a:pt x="35" y="175"/>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18">
              <a:extLst>
                <a:ext uri="{FF2B5EF4-FFF2-40B4-BE49-F238E27FC236}">
                  <a16:creationId xmlns:a16="http://schemas.microsoft.com/office/drawing/2014/main" id="{CDB1445B-F67A-4576-854F-FB67F7F4E946}"/>
                </a:ext>
              </a:extLst>
            </p:cNvPr>
            <p:cNvSpPr>
              <a:spLocks/>
            </p:cNvSpPr>
            <p:nvPr/>
          </p:nvSpPr>
          <p:spPr bwMode="auto">
            <a:xfrm>
              <a:off x="669937" y="5596027"/>
              <a:ext cx="373063" cy="149225"/>
            </a:xfrm>
            <a:custGeom>
              <a:avLst/>
              <a:gdLst>
                <a:gd name="T0" fmla="*/ 99 w 99"/>
                <a:gd name="T1" fmla="*/ 3 h 40"/>
                <a:gd name="T2" fmla="*/ 95 w 99"/>
                <a:gd name="T3" fmla="*/ 0 h 40"/>
                <a:gd name="T4" fmla="*/ 4 w 99"/>
                <a:gd name="T5" fmla="*/ 0 h 40"/>
                <a:gd name="T6" fmla="*/ 0 w 99"/>
                <a:gd name="T7" fmla="*/ 3 h 40"/>
                <a:gd name="T8" fmla="*/ 0 w 99"/>
                <a:gd name="T9" fmla="*/ 3 h 40"/>
                <a:gd name="T10" fmla="*/ 0 w 99"/>
                <a:gd name="T11" fmla="*/ 15 h 40"/>
                <a:gd name="T12" fmla="*/ 1 w 99"/>
                <a:gd name="T13" fmla="*/ 20 h 40"/>
                <a:gd name="T14" fmla="*/ 21 w 99"/>
                <a:gd name="T15" fmla="*/ 39 h 40"/>
                <a:gd name="T16" fmla="*/ 22 w 99"/>
                <a:gd name="T17" fmla="*/ 40 h 40"/>
                <a:gd name="T18" fmla="*/ 22 w 99"/>
                <a:gd name="T19" fmla="*/ 32 h 40"/>
                <a:gd name="T20" fmla="*/ 36 w 99"/>
                <a:gd name="T21" fmla="*/ 32 h 40"/>
                <a:gd name="T22" fmla="*/ 36 w 99"/>
                <a:gd name="T23" fmla="*/ 39 h 40"/>
                <a:gd name="T24" fmla="*/ 63 w 99"/>
                <a:gd name="T25" fmla="*/ 39 h 40"/>
                <a:gd name="T26" fmla="*/ 63 w 99"/>
                <a:gd name="T27" fmla="*/ 32 h 40"/>
                <a:gd name="T28" fmla="*/ 77 w 99"/>
                <a:gd name="T29" fmla="*/ 32 h 40"/>
                <a:gd name="T30" fmla="*/ 77 w 99"/>
                <a:gd name="T31" fmla="*/ 39 h 40"/>
                <a:gd name="T32" fmla="*/ 83 w 99"/>
                <a:gd name="T33" fmla="*/ 38 h 40"/>
                <a:gd name="T34" fmla="*/ 99 w 99"/>
                <a:gd name="T35" fmla="*/ 18 h 40"/>
                <a:gd name="T36" fmla="*/ 99 w 99"/>
                <a:gd name="T37" fmla="*/ 15 h 40"/>
                <a:gd name="T38" fmla="*/ 99 w 99"/>
                <a:gd name="T39" fmla="*/ 3 h 40"/>
                <a:gd name="T40" fmla="*/ 99 w 99"/>
                <a:gd name="T41"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40">
                  <a:moveTo>
                    <a:pt x="99" y="3"/>
                  </a:moveTo>
                  <a:cubicBezTo>
                    <a:pt x="98" y="1"/>
                    <a:pt x="97" y="0"/>
                    <a:pt x="95" y="0"/>
                  </a:cubicBezTo>
                  <a:cubicBezTo>
                    <a:pt x="65" y="0"/>
                    <a:pt x="35" y="0"/>
                    <a:pt x="4" y="0"/>
                  </a:cubicBezTo>
                  <a:cubicBezTo>
                    <a:pt x="2" y="0"/>
                    <a:pt x="1" y="1"/>
                    <a:pt x="0" y="3"/>
                  </a:cubicBezTo>
                  <a:cubicBezTo>
                    <a:pt x="0" y="3"/>
                    <a:pt x="0" y="3"/>
                    <a:pt x="0" y="3"/>
                  </a:cubicBezTo>
                  <a:cubicBezTo>
                    <a:pt x="0" y="15"/>
                    <a:pt x="0" y="15"/>
                    <a:pt x="0" y="15"/>
                  </a:cubicBezTo>
                  <a:cubicBezTo>
                    <a:pt x="0" y="17"/>
                    <a:pt x="0" y="19"/>
                    <a:pt x="1" y="20"/>
                  </a:cubicBezTo>
                  <a:cubicBezTo>
                    <a:pt x="4" y="30"/>
                    <a:pt x="11" y="37"/>
                    <a:pt x="21" y="39"/>
                  </a:cubicBezTo>
                  <a:cubicBezTo>
                    <a:pt x="21" y="39"/>
                    <a:pt x="22" y="39"/>
                    <a:pt x="22" y="40"/>
                  </a:cubicBezTo>
                  <a:cubicBezTo>
                    <a:pt x="22" y="32"/>
                    <a:pt x="22" y="32"/>
                    <a:pt x="22" y="32"/>
                  </a:cubicBezTo>
                  <a:cubicBezTo>
                    <a:pt x="36" y="32"/>
                    <a:pt x="36" y="32"/>
                    <a:pt x="36" y="32"/>
                  </a:cubicBezTo>
                  <a:cubicBezTo>
                    <a:pt x="36" y="39"/>
                    <a:pt x="36" y="39"/>
                    <a:pt x="36" y="39"/>
                  </a:cubicBezTo>
                  <a:cubicBezTo>
                    <a:pt x="63" y="39"/>
                    <a:pt x="63" y="39"/>
                    <a:pt x="63" y="39"/>
                  </a:cubicBezTo>
                  <a:cubicBezTo>
                    <a:pt x="63" y="32"/>
                    <a:pt x="63" y="32"/>
                    <a:pt x="63" y="32"/>
                  </a:cubicBezTo>
                  <a:cubicBezTo>
                    <a:pt x="77" y="32"/>
                    <a:pt x="77" y="32"/>
                    <a:pt x="77" y="32"/>
                  </a:cubicBezTo>
                  <a:cubicBezTo>
                    <a:pt x="77" y="39"/>
                    <a:pt x="77" y="39"/>
                    <a:pt x="77" y="39"/>
                  </a:cubicBezTo>
                  <a:cubicBezTo>
                    <a:pt x="79" y="40"/>
                    <a:pt x="81" y="39"/>
                    <a:pt x="83" y="38"/>
                  </a:cubicBezTo>
                  <a:cubicBezTo>
                    <a:pt x="91" y="34"/>
                    <a:pt x="97" y="28"/>
                    <a:pt x="99" y="18"/>
                  </a:cubicBezTo>
                  <a:cubicBezTo>
                    <a:pt x="99" y="17"/>
                    <a:pt x="99" y="16"/>
                    <a:pt x="99" y="15"/>
                  </a:cubicBezTo>
                  <a:cubicBezTo>
                    <a:pt x="99" y="3"/>
                    <a:pt x="99" y="3"/>
                    <a:pt x="99" y="3"/>
                  </a:cubicBezTo>
                  <a:cubicBezTo>
                    <a:pt x="99" y="3"/>
                    <a:pt x="99" y="3"/>
                    <a:pt x="99" y="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19">
              <a:extLst>
                <a:ext uri="{FF2B5EF4-FFF2-40B4-BE49-F238E27FC236}">
                  <a16:creationId xmlns:a16="http://schemas.microsoft.com/office/drawing/2014/main" id="{651AE8B7-A7FC-4DB5-9EE5-7C357F2C857B}"/>
                </a:ext>
              </a:extLst>
            </p:cNvPr>
            <p:cNvSpPr>
              <a:spLocks/>
            </p:cNvSpPr>
            <p:nvPr/>
          </p:nvSpPr>
          <p:spPr bwMode="auto">
            <a:xfrm>
              <a:off x="669937" y="5700802"/>
              <a:ext cx="373063" cy="173038"/>
            </a:xfrm>
            <a:custGeom>
              <a:avLst/>
              <a:gdLst>
                <a:gd name="T0" fmla="*/ 93 w 99"/>
                <a:gd name="T1" fmla="*/ 8 h 46"/>
                <a:gd name="T2" fmla="*/ 93 w 99"/>
                <a:gd name="T3" fmla="*/ 8 h 46"/>
                <a:gd name="T4" fmla="*/ 79 w 99"/>
                <a:gd name="T5" fmla="*/ 16 h 46"/>
                <a:gd name="T6" fmla="*/ 77 w 99"/>
                <a:gd name="T7" fmla="*/ 16 h 46"/>
                <a:gd name="T8" fmla="*/ 77 w 99"/>
                <a:gd name="T9" fmla="*/ 20 h 46"/>
                <a:gd name="T10" fmla="*/ 72 w 99"/>
                <a:gd name="T11" fmla="*/ 25 h 46"/>
                <a:gd name="T12" fmla="*/ 63 w 99"/>
                <a:gd name="T13" fmla="*/ 25 h 46"/>
                <a:gd name="T14" fmla="*/ 63 w 99"/>
                <a:gd name="T15" fmla="*/ 16 h 46"/>
                <a:gd name="T16" fmla="*/ 36 w 99"/>
                <a:gd name="T17" fmla="*/ 16 h 46"/>
                <a:gd name="T18" fmla="*/ 36 w 99"/>
                <a:gd name="T19" fmla="*/ 20 h 46"/>
                <a:gd name="T20" fmla="*/ 32 w 99"/>
                <a:gd name="T21" fmla="*/ 25 h 46"/>
                <a:gd name="T22" fmla="*/ 22 w 99"/>
                <a:gd name="T23" fmla="*/ 25 h 46"/>
                <a:gd name="T24" fmla="*/ 22 w 99"/>
                <a:gd name="T25" fmla="*/ 16 h 46"/>
                <a:gd name="T26" fmla="*/ 18 w 99"/>
                <a:gd name="T27" fmla="*/ 15 h 46"/>
                <a:gd name="T28" fmla="*/ 9 w 99"/>
                <a:gd name="T29" fmla="*/ 10 h 46"/>
                <a:gd name="T30" fmla="*/ 0 w 99"/>
                <a:gd name="T31" fmla="*/ 1 h 46"/>
                <a:gd name="T32" fmla="*/ 0 w 99"/>
                <a:gd name="T33" fmla="*/ 0 h 46"/>
                <a:gd name="T34" fmla="*/ 0 w 99"/>
                <a:gd name="T35" fmla="*/ 38 h 46"/>
                <a:gd name="T36" fmla="*/ 0 w 99"/>
                <a:gd name="T37" fmla="*/ 40 h 46"/>
                <a:gd name="T38" fmla="*/ 29 w 99"/>
                <a:gd name="T39" fmla="*/ 43 h 46"/>
                <a:gd name="T40" fmla="*/ 45 w 99"/>
                <a:gd name="T41" fmla="*/ 45 h 46"/>
                <a:gd name="T42" fmla="*/ 49 w 99"/>
                <a:gd name="T43" fmla="*/ 45 h 46"/>
                <a:gd name="T44" fmla="*/ 54 w 99"/>
                <a:gd name="T45" fmla="*/ 46 h 46"/>
                <a:gd name="T46" fmla="*/ 59 w 99"/>
                <a:gd name="T47" fmla="*/ 46 h 46"/>
                <a:gd name="T48" fmla="*/ 71 w 99"/>
                <a:gd name="T49" fmla="*/ 45 h 46"/>
                <a:gd name="T50" fmla="*/ 84 w 99"/>
                <a:gd name="T51" fmla="*/ 44 h 46"/>
                <a:gd name="T52" fmla="*/ 99 w 99"/>
                <a:gd name="T53" fmla="*/ 25 h 46"/>
                <a:gd name="T54" fmla="*/ 99 w 99"/>
                <a:gd name="T55" fmla="*/ 0 h 46"/>
                <a:gd name="T56" fmla="*/ 93 w 99"/>
                <a:gd name="T5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46">
                  <a:moveTo>
                    <a:pt x="93" y="8"/>
                  </a:moveTo>
                  <a:cubicBezTo>
                    <a:pt x="93" y="8"/>
                    <a:pt x="93" y="8"/>
                    <a:pt x="93" y="8"/>
                  </a:cubicBezTo>
                  <a:cubicBezTo>
                    <a:pt x="89" y="12"/>
                    <a:pt x="84" y="15"/>
                    <a:pt x="79" y="16"/>
                  </a:cubicBezTo>
                  <a:cubicBezTo>
                    <a:pt x="78" y="16"/>
                    <a:pt x="78" y="16"/>
                    <a:pt x="77" y="16"/>
                  </a:cubicBezTo>
                  <a:cubicBezTo>
                    <a:pt x="77" y="20"/>
                    <a:pt x="77" y="20"/>
                    <a:pt x="77" y="20"/>
                  </a:cubicBezTo>
                  <a:cubicBezTo>
                    <a:pt x="77" y="23"/>
                    <a:pt x="75" y="25"/>
                    <a:pt x="72" y="25"/>
                  </a:cubicBezTo>
                  <a:cubicBezTo>
                    <a:pt x="63" y="25"/>
                    <a:pt x="63" y="25"/>
                    <a:pt x="63" y="25"/>
                  </a:cubicBezTo>
                  <a:cubicBezTo>
                    <a:pt x="63" y="16"/>
                    <a:pt x="63" y="16"/>
                    <a:pt x="63" y="16"/>
                  </a:cubicBezTo>
                  <a:cubicBezTo>
                    <a:pt x="36" y="16"/>
                    <a:pt x="36" y="16"/>
                    <a:pt x="36" y="16"/>
                  </a:cubicBezTo>
                  <a:cubicBezTo>
                    <a:pt x="36" y="20"/>
                    <a:pt x="36" y="20"/>
                    <a:pt x="36" y="20"/>
                  </a:cubicBezTo>
                  <a:cubicBezTo>
                    <a:pt x="36" y="23"/>
                    <a:pt x="34" y="25"/>
                    <a:pt x="32" y="25"/>
                  </a:cubicBezTo>
                  <a:cubicBezTo>
                    <a:pt x="22" y="25"/>
                    <a:pt x="22" y="25"/>
                    <a:pt x="22" y="25"/>
                  </a:cubicBezTo>
                  <a:cubicBezTo>
                    <a:pt x="22" y="16"/>
                    <a:pt x="22" y="16"/>
                    <a:pt x="22" y="16"/>
                  </a:cubicBezTo>
                  <a:cubicBezTo>
                    <a:pt x="21" y="16"/>
                    <a:pt x="19" y="16"/>
                    <a:pt x="18" y="15"/>
                  </a:cubicBezTo>
                  <a:cubicBezTo>
                    <a:pt x="14" y="14"/>
                    <a:pt x="11" y="12"/>
                    <a:pt x="9" y="10"/>
                  </a:cubicBezTo>
                  <a:cubicBezTo>
                    <a:pt x="5" y="8"/>
                    <a:pt x="3" y="5"/>
                    <a:pt x="0" y="1"/>
                  </a:cubicBezTo>
                  <a:cubicBezTo>
                    <a:pt x="0" y="1"/>
                    <a:pt x="0" y="0"/>
                    <a:pt x="0" y="0"/>
                  </a:cubicBezTo>
                  <a:cubicBezTo>
                    <a:pt x="0" y="38"/>
                    <a:pt x="0" y="38"/>
                    <a:pt x="0" y="38"/>
                  </a:cubicBezTo>
                  <a:cubicBezTo>
                    <a:pt x="0" y="39"/>
                    <a:pt x="0" y="40"/>
                    <a:pt x="0" y="40"/>
                  </a:cubicBezTo>
                  <a:cubicBezTo>
                    <a:pt x="9" y="40"/>
                    <a:pt x="19" y="42"/>
                    <a:pt x="29" y="43"/>
                  </a:cubicBezTo>
                  <a:cubicBezTo>
                    <a:pt x="34" y="44"/>
                    <a:pt x="39" y="45"/>
                    <a:pt x="45" y="45"/>
                  </a:cubicBezTo>
                  <a:cubicBezTo>
                    <a:pt x="47" y="45"/>
                    <a:pt x="48" y="45"/>
                    <a:pt x="49" y="45"/>
                  </a:cubicBezTo>
                  <a:cubicBezTo>
                    <a:pt x="51" y="46"/>
                    <a:pt x="52" y="46"/>
                    <a:pt x="54" y="46"/>
                  </a:cubicBezTo>
                  <a:cubicBezTo>
                    <a:pt x="55" y="46"/>
                    <a:pt x="57" y="46"/>
                    <a:pt x="59" y="46"/>
                  </a:cubicBezTo>
                  <a:cubicBezTo>
                    <a:pt x="63" y="46"/>
                    <a:pt x="67" y="46"/>
                    <a:pt x="71" y="45"/>
                  </a:cubicBezTo>
                  <a:cubicBezTo>
                    <a:pt x="75" y="45"/>
                    <a:pt x="79" y="44"/>
                    <a:pt x="84" y="44"/>
                  </a:cubicBezTo>
                  <a:cubicBezTo>
                    <a:pt x="93" y="42"/>
                    <a:pt x="99" y="34"/>
                    <a:pt x="99" y="25"/>
                  </a:cubicBezTo>
                  <a:cubicBezTo>
                    <a:pt x="99" y="0"/>
                    <a:pt x="99" y="0"/>
                    <a:pt x="99" y="0"/>
                  </a:cubicBezTo>
                  <a:cubicBezTo>
                    <a:pt x="98" y="3"/>
                    <a:pt x="96" y="6"/>
                    <a:pt x="93" y="8"/>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20">
              <a:extLst>
                <a:ext uri="{FF2B5EF4-FFF2-40B4-BE49-F238E27FC236}">
                  <a16:creationId xmlns:a16="http://schemas.microsoft.com/office/drawing/2014/main" id="{1BD7246D-A0EF-49C0-8EE8-E801DC861CDA}"/>
                </a:ext>
              </a:extLst>
            </p:cNvPr>
            <p:cNvSpPr>
              <a:spLocks/>
            </p:cNvSpPr>
            <p:nvPr/>
          </p:nvSpPr>
          <p:spPr bwMode="auto">
            <a:xfrm>
              <a:off x="765187" y="5730964"/>
              <a:ext cx="33338" cy="49213"/>
            </a:xfrm>
            <a:custGeom>
              <a:avLst/>
              <a:gdLst>
                <a:gd name="T0" fmla="*/ 9 w 9"/>
                <a:gd name="T1" fmla="*/ 8 h 13"/>
                <a:gd name="T2" fmla="*/ 9 w 9"/>
                <a:gd name="T3" fmla="*/ 0 h 13"/>
                <a:gd name="T4" fmla="*/ 0 w 9"/>
                <a:gd name="T5" fmla="*/ 0 h 13"/>
                <a:gd name="T6" fmla="*/ 0 w 9"/>
                <a:gd name="T7" fmla="*/ 13 h 13"/>
                <a:gd name="T8" fmla="*/ 4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4" y="13"/>
                    <a:pt x="4" y="13"/>
                    <a:pt x="4" y="13"/>
                  </a:cubicBezTo>
                  <a:cubicBezTo>
                    <a:pt x="7" y="13"/>
                    <a:pt x="9" y="11"/>
                    <a:pt x="9" y="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1">
              <a:extLst>
                <a:ext uri="{FF2B5EF4-FFF2-40B4-BE49-F238E27FC236}">
                  <a16:creationId xmlns:a16="http://schemas.microsoft.com/office/drawing/2014/main" id="{8892779D-8472-4FBB-AF16-758D8C4CC799}"/>
                </a:ext>
              </a:extLst>
            </p:cNvPr>
            <p:cNvSpPr>
              <a:spLocks/>
            </p:cNvSpPr>
            <p:nvPr/>
          </p:nvSpPr>
          <p:spPr bwMode="auto">
            <a:xfrm>
              <a:off x="768362" y="5516652"/>
              <a:ext cx="176213" cy="71438"/>
            </a:xfrm>
            <a:custGeom>
              <a:avLst/>
              <a:gdLst>
                <a:gd name="T0" fmla="*/ 4 w 47"/>
                <a:gd name="T1" fmla="*/ 15 h 19"/>
                <a:gd name="T2" fmla="*/ 4 w 47"/>
                <a:gd name="T3" fmla="*/ 15 h 19"/>
                <a:gd name="T4" fmla="*/ 4 w 47"/>
                <a:gd name="T5" fmla="*/ 5 h 19"/>
                <a:gd name="T6" fmla="*/ 43 w 47"/>
                <a:gd name="T7" fmla="*/ 5 h 19"/>
                <a:gd name="T8" fmla="*/ 43 w 47"/>
                <a:gd name="T9" fmla="*/ 13 h 19"/>
                <a:gd name="T10" fmla="*/ 43 w 47"/>
                <a:gd name="T11" fmla="*/ 13 h 19"/>
                <a:gd name="T12" fmla="*/ 43 w 47"/>
                <a:gd name="T13" fmla="*/ 19 h 19"/>
                <a:gd name="T14" fmla="*/ 47 w 47"/>
                <a:gd name="T15" fmla="*/ 15 h 19"/>
                <a:gd name="T16" fmla="*/ 47 w 47"/>
                <a:gd name="T17" fmla="*/ 13 h 19"/>
                <a:gd name="T18" fmla="*/ 47 w 47"/>
                <a:gd name="T19" fmla="*/ 13 h 19"/>
                <a:gd name="T20" fmla="*/ 47 w 47"/>
                <a:gd name="T21" fmla="*/ 4 h 19"/>
                <a:gd name="T22" fmla="*/ 43 w 47"/>
                <a:gd name="T23" fmla="*/ 0 h 19"/>
                <a:gd name="T24" fmla="*/ 5 w 47"/>
                <a:gd name="T25" fmla="*/ 0 h 19"/>
                <a:gd name="T26" fmla="*/ 0 w 47"/>
                <a:gd name="T27" fmla="*/ 5 h 19"/>
                <a:gd name="T28" fmla="*/ 0 w 47"/>
                <a:gd name="T29" fmla="*/ 13 h 19"/>
                <a:gd name="T30" fmla="*/ 0 w 47"/>
                <a:gd name="T31" fmla="*/ 13 h 19"/>
                <a:gd name="T32" fmla="*/ 0 w 47"/>
                <a:gd name="T33" fmla="*/ 19 h 19"/>
                <a:gd name="T34" fmla="*/ 0 w 47"/>
                <a:gd name="T35" fmla="*/ 19 h 19"/>
                <a:gd name="T36" fmla="*/ 4 w 47"/>
                <a:gd name="T3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9">
                  <a:moveTo>
                    <a:pt x="4" y="15"/>
                  </a:moveTo>
                  <a:cubicBezTo>
                    <a:pt x="4" y="15"/>
                    <a:pt x="4" y="15"/>
                    <a:pt x="4" y="15"/>
                  </a:cubicBezTo>
                  <a:cubicBezTo>
                    <a:pt x="4" y="5"/>
                    <a:pt x="4" y="5"/>
                    <a:pt x="4" y="5"/>
                  </a:cubicBezTo>
                  <a:cubicBezTo>
                    <a:pt x="43" y="5"/>
                    <a:pt x="43" y="5"/>
                    <a:pt x="43" y="5"/>
                  </a:cubicBezTo>
                  <a:cubicBezTo>
                    <a:pt x="43" y="13"/>
                    <a:pt x="43" y="13"/>
                    <a:pt x="43" y="13"/>
                  </a:cubicBezTo>
                  <a:cubicBezTo>
                    <a:pt x="43" y="13"/>
                    <a:pt x="43" y="13"/>
                    <a:pt x="43" y="13"/>
                  </a:cubicBezTo>
                  <a:cubicBezTo>
                    <a:pt x="43" y="19"/>
                    <a:pt x="43" y="19"/>
                    <a:pt x="43" y="19"/>
                  </a:cubicBezTo>
                  <a:cubicBezTo>
                    <a:pt x="45" y="19"/>
                    <a:pt x="47" y="17"/>
                    <a:pt x="47" y="15"/>
                  </a:cubicBezTo>
                  <a:cubicBezTo>
                    <a:pt x="47" y="13"/>
                    <a:pt x="47" y="13"/>
                    <a:pt x="47" y="13"/>
                  </a:cubicBezTo>
                  <a:cubicBezTo>
                    <a:pt x="47" y="13"/>
                    <a:pt x="47" y="13"/>
                    <a:pt x="47" y="13"/>
                  </a:cubicBezTo>
                  <a:cubicBezTo>
                    <a:pt x="47" y="10"/>
                    <a:pt x="47" y="8"/>
                    <a:pt x="47" y="4"/>
                  </a:cubicBezTo>
                  <a:cubicBezTo>
                    <a:pt x="47" y="2"/>
                    <a:pt x="45" y="0"/>
                    <a:pt x="43" y="0"/>
                  </a:cubicBezTo>
                  <a:cubicBezTo>
                    <a:pt x="30" y="0"/>
                    <a:pt x="17" y="0"/>
                    <a:pt x="5" y="0"/>
                  </a:cubicBezTo>
                  <a:cubicBezTo>
                    <a:pt x="2" y="0"/>
                    <a:pt x="0" y="2"/>
                    <a:pt x="0" y="5"/>
                  </a:cubicBezTo>
                  <a:cubicBezTo>
                    <a:pt x="0" y="8"/>
                    <a:pt x="0" y="10"/>
                    <a:pt x="0" y="13"/>
                  </a:cubicBezTo>
                  <a:cubicBezTo>
                    <a:pt x="0" y="13"/>
                    <a:pt x="0" y="13"/>
                    <a:pt x="0" y="13"/>
                  </a:cubicBezTo>
                  <a:cubicBezTo>
                    <a:pt x="0" y="19"/>
                    <a:pt x="0" y="19"/>
                    <a:pt x="0" y="19"/>
                  </a:cubicBezTo>
                  <a:cubicBezTo>
                    <a:pt x="0" y="19"/>
                    <a:pt x="0" y="19"/>
                    <a:pt x="0" y="19"/>
                  </a:cubicBezTo>
                  <a:cubicBezTo>
                    <a:pt x="2" y="19"/>
                    <a:pt x="4" y="17"/>
                    <a:pt x="4" y="15"/>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22">
              <a:extLst>
                <a:ext uri="{FF2B5EF4-FFF2-40B4-BE49-F238E27FC236}">
                  <a16:creationId xmlns:a16="http://schemas.microsoft.com/office/drawing/2014/main" id="{2D97EE77-D363-45F1-9364-F3F3BAF5DC62}"/>
                </a:ext>
              </a:extLst>
            </p:cNvPr>
            <p:cNvSpPr>
              <a:spLocks/>
            </p:cNvSpPr>
            <p:nvPr/>
          </p:nvSpPr>
          <p:spPr bwMode="auto">
            <a:xfrm>
              <a:off x="914412" y="5730964"/>
              <a:ext cx="33338" cy="49213"/>
            </a:xfrm>
            <a:custGeom>
              <a:avLst/>
              <a:gdLst>
                <a:gd name="T0" fmla="*/ 9 w 9"/>
                <a:gd name="T1" fmla="*/ 8 h 13"/>
                <a:gd name="T2" fmla="*/ 9 w 9"/>
                <a:gd name="T3" fmla="*/ 0 h 13"/>
                <a:gd name="T4" fmla="*/ 0 w 9"/>
                <a:gd name="T5" fmla="*/ 0 h 13"/>
                <a:gd name="T6" fmla="*/ 0 w 9"/>
                <a:gd name="T7" fmla="*/ 13 h 13"/>
                <a:gd name="T8" fmla="*/ 5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5" y="13"/>
                    <a:pt x="5" y="13"/>
                    <a:pt x="5" y="13"/>
                  </a:cubicBezTo>
                  <a:cubicBezTo>
                    <a:pt x="7" y="13"/>
                    <a:pt x="9" y="11"/>
                    <a:pt x="9" y="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e 262">
            <a:extLst>
              <a:ext uri="{FF2B5EF4-FFF2-40B4-BE49-F238E27FC236}">
                <a16:creationId xmlns:a16="http://schemas.microsoft.com/office/drawing/2014/main" id="{C5031DB4-4897-43B8-9D1A-C91BBF4FAD07}"/>
              </a:ext>
              <a:ext uri="{C183D7F6-B498-43B3-948B-1728B52AA6E4}">
                <adec:decorative xmlns:adec="http://schemas.microsoft.com/office/drawing/2017/decorative" val="1"/>
              </a:ext>
            </a:extLst>
          </p:cNvPr>
          <p:cNvGrpSpPr>
            <a:grpSpLocks noChangeAspect="1"/>
          </p:cNvGrpSpPr>
          <p:nvPr/>
        </p:nvGrpSpPr>
        <p:grpSpPr>
          <a:xfrm>
            <a:off x="4595600" y="1458706"/>
            <a:ext cx="671195" cy="633600"/>
            <a:chOff x="8775701" y="5400676"/>
            <a:chExt cx="963613" cy="909638"/>
          </a:xfrm>
        </p:grpSpPr>
        <p:sp>
          <p:nvSpPr>
            <p:cNvPr id="264" name="Freeform 324">
              <a:extLst>
                <a:ext uri="{FF2B5EF4-FFF2-40B4-BE49-F238E27FC236}">
                  <a16:creationId xmlns:a16="http://schemas.microsoft.com/office/drawing/2014/main" id="{2E733786-2309-42F9-A6DD-407B8BD70F5D}"/>
                </a:ext>
              </a:extLst>
            </p:cNvPr>
            <p:cNvSpPr>
              <a:spLocks/>
            </p:cNvSpPr>
            <p:nvPr/>
          </p:nvSpPr>
          <p:spPr bwMode="auto">
            <a:xfrm>
              <a:off x="8775701" y="5400676"/>
              <a:ext cx="963613" cy="909638"/>
            </a:xfrm>
            <a:custGeom>
              <a:avLst/>
              <a:gdLst>
                <a:gd name="T0" fmla="*/ 41 w 285"/>
                <a:gd name="T1" fmla="*/ 210 h 268"/>
                <a:gd name="T2" fmla="*/ 68 w 285"/>
                <a:gd name="T3" fmla="*/ 40 h 268"/>
                <a:gd name="T4" fmla="*/ 244 w 285"/>
                <a:gd name="T5" fmla="*/ 65 h 268"/>
                <a:gd name="T6" fmla="*/ 212 w 285"/>
                <a:gd name="T7" fmla="*/ 228 h 268"/>
                <a:gd name="T8" fmla="*/ 41 w 285"/>
                <a:gd name="T9" fmla="*/ 210 h 268"/>
              </a:gdLst>
              <a:ahLst/>
              <a:cxnLst>
                <a:cxn ang="0">
                  <a:pos x="T0" y="T1"/>
                </a:cxn>
                <a:cxn ang="0">
                  <a:pos x="T2" y="T3"/>
                </a:cxn>
                <a:cxn ang="0">
                  <a:pos x="T4" y="T5"/>
                </a:cxn>
                <a:cxn ang="0">
                  <a:pos x="T6" y="T7"/>
                </a:cxn>
                <a:cxn ang="0">
                  <a:pos x="T8" y="T9"/>
                </a:cxn>
              </a:cxnLst>
              <a:rect l="0" t="0" r="r" b="b"/>
              <a:pathLst>
                <a:path w="285" h="268">
                  <a:moveTo>
                    <a:pt x="41" y="210"/>
                  </a:moveTo>
                  <a:cubicBezTo>
                    <a:pt x="0" y="156"/>
                    <a:pt x="12" y="80"/>
                    <a:pt x="68" y="40"/>
                  </a:cubicBezTo>
                  <a:cubicBezTo>
                    <a:pt x="124" y="0"/>
                    <a:pt x="203" y="11"/>
                    <a:pt x="244" y="65"/>
                  </a:cubicBezTo>
                  <a:cubicBezTo>
                    <a:pt x="285" y="119"/>
                    <a:pt x="269" y="188"/>
                    <a:pt x="212" y="228"/>
                  </a:cubicBezTo>
                  <a:cubicBezTo>
                    <a:pt x="156" y="268"/>
                    <a:pt x="82" y="263"/>
                    <a:pt x="41" y="210"/>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5" name="Groupe 264">
              <a:extLst>
                <a:ext uri="{FF2B5EF4-FFF2-40B4-BE49-F238E27FC236}">
                  <a16:creationId xmlns:a16="http://schemas.microsoft.com/office/drawing/2014/main" id="{AF864B64-05A2-4B29-A0CF-AEB25F76850C}"/>
                </a:ext>
              </a:extLst>
            </p:cNvPr>
            <p:cNvGrpSpPr/>
            <p:nvPr/>
          </p:nvGrpSpPr>
          <p:grpSpPr>
            <a:xfrm>
              <a:off x="9012238" y="5665788"/>
              <a:ext cx="482600" cy="388938"/>
              <a:chOff x="9012238" y="5665788"/>
              <a:chExt cx="482600" cy="388938"/>
            </a:xfrm>
          </p:grpSpPr>
          <p:sp>
            <p:nvSpPr>
              <p:cNvPr id="266" name="Freeform 326">
                <a:extLst>
                  <a:ext uri="{FF2B5EF4-FFF2-40B4-BE49-F238E27FC236}">
                    <a16:creationId xmlns:a16="http://schemas.microsoft.com/office/drawing/2014/main" id="{9563EA4B-7BFB-4422-9650-E14B38C448B7}"/>
                  </a:ext>
                </a:extLst>
              </p:cNvPr>
              <p:cNvSpPr>
                <a:spLocks/>
              </p:cNvSpPr>
              <p:nvPr/>
            </p:nvSpPr>
            <p:spPr bwMode="auto">
              <a:xfrm>
                <a:off x="9012238" y="5838826"/>
                <a:ext cx="482600" cy="215900"/>
              </a:xfrm>
              <a:custGeom>
                <a:avLst/>
                <a:gdLst>
                  <a:gd name="T0" fmla="*/ 96 w 143"/>
                  <a:gd name="T1" fmla="*/ 0 h 64"/>
                  <a:gd name="T2" fmla="*/ 48 w 143"/>
                  <a:gd name="T3" fmla="*/ 0 h 64"/>
                  <a:gd name="T4" fmla="*/ 48 w 143"/>
                  <a:gd name="T5" fmla="*/ 16 h 64"/>
                  <a:gd name="T6" fmla="*/ 32 w 143"/>
                  <a:gd name="T7" fmla="*/ 16 h 64"/>
                  <a:gd name="T8" fmla="*/ 32 w 143"/>
                  <a:gd name="T9" fmla="*/ 0 h 64"/>
                  <a:gd name="T10" fmla="*/ 0 w 143"/>
                  <a:gd name="T11" fmla="*/ 0 h 64"/>
                  <a:gd name="T12" fmla="*/ 0 w 143"/>
                  <a:gd name="T13" fmla="*/ 56 h 64"/>
                  <a:gd name="T14" fmla="*/ 8 w 143"/>
                  <a:gd name="T15" fmla="*/ 64 h 64"/>
                  <a:gd name="T16" fmla="*/ 135 w 143"/>
                  <a:gd name="T17" fmla="*/ 64 h 64"/>
                  <a:gd name="T18" fmla="*/ 143 w 143"/>
                  <a:gd name="T19" fmla="*/ 56 h 64"/>
                  <a:gd name="T20" fmla="*/ 143 w 143"/>
                  <a:gd name="T21" fmla="*/ 0 h 64"/>
                  <a:gd name="T22" fmla="*/ 111 w 143"/>
                  <a:gd name="T23" fmla="*/ 0 h 64"/>
                  <a:gd name="T24" fmla="*/ 111 w 143"/>
                  <a:gd name="T25" fmla="*/ 16 h 64"/>
                  <a:gd name="T26" fmla="*/ 96 w 143"/>
                  <a:gd name="T27" fmla="*/ 16 h 64"/>
                  <a:gd name="T28" fmla="*/ 96 w 143"/>
                  <a:gd name="T2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64">
                    <a:moveTo>
                      <a:pt x="96" y="0"/>
                    </a:moveTo>
                    <a:cubicBezTo>
                      <a:pt x="48" y="0"/>
                      <a:pt x="48" y="0"/>
                      <a:pt x="48" y="0"/>
                    </a:cubicBezTo>
                    <a:cubicBezTo>
                      <a:pt x="48" y="16"/>
                      <a:pt x="48" y="16"/>
                      <a:pt x="48" y="16"/>
                    </a:cubicBezTo>
                    <a:cubicBezTo>
                      <a:pt x="32" y="16"/>
                      <a:pt x="32" y="16"/>
                      <a:pt x="32" y="16"/>
                    </a:cubicBezTo>
                    <a:cubicBezTo>
                      <a:pt x="32" y="0"/>
                      <a:pt x="32" y="0"/>
                      <a:pt x="32" y="0"/>
                    </a:cubicBezTo>
                    <a:cubicBezTo>
                      <a:pt x="0" y="0"/>
                      <a:pt x="0" y="0"/>
                      <a:pt x="0" y="0"/>
                    </a:cubicBezTo>
                    <a:cubicBezTo>
                      <a:pt x="0" y="56"/>
                      <a:pt x="0" y="56"/>
                      <a:pt x="0" y="56"/>
                    </a:cubicBezTo>
                    <a:cubicBezTo>
                      <a:pt x="0" y="60"/>
                      <a:pt x="4" y="64"/>
                      <a:pt x="8" y="64"/>
                    </a:cubicBezTo>
                    <a:cubicBezTo>
                      <a:pt x="135" y="64"/>
                      <a:pt x="135" y="64"/>
                      <a:pt x="135" y="64"/>
                    </a:cubicBezTo>
                    <a:cubicBezTo>
                      <a:pt x="140" y="64"/>
                      <a:pt x="143" y="60"/>
                      <a:pt x="143" y="56"/>
                    </a:cubicBezTo>
                    <a:cubicBezTo>
                      <a:pt x="143" y="0"/>
                      <a:pt x="143" y="0"/>
                      <a:pt x="143" y="0"/>
                    </a:cubicBezTo>
                    <a:cubicBezTo>
                      <a:pt x="111" y="0"/>
                      <a:pt x="111" y="0"/>
                      <a:pt x="111" y="0"/>
                    </a:cubicBezTo>
                    <a:cubicBezTo>
                      <a:pt x="111" y="16"/>
                      <a:pt x="111" y="16"/>
                      <a:pt x="111" y="16"/>
                    </a:cubicBezTo>
                    <a:cubicBezTo>
                      <a:pt x="96" y="16"/>
                      <a:pt x="96" y="16"/>
                      <a:pt x="96" y="16"/>
                    </a:cubicBezTo>
                    <a:cubicBezTo>
                      <a:pt x="96" y="0"/>
                      <a:pt x="96" y="0"/>
                      <a:pt x="9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327">
                <a:extLst>
                  <a:ext uri="{FF2B5EF4-FFF2-40B4-BE49-F238E27FC236}">
                    <a16:creationId xmlns:a16="http://schemas.microsoft.com/office/drawing/2014/main" id="{0FB8BADC-230A-4019-B346-437BF771A70D}"/>
                  </a:ext>
                </a:extLst>
              </p:cNvPr>
              <p:cNvSpPr>
                <a:spLocks noEditPoints="1"/>
              </p:cNvSpPr>
              <p:nvPr/>
            </p:nvSpPr>
            <p:spPr bwMode="auto">
              <a:xfrm>
                <a:off x="9012238" y="5665788"/>
                <a:ext cx="482600" cy="149225"/>
              </a:xfrm>
              <a:custGeom>
                <a:avLst/>
                <a:gdLst>
                  <a:gd name="T0" fmla="*/ 48 w 143"/>
                  <a:gd name="T1" fmla="*/ 0 h 44"/>
                  <a:gd name="T2" fmla="*/ 36 w 143"/>
                  <a:gd name="T3" fmla="*/ 12 h 44"/>
                  <a:gd name="T4" fmla="*/ 36 w 143"/>
                  <a:gd name="T5" fmla="*/ 20 h 44"/>
                  <a:gd name="T6" fmla="*/ 8 w 143"/>
                  <a:gd name="T7" fmla="*/ 20 h 44"/>
                  <a:gd name="T8" fmla="*/ 0 w 143"/>
                  <a:gd name="T9" fmla="*/ 28 h 44"/>
                  <a:gd name="T10" fmla="*/ 0 w 143"/>
                  <a:gd name="T11" fmla="*/ 44 h 44"/>
                  <a:gd name="T12" fmla="*/ 143 w 143"/>
                  <a:gd name="T13" fmla="*/ 44 h 44"/>
                  <a:gd name="T14" fmla="*/ 143 w 143"/>
                  <a:gd name="T15" fmla="*/ 28 h 44"/>
                  <a:gd name="T16" fmla="*/ 135 w 143"/>
                  <a:gd name="T17" fmla="*/ 20 h 44"/>
                  <a:gd name="T18" fmla="*/ 108 w 143"/>
                  <a:gd name="T19" fmla="*/ 20 h 44"/>
                  <a:gd name="T20" fmla="*/ 108 w 143"/>
                  <a:gd name="T21" fmla="*/ 12 h 44"/>
                  <a:gd name="T22" fmla="*/ 96 w 143"/>
                  <a:gd name="T23" fmla="*/ 0 h 44"/>
                  <a:gd name="T24" fmla="*/ 48 w 143"/>
                  <a:gd name="T25" fmla="*/ 0 h 44"/>
                  <a:gd name="T26" fmla="*/ 48 w 143"/>
                  <a:gd name="T27" fmla="*/ 0 h 44"/>
                  <a:gd name="T28" fmla="*/ 48 w 143"/>
                  <a:gd name="T29" fmla="*/ 8 h 44"/>
                  <a:gd name="T30" fmla="*/ 96 w 143"/>
                  <a:gd name="T31" fmla="*/ 8 h 44"/>
                  <a:gd name="T32" fmla="*/ 100 w 143"/>
                  <a:gd name="T33" fmla="*/ 12 h 44"/>
                  <a:gd name="T34" fmla="*/ 100 w 143"/>
                  <a:gd name="T35" fmla="*/ 20 h 44"/>
                  <a:gd name="T36" fmla="*/ 44 w 143"/>
                  <a:gd name="T37" fmla="*/ 20 h 44"/>
                  <a:gd name="T38" fmla="*/ 44 w 143"/>
                  <a:gd name="T39" fmla="*/ 12 h 44"/>
                  <a:gd name="T40" fmla="*/ 48 w 143"/>
                  <a:gd name="T41"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44">
                    <a:moveTo>
                      <a:pt x="48" y="0"/>
                    </a:moveTo>
                    <a:cubicBezTo>
                      <a:pt x="41" y="0"/>
                      <a:pt x="36" y="5"/>
                      <a:pt x="36" y="12"/>
                    </a:cubicBezTo>
                    <a:cubicBezTo>
                      <a:pt x="36" y="20"/>
                      <a:pt x="36" y="20"/>
                      <a:pt x="36" y="20"/>
                    </a:cubicBezTo>
                    <a:cubicBezTo>
                      <a:pt x="8" y="20"/>
                      <a:pt x="8" y="20"/>
                      <a:pt x="8" y="20"/>
                    </a:cubicBezTo>
                    <a:cubicBezTo>
                      <a:pt x="4" y="20"/>
                      <a:pt x="0" y="23"/>
                      <a:pt x="0" y="28"/>
                    </a:cubicBezTo>
                    <a:cubicBezTo>
                      <a:pt x="0" y="44"/>
                      <a:pt x="0" y="44"/>
                      <a:pt x="0" y="44"/>
                    </a:cubicBezTo>
                    <a:cubicBezTo>
                      <a:pt x="143" y="44"/>
                      <a:pt x="143" y="44"/>
                      <a:pt x="143" y="44"/>
                    </a:cubicBezTo>
                    <a:cubicBezTo>
                      <a:pt x="143" y="28"/>
                      <a:pt x="143" y="28"/>
                      <a:pt x="143" y="28"/>
                    </a:cubicBezTo>
                    <a:cubicBezTo>
                      <a:pt x="143" y="23"/>
                      <a:pt x="140" y="20"/>
                      <a:pt x="135" y="20"/>
                    </a:cubicBezTo>
                    <a:cubicBezTo>
                      <a:pt x="108" y="20"/>
                      <a:pt x="108" y="20"/>
                      <a:pt x="108" y="20"/>
                    </a:cubicBezTo>
                    <a:cubicBezTo>
                      <a:pt x="108" y="12"/>
                      <a:pt x="108" y="12"/>
                      <a:pt x="108" y="12"/>
                    </a:cubicBezTo>
                    <a:cubicBezTo>
                      <a:pt x="108" y="5"/>
                      <a:pt x="102" y="0"/>
                      <a:pt x="96" y="0"/>
                    </a:cubicBezTo>
                    <a:cubicBezTo>
                      <a:pt x="48" y="0"/>
                      <a:pt x="48" y="0"/>
                      <a:pt x="48" y="0"/>
                    </a:cubicBezTo>
                    <a:cubicBezTo>
                      <a:pt x="48" y="0"/>
                      <a:pt x="48" y="0"/>
                      <a:pt x="48" y="0"/>
                    </a:cubicBezTo>
                    <a:close/>
                    <a:moveTo>
                      <a:pt x="48" y="8"/>
                    </a:moveTo>
                    <a:cubicBezTo>
                      <a:pt x="96" y="8"/>
                      <a:pt x="96" y="8"/>
                      <a:pt x="96" y="8"/>
                    </a:cubicBezTo>
                    <a:cubicBezTo>
                      <a:pt x="98" y="8"/>
                      <a:pt x="100" y="9"/>
                      <a:pt x="100" y="12"/>
                    </a:cubicBezTo>
                    <a:cubicBezTo>
                      <a:pt x="100" y="20"/>
                      <a:pt x="100" y="20"/>
                      <a:pt x="100" y="20"/>
                    </a:cubicBezTo>
                    <a:cubicBezTo>
                      <a:pt x="44" y="20"/>
                      <a:pt x="44" y="20"/>
                      <a:pt x="44" y="20"/>
                    </a:cubicBezTo>
                    <a:cubicBezTo>
                      <a:pt x="44" y="12"/>
                      <a:pt x="44" y="12"/>
                      <a:pt x="44" y="12"/>
                    </a:cubicBezTo>
                    <a:cubicBezTo>
                      <a:pt x="44" y="9"/>
                      <a:pt x="46" y="8"/>
                      <a:pt x="48" y="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68" name="Groupe 267">
            <a:extLst>
              <a:ext uri="{FF2B5EF4-FFF2-40B4-BE49-F238E27FC236}">
                <a16:creationId xmlns:a16="http://schemas.microsoft.com/office/drawing/2014/main" id="{3DC61CB1-D773-4ED4-BF27-3C632988B355}"/>
              </a:ext>
              <a:ext uri="{C183D7F6-B498-43B3-948B-1728B52AA6E4}">
                <adec:decorative xmlns:adec="http://schemas.microsoft.com/office/drawing/2017/decorative" val="1"/>
              </a:ext>
            </a:extLst>
          </p:cNvPr>
          <p:cNvGrpSpPr>
            <a:grpSpLocks noChangeAspect="1"/>
          </p:cNvGrpSpPr>
          <p:nvPr/>
        </p:nvGrpSpPr>
        <p:grpSpPr>
          <a:xfrm>
            <a:off x="3739757" y="4150773"/>
            <a:ext cx="676429" cy="633600"/>
            <a:chOff x="5124450" y="2703513"/>
            <a:chExt cx="852488" cy="798512"/>
          </a:xfrm>
        </p:grpSpPr>
        <p:sp>
          <p:nvSpPr>
            <p:cNvPr id="269" name="Freeform 157">
              <a:extLst>
                <a:ext uri="{FF2B5EF4-FFF2-40B4-BE49-F238E27FC236}">
                  <a16:creationId xmlns:a16="http://schemas.microsoft.com/office/drawing/2014/main" id="{D0579E33-B830-4E41-AFBD-4BD5EEF8A1DC}"/>
                </a:ext>
              </a:extLst>
            </p:cNvPr>
            <p:cNvSpPr>
              <a:spLocks/>
            </p:cNvSpPr>
            <p:nvPr/>
          </p:nvSpPr>
          <p:spPr bwMode="auto">
            <a:xfrm>
              <a:off x="5124450" y="2703513"/>
              <a:ext cx="852488" cy="798512"/>
            </a:xfrm>
            <a:custGeom>
              <a:avLst/>
              <a:gdLst>
                <a:gd name="T0" fmla="*/ 36 w 252"/>
                <a:gd name="T1" fmla="*/ 185 h 235"/>
                <a:gd name="T2" fmla="*/ 61 w 252"/>
                <a:gd name="T3" fmla="*/ 35 h 235"/>
                <a:gd name="T4" fmla="*/ 216 w 252"/>
                <a:gd name="T5" fmla="*/ 57 h 235"/>
                <a:gd name="T6" fmla="*/ 188 w 252"/>
                <a:gd name="T7" fmla="*/ 200 h 235"/>
                <a:gd name="T8" fmla="*/ 36 w 252"/>
                <a:gd name="T9" fmla="*/ 185 h 235"/>
              </a:gdLst>
              <a:ahLst/>
              <a:cxnLst>
                <a:cxn ang="0">
                  <a:pos x="T0" y="T1"/>
                </a:cxn>
                <a:cxn ang="0">
                  <a:pos x="T2" y="T3"/>
                </a:cxn>
                <a:cxn ang="0">
                  <a:pos x="T4" y="T5"/>
                </a:cxn>
                <a:cxn ang="0">
                  <a:pos x="T6" y="T7"/>
                </a:cxn>
                <a:cxn ang="0">
                  <a:pos x="T8" y="T9"/>
                </a:cxn>
              </a:cxnLst>
              <a:rect l="0" t="0" r="r" b="b"/>
              <a:pathLst>
                <a:path w="252" h="235">
                  <a:moveTo>
                    <a:pt x="36" y="185"/>
                  </a:moveTo>
                  <a:cubicBezTo>
                    <a:pt x="0" y="137"/>
                    <a:pt x="11" y="71"/>
                    <a:pt x="61" y="35"/>
                  </a:cubicBezTo>
                  <a:cubicBezTo>
                    <a:pt x="110" y="0"/>
                    <a:pt x="180" y="10"/>
                    <a:pt x="216" y="57"/>
                  </a:cubicBezTo>
                  <a:cubicBezTo>
                    <a:pt x="252" y="104"/>
                    <a:pt x="237" y="165"/>
                    <a:pt x="188" y="200"/>
                  </a:cubicBezTo>
                  <a:cubicBezTo>
                    <a:pt x="138" y="235"/>
                    <a:pt x="73" y="231"/>
                    <a:pt x="36" y="185"/>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Freeform 159">
              <a:extLst>
                <a:ext uri="{FF2B5EF4-FFF2-40B4-BE49-F238E27FC236}">
                  <a16:creationId xmlns:a16="http://schemas.microsoft.com/office/drawing/2014/main" id="{C72B0118-1D69-493E-A750-EA8AEFB166EF}"/>
                </a:ext>
              </a:extLst>
            </p:cNvPr>
            <p:cNvSpPr>
              <a:spLocks/>
            </p:cNvSpPr>
            <p:nvPr/>
          </p:nvSpPr>
          <p:spPr bwMode="auto">
            <a:xfrm>
              <a:off x="5415946" y="2893838"/>
              <a:ext cx="245684" cy="427386"/>
            </a:xfrm>
            <a:custGeom>
              <a:avLst/>
              <a:gdLst>
                <a:gd name="T0" fmla="*/ 18 w 45"/>
                <a:gd name="T1" fmla="*/ 45 h 78"/>
                <a:gd name="T2" fmla="*/ 27 w 45"/>
                <a:gd name="T3" fmla="*/ 51 h 78"/>
                <a:gd name="T4" fmla="*/ 20 w 45"/>
                <a:gd name="T5" fmla="*/ 55 h 78"/>
                <a:gd name="T6" fmla="*/ 6 w 45"/>
                <a:gd name="T7" fmla="*/ 52 h 78"/>
                <a:gd name="T8" fmla="*/ 6 w 45"/>
                <a:gd name="T9" fmla="*/ 52 h 78"/>
                <a:gd name="T10" fmla="*/ 3 w 45"/>
                <a:gd name="T11" fmla="*/ 53 h 78"/>
                <a:gd name="T12" fmla="*/ 1 w 45"/>
                <a:gd name="T13" fmla="*/ 62 h 78"/>
                <a:gd name="T14" fmla="*/ 3 w 45"/>
                <a:gd name="T15" fmla="*/ 65 h 78"/>
                <a:gd name="T16" fmla="*/ 16 w 45"/>
                <a:gd name="T17" fmla="*/ 68 h 78"/>
                <a:gd name="T18" fmla="*/ 16 w 45"/>
                <a:gd name="T19" fmla="*/ 75 h 78"/>
                <a:gd name="T20" fmla="*/ 19 w 45"/>
                <a:gd name="T21" fmla="*/ 78 h 78"/>
                <a:gd name="T22" fmla="*/ 26 w 45"/>
                <a:gd name="T23" fmla="*/ 78 h 78"/>
                <a:gd name="T24" fmla="*/ 29 w 45"/>
                <a:gd name="T25" fmla="*/ 75 h 78"/>
                <a:gd name="T26" fmla="*/ 29 w 45"/>
                <a:gd name="T27" fmla="*/ 68 h 78"/>
                <a:gd name="T28" fmla="*/ 45 w 45"/>
                <a:gd name="T29" fmla="*/ 49 h 78"/>
                <a:gd name="T30" fmla="*/ 28 w 45"/>
                <a:gd name="T31" fmla="*/ 31 h 78"/>
                <a:gd name="T32" fmla="*/ 18 w 45"/>
                <a:gd name="T33" fmla="*/ 25 h 78"/>
                <a:gd name="T34" fmla="*/ 24 w 45"/>
                <a:gd name="T35" fmla="*/ 21 h 78"/>
                <a:gd name="T36" fmla="*/ 35 w 45"/>
                <a:gd name="T37" fmla="*/ 23 h 78"/>
                <a:gd name="T38" fmla="*/ 36 w 45"/>
                <a:gd name="T39" fmla="*/ 23 h 78"/>
                <a:gd name="T40" fmla="*/ 38 w 45"/>
                <a:gd name="T41" fmla="*/ 22 h 78"/>
                <a:gd name="T42" fmla="*/ 40 w 45"/>
                <a:gd name="T43" fmla="*/ 13 h 78"/>
                <a:gd name="T44" fmla="*/ 39 w 45"/>
                <a:gd name="T45" fmla="*/ 10 h 78"/>
                <a:gd name="T46" fmla="*/ 27 w 45"/>
                <a:gd name="T47" fmla="*/ 7 h 78"/>
                <a:gd name="T48" fmla="*/ 27 w 45"/>
                <a:gd name="T49" fmla="*/ 2 h 78"/>
                <a:gd name="T50" fmla="*/ 24 w 45"/>
                <a:gd name="T51" fmla="*/ 0 h 78"/>
                <a:gd name="T52" fmla="*/ 24 w 45"/>
                <a:gd name="T53" fmla="*/ 0 h 78"/>
                <a:gd name="T54" fmla="*/ 18 w 45"/>
                <a:gd name="T55" fmla="*/ 0 h 78"/>
                <a:gd name="T56" fmla="*/ 15 w 45"/>
                <a:gd name="T57" fmla="*/ 2 h 78"/>
                <a:gd name="T58" fmla="*/ 15 w 45"/>
                <a:gd name="T59" fmla="*/ 9 h 78"/>
                <a:gd name="T60" fmla="*/ 0 w 45"/>
                <a:gd name="T61" fmla="*/ 26 h 78"/>
                <a:gd name="T62" fmla="*/ 18 w 45"/>
                <a:gd name="T63" fmla="*/ 4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78">
                  <a:moveTo>
                    <a:pt x="18" y="45"/>
                  </a:moveTo>
                  <a:cubicBezTo>
                    <a:pt x="25" y="47"/>
                    <a:pt x="27" y="48"/>
                    <a:pt x="27" y="51"/>
                  </a:cubicBezTo>
                  <a:cubicBezTo>
                    <a:pt x="27" y="54"/>
                    <a:pt x="23" y="55"/>
                    <a:pt x="20" y="55"/>
                  </a:cubicBezTo>
                  <a:cubicBezTo>
                    <a:pt x="14" y="55"/>
                    <a:pt x="9" y="53"/>
                    <a:pt x="6" y="52"/>
                  </a:cubicBezTo>
                  <a:cubicBezTo>
                    <a:pt x="6" y="52"/>
                    <a:pt x="6" y="52"/>
                    <a:pt x="6" y="52"/>
                  </a:cubicBezTo>
                  <a:cubicBezTo>
                    <a:pt x="4" y="52"/>
                    <a:pt x="3" y="52"/>
                    <a:pt x="3" y="53"/>
                  </a:cubicBezTo>
                  <a:cubicBezTo>
                    <a:pt x="1" y="62"/>
                    <a:pt x="1" y="62"/>
                    <a:pt x="1" y="62"/>
                  </a:cubicBezTo>
                  <a:cubicBezTo>
                    <a:pt x="1" y="64"/>
                    <a:pt x="1" y="65"/>
                    <a:pt x="3" y="65"/>
                  </a:cubicBezTo>
                  <a:cubicBezTo>
                    <a:pt x="7" y="68"/>
                    <a:pt x="12" y="68"/>
                    <a:pt x="16" y="68"/>
                  </a:cubicBezTo>
                  <a:cubicBezTo>
                    <a:pt x="16" y="75"/>
                    <a:pt x="16" y="75"/>
                    <a:pt x="16" y="75"/>
                  </a:cubicBezTo>
                  <a:cubicBezTo>
                    <a:pt x="16" y="77"/>
                    <a:pt x="18" y="78"/>
                    <a:pt x="19" y="78"/>
                  </a:cubicBezTo>
                  <a:cubicBezTo>
                    <a:pt x="26" y="78"/>
                    <a:pt x="26" y="78"/>
                    <a:pt x="26" y="78"/>
                  </a:cubicBezTo>
                  <a:cubicBezTo>
                    <a:pt x="28" y="78"/>
                    <a:pt x="29" y="76"/>
                    <a:pt x="29" y="75"/>
                  </a:cubicBezTo>
                  <a:cubicBezTo>
                    <a:pt x="29" y="68"/>
                    <a:pt x="29" y="68"/>
                    <a:pt x="29" y="68"/>
                  </a:cubicBezTo>
                  <a:cubicBezTo>
                    <a:pt x="39" y="65"/>
                    <a:pt x="45" y="59"/>
                    <a:pt x="45" y="49"/>
                  </a:cubicBezTo>
                  <a:cubicBezTo>
                    <a:pt x="44" y="40"/>
                    <a:pt x="39" y="35"/>
                    <a:pt x="28" y="31"/>
                  </a:cubicBezTo>
                  <a:cubicBezTo>
                    <a:pt x="20" y="28"/>
                    <a:pt x="18" y="26"/>
                    <a:pt x="18" y="25"/>
                  </a:cubicBezTo>
                  <a:cubicBezTo>
                    <a:pt x="18" y="22"/>
                    <a:pt x="21" y="21"/>
                    <a:pt x="24" y="21"/>
                  </a:cubicBezTo>
                  <a:cubicBezTo>
                    <a:pt x="29" y="21"/>
                    <a:pt x="33" y="23"/>
                    <a:pt x="35" y="23"/>
                  </a:cubicBezTo>
                  <a:cubicBezTo>
                    <a:pt x="36" y="23"/>
                    <a:pt x="36" y="23"/>
                    <a:pt x="36" y="23"/>
                  </a:cubicBezTo>
                  <a:cubicBezTo>
                    <a:pt x="37" y="23"/>
                    <a:pt x="38" y="23"/>
                    <a:pt x="38" y="22"/>
                  </a:cubicBezTo>
                  <a:cubicBezTo>
                    <a:pt x="40" y="13"/>
                    <a:pt x="40" y="13"/>
                    <a:pt x="40" y="13"/>
                  </a:cubicBezTo>
                  <a:cubicBezTo>
                    <a:pt x="40" y="11"/>
                    <a:pt x="40" y="10"/>
                    <a:pt x="39" y="10"/>
                  </a:cubicBezTo>
                  <a:cubicBezTo>
                    <a:pt x="35" y="9"/>
                    <a:pt x="31" y="8"/>
                    <a:pt x="27" y="7"/>
                  </a:cubicBezTo>
                  <a:cubicBezTo>
                    <a:pt x="27" y="2"/>
                    <a:pt x="27" y="2"/>
                    <a:pt x="27" y="2"/>
                  </a:cubicBezTo>
                  <a:cubicBezTo>
                    <a:pt x="27" y="0"/>
                    <a:pt x="26" y="0"/>
                    <a:pt x="24" y="0"/>
                  </a:cubicBezTo>
                  <a:cubicBezTo>
                    <a:pt x="24" y="0"/>
                    <a:pt x="24" y="0"/>
                    <a:pt x="24" y="0"/>
                  </a:cubicBezTo>
                  <a:cubicBezTo>
                    <a:pt x="18" y="0"/>
                    <a:pt x="18" y="0"/>
                    <a:pt x="18" y="0"/>
                  </a:cubicBezTo>
                  <a:cubicBezTo>
                    <a:pt x="16" y="0"/>
                    <a:pt x="15" y="1"/>
                    <a:pt x="15" y="2"/>
                  </a:cubicBezTo>
                  <a:cubicBezTo>
                    <a:pt x="15" y="9"/>
                    <a:pt x="15" y="9"/>
                    <a:pt x="15" y="9"/>
                  </a:cubicBezTo>
                  <a:cubicBezTo>
                    <a:pt x="5" y="11"/>
                    <a:pt x="0" y="18"/>
                    <a:pt x="0" y="26"/>
                  </a:cubicBezTo>
                  <a:cubicBezTo>
                    <a:pt x="1" y="38"/>
                    <a:pt x="10" y="42"/>
                    <a:pt x="18" y="4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53" name="Groupe 552">
            <a:extLst>
              <a:ext uri="{FF2B5EF4-FFF2-40B4-BE49-F238E27FC236}">
                <a16:creationId xmlns:a16="http://schemas.microsoft.com/office/drawing/2014/main" id="{34B7BADF-4FD9-46E0-ACE2-9FF454836CE8}"/>
              </a:ext>
              <a:ext uri="{C183D7F6-B498-43B3-948B-1728B52AA6E4}">
                <adec:decorative xmlns:adec="http://schemas.microsoft.com/office/drawing/2017/decorative" val="1"/>
              </a:ext>
            </a:extLst>
          </p:cNvPr>
          <p:cNvGrpSpPr/>
          <p:nvPr/>
        </p:nvGrpSpPr>
        <p:grpSpPr>
          <a:xfrm>
            <a:off x="1366628" y="5677926"/>
            <a:ext cx="312318" cy="321278"/>
            <a:chOff x="9363075" y="5164138"/>
            <a:chExt cx="442912" cy="455613"/>
          </a:xfrm>
        </p:grpSpPr>
        <p:sp>
          <p:nvSpPr>
            <p:cNvPr id="554" name="Freeform 496">
              <a:extLst>
                <a:ext uri="{FF2B5EF4-FFF2-40B4-BE49-F238E27FC236}">
                  <a16:creationId xmlns:a16="http://schemas.microsoft.com/office/drawing/2014/main" id="{6B46E0BB-07DF-408C-9FB3-A9615915F13A}"/>
                </a:ext>
              </a:extLst>
            </p:cNvPr>
            <p:cNvSpPr>
              <a:spLocks/>
            </p:cNvSpPr>
            <p:nvPr/>
          </p:nvSpPr>
          <p:spPr bwMode="auto">
            <a:xfrm>
              <a:off x="9437688" y="5340350"/>
              <a:ext cx="38100" cy="192088"/>
            </a:xfrm>
            <a:custGeom>
              <a:avLst/>
              <a:gdLst>
                <a:gd name="T0" fmla="*/ 0 w 24"/>
                <a:gd name="T1" fmla="*/ 0 h 121"/>
                <a:gd name="T2" fmla="*/ 24 w 24"/>
                <a:gd name="T3" fmla="*/ 0 h 121"/>
                <a:gd name="T4" fmla="*/ 24 w 24"/>
                <a:gd name="T5" fmla="*/ 121 h 121"/>
                <a:gd name="T6" fmla="*/ 0 w 24"/>
                <a:gd name="T7" fmla="*/ 121 h 121"/>
                <a:gd name="T8" fmla="*/ 0 w 24"/>
                <a:gd name="T9" fmla="*/ 0 h 121"/>
                <a:gd name="T10" fmla="*/ 0 w 24"/>
                <a:gd name="T11" fmla="*/ 0 h 121"/>
              </a:gdLst>
              <a:ahLst/>
              <a:cxnLst>
                <a:cxn ang="0">
                  <a:pos x="T0" y="T1"/>
                </a:cxn>
                <a:cxn ang="0">
                  <a:pos x="T2" y="T3"/>
                </a:cxn>
                <a:cxn ang="0">
                  <a:pos x="T4" y="T5"/>
                </a:cxn>
                <a:cxn ang="0">
                  <a:pos x="T6" y="T7"/>
                </a:cxn>
                <a:cxn ang="0">
                  <a:pos x="T8" y="T9"/>
                </a:cxn>
                <a:cxn ang="0">
                  <a:pos x="T10" y="T11"/>
                </a:cxn>
              </a:cxnLst>
              <a:rect l="0" t="0" r="r" b="b"/>
              <a:pathLst>
                <a:path w="24" h="121">
                  <a:moveTo>
                    <a:pt x="0" y="0"/>
                  </a:moveTo>
                  <a:lnTo>
                    <a:pt x="24" y="0"/>
                  </a:lnTo>
                  <a:lnTo>
                    <a:pt x="24"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497">
              <a:extLst>
                <a:ext uri="{FF2B5EF4-FFF2-40B4-BE49-F238E27FC236}">
                  <a16:creationId xmlns:a16="http://schemas.microsoft.com/office/drawing/2014/main" id="{578A9F0B-E2DA-4072-B5E9-87D1D8D0CA10}"/>
                </a:ext>
              </a:extLst>
            </p:cNvPr>
            <p:cNvSpPr>
              <a:spLocks/>
            </p:cNvSpPr>
            <p:nvPr/>
          </p:nvSpPr>
          <p:spPr bwMode="auto">
            <a:xfrm>
              <a:off x="9525000"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498">
              <a:extLst>
                <a:ext uri="{FF2B5EF4-FFF2-40B4-BE49-F238E27FC236}">
                  <a16:creationId xmlns:a16="http://schemas.microsoft.com/office/drawing/2014/main" id="{7C78CAEB-8B8F-4718-85D1-888131F16763}"/>
                </a:ext>
              </a:extLst>
            </p:cNvPr>
            <p:cNvSpPr>
              <a:spLocks/>
            </p:cNvSpPr>
            <p:nvPr/>
          </p:nvSpPr>
          <p:spPr bwMode="auto">
            <a:xfrm>
              <a:off x="9610725" y="5340350"/>
              <a:ext cx="30162" cy="192088"/>
            </a:xfrm>
            <a:custGeom>
              <a:avLst/>
              <a:gdLst>
                <a:gd name="T0" fmla="*/ 0 w 19"/>
                <a:gd name="T1" fmla="*/ 0 h 121"/>
                <a:gd name="T2" fmla="*/ 19 w 19"/>
                <a:gd name="T3" fmla="*/ 0 h 121"/>
                <a:gd name="T4" fmla="*/ 19 w 19"/>
                <a:gd name="T5" fmla="*/ 121 h 121"/>
                <a:gd name="T6" fmla="*/ 0 w 19"/>
                <a:gd name="T7" fmla="*/ 121 h 121"/>
                <a:gd name="T8" fmla="*/ 0 w 19"/>
                <a:gd name="T9" fmla="*/ 0 h 121"/>
                <a:gd name="T10" fmla="*/ 0 w 19"/>
                <a:gd name="T11" fmla="*/ 0 h 121"/>
              </a:gdLst>
              <a:ahLst/>
              <a:cxnLst>
                <a:cxn ang="0">
                  <a:pos x="T0" y="T1"/>
                </a:cxn>
                <a:cxn ang="0">
                  <a:pos x="T2" y="T3"/>
                </a:cxn>
                <a:cxn ang="0">
                  <a:pos x="T4" y="T5"/>
                </a:cxn>
                <a:cxn ang="0">
                  <a:pos x="T6" y="T7"/>
                </a:cxn>
                <a:cxn ang="0">
                  <a:pos x="T8" y="T9"/>
                </a:cxn>
                <a:cxn ang="0">
                  <a:pos x="T10" y="T11"/>
                </a:cxn>
              </a:cxnLst>
              <a:rect l="0" t="0" r="r" b="b"/>
              <a:pathLst>
                <a:path w="19" h="121">
                  <a:moveTo>
                    <a:pt x="0" y="0"/>
                  </a:moveTo>
                  <a:lnTo>
                    <a:pt x="19" y="0"/>
                  </a:lnTo>
                  <a:lnTo>
                    <a:pt x="19"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499">
              <a:extLst>
                <a:ext uri="{FF2B5EF4-FFF2-40B4-BE49-F238E27FC236}">
                  <a16:creationId xmlns:a16="http://schemas.microsoft.com/office/drawing/2014/main" id="{276211D6-F7B1-421F-8A01-D649BE65832F}"/>
                </a:ext>
              </a:extLst>
            </p:cNvPr>
            <p:cNvSpPr>
              <a:spLocks/>
            </p:cNvSpPr>
            <p:nvPr/>
          </p:nvSpPr>
          <p:spPr bwMode="auto">
            <a:xfrm>
              <a:off x="9693275"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500">
              <a:extLst>
                <a:ext uri="{FF2B5EF4-FFF2-40B4-BE49-F238E27FC236}">
                  <a16:creationId xmlns:a16="http://schemas.microsoft.com/office/drawing/2014/main" id="{ABA6113F-C9D3-4C39-91EA-9515238FFE4B}"/>
                </a:ext>
              </a:extLst>
            </p:cNvPr>
            <p:cNvSpPr>
              <a:spLocks/>
            </p:cNvSpPr>
            <p:nvPr/>
          </p:nvSpPr>
          <p:spPr bwMode="auto">
            <a:xfrm>
              <a:off x="9423400" y="5307013"/>
              <a:ext cx="319087" cy="26988"/>
            </a:xfrm>
            <a:custGeom>
              <a:avLst/>
              <a:gdLst>
                <a:gd name="T0" fmla="*/ 0 w 201"/>
                <a:gd name="T1" fmla="*/ 0 h 17"/>
                <a:gd name="T2" fmla="*/ 201 w 201"/>
                <a:gd name="T3" fmla="*/ 0 h 17"/>
                <a:gd name="T4" fmla="*/ 201 w 201"/>
                <a:gd name="T5" fmla="*/ 17 h 17"/>
                <a:gd name="T6" fmla="*/ 0 w 201"/>
                <a:gd name="T7" fmla="*/ 17 h 17"/>
                <a:gd name="T8" fmla="*/ 0 w 201"/>
                <a:gd name="T9" fmla="*/ 0 h 17"/>
                <a:gd name="T10" fmla="*/ 0 w 201"/>
                <a:gd name="T11" fmla="*/ 0 h 17"/>
              </a:gdLst>
              <a:ahLst/>
              <a:cxnLst>
                <a:cxn ang="0">
                  <a:pos x="T0" y="T1"/>
                </a:cxn>
                <a:cxn ang="0">
                  <a:pos x="T2" y="T3"/>
                </a:cxn>
                <a:cxn ang="0">
                  <a:pos x="T4" y="T5"/>
                </a:cxn>
                <a:cxn ang="0">
                  <a:pos x="T6" y="T7"/>
                </a:cxn>
                <a:cxn ang="0">
                  <a:pos x="T8" y="T9"/>
                </a:cxn>
                <a:cxn ang="0">
                  <a:pos x="T10" y="T11"/>
                </a:cxn>
              </a:cxnLst>
              <a:rect l="0" t="0" r="r" b="b"/>
              <a:pathLst>
                <a:path w="201" h="17">
                  <a:moveTo>
                    <a:pt x="0" y="0"/>
                  </a:moveTo>
                  <a:lnTo>
                    <a:pt x="201" y="0"/>
                  </a:lnTo>
                  <a:lnTo>
                    <a:pt x="201" y="17"/>
                  </a:lnTo>
                  <a:lnTo>
                    <a:pt x="0" y="17"/>
                  </a:lnTo>
                  <a:lnTo>
                    <a:pt x="0" y="0"/>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501">
              <a:extLst>
                <a:ext uri="{FF2B5EF4-FFF2-40B4-BE49-F238E27FC236}">
                  <a16:creationId xmlns:a16="http://schemas.microsoft.com/office/drawing/2014/main" id="{875C4F91-F93E-4C4E-AF03-12185AE0045C}"/>
                </a:ext>
              </a:extLst>
            </p:cNvPr>
            <p:cNvSpPr>
              <a:spLocks/>
            </p:cNvSpPr>
            <p:nvPr/>
          </p:nvSpPr>
          <p:spPr bwMode="auto">
            <a:xfrm>
              <a:off x="9404350" y="5543550"/>
              <a:ext cx="360362" cy="19050"/>
            </a:xfrm>
            <a:custGeom>
              <a:avLst/>
              <a:gdLst>
                <a:gd name="T0" fmla="*/ 0 w 227"/>
                <a:gd name="T1" fmla="*/ 0 h 12"/>
                <a:gd name="T2" fmla="*/ 227 w 227"/>
                <a:gd name="T3" fmla="*/ 0 h 12"/>
                <a:gd name="T4" fmla="*/ 227 w 227"/>
                <a:gd name="T5" fmla="*/ 12 h 12"/>
                <a:gd name="T6" fmla="*/ 0 w 227"/>
                <a:gd name="T7" fmla="*/ 12 h 12"/>
                <a:gd name="T8" fmla="*/ 0 w 227"/>
                <a:gd name="T9" fmla="*/ 0 h 12"/>
                <a:gd name="T10" fmla="*/ 0 w 227"/>
                <a:gd name="T11" fmla="*/ 0 h 12"/>
              </a:gdLst>
              <a:ahLst/>
              <a:cxnLst>
                <a:cxn ang="0">
                  <a:pos x="T0" y="T1"/>
                </a:cxn>
                <a:cxn ang="0">
                  <a:pos x="T2" y="T3"/>
                </a:cxn>
                <a:cxn ang="0">
                  <a:pos x="T4" y="T5"/>
                </a:cxn>
                <a:cxn ang="0">
                  <a:pos x="T6" y="T7"/>
                </a:cxn>
                <a:cxn ang="0">
                  <a:pos x="T8" y="T9"/>
                </a:cxn>
                <a:cxn ang="0">
                  <a:pos x="T10" y="T11"/>
                </a:cxn>
              </a:cxnLst>
              <a:rect l="0" t="0" r="r" b="b"/>
              <a:pathLst>
                <a:path w="227" h="12">
                  <a:moveTo>
                    <a:pt x="0" y="0"/>
                  </a:moveTo>
                  <a:lnTo>
                    <a:pt x="227" y="0"/>
                  </a:lnTo>
                  <a:lnTo>
                    <a:pt x="227" y="12"/>
                  </a:lnTo>
                  <a:lnTo>
                    <a:pt x="0" y="12"/>
                  </a:lnTo>
                  <a:lnTo>
                    <a:pt x="0" y="0"/>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502">
              <a:extLst>
                <a:ext uri="{FF2B5EF4-FFF2-40B4-BE49-F238E27FC236}">
                  <a16:creationId xmlns:a16="http://schemas.microsoft.com/office/drawing/2014/main" id="{755AE437-9B2E-4900-9F33-B40EC79B971D}"/>
                </a:ext>
              </a:extLst>
            </p:cNvPr>
            <p:cNvSpPr>
              <a:spLocks/>
            </p:cNvSpPr>
            <p:nvPr/>
          </p:nvSpPr>
          <p:spPr bwMode="auto">
            <a:xfrm>
              <a:off x="9363075" y="5595938"/>
              <a:ext cx="442912" cy="23813"/>
            </a:xfrm>
            <a:custGeom>
              <a:avLst/>
              <a:gdLst>
                <a:gd name="T0" fmla="*/ 0 w 279"/>
                <a:gd name="T1" fmla="*/ 0 h 15"/>
                <a:gd name="T2" fmla="*/ 279 w 279"/>
                <a:gd name="T3" fmla="*/ 0 h 15"/>
                <a:gd name="T4" fmla="*/ 279 w 279"/>
                <a:gd name="T5" fmla="*/ 15 h 15"/>
                <a:gd name="T6" fmla="*/ 0 w 279"/>
                <a:gd name="T7" fmla="*/ 15 h 15"/>
                <a:gd name="T8" fmla="*/ 0 w 279"/>
                <a:gd name="T9" fmla="*/ 0 h 15"/>
                <a:gd name="T10" fmla="*/ 0 w 279"/>
                <a:gd name="T11" fmla="*/ 0 h 15"/>
              </a:gdLst>
              <a:ahLst/>
              <a:cxnLst>
                <a:cxn ang="0">
                  <a:pos x="T0" y="T1"/>
                </a:cxn>
                <a:cxn ang="0">
                  <a:pos x="T2" y="T3"/>
                </a:cxn>
                <a:cxn ang="0">
                  <a:pos x="T4" y="T5"/>
                </a:cxn>
                <a:cxn ang="0">
                  <a:pos x="T6" y="T7"/>
                </a:cxn>
                <a:cxn ang="0">
                  <a:pos x="T8" y="T9"/>
                </a:cxn>
                <a:cxn ang="0">
                  <a:pos x="T10" y="T11"/>
                </a:cxn>
              </a:cxnLst>
              <a:rect l="0" t="0" r="r" b="b"/>
              <a:pathLst>
                <a:path w="279" h="15">
                  <a:moveTo>
                    <a:pt x="0" y="0"/>
                  </a:moveTo>
                  <a:lnTo>
                    <a:pt x="279" y="0"/>
                  </a:lnTo>
                  <a:lnTo>
                    <a:pt x="279" y="15"/>
                  </a:lnTo>
                  <a:lnTo>
                    <a:pt x="0" y="15"/>
                  </a:lnTo>
                  <a:lnTo>
                    <a:pt x="0" y="0"/>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503">
              <a:extLst>
                <a:ext uri="{FF2B5EF4-FFF2-40B4-BE49-F238E27FC236}">
                  <a16:creationId xmlns:a16="http://schemas.microsoft.com/office/drawing/2014/main" id="{C91D14AB-15FD-4978-A7AA-ACD91ED6BB66}"/>
                </a:ext>
              </a:extLst>
            </p:cNvPr>
            <p:cNvSpPr>
              <a:spLocks/>
            </p:cNvSpPr>
            <p:nvPr/>
          </p:nvSpPr>
          <p:spPr bwMode="auto">
            <a:xfrm>
              <a:off x="9382125" y="5570538"/>
              <a:ext cx="401637" cy="22225"/>
            </a:xfrm>
            <a:custGeom>
              <a:avLst/>
              <a:gdLst>
                <a:gd name="T0" fmla="*/ 0 w 253"/>
                <a:gd name="T1" fmla="*/ 0 h 14"/>
                <a:gd name="T2" fmla="*/ 253 w 253"/>
                <a:gd name="T3" fmla="*/ 0 h 14"/>
                <a:gd name="T4" fmla="*/ 253 w 253"/>
                <a:gd name="T5" fmla="*/ 14 h 14"/>
                <a:gd name="T6" fmla="*/ 0 w 253"/>
                <a:gd name="T7" fmla="*/ 14 h 14"/>
                <a:gd name="T8" fmla="*/ 0 w 253"/>
                <a:gd name="T9" fmla="*/ 0 h 14"/>
                <a:gd name="T10" fmla="*/ 0 w 253"/>
                <a:gd name="T11" fmla="*/ 0 h 14"/>
              </a:gdLst>
              <a:ahLst/>
              <a:cxnLst>
                <a:cxn ang="0">
                  <a:pos x="T0" y="T1"/>
                </a:cxn>
                <a:cxn ang="0">
                  <a:pos x="T2" y="T3"/>
                </a:cxn>
                <a:cxn ang="0">
                  <a:pos x="T4" y="T5"/>
                </a:cxn>
                <a:cxn ang="0">
                  <a:pos x="T6" y="T7"/>
                </a:cxn>
                <a:cxn ang="0">
                  <a:pos x="T8" y="T9"/>
                </a:cxn>
                <a:cxn ang="0">
                  <a:pos x="T10" y="T11"/>
                </a:cxn>
              </a:cxnLst>
              <a:rect l="0" t="0" r="r" b="b"/>
              <a:pathLst>
                <a:path w="253" h="14">
                  <a:moveTo>
                    <a:pt x="0" y="0"/>
                  </a:moveTo>
                  <a:lnTo>
                    <a:pt x="253" y="0"/>
                  </a:lnTo>
                  <a:lnTo>
                    <a:pt x="253" y="14"/>
                  </a:lnTo>
                  <a:lnTo>
                    <a:pt x="0" y="14"/>
                  </a:lnTo>
                  <a:lnTo>
                    <a:pt x="0" y="0"/>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504">
              <a:extLst>
                <a:ext uri="{FF2B5EF4-FFF2-40B4-BE49-F238E27FC236}">
                  <a16:creationId xmlns:a16="http://schemas.microsoft.com/office/drawing/2014/main" id="{8D69E4D7-F7B2-4B49-B95E-2EBB8982AF63}"/>
                </a:ext>
              </a:extLst>
            </p:cNvPr>
            <p:cNvSpPr>
              <a:spLocks/>
            </p:cNvSpPr>
            <p:nvPr/>
          </p:nvSpPr>
          <p:spPr bwMode="auto">
            <a:xfrm>
              <a:off x="9382125" y="5164138"/>
              <a:ext cx="401637" cy="134938"/>
            </a:xfrm>
            <a:custGeom>
              <a:avLst/>
              <a:gdLst>
                <a:gd name="T0" fmla="*/ 106 w 107"/>
                <a:gd name="T1" fmla="*/ 33 h 36"/>
                <a:gd name="T2" fmla="*/ 106 w 107"/>
                <a:gd name="T3" fmla="*/ 33 h 36"/>
                <a:gd name="T4" fmla="*/ 54 w 107"/>
                <a:gd name="T5" fmla="*/ 0 h 36"/>
                <a:gd name="T6" fmla="*/ 1 w 107"/>
                <a:gd name="T7" fmla="*/ 33 h 36"/>
                <a:gd name="T8" fmla="*/ 1 w 107"/>
                <a:gd name="T9" fmla="*/ 33 h 36"/>
                <a:gd name="T10" fmla="*/ 0 w 107"/>
                <a:gd name="T11" fmla="*/ 34 h 36"/>
                <a:gd name="T12" fmla="*/ 3 w 107"/>
                <a:gd name="T13" fmla="*/ 36 h 36"/>
                <a:gd name="T14" fmla="*/ 105 w 107"/>
                <a:gd name="T15" fmla="*/ 36 h 36"/>
                <a:gd name="T16" fmla="*/ 107 w 107"/>
                <a:gd name="T17" fmla="*/ 34 h 36"/>
                <a:gd name="T18" fmla="*/ 106 w 107"/>
                <a:gd name="T19"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36">
                  <a:moveTo>
                    <a:pt x="106" y="33"/>
                  </a:moveTo>
                  <a:cubicBezTo>
                    <a:pt x="106" y="33"/>
                    <a:pt x="106" y="33"/>
                    <a:pt x="106" y="33"/>
                  </a:cubicBezTo>
                  <a:cubicBezTo>
                    <a:pt x="54" y="0"/>
                    <a:pt x="54" y="0"/>
                    <a:pt x="54" y="0"/>
                  </a:cubicBezTo>
                  <a:cubicBezTo>
                    <a:pt x="1" y="33"/>
                    <a:pt x="1" y="33"/>
                    <a:pt x="1" y="33"/>
                  </a:cubicBezTo>
                  <a:cubicBezTo>
                    <a:pt x="1" y="33"/>
                    <a:pt x="1" y="33"/>
                    <a:pt x="1" y="33"/>
                  </a:cubicBezTo>
                  <a:cubicBezTo>
                    <a:pt x="1" y="33"/>
                    <a:pt x="0" y="34"/>
                    <a:pt x="0" y="34"/>
                  </a:cubicBezTo>
                  <a:cubicBezTo>
                    <a:pt x="0" y="36"/>
                    <a:pt x="1" y="36"/>
                    <a:pt x="3" y="36"/>
                  </a:cubicBezTo>
                  <a:cubicBezTo>
                    <a:pt x="105" y="36"/>
                    <a:pt x="105" y="36"/>
                    <a:pt x="105" y="36"/>
                  </a:cubicBezTo>
                  <a:cubicBezTo>
                    <a:pt x="106" y="36"/>
                    <a:pt x="107" y="36"/>
                    <a:pt x="107" y="34"/>
                  </a:cubicBezTo>
                  <a:cubicBezTo>
                    <a:pt x="107" y="34"/>
                    <a:pt x="107" y="33"/>
                    <a:pt x="106" y="3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4" name="Groupe 563">
            <a:extLst>
              <a:ext uri="{FF2B5EF4-FFF2-40B4-BE49-F238E27FC236}">
                <a16:creationId xmlns:a16="http://schemas.microsoft.com/office/drawing/2014/main" id="{86BBE61F-843E-4553-BF72-892FCDA38974}"/>
              </a:ext>
              <a:ext uri="{C183D7F6-B498-43B3-948B-1728B52AA6E4}">
                <adec:decorative xmlns:adec="http://schemas.microsoft.com/office/drawing/2017/decorative" val="1"/>
              </a:ext>
            </a:extLst>
          </p:cNvPr>
          <p:cNvGrpSpPr>
            <a:grpSpLocks noChangeAspect="1"/>
          </p:cNvGrpSpPr>
          <p:nvPr/>
        </p:nvGrpSpPr>
        <p:grpSpPr>
          <a:xfrm>
            <a:off x="2035967" y="4150773"/>
            <a:ext cx="681461" cy="633600"/>
            <a:chOff x="10264776" y="230187"/>
            <a:chExt cx="949325" cy="882650"/>
          </a:xfrm>
        </p:grpSpPr>
        <p:sp>
          <p:nvSpPr>
            <p:cNvPr id="565" name="Freeform 166">
              <a:extLst>
                <a:ext uri="{FF2B5EF4-FFF2-40B4-BE49-F238E27FC236}">
                  <a16:creationId xmlns:a16="http://schemas.microsoft.com/office/drawing/2014/main" id="{90196E3D-524B-491A-A4B9-7D80E6DDDFCB}"/>
                </a:ext>
              </a:extLst>
            </p:cNvPr>
            <p:cNvSpPr>
              <a:spLocks/>
            </p:cNvSpPr>
            <p:nvPr/>
          </p:nvSpPr>
          <p:spPr bwMode="auto">
            <a:xfrm>
              <a:off x="10264776" y="230187"/>
              <a:ext cx="949325" cy="882650"/>
            </a:xfrm>
            <a:custGeom>
              <a:avLst/>
              <a:gdLst>
                <a:gd name="T0" fmla="*/ 22 w 253"/>
                <a:gd name="T1" fmla="*/ 158 h 235"/>
                <a:gd name="T2" fmla="*/ 86 w 253"/>
                <a:gd name="T3" fmla="*/ 21 h 235"/>
                <a:gd name="T4" fmla="*/ 230 w 253"/>
                <a:gd name="T5" fmla="*/ 84 h 235"/>
                <a:gd name="T6" fmla="*/ 164 w 253"/>
                <a:gd name="T7" fmla="*/ 215 h 235"/>
                <a:gd name="T8" fmla="*/ 22 w 253"/>
                <a:gd name="T9" fmla="*/ 158 h 235"/>
              </a:gdLst>
              <a:ahLst/>
              <a:cxnLst>
                <a:cxn ang="0">
                  <a:pos x="T0" y="T1"/>
                </a:cxn>
                <a:cxn ang="0">
                  <a:pos x="T2" y="T3"/>
                </a:cxn>
                <a:cxn ang="0">
                  <a:pos x="T4" y="T5"/>
                </a:cxn>
                <a:cxn ang="0">
                  <a:pos x="T6" y="T7"/>
                </a:cxn>
                <a:cxn ang="0">
                  <a:pos x="T8" y="T9"/>
                </a:cxn>
              </a:cxnLst>
              <a:rect l="0" t="0" r="r" b="b"/>
              <a:pathLst>
                <a:path w="253" h="235">
                  <a:moveTo>
                    <a:pt x="22" y="158"/>
                  </a:moveTo>
                  <a:cubicBezTo>
                    <a:pt x="0" y="103"/>
                    <a:pt x="29" y="41"/>
                    <a:pt x="86" y="21"/>
                  </a:cubicBezTo>
                  <a:cubicBezTo>
                    <a:pt x="144" y="0"/>
                    <a:pt x="208" y="28"/>
                    <a:pt x="230" y="84"/>
                  </a:cubicBezTo>
                  <a:cubicBezTo>
                    <a:pt x="253" y="139"/>
                    <a:pt x="222" y="194"/>
                    <a:pt x="164" y="215"/>
                  </a:cubicBezTo>
                  <a:cubicBezTo>
                    <a:pt x="107" y="235"/>
                    <a:pt x="45" y="214"/>
                    <a:pt x="22" y="158"/>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6" name="Groupe 565">
              <a:extLst>
                <a:ext uri="{FF2B5EF4-FFF2-40B4-BE49-F238E27FC236}">
                  <a16:creationId xmlns:a16="http://schemas.microsoft.com/office/drawing/2014/main" id="{42A292BF-6D8D-40D4-95D3-470531CCB94F}"/>
                </a:ext>
              </a:extLst>
            </p:cNvPr>
            <p:cNvGrpSpPr/>
            <p:nvPr/>
          </p:nvGrpSpPr>
          <p:grpSpPr>
            <a:xfrm>
              <a:off x="10512426" y="403225"/>
              <a:ext cx="461962" cy="492125"/>
              <a:chOff x="10512426" y="403225"/>
              <a:chExt cx="461962" cy="492125"/>
            </a:xfrm>
          </p:grpSpPr>
          <p:sp>
            <p:nvSpPr>
              <p:cNvPr id="567" name="Freeform 167">
                <a:extLst>
                  <a:ext uri="{FF2B5EF4-FFF2-40B4-BE49-F238E27FC236}">
                    <a16:creationId xmlns:a16="http://schemas.microsoft.com/office/drawing/2014/main" id="{820146EC-FFE1-4377-80CD-9B3360EB3245}"/>
                  </a:ext>
                </a:extLst>
              </p:cNvPr>
              <p:cNvSpPr>
                <a:spLocks/>
              </p:cNvSpPr>
              <p:nvPr/>
            </p:nvSpPr>
            <p:spPr bwMode="auto">
              <a:xfrm>
                <a:off x="10512426" y="741362"/>
                <a:ext cx="149225" cy="153988"/>
              </a:xfrm>
              <a:custGeom>
                <a:avLst/>
                <a:gdLst>
                  <a:gd name="T0" fmla="*/ 24 w 40"/>
                  <a:gd name="T1" fmla="*/ 0 h 41"/>
                  <a:gd name="T2" fmla="*/ 16 w 40"/>
                  <a:gd name="T3" fmla="*/ 0 h 41"/>
                  <a:gd name="T4" fmla="*/ 0 w 40"/>
                  <a:gd name="T5" fmla="*/ 25 h 41"/>
                  <a:gd name="T6" fmla="*/ 6 w 40"/>
                  <a:gd name="T7" fmla="*/ 39 h 41"/>
                  <a:gd name="T8" fmla="*/ 11 w 40"/>
                  <a:gd name="T9" fmla="*/ 41 h 41"/>
                  <a:gd name="T10" fmla="*/ 29 w 40"/>
                  <a:gd name="T11" fmla="*/ 41 h 41"/>
                  <a:gd name="T12" fmla="*/ 34 w 40"/>
                  <a:gd name="T13" fmla="*/ 39 h 41"/>
                  <a:gd name="T14" fmla="*/ 40 w 40"/>
                  <a:gd name="T15" fmla="*/ 25 h 41"/>
                  <a:gd name="T16" fmla="*/ 24 w 40"/>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1">
                    <a:moveTo>
                      <a:pt x="24" y="0"/>
                    </a:moveTo>
                    <a:cubicBezTo>
                      <a:pt x="16" y="0"/>
                      <a:pt x="16" y="0"/>
                      <a:pt x="16" y="0"/>
                    </a:cubicBezTo>
                    <a:cubicBezTo>
                      <a:pt x="10" y="4"/>
                      <a:pt x="0" y="17"/>
                      <a:pt x="0" y="25"/>
                    </a:cubicBezTo>
                    <a:cubicBezTo>
                      <a:pt x="0" y="31"/>
                      <a:pt x="2" y="35"/>
                      <a:pt x="6" y="39"/>
                    </a:cubicBezTo>
                    <a:cubicBezTo>
                      <a:pt x="7" y="40"/>
                      <a:pt x="9" y="41"/>
                      <a:pt x="11" y="41"/>
                    </a:cubicBezTo>
                    <a:cubicBezTo>
                      <a:pt x="29" y="41"/>
                      <a:pt x="29" y="41"/>
                      <a:pt x="29" y="41"/>
                    </a:cubicBezTo>
                    <a:cubicBezTo>
                      <a:pt x="31" y="41"/>
                      <a:pt x="33" y="40"/>
                      <a:pt x="34" y="39"/>
                    </a:cubicBezTo>
                    <a:cubicBezTo>
                      <a:pt x="38" y="35"/>
                      <a:pt x="40" y="31"/>
                      <a:pt x="40" y="25"/>
                    </a:cubicBezTo>
                    <a:cubicBezTo>
                      <a:pt x="40" y="17"/>
                      <a:pt x="30" y="4"/>
                      <a:pt x="24"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68">
                <a:extLst>
                  <a:ext uri="{FF2B5EF4-FFF2-40B4-BE49-F238E27FC236}">
                    <a16:creationId xmlns:a16="http://schemas.microsoft.com/office/drawing/2014/main" id="{BD53CACD-D8CF-4433-B7DD-011541544938}"/>
                  </a:ext>
                </a:extLst>
              </p:cNvPr>
              <p:cNvSpPr>
                <a:spLocks/>
              </p:cNvSpPr>
              <p:nvPr/>
            </p:nvSpPr>
            <p:spPr bwMode="auto">
              <a:xfrm>
                <a:off x="10548938" y="708025"/>
                <a:ext cx="76200" cy="33338"/>
              </a:xfrm>
              <a:custGeom>
                <a:avLst/>
                <a:gdLst>
                  <a:gd name="T0" fmla="*/ 18 w 20"/>
                  <a:gd name="T1" fmla="*/ 2 h 9"/>
                  <a:gd name="T2" fmla="*/ 17 w 20"/>
                  <a:gd name="T3" fmla="*/ 2 h 9"/>
                  <a:gd name="T4" fmla="*/ 15 w 20"/>
                  <a:gd name="T5" fmla="*/ 2 h 9"/>
                  <a:gd name="T6" fmla="*/ 13 w 20"/>
                  <a:gd name="T7" fmla="*/ 2 h 9"/>
                  <a:gd name="T8" fmla="*/ 11 w 20"/>
                  <a:gd name="T9" fmla="*/ 0 h 9"/>
                  <a:gd name="T10" fmla="*/ 9 w 20"/>
                  <a:gd name="T11" fmla="*/ 0 h 9"/>
                  <a:gd name="T12" fmla="*/ 7 w 20"/>
                  <a:gd name="T13" fmla="*/ 2 h 9"/>
                  <a:gd name="T14" fmla="*/ 6 w 20"/>
                  <a:gd name="T15" fmla="*/ 2 h 9"/>
                  <a:gd name="T16" fmla="*/ 4 w 20"/>
                  <a:gd name="T17" fmla="*/ 2 h 9"/>
                  <a:gd name="T18" fmla="*/ 2 w 20"/>
                  <a:gd name="T19" fmla="*/ 2 h 9"/>
                  <a:gd name="T20" fmla="*/ 0 w 20"/>
                  <a:gd name="T21" fmla="*/ 2 h 9"/>
                  <a:gd name="T22" fmla="*/ 0 w 20"/>
                  <a:gd name="T23" fmla="*/ 3 h 9"/>
                  <a:gd name="T24" fmla="*/ 5 w 20"/>
                  <a:gd name="T25" fmla="*/ 8 h 9"/>
                  <a:gd name="T26" fmla="*/ 7 w 20"/>
                  <a:gd name="T27" fmla="*/ 9 h 9"/>
                  <a:gd name="T28" fmla="*/ 13 w 20"/>
                  <a:gd name="T29" fmla="*/ 9 h 9"/>
                  <a:gd name="T30" fmla="*/ 15 w 20"/>
                  <a:gd name="T31" fmla="*/ 8 h 9"/>
                  <a:gd name="T32" fmla="*/ 20 w 20"/>
                  <a:gd name="T33" fmla="*/ 3 h 9"/>
                  <a:gd name="T34" fmla="*/ 20 w 20"/>
                  <a:gd name="T35" fmla="*/ 2 h 9"/>
                  <a:gd name="T36" fmla="*/ 18 w 20"/>
                  <a:gd name="T3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
                    <a:moveTo>
                      <a:pt x="18" y="2"/>
                    </a:moveTo>
                    <a:cubicBezTo>
                      <a:pt x="18" y="2"/>
                      <a:pt x="17" y="1"/>
                      <a:pt x="17" y="2"/>
                    </a:cubicBezTo>
                    <a:cubicBezTo>
                      <a:pt x="15" y="2"/>
                      <a:pt x="15" y="2"/>
                      <a:pt x="15" y="2"/>
                    </a:cubicBezTo>
                    <a:cubicBezTo>
                      <a:pt x="14" y="2"/>
                      <a:pt x="13" y="2"/>
                      <a:pt x="13" y="2"/>
                    </a:cubicBezTo>
                    <a:cubicBezTo>
                      <a:pt x="11" y="0"/>
                      <a:pt x="11" y="0"/>
                      <a:pt x="11" y="0"/>
                    </a:cubicBezTo>
                    <a:cubicBezTo>
                      <a:pt x="10" y="0"/>
                      <a:pt x="10" y="0"/>
                      <a:pt x="9" y="0"/>
                    </a:cubicBezTo>
                    <a:cubicBezTo>
                      <a:pt x="7" y="2"/>
                      <a:pt x="7" y="2"/>
                      <a:pt x="7" y="2"/>
                    </a:cubicBezTo>
                    <a:cubicBezTo>
                      <a:pt x="7" y="2"/>
                      <a:pt x="6" y="2"/>
                      <a:pt x="6" y="2"/>
                    </a:cubicBezTo>
                    <a:cubicBezTo>
                      <a:pt x="4" y="2"/>
                      <a:pt x="4" y="2"/>
                      <a:pt x="4" y="2"/>
                    </a:cubicBezTo>
                    <a:cubicBezTo>
                      <a:pt x="3" y="1"/>
                      <a:pt x="2" y="2"/>
                      <a:pt x="2" y="2"/>
                    </a:cubicBezTo>
                    <a:cubicBezTo>
                      <a:pt x="0" y="2"/>
                      <a:pt x="0" y="2"/>
                      <a:pt x="0" y="2"/>
                    </a:cubicBezTo>
                    <a:cubicBezTo>
                      <a:pt x="0" y="3"/>
                      <a:pt x="0" y="3"/>
                      <a:pt x="0" y="3"/>
                    </a:cubicBezTo>
                    <a:cubicBezTo>
                      <a:pt x="5" y="8"/>
                      <a:pt x="5" y="8"/>
                      <a:pt x="5" y="8"/>
                    </a:cubicBezTo>
                    <a:cubicBezTo>
                      <a:pt x="6" y="9"/>
                      <a:pt x="6" y="9"/>
                      <a:pt x="7" y="9"/>
                    </a:cubicBezTo>
                    <a:cubicBezTo>
                      <a:pt x="13" y="9"/>
                      <a:pt x="13" y="9"/>
                      <a:pt x="13" y="9"/>
                    </a:cubicBezTo>
                    <a:cubicBezTo>
                      <a:pt x="14" y="9"/>
                      <a:pt x="14" y="9"/>
                      <a:pt x="15" y="8"/>
                    </a:cubicBezTo>
                    <a:cubicBezTo>
                      <a:pt x="20" y="3"/>
                      <a:pt x="20" y="3"/>
                      <a:pt x="20" y="3"/>
                    </a:cubicBezTo>
                    <a:cubicBezTo>
                      <a:pt x="20" y="3"/>
                      <a:pt x="20" y="3"/>
                      <a:pt x="20" y="2"/>
                    </a:cubicBezTo>
                    <a:lnTo>
                      <a:pt x="18" y="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69">
                <a:extLst>
                  <a:ext uri="{FF2B5EF4-FFF2-40B4-BE49-F238E27FC236}">
                    <a16:creationId xmlns:a16="http://schemas.microsoft.com/office/drawing/2014/main" id="{31CB08BD-97B0-44F7-AC3E-6D53B7A17595}"/>
                  </a:ext>
                </a:extLst>
              </p:cNvPr>
              <p:cNvSpPr>
                <a:spLocks/>
              </p:cNvSpPr>
              <p:nvPr/>
            </p:nvSpPr>
            <p:spPr bwMode="auto">
              <a:xfrm>
                <a:off x="10560051" y="738187"/>
                <a:ext cx="53975" cy="11113"/>
              </a:xfrm>
              <a:custGeom>
                <a:avLst/>
                <a:gdLst>
                  <a:gd name="T0" fmla="*/ 12 w 14"/>
                  <a:gd name="T1" fmla="*/ 3 h 3"/>
                  <a:gd name="T2" fmla="*/ 2 w 14"/>
                  <a:gd name="T3" fmla="*/ 3 h 3"/>
                  <a:gd name="T4" fmla="*/ 0 w 14"/>
                  <a:gd name="T5" fmla="*/ 1 h 3"/>
                  <a:gd name="T6" fmla="*/ 2 w 14"/>
                  <a:gd name="T7" fmla="*/ 0 h 3"/>
                  <a:gd name="T8" fmla="*/ 12 w 14"/>
                  <a:gd name="T9" fmla="*/ 0 h 3"/>
                  <a:gd name="T10" fmla="*/ 14 w 14"/>
                  <a:gd name="T11" fmla="*/ 1 h 3"/>
                  <a:gd name="T12" fmla="*/ 12 w 1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4" h="3">
                    <a:moveTo>
                      <a:pt x="12" y="3"/>
                    </a:moveTo>
                    <a:cubicBezTo>
                      <a:pt x="2" y="3"/>
                      <a:pt x="2" y="3"/>
                      <a:pt x="2" y="3"/>
                    </a:cubicBezTo>
                    <a:cubicBezTo>
                      <a:pt x="1" y="3"/>
                      <a:pt x="0" y="2"/>
                      <a:pt x="0" y="1"/>
                    </a:cubicBezTo>
                    <a:cubicBezTo>
                      <a:pt x="0" y="0"/>
                      <a:pt x="1" y="0"/>
                      <a:pt x="2" y="0"/>
                    </a:cubicBezTo>
                    <a:cubicBezTo>
                      <a:pt x="12" y="0"/>
                      <a:pt x="12" y="0"/>
                      <a:pt x="12" y="0"/>
                    </a:cubicBezTo>
                    <a:cubicBezTo>
                      <a:pt x="13" y="0"/>
                      <a:pt x="14" y="0"/>
                      <a:pt x="14" y="1"/>
                    </a:cubicBezTo>
                    <a:cubicBezTo>
                      <a:pt x="14" y="2"/>
                      <a:pt x="13" y="3"/>
                      <a:pt x="12" y="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171">
                <a:extLst>
                  <a:ext uri="{FF2B5EF4-FFF2-40B4-BE49-F238E27FC236}">
                    <a16:creationId xmlns:a16="http://schemas.microsoft.com/office/drawing/2014/main" id="{3F2E0C99-A1F2-4A0F-A068-3474146BF6CB}"/>
                  </a:ext>
                </a:extLst>
              </p:cNvPr>
              <p:cNvSpPr>
                <a:spLocks/>
              </p:cNvSpPr>
              <p:nvPr/>
            </p:nvSpPr>
            <p:spPr bwMode="auto">
              <a:xfrm>
                <a:off x="10748963" y="666750"/>
                <a:ext cx="225425" cy="228600"/>
              </a:xfrm>
              <a:custGeom>
                <a:avLst/>
                <a:gdLst>
                  <a:gd name="T0" fmla="*/ 36 w 60"/>
                  <a:gd name="T1" fmla="*/ 0 h 61"/>
                  <a:gd name="T2" fmla="*/ 24 w 60"/>
                  <a:gd name="T3" fmla="*/ 0 h 61"/>
                  <a:gd name="T4" fmla="*/ 0 w 60"/>
                  <a:gd name="T5" fmla="*/ 37 h 61"/>
                  <a:gd name="T6" fmla="*/ 10 w 60"/>
                  <a:gd name="T7" fmla="*/ 59 h 61"/>
                  <a:gd name="T8" fmla="*/ 15 w 60"/>
                  <a:gd name="T9" fmla="*/ 61 h 61"/>
                  <a:gd name="T10" fmla="*/ 43 w 60"/>
                  <a:gd name="T11" fmla="*/ 61 h 61"/>
                  <a:gd name="T12" fmla="*/ 51 w 60"/>
                  <a:gd name="T13" fmla="*/ 58 h 61"/>
                  <a:gd name="T14" fmla="*/ 60 w 60"/>
                  <a:gd name="T15" fmla="*/ 37 h 61"/>
                  <a:gd name="T16" fmla="*/ 36 w 6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1">
                    <a:moveTo>
                      <a:pt x="36" y="0"/>
                    </a:moveTo>
                    <a:cubicBezTo>
                      <a:pt x="24" y="0"/>
                      <a:pt x="24" y="0"/>
                      <a:pt x="24" y="0"/>
                    </a:cubicBezTo>
                    <a:cubicBezTo>
                      <a:pt x="15" y="6"/>
                      <a:pt x="0" y="25"/>
                      <a:pt x="0" y="37"/>
                    </a:cubicBezTo>
                    <a:cubicBezTo>
                      <a:pt x="0" y="47"/>
                      <a:pt x="3" y="53"/>
                      <a:pt x="10" y="59"/>
                    </a:cubicBezTo>
                    <a:cubicBezTo>
                      <a:pt x="12" y="60"/>
                      <a:pt x="13" y="61"/>
                      <a:pt x="15" y="61"/>
                    </a:cubicBezTo>
                    <a:cubicBezTo>
                      <a:pt x="43" y="61"/>
                      <a:pt x="43" y="61"/>
                      <a:pt x="43" y="61"/>
                    </a:cubicBezTo>
                    <a:cubicBezTo>
                      <a:pt x="46" y="61"/>
                      <a:pt x="49" y="60"/>
                      <a:pt x="51" y="58"/>
                    </a:cubicBezTo>
                    <a:cubicBezTo>
                      <a:pt x="57" y="52"/>
                      <a:pt x="60" y="46"/>
                      <a:pt x="60" y="37"/>
                    </a:cubicBezTo>
                    <a:cubicBezTo>
                      <a:pt x="60" y="25"/>
                      <a:pt x="45" y="6"/>
                      <a:pt x="3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72">
                <a:extLst>
                  <a:ext uri="{FF2B5EF4-FFF2-40B4-BE49-F238E27FC236}">
                    <a16:creationId xmlns:a16="http://schemas.microsoft.com/office/drawing/2014/main" id="{ADBE783E-E392-4973-BDB1-40E4D2BCE225}"/>
                  </a:ext>
                </a:extLst>
              </p:cNvPr>
              <p:cNvSpPr>
                <a:spLocks/>
              </p:cNvSpPr>
              <p:nvPr/>
            </p:nvSpPr>
            <p:spPr bwMode="auto">
              <a:xfrm>
                <a:off x="10804526" y="612775"/>
                <a:ext cx="112712" cy="53975"/>
              </a:xfrm>
              <a:custGeom>
                <a:avLst/>
                <a:gdLst>
                  <a:gd name="T0" fmla="*/ 27 w 30"/>
                  <a:gd name="T1" fmla="*/ 3 h 14"/>
                  <a:gd name="T2" fmla="*/ 25 w 30"/>
                  <a:gd name="T3" fmla="*/ 2 h 14"/>
                  <a:gd name="T4" fmla="*/ 22 w 30"/>
                  <a:gd name="T5" fmla="*/ 3 h 14"/>
                  <a:gd name="T6" fmla="*/ 20 w 30"/>
                  <a:gd name="T7" fmla="*/ 3 h 14"/>
                  <a:gd name="T8" fmla="*/ 16 w 30"/>
                  <a:gd name="T9" fmla="*/ 1 h 14"/>
                  <a:gd name="T10" fmla="*/ 14 w 30"/>
                  <a:gd name="T11" fmla="*/ 1 h 14"/>
                  <a:gd name="T12" fmla="*/ 11 w 30"/>
                  <a:gd name="T13" fmla="*/ 3 h 14"/>
                  <a:gd name="T14" fmla="*/ 8 w 30"/>
                  <a:gd name="T15" fmla="*/ 3 h 14"/>
                  <a:gd name="T16" fmla="*/ 5 w 30"/>
                  <a:gd name="T17" fmla="*/ 2 h 14"/>
                  <a:gd name="T18" fmla="*/ 3 w 30"/>
                  <a:gd name="T19" fmla="*/ 3 h 14"/>
                  <a:gd name="T20" fmla="*/ 1 w 30"/>
                  <a:gd name="T21" fmla="*/ 4 h 14"/>
                  <a:gd name="T22" fmla="*/ 0 w 30"/>
                  <a:gd name="T23" fmla="*/ 5 h 14"/>
                  <a:gd name="T24" fmla="*/ 8 w 30"/>
                  <a:gd name="T25" fmla="*/ 13 h 14"/>
                  <a:gd name="T26" fmla="*/ 10 w 30"/>
                  <a:gd name="T27" fmla="*/ 14 h 14"/>
                  <a:gd name="T28" fmla="*/ 20 w 30"/>
                  <a:gd name="T29" fmla="*/ 14 h 14"/>
                  <a:gd name="T30" fmla="*/ 22 w 30"/>
                  <a:gd name="T31" fmla="*/ 13 h 14"/>
                  <a:gd name="T32" fmla="*/ 30 w 30"/>
                  <a:gd name="T33" fmla="*/ 5 h 14"/>
                  <a:gd name="T34" fmla="*/ 30 w 30"/>
                  <a:gd name="T35" fmla="*/ 4 h 14"/>
                  <a:gd name="T36" fmla="*/ 27 w 30"/>
                  <a:gd name="T3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14">
                    <a:moveTo>
                      <a:pt x="27" y="3"/>
                    </a:moveTo>
                    <a:cubicBezTo>
                      <a:pt x="27" y="2"/>
                      <a:pt x="26" y="2"/>
                      <a:pt x="25" y="2"/>
                    </a:cubicBezTo>
                    <a:cubicBezTo>
                      <a:pt x="22" y="3"/>
                      <a:pt x="22" y="3"/>
                      <a:pt x="22" y="3"/>
                    </a:cubicBezTo>
                    <a:cubicBezTo>
                      <a:pt x="21" y="4"/>
                      <a:pt x="20" y="3"/>
                      <a:pt x="20" y="3"/>
                    </a:cubicBezTo>
                    <a:cubicBezTo>
                      <a:pt x="16" y="1"/>
                      <a:pt x="16" y="1"/>
                      <a:pt x="16" y="1"/>
                    </a:cubicBezTo>
                    <a:cubicBezTo>
                      <a:pt x="16" y="0"/>
                      <a:pt x="15" y="0"/>
                      <a:pt x="14" y="1"/>
                    </a:cubicBezTo>
                    <a:cubicBezTo>
                      <a:pt x="11" y="3"/>
                      <a:pt x="11" y="3"/>
                      <a:pt x="11" y="3"/>
                    </a:cubicBezTo>
                    <a:cubicBezTo>
                      <a:pt x="10" y="3"/>
                      <a:pt x="9" y="4"/>
                      <a:pt x="8" y="3"/>
                    </a:cubicBezTo>
                    <a:cubicBezTo>
                      <a:pt x="5" y="2"/>
                      <a:pt x="5" y="2"/>
                      <a:pt x="5" y="2"/>
                    </a:cubicBezTo>
                    <a:cubicBezTo>
                      <a:pt x="5" y="2"/>
                      <a:pt x="3" y="2"/>
                      <a:pt x="3" y="3"/>
                    </a:cubicBezTo>
                    <a:cubicBezTo>
                      <a:pt x="1" y="4"/>
                      <a:pt x="1" y="4"/>
                      <a:pt x="1" y="4"/>
                    </a:cubicBezTo>
                    <a:cubicBezTo>
                      <a:pt x="0" y="4"/>
                      <a:pt x="0" y="5"/>
                      <a:pt x="0" y="5"/>
                    </a:cubicBezTo>
                    <a:cubicBezTo>
                      <a:pt x="8" y="13"/>
                      <a:pt x="8" y="13"/>
                      <a:pt x="8" y="13"/>
                    </a:cubicBezTo>
                    <a:cubicBezTo>
                      <a:pt x="9" y="13"/>
                      <a:pt x="10" y="14"/>
                      <a:pt x="10" y="14"/>
                    </a:cubicBezTo>
                    <a:cubicBezTo>
                      <a:pt x="20" y="14"/>
                      <a:pt x="20" y="14"/>
                      <a:pt x="20" y="14"/>
                    </a:cubicBezTo>
                    <a:cubicBezTo>
                      <a:pt x="20" y="14"/>
                      <a:pt x="22" y="13"/>
                      <a:pt x="22" y="13"/>
                    </a:cubicBezTo>
                    <a:cubicBezTo>
                      <a:pt x="30" y="5"/>
                      <a:pt x="30" y="5"/>
                      <a:pt x="30" y="5"/>
                    </a:cubicBezTo>
                    <a:cubicBezTo>
                      <a:pt x="30" y="5"/>
                      <a:pt x="30" y="4"/>
                      <a:pt x="30" y="4"/>
                    </a:cubicBezTo>
                    <a:lnTo>
                      <a:pt x="27" y="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173">
                <a:extLst>
                  <a:ext uri="{FF2B5EF4-FFF2-40B4-BE49-F238E27FC236}">
                    <a16:creationId xmlns:a16="http://schemas.microsoft.com/office/drawing/2014/main" id="{55CCD1BD-5B23-48DC-9199-1A12E4903EF7}"/>
                  </a:ext>
                </a:extLst>
              </p:cNvPr>
              <p:cNvSpPr>
                <a:spLocks/>
              </p:cNvSpPr>
              <p:nvPr/>
            </p:nvSpPr>
            <p:spPr bwMode="auto">
              <a:xfrm>
                <a:off x="10823576" y="655637"/>
                <a:ext cx="74612" cy="17463"/>
              </a:xfrm>
              <a:custGeom>
                <a:avLst/>
                <a:gdLst>
                  <a:gd name="T0" fmla="*/ 18 w 20"/>
                  <a:gd name="T1" fmla="*/ 5 h 5"/>
                  <a:gd name="T2" fmla="*/ 2 w 20"/>
                  <a:gd name="T3" fmla="*/ 5 h 5"/>
                  <a:gd name="T4" fmla="*/ 0 w 20"/>
                  <a:gd name="T5" fmla="*/ 3 h 5"/>
                  <a:gd name="T6" fmla="*/ 2 w 20"/>
                  <a:gd name="T7" fmla="*/ 0 h 5"/>
                  <a:gd name="T8" fmla="*/ 18 w 20"/>
                  <a:gd name="T9" fmla="*/ 0 h 5"/>
                  <a:gd name="T10" fmla="*/ 20 w 20"/>
                  <a:gd name="T11" fmla="*/ 3 h 5"/>
                  <a:gd name="T12" fmla="*/ 18 w 2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0" h="5">
                    <a:moveTo>
                      <a:pt x="18" y="5"/>
                    </a:moveTo>
                    <a:cubicBezTo>
                      <a:pt x="2" y="5"/>
                      <a:pt x="2" y="5"/>
                      <a:pt x="2" y="5"/>
                    </a:cubicBezTo>
                    <a:cubicBezTo>
                      <a:pt x="1" y="5"/>
                      <a:pt x="0" y="4"/>
                      <a:pt x="0" y="3"/>
                    </a:cubicBezTo>
                    <a:cubicBezTo>
                      <a:pt x="0" y="1"/>
                      <a:pt x="1" y="0"/>
                      <a:pt x="2" y="0"/>
                    </a:cubicBezTo>
                    <a:cubicBezTo>
                      <a:pt x="18" y="0"/>
                      <a:pt x="18" y="0"/>
                      <a:pt x="18" y="0"/>
                    </a:cubicBezTo>
                    <a:cubicBezTo>
                      <a:pt x="19" y="0"/>
                      <a:pt x="20" y="1"/>
                      <a:pt x="20" y="3"/>
                    </a:cubicBezTo>
                    <a:cubicBezTo>
                      <a:pt x="20" y="4"/>
                      <a:pt x="19" y="5"/>
                      <a:pt x="18"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70">
                <a:extLst>
                  <a:ext uri="{FF2B5EF4-FFF2-40B4-BE49-F238E27FC236}">
                    <a16:creationId xmlns:a16="http://schemas.microsoft.com/office/drawing/2014/main" id="{5B36A3E6-5557-405B-A9CC-E6C124FF25B7}"/>
                  </a:ext>
                </a:extLst>
              </p:cNvPr>
              <p:cNvSpPr>
                <a:spLocks/>
              </p:cNvSpPr>
              <p:nvPr/>
            </p:nvSpPr>
            <p:spPr bwMode="auto">
              <a:xfrm>
                <a:off x="10564813" y="403225"/>
                <a:ext cx="300037" cy="492125"/>
              </a:xfrm>
              <a:custGeom>
                <a:avLst/>
                <a:gdLst>
                  <a:gd name="T0" fmla="*/ 76 w 80"/>
                  <a:gd name="T1" fmla="*/ 41 h 131"/>
                  <a:gd name="T2" fmla="*/ 43 w 80"/>
                  <a:gd name="T3" fmla="*/ 2 h 131"/>
                  <a:gd name="T4" fmla="*/ 37 w 80"/>
                  <a:gd name="T5" fmla="*/ 2 h 131"/>
                  <a:gd name="T6" fmla="*/ 4 w 80"/>
                  <a:gd name="T7" fmla="*/ 41 h 131"/>
                  <a:gd name="T8" fmla="*/ 8 w 80"/>
                  <a:gd name="T9" fmla="*/ 51 h 131"/>
                  <a:gd name="T10" fmla="*/ 17 w 80"/>
                  <a:gd name="T11" fmla="*/ 51 h 131"/>
                  <a:gd name="T12" fmla="*/ 17 w 80"/>
                  <a:gd name="T13" fmla="*/ 127 h 131"/>
                  <a:gd name="T14" fmla="*/ 21 w 80"/>
                  <a:gd name="T15" fmla="*/ 131 h 131"/>
                  <a:gd name="T16" fmla="*/ 59 w 80"/>
                  <a:gd name="T17" fmla="*/ 131 h 131"/>
                  <a:gd name="T18" fmla="*/ 63 w 80"/>
                  <a:gd name="T19" fmla="*/ 127 h 131"/>
                  <a:gd name="T20" fmla="*/ 63 w 80"/>
                  <a:gd name="T21" fmla="*/ 51 h 131"/>
                  <a:gd name="T22" fmla="*/ 72 w 80"/>
                  <a:gd name="T23" fmla="*/ 51 h 131"/>
                  <a:gd name="T24" fmla="*/ 76 w 80"/>
                  <a:gd name="T25" fmla="*/ 4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31">
                    <a:moveTo>
                      <a:pt x="76" y="41"/>
                    </a:moveTo>
                    <a:cubicBezTo>
                      <a:pt x="43" y="2"/>
                      <a:pt x="43" y="2"/>
                      <a:pt x="43" y="2"/>
                    </a:cubicBezTo>
                    <a:cubicBezTo>
                      <a:pt x="42" y="0"/>
                      <a:pt x="38" y="0"/>
                      <a:pt x="37" y="2"/>
                    </a:cubicBezTo>
                    <a:cubicBezTo>
                      <a:pt x="4" y="41"/>
                      <a:pt x="4" y="41"/>
                      <a:pt x="4" y="41"/>
                    </a:cubicBezTo>
                    <a:cubicBezTo>
                      <a:pt x="0" y="45"/>
                      <a:pt x="3" y="51"/>
                      <a:pt x="8" y="51"/>
                    </a:cubicBezTo>
                    <a:cubicBezTo>
                      <a:pt x="17" y="51"/>
                      <a:pt x="17" y="51"/>
                      <a:pt x="17" y="51"/>
                    </a:cubicBezTo>
                    <a:cubicBezTo>
                      <a:pt x="17" y="127"/>
                      <a:pt x="17" y="127"/>
                      <a:pt x="17" y="127"/>
                    </a:cubicBezTo>
                    <a:cubicBezTo>
                      <a:pt x="17" y="129"/>
                      <a:pt x="19" y="131"/>
                      <a:pt x="21" y="131"/>
                    </a:cubicBezTo>
                    <a:cubicBezTo>
                      <a:pt x="59" y="131"/>
                      <a:pt x="59" y="131"/>
                      <a:pt x="59" y="131"/>
                    </a:cubicBezTo>
                    <a:cubicBezTo>
                      <a:pt x="61" y="131"/>
                      <a:pt x="63" y="129"/>
                      <a:pt x="63" y="127"/>
                    </a:cubicBezTo>
                    <a:cubicBezTo>
                      <a:pt x="63" y="51"/>
                      <a:pt x="63" y="51"/>
                      <a:pt x="63" y="51"/>
                    </a:cubicBezTo>
                    <a:cubicBezTo>
                      <a:pt x="72" y="51"/>
                      <a:pt x="72" y="51"/>
                      <a:pt x="72" y="51"/>
                    </a:cubicBezTo>
                    <a:cubicBezTo>
                      <a:pt x="77" y="51"/>
                      <a:pt x="80" y="45"/>
                      <a:pt x="76" y="41"/>
                    </a:cubicBezTo>
                    <a:close/>
                  </a:path>
                </a:pathLst>
              </a:custGeom>
              <a:solidFill>
                <a:schemeClr val="accent4"/>
              </a:solid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87" name="Rectangle 260">
            <a:extLst>
              <a:ext uri="{FF2B5EF4-FFF2-40B4-BE49-F238E27FC236}">
                <a16:creationId xmlns:a16="http://schemas.microsoft.com/office/drawing/2014/main" id="{6807B5B5-F814-4AB0-B807-FCFBEFF2EC3A}"/>
              </a:ext>
              <a:ext uri="{C183D7F6-B498-43B3-948B-1728B52AA6E4}">
                <adec:decorative xmlns:adec="http://schemas.microsoft.com/office/drawing/2017/decorative" val="1"/>
              </a:ext>
            </a:extLst>
          </p:cNvPr>
          <p:cNvSpPr>
            <a:spLocks noChangeArrowheads="1"/>
          </p:cNvSpPr>
          <p:nvPr/>
        </p:nvSpPr>
        <p:spPr bwMode="auto">
          <a:xfrm>
            <a:off x="4738836" y="4869160"/>
            <a:ext cx="363882"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n-lt"/>
              </a:rPr>
              <a:t>Rupee</a:t>
            </a:r>
            <a:endParaRPr kumimoji="0" lang="fr-FR" altLang="fr-FR" sz="900" b="0" i="0" u="none" strike="noStrike" cap="none" normalizeH="0" baseline="0" dirty="0">
              <a:ln>
                <a:noFill/>
              </a:ln>
              <a:solidFill>
                <a:schemeClr val="tx1"/>
              </a:solidFill>
              <a:effectLst/>
              <a:latin typeface="+mn-lt"/>
            </a:endParaRPr>
          </a:p>
        </p:txBody>
      </p:sp>
      <p:grpSp>
        <p:nvGrpSpPr>
          <p:cNvPr id="659" name="Groupe 658">
            <a:extLst>
              <a:ext uri="{FF2B5EF4-FFF2-40B4-BE49-F238E27FC236}">
                <a16:creationId xmlns:a16="http://schemas.microsoft.com/office/drawing/2014/main" id="{FA9F230A-9045-486B-B770-D33AA22D3A4E}"/>
              </a:ext>
              <a:ext uri="{C183D7F6-B498-43B3-948B-1728B52AA6E4}">
                <adec:decorative xmlns:adec="http://schemas.microsoft.com/office/drawing/2017/decorative" val="1"/>
              </a:ext>
            </a:extLst>
          </p:cNvPr>
          <p:cNvGrpSpPr>
            <a:grpSpLocks noChangeAspect="1"/>
          </p:cNvGrpSpPr>
          <p:nvPr/>
        </p:nvGrpSpPr>
        <p:grpSpPr>
          <a:xfrm>
            <a:off x="5452974" y="2795400"/>
            <a:ext cx="673547" cy="633600"/>
            <a:chOff x="5613400" y="671513"/>
            <a:chExt cx="963613" cy="906462"/>
          </a:xfrm>
        </p:grpSpPr>
        <p:sp>
          <p:nvSpPr>
            <p:cNvPr id="660" name="Freeform 55">
              <a:extLst>
                <a:ext uri="{FF2B5EF4-FFF2-40B4-BE49-F238E27FC236}">
                  <a16:creationId xmlns:a16="http://schemas.microsoft.com/office/drawing/2014/main" id="{4C4132D4-95C8-4907-AC5B-705D4E439DF9}"/>
                </a:ext>
              </a:extLst>
            </p:cNvPr>
            <p:cNvSpPr>
              <a:spLocks/>
            </p:cNvSpPr>
            <p:nvPr/>
          </p:nvSpPr>
          <p:spPr bwMode="auto">
            <a:xfrm>
              <a:off x="5613400" y="671513"/>
              <a:ext cx="963613" cy="90646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29" y="208"/>
                    <a:pt x="15"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61" name="Groupe 660">
              <a:extLst>
                <a:ext uri="{FF2B5EF4-FFF2-40B4-BE49-F238E27FC236}">
                  <a16:creationId xmlns:a16="http://schemas.microsoft.com/office/drawing/2014/main" id="{841B59F2-4733-474F-A797-9BEC88D549F7}"/>
                </a:ext>
              </a:extLst>
            </p:cNvPr>
            <p:cNvGrpSpPr/>
            <p:nvPr/>
          </p:nvGrpSpPr>
          <p:grpSpPr>
            <a:xfrm>
              <a:off x="5819775" y="882650"/>
              <a:ext cx="577851" cy="503238"/>
              <a:chOff x="5819775" y="882650"/>
              <a:chExt cx="577851" cy="503238"/>
            </a:xfrm>
          </p:grpSpPr>
          <p:sp>
            <p:nvSpPr>
              <p:cNvPr id="662" name="Freeform 56">
                <a:extLst>
                  <a:ext uri="{FF2B5EF4-FFF2-40B4-BE49-F238E27FC236}">
                    <a16:creationId xmlns:a16="http://schemas.microsoft.com/office/drawing/2014/main" id="{0B577917-9A72-40C9-AEA6-D1FE6F933DF4}"/>
                  </a:ext>
                </a:extLst>
              </p:cNvPr>
              <p:cNvSpPr>
                <a:spLocks noEditPoints="1"/>
              </p:cNvSpPr>
              <p:nvPr/>
            </p:nvSpPr>
            <p:spPr bwMode="auto">
              <a:xfrm>
                <a:off x="5819775" y="882650"/>
                <a:ext cx="396875" cy="420687"/>
              </a:xfrm>
              <a:custGeom>
                <a:avLst/>
                <a:gdLst>
                  <a:gd name="T0" fmla="*/ 48 w 106"/>
                  <a:gd name="T1" fmla="*/ 46 h 112"/>
                  <a:gd name="T2" fmla="*/ 56 w 106"/>
                  <a:gd name="T3" fmla="*/ 35 h 112"/>
                  <a:gd name="T4" fmla="*/ 67 w 106"/>
                  <a:gd name="T5" fmla="*/ 39 h 112"/>
                  <a:gd name="T6" fmla="*/ 48 w 106"/>
                  <a:gd name="T7" fmla="*/ 46 h 112"/>
                  <a:gd name="T8" fmla="*/ 50 w 106"/>
                  <a:gd name="T9" fmla="*/ 87 h 112"/>
                  <a:gd name="T10" fmla="*/ 27 w 106"/>
                  <a:gd name="T11" fmla="*/ 74 h 112"/>
                  <a:gd name="T12" fmla="*/ 66 w 106"/>
                  <a:gd name="T13" fmla="*/ 67 h 112"/>
                  <a:gd name="T14" fmla="*/ 50 w 106"/>
                  <a:gd name="T15" fmla="*/ 87 h 112"/>
                  <a:gd name="T16" fmla="*/ 17 w 106"/>
                  <a:gd name="T17" fmla="*/ 50 h 112"/>
                  <a:gd name="T18" fmla="*/ 24 w 106"/>
                  <a:gd name="T19" fmla="*/ 42 h 112"/>
                  <a:gd name="T20" fmla="*/ 36 w 106"/>
                  <a:gd name="T21" fmla="*/ 47 h 112"/>
                  <a:gd name="T22" fmla="*/ 17 w 106"/>
                  <a:gd name="T23" fmla="*/ 50 h 112"/>
                  <a:gd name="T24" fmla="*/ 71 w 106"/>
                  <a:gd name="T25" fmla="*/ 5 h 112"/>
                  <a:gd name="T26" fmla="*/ 58 w 106"/>
                  <a:gd name="T27" fmla="*/ 9 h 112"/>
                  <a:gd name="T28" fmla="*/ 10 w 106"/>
                  <a:gd name="T29" fmla="*/ 16 h 112"/>
                  <a:gd name="T30" fmla="*/ 0 w 106"/>
                  <a:gd name="T31" fmla="*/ 20 h 112"/>
                  <a:gd name="T32" fmla="*/ 53 w 106"/>
                  <a:gd name="T33" fmla="*/ 104 h 112"/>
                  <a:gd name="T34" fmla="*/ 71 w 106"/>
                  <a:gd name="T3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12">
                    <a:moveTo>
                      <a:pt x="48" y="46"/>
                    </a:moveTo>
                    <a:cubicBezTo>
                      <a:pt x="48" y="46"/>
                      <a:pt x="47" y="37"/>
                      <a:pt x="56" y="35"/>
                    </a:cubicBezTo>
                    <a:cubicBezTo>
                      <a:pt x="56" y="35"/>
                      <a:pt x="62" y="33"/>
                      <a:pt x="67" y="39"/>
                    </a:cubicBezTo>
                    <a:cubicBezTo>
                      <a:pt x="67" y="39"/>
                      <a:pt x="57" y="54"/>
                      <a:pt x="48" y="46"/>
                    </a:cubicBezTo>
                    <a:moveTo>
                      <a:pt x="50" y="87"/>
                    </a:moveTo>
                    <a:cubicBezTo>
                      <a:pt x="36" y="90"/>
                      <a:pt x="27" y="74"/>
                      <a:pt x="27" y="74"/>
                    </a:cubicBezTo>
                    <a:cubicBezTo>
                      <a:pt x="51" y="85"/>
                      <a:pt x="66" y="67"/>
                      <a:pt x="66" y="67"/>
                    </a:cubicBezTo>
                    <a:cubicBezTo>
                      <a:pt x="66" y="67"/>
                      <a:pt x="64" y="83"/>
                      <a:pt x="50" y="87"/>
                    </a:cubicBezTo>
                    <a:moveTo>
                      <a:pt x="17" y="50"/>
                    </a:moveTo>
                    <a:cubicBezTo>
                      <a:pt x="18" y="43"/>
                      <a:pt x="24" y="42"/>
                      <a:pt x="24" y="42"/>
                    </a:cubicBezTo>
                    <a:cubicBezTo>
                      <a:pt x="33" y="39"/>
                      <a:pt x="36" y="47"/>
                      <a:pt x="36" y="47"/>
                    </a:cubicBezTo>
                    <a:cubicBezTo>
                      <a:pt x="32" y="58"/>
                      <a:pt x="17" y="50"/>
                      <a:pt x="17" y="50"/>
                    </a:cubicBezTo>
                    <a:moveTo>
                      <a:pt x="71" y="5"/>
                    </a:moveTo>
                    <a:cubicBezTo>
                      <a:pt x="69" y="0"/>
                      <a:pt x="63" y="3"/>
                      <a:pt x="58" y="9"/>
                    </a:cubicBezTo>
                    <a:cubicBezTo>
                      <a:pt x="49" y="19"/>
                      <a:pt x="21" y="21"/>
                      <a:pt x="10" y="16"/>
                    </a:cubicBezTo>
                    <a:cubicBezTo>
                      <a:pt x="0" y="11"/>
                      <a:pt x="0" y="20"/>
                      <a:pt x="0" y="20"/>
                    </a:cubicBezTo>
                    <a:cubicBezTo>
                      <a:pt x="0" y="112"/>
                      <a:pt x="53" y="104"/>
                      <a:pt x="53" y="104"/>
                    </a:cubicBezTo>
                    <a:cubicBezTo>
                      <a:pt x="106" y="86"/>
                      <a:pt x="71" y="5"/>
                      <a:pt x="71" y="5"/>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57">
                <a:extLst>
                  <a:ext uri="{FF2B5EF4-FFF2-40B4-BE49-F238E27FC236}">
                    <a16:creationId xmlns:a16="http://schemas.microsoft.com/office/drawing/2014/main" id="{9F51CA6F-C616-41B8-807E-8DF013113FBF}"/>
                  </a:ext>
                </a:extLst>
              </p:cNvPr>
              <p:cNvSpPr>
                <a:spLocks/>
              </p:cNvSpPr>
              <p:nvPr/>
            </p:nvSpPr>
            <p:spPr bwMode="auto">
              <a:xfrm>
                <a:off x="6075363" y="998538"/>
                <a:ext cx="322263" cy="387350"/>
              </a:xfrm>
              <a:custGeom>
                <a:avLst/>
                <a:gdLst>
                  <a:gd name="T0" fmla="*/ 14 w 86"/>
                  <a:gd name="T1" fmla="*/ 96 h 103"/>
                  <a:gd name="T2" fmla="*/ 27 w 86"/>
                  <a:gd name="T3" fmla="*/ 102 h 103"/>
                  <a:gd name="T4" fmla="*/ 40 w 86"/>
                  <a:gd name="T5" fmla="*/ 102 h 103"/>
                  <a:gd name="T6" fmla="*/ 73 w 86"/>
                  <a:gd name="T7" fmla="*/ 73 h 103"/>
                  <a:gd name="T8" fmla="*/ 85 w 86"/>
                  <a:gd name="T9" fmla="*/ 23 h 103"/>
                  <a:gd name="T10" fmla="*/ 69 w 86"/>
                  <a:gd name="T11" fmla="*/ 10 h 103"/>
                  <a:gd name="T12" fmla="*/ 67 w 86"/>
                  <a:gd name="T13" fmla="*/ 11 h 103"/>
                  <a:gd name="T14" fmla="*/ 65 w 86"/>
                  <a:gd name="T15" fmla="*/ 12 h 103"/>
                  <a:gd name="T16" fmla="*/ 63 w 86"/>
                  <a:gd name="T17" fmla="*/ 12 h 103"/>
                  <a:gd name="T18" fmla="*/ 61 w 86"/>
                  <a:gd name="T19" fmla="*/ 12 h 103"/>
                  <a:gd name="T20" fmla="*/ 53 w 86"/>
                  <a:gd name="T21" fmla="*/ 12 h 103"/>
                  <a:gd name="T22" fmla="*/ 52 w 86"/>
                  <a:gd name="T23" fmla="*/ 12 h 103"/>
                  <a:gd name="T24" fmla="*/ 40 w 86"/>
                  <a:gd name="T25" fmla="*/ 9 h 103"/>
                  <a:gd name="T26" fmla="*/ 37 w 86"/>
                  <a:gd name="T27" fmla="*/ 8 h 103"/>
                  <a:gd name="T28" fmla="*/ 36 w 86"/>
                  <a:gd name="T29" fmla="*/ 8 h 103"/>
                  <a:gd name="T30" fmla="*/ 28 w 86"/>
                  <a:gd name="T31" fmla="*/ 4 h 103"/>
                  <a:gd name="T32" fmla="*/ 28 w 86"/>
                  <a:gd name="T33" fmla="*/ 3 h 103"/>
                  <a:gd name="T34" fmla="*/ 26 w 86"/>
                  <a:gd name="T35" fmla="*/ 2 h 103"/>
                  <a:gd name="T36" fmla="*/ 21 w 86"/>
                  <a:gd name="T37" fmla="*/ 7 h 103"/>
                  <a:gd name="T38" fmla="*/ 39 w 86"/>
                  <a:gd name="T39" fmla="*/ 16 h 103"/>
                  <a:gd name="T40" fmla="*/ 67 w 86"/>
                  <a:gd name="T41" fmla="*/ 18 h 103"/>
                  <a:gd name="T42" fmla="*/ 70 w 86"/>
                  <a:gd name="T43" fmla="*/ 17 h 103"/>
                  <a:gd name="T44" fmla="*/ 72 w 86"/>
                  <a:gd name="T45" fmla="*/ 17 h 103"/>
                  <a:gd name="T46" fmla="*/ 75 w 86"/>
                  <a:gd name="T47" fmla="*/ 16 h 103"/>
                  <a:gd name="T48" fmla="*/ 76 w 86"/>
                  <a:gd name="T49" fmla="*/ 16 h 103"/>
                  <a:gd name="T50" fmla="*/ 77 w 86"/>
                  <a:gd name="T51" fmla="*/ 16 h 103"/>
                  <a:gd name="T52" fmla="*/ 77 w 86"/>
                  <a:gd name="T53" fmla="*/ 16 h 103"/>
                  <a:gd name="T54" fmla="*/ 77 w 86"/>
                  <a:gd name="T55" fmla="*/ 16 h 103"/>
                  <a:gd name="T56" fmla="*/ 78 w 86"/>
                  <a:gd name="T57" fmla="*/ 16 h 103"/>
                  <a:gd name="T58" fmla="*/ 78 w 86"/>
                  <a:gd name="T59" fmla="*/ 18 h 103"/>
                  <a:gd name="T60" fmla="*/ 78 w 86"/>
                  <a:gd name="T61" fmla="*/ 19 h 103"/>
                  <a:gd name="T62" fmla="*/ 77 w 86"/>
                  <a:gd name="T63" fmla="*/ 33 h 103"/>
                  <a:gd name="T64" fmla="*/ 77 w 86"/>
                  <a:gd name="T65" fmla="*/ 34 h 103"/>
                  <a:gd name="T66" fmla="*/ 76 w 86"/>
                  <a:gd name="T67" fmla="*/ 39 h 103"/>
                  <a:gd name="T68" fmla="*/ 71 w 86"/>
                  <a:gd name="T69" fmla="*/ 59 h 103"/>
                  <a:gd name="T70" fmla="*/ 68 w 86"/>
                  <a:gd name="T71" fmla="*/ 66 h 103"/>
                  <a:gd name="T72" fmla="*/ 68 w 86"/>
                  <a:gd name="T73" fmla="*/ 67 h 103"/>
                  <a:gd name="T74" fmla="*/ 66 w 86"/>
                  <a:gd name="T75" fmla="*/ 72 h 103"/>
                  <a:gd name="T76" fmla="*/ 60 w 86"/>
                  <a:gd name="T77" fmla="*/ 81 h 103"/>
                  <a:gd name="T78" fmla="*/ 60 w 86"/>
                  <a:gd name="T79" fmla="*/ 81 h 103"/>
                  <a:gd name="T80" fmla="*/ 58 w 86"/>
                  <a:gd name="T81" fmla="*/ 83 h 103"/>
                  <a:gd name="T82" fmla="*/ 52 w 86"/>
                  <a:gd name="T83" fmla="*/ 88 h 103"/>
                  <a:gd name="T84" fmla="*/ 52 w 86"/>
                  <a:gd name="T85" fmla="*/ 88 h 103"/>
                  <a:gd name="T86" fmla="*/ 48 w 86"/>
                  <a:gd name="T87" fmla="*/ 91 h 103"/>
                  <a:gd name="T88" fmla="*/ 44 w 86"/>
                  <a:gd name="T89" fmla="*/ 93 h 103"/>
                  <a:gd name="T90" fmla="*/ 42 w 86"/>
                  <a:gd name="T91" fmla="*/ 94 h 103"/>
                  <a:gd name="T92" fmla="*/ 36 w 86"/>
                  <a:gd name="T93" fmla="*/ 95 h 103"/>
                  <a:gd name="T94" fmla="*/ 36 w 86"/>
                  <a:gd name="T95" fmla="*/ 95 h 103"/>
                  <a:gd name="T96" fmla="*/ 31 w 86"/>
                  <a:gd name="T97" fmla="*/ 96 h 103"/>
                  <a:gd name="T98" fmla="*/ 28 w 86"/>
                  <a:gd name="T99" fmla="*/ 95 h 103"/>
                  <a:gd name="T100" fmla="*/ 28 w 86"/>
                  <a:gd name="T101" fmla="*/ 96 h 103"/>
                  <a:gd name="T102" fmla="*/ 26 w 86"/>
                  <a:gd name="T103" fmla="*/ 95 h 103"/>
                  <a:gd name="T104" fmla="*/ 26 w 86"/>
                  <a:gd name="T105" fmla="*/ 95 h 103"/>
                  <a:gd name="T106" fmla="*/ 19 w 86"/>
                  <a:gd name="T107" fmla="*/ 91 h 103"/>
                  <a:gd name="T108" fmla="*/ 19 w 86"/>
                  <a:gd name="T109" fmla="*/ 90 h 103"/>
                  <a:gd name="T110" fmla="*/ 14 w 86"/>
                  <a:gd name="T111" fmla="*/ 86 h 103"/>
                  <a:gd name="T112" fmla="*/ 12 w 86"/>
                  <a:gd name="T113" fmla="*/ 84 h 103"/>
                  <a:gd name="T114" fmla="*/ 11 w 86"/>
                  <a:gd name="T115" fmla="*/ 81 h 103"/>
                  <a:gd name="T116" fmla="*/ 8 w 86"/>
                  <a:gd name="T117" fmla="*/ 76 h 103"/>
                  <a:gd name="T118" fmla="*/ 7 w 86"/>
                  <a:gd name="T119" fmla="*/ 75 h 103"/>
                  <a:gd name="T120" fmla="*/ 0 w 86"/>
                  <a:gd name="T121"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103">
                    <a:moveTo>
                      <a:pt x="0" y="77"/>
                    </a:moveTo>
                    <a:cubicBezTo>
                      <a:pt x="3" y="84"/>
                      <a:pt x="8" y="91"/>
                      <a:pt x="14" y="96"/>
                    </a:cubicBezTo>
                    <a:cubicBezTo>
                      <a:pt x="17" y="98"/>
                      <a:pt x="21" y="101"/>
                      <a:pt x="25" y="102"/>
                    </a:cubicBezTo>
                    <a:cubicBezTo>
                      <a:pt x="26" y="102"/>
                      <a:pt x="26" y="102"/>
                      <a:pt x="27" y="102"/>
                    </a:cubicBezTo>
                    <a:cubicBezTo>
                      <a:pt x="28" y="103"/>
                      <a:pt x="30" y="103"/>
                      <a:pt x="31" y="103"/>
                    </a:cubicBezTo>
                    <a:cubicBezTo>
                      <a:pt x="34" y="103"/>
                      <a:pt x="37" y="102"/>
                      <a:pt x="40" y="102"/>
                    </a:cubicBezTo>
                    <a:cubicBezTo>
                      <a:pt x="45" y="101"/>
                      <a:pt x="50" y="99"/>
                      <a:pt x="54" y="96"/>
                    </a:cubicBezTo>
                    <a:cubicBezTo>
                      <a:pt x="63" y="90"/>
                      <a:pt x="69" y="82"/>
                      <a:pt x="73" y="73"/>
                    </a:cubicBezTo>
                    <a:cubicBezTo>
                      <a:pt x="77" y="64"/>
                      <a:pt x="80" y="54"/>
                      <a:pt x="82" y="45"/>
                    </a:cubicBezTo>
                    <a:cubicBezTo>
                      <a:pt x="83" y="38"/>
                      <a:pt x="84" y="31"/>
                      <a:pt x="85" y="23"/>
                    </a:cubicBezTo>
                    <a:cubicBezTo>
                      <a:pt x="85" y="19"/>
                      <a:pt x="86" y="12"/>
                      <a:pt x="81" y="10"/>
                    </a:cubicBezTo>
                    <a:cubicBezTo>
                      <a:pt x="77" y="8"/>
                      <a:pt x="73" y="9"/>
                      <a:pt x="69" y="10"/>
                    </a:cubicBezTo>
                    <a:cubicBezTo>
                      <a:pt x="69" y="10"/>
                      <a:pt x="68" y="11"/>
                      <a:pt x="67" y="11"/>
                    </a:cubicBezTo>
                    <a:cubicBezTo>
                      <a:pt x="66" y="11"/>
                      <a:pt x="68" y="11"/>
                      <a:pt x="67" y="11"/>
                    </a:cubicBezTo>
                    <a:cubicBezTo>
                      <a:pt x="67" y="11"/>
                      <a:pt x="67" y="11"/>
                      <a:pt x="67" y="11"/>
                    </a:cubicBezTo>
                    <a:cubicBezTo>
                      <a:pt x="66" y="11"/>
                      <a:pt x="65" y="12"/>
                      <a:pt x="65" y="12"/>
                    </a:cubicBezTo>
                    <a:cubicBezTo>
                      <a:pt x="64" y="12"/>
                      <a:pt x="63" y="12"/>
                      <a:pt x="62" y="12"/>
                    </a:cubicBezTo>
                    <a:cubicBezTo>
                      <a:pt x="62" y="12"/>
                      <a:pt x="61" y="12"/>
                      <a:pt x="63" y="12"/>
                    </a:cubicBezTo>
                    <a:cubicBezTo>
                      <a:pt x="62" y="12"/>
                      <a:pt x="62" y="12"/>
                      <a:pt x="62" y="12"/>
                    </a:cubicBezTo>
                    <a:cubicBezTo>
                      <a:pt x="62" y="12"/>
                      <a:pt x="61" y="12"/>
                      <a:pt x="61" y="12"/>
                    </a:cubicBezTo>
                    <a:cubicBezTo>
                      <a:pt x="59" y="13"/>
                      <a:pt x="57" y="12"/>
                      <a:pt x="55" y="12"/>
                    </a:cubicBezTo>
                    <a:cubicBezTo>
                      <a:pt x="55" y="12"/>
                      <a:pt x="54" y="12"/>
                      <a:pt x="53" y="12"/>
                    </a:cubicBezTo>
                    <a:cubicBezTo>
                      <a:pt x="52" y="12"/>
                      <a:pt x="52" y="12"/>
                      <a:pt x="51" y="12"/>
                    </a:cubicBezTo>
                    <a:cubicBezTo>
                      <a:pt x="51" y="12"/>
                      <a:pt x="52" y="12"/>
                      <a:pt x="52" y="12"/>
                    </a:cubicBezTo>
                    <a:cubicBezTo>
                      <a:pt x="51" y="12"/>
                      <a:pt x="51" y="12"/>
                      <a:pt x="51" y="12"/>
                    </a:cubicBezTo>
                    <a:cubicBezTo>
                      <a:pt x="47" y="11"/>
                      <a:pt x="43" y="10"/>
                      <a:pt x="40" y="9"/>
                    </a:cubicBezTo>
                    <a:cubicBezTo>
                      <a:pt x="39" y="9"/>
                      <a:pt x="38" y="9"/>
                      <a:pt x="38" y="8"/>
                    </a:cubicBezTo>
                    <a:cubicBezTo>
                      <a:pt x="37" y="8"/>
                      <a:pt x="37" y="8"/>
                      <a:pt x="37" y="8"/>
                    </a:cubicBezTo>
                    <a:cubicBezTo>
                      <a:pt x="36" y="8"/>
                      <a:pt x="36" y="8"/>
                      <a:pt x="36" y="8"/>
                    </a:cubicBezTo>
                    <a:cubicBezTo>
                      <a:pt x="37" y="8"/>
                      <a:pt x="36" y="8"/>
                      <a:pt x="36" y="8"/>
                    </a:cubicBezTo>
                    <a:cubicBezTo>
                      <a:pt x="35" y="7"/>
                      <a:pt x="33" y="6"/>
                      <a:pt x="32" y="6"/>
                    </a:cubicBezTo>
                    <a:cubicBezTo>
                      <a:pt x="31" y="5"/>
                      <a:pt x="30" y="4"/>
                      <a:pt x="28" y="4"/>
                    </a:cubicBezTo>
                    <a:cubicBezTo>
                      <a:pt x="28" y="3"/>
                      <a:pt x="28" y="3"/>
                      <a:pt x="29" y="4"/>
                    </a:cubicBezTo>
                    <a:cubicBezTo>
                      <a:pt x="29" y="4"/>
                      <a:pt x="28" y="4"/>
                      <a:pt x="28" y="3"/>
                    </a:cubicBezTo>
                    <a:cubicBezTo>
                      <a:pt x="28" y="3"/>
                      <a:pt x="28" y="3"/>
                      <a:pt x="28" y="3"/>
                    </a:cubicBezTo>
                    <a:cubicBezTo>
                      <a:pt x="27" y="2"/>
                      <a:pt x="27" y="2"/>
                      <a:pt x="26" y="2"/>
                    </a:cubicBezTo>
                    <a:cubicBezTo>
                      <a:pt x="25" y="0"/>
                      <a:pt x="23" y="0"/>
                      <a:pt x="21" y="2"/>
                    </a:cubicBezTo>
                    <a:cubicBezTo>
                      <a:pt x="20" y="3"/>
                      <a:pt x="20" y="5"/>
                      <a:pt x="21" y="7"/>
                    </a:cubicBezTo>
                    <a:cubicBezTo>
                      <a:pt x="23" y="9"/>
                      <a:pt x="26" y="11"/>
                      <a:pt x="29" y="12"/>
                    </a:cubicBezTo>
                    <a:cubicBezTo>
                      <a:pt x="32" y="14"/>
                      <a:pt x="35" y="15"/>
                      <a:pt x="39" y="16"/>
                    </a:cubicBezTo>
                    <a:cubicBezTo>
                      <a:pt x="46" y="19"/>
                      <a:pt x="54" y="20"/>
                      <a:pt x="61" y="19"/>
                    </a:cubicBezTo>
                    <a:cubicBezTo>
                      <a:pt x="63" y="19"/>
                      <a:pt x="65" y="19"/>
                      <a:pt x="67" y="18"/>
                    </a:cubicBezTo>
                    <a:cubicBezTo>
                      <a:pt x="67" y="18"/>
                      <a:pt x="68" y="18"/>
                      <a:pt x="69" y="18"/>
                    </a:cubicBezTo>
                    <a:cubicBezTo>
                      <a:pt x="69" y="18"/>
                      <a:pt x="70" y="17"/>
                      <a:pt x="70" y="17"/>
                    </a:cubicBezTo>
                    <a:cubicBezTo>
                      <a:pt x="71" y="17"/>
                      <a:pt x="70" y="17"/>
                      <a:pt x="70" y="17"/>
                    </a:cubicBezTo>
                    <a:cubicBezTo>
                      <a:pt x="71" y="17"/>
                      <a:pt x="71" y="17"/>
                      <a:pt x="72" y="17"/>
                    </a:cubicBezTo>
                    <a:cubicBezTo>
                      <a:pt x="72" y="16"/>
                      <a:pt x="73" y="16"/>
                      <a:pt x="74" y="16"/>
                    </a:cubicBezTo>
                    <a:cubicBezTo>
                      <a:pt x="75" y="16"/>
                      <a:pt x="76" y="16"/>
                      <a:pt x="75" y="16"/>
                    </a:cubicBezTo>
                    <a:cubicBezTo>
                      <a:pt x="75" y="16"/>
                      <a:pt x="76" y="16"/>
                      <a:pt x="76" y="16"/>
                    </a:cubicBezTo>
                    <a:cubicBezTo>
                      <a:pt x="76" y="16"/>
                      <a:pt x="78" y="16"/>
                      <a:pt x="76" y="16"/>
                    </a:cubicBezTo>
                    <a:cubicBezTo>
                      <a:pt x="77" y="16"/>
                      <a:pt x="77" y="16"/>
                      <a:pt x="77" y="16"/>
                    </a:cubicBezTo>
                    <a:cubicBezTo>
                      <a:pt x="77" y="16"/>
                      <a:pt x="77" y="16"/>
                      <a:pt x="77" y="16"/>
                    </a:cubicBezTo>
                    <a:cubicBezTo>
                      <a:pt x="76" y="16"/>
                      <a:pt x="77" y="16"/>
                      <a:pt x="77" y="16"/>
                    </a:cubicBezTo>
                    <a:cubicBezTo>
                      <a:pt x="77" y="16"/>
                      <a:pt x="78" y="17"/>
                      <a:pt x="77" y="16"/>
                    </a:cubicBezTo>
                    <a:cubicBezTo>
                      <a:pt x="77" y="16"/>
                      <a:pt x="77" y="16"/>
                      <a:pt x="78" y="16"/>
                    </a:cubicBezTo>
                    <a:cubicBezTo>
                      <a:pt x="78" y="17"/>
                      <a:pt x="77" y="15"/>
                      <a:pt x="77" y="16"/>
                    </a:cubicBezTo>
                    <a:cubicBezTo>
                      <a:pt x="78" y="16"/>
                      <a:pt x="78" y="16"/>
                      <a:pt x="78" y="17"/>
                    </a:cubicBezTo>
                    <a:cubicBezTo>
                      <a:pt x="78" y="17"/>
                      <a:pt x="78" y="17"/>
                      <a:pt x="78" y="16"/>
                    </a:cubicBezTo>
                    <a:cubicBezTo>
                      <a:pt x="78" y="16"/>
                      <a:pt x="78" y="16"/>
                      <a:pt x="78" y="17"/>
                    </a:cubicBezTo>
                    <a:cubicBezTo>
                      <a:pt x="78" y="17"/>
                      <a:pt x="78" y="17"/>
                      <a:pt x="78" y="18"/>
                    </a:cubicBezTo>
                    <a:cubicBezTo>
                      <a:pt x="78" y="16"/>
                      <a:pt x="78" y="18"/>
                      <a:pt x="78" y="18"/>
                    </a:cubicBezTo>
                    <a:cubicBezTo>
                      <a:pt x="78" y="19"/>
                      <a:pt x="78" y="19"/>
                      <a:pt x="78" y="19"/>
                    </a:cubicBezTo>
                    <a:cubicBezTo>
                      <a:pt x="78" y="24"/>
                      <a:pt x="77" y="29"/>
                      <a:pt x="77" y="34"/>
                    </a:cubicBezTo>
                    <a:cubicBezTo>
                      <a:pt x="77" y="34"/>
                      <a:pt x="77" y="33"/>
                      <a:pt x="77" y="33"/>
                    </a:cubicBezTo>
                    <a:cubicBezTo>
                      <a:pt x="77" y="33"/>
                      <a:pt x="77" y="34"/>
                      <a:pt x="77" y="34"/>
                    </a:cubicBezTo>
                    <a:cubicBezTo>
                      <a:pt x="77" y="34"/>
                      <a:pt x="77" y="34"/>
                      <a:pt x="77" y="34"/>
                    </a:cubicBezTo>
                    <a:cubicBezTo>
                      <a:pt x="77" y="35"/>
                      <a:pt x="76" y="35"/>
                      <a:pt x="76" y="36"/>
                    </a:cubicBezTo>
                    <a:cubicBezTo>
                      <a:pt x="76" y="37"/>
                      <a:pt x="76" y="38"/>
                      <a:pt x="76" y="39"/>
                    </a:cubicBezTo>
                    <a:cubicBezTo>
                      <a:pt x="76" y="41"/>
                      <a:pt x="75" y="43"/>
                      <a:pt x="75" y="45"/>
                    </a:cubicBezTo>
                    <a:cubicBezTo>
                      <a:pt x="74" y="50"/>
                      <a:pt x="73" y="54"/>
                      <a:pt x="71" y="59"/>
                    </a:cubicBezTo>
                    <a:cubicBezTo>
                      <a:pt x="70" y="61"/>
                      <a:pt x="69" y="63"/>
                      <a:pt x="68" y="66"/>
                    </a:cubicBezTo>
                    <a:cubicBezTo>
                      <a:pt x="68" y="66"/>
                      <a:pt x="68" y="66"/>
                      <a:pt x="68" y="66"/>
                    </a:cubicBezTo>
                    <a:cubicBezTo>
                      <a:pt x="69" y="65"/>
                      <a:pt x="69" y="66"/>
                      <a:pt x="68" y="66"/>
                    </a:cubicBezTo>
                    <a:cubicBezTo>
                      <a:pt x="68" y="66"/>
                      <a:pt x="68" y="66"/>
                      <a:pt x="68" y="67"/>
                    </a:cubicBezTo>
                    <a:cubicBezTo>
                      <a:pt x="68" y="67"/>
                      <a:pt x="68" y="68"/>
                      <a:pt x="67" y="68"/>
                    </a:cubicBezTo>
                    <a:cubicBezTo>
                      <a:pt x="67" y="69"/>
                      <a:pt x="66" y="71"/>
                      <a:pt x="66" y="72"/>
                    </a:cubicBezTo>
                    <a:cubicBezTo>
                      <a:pt x="65" y="74"/>
                      <a:pt x="63" y="76"/>
                      <a:pt x="62" y="78"/>
                    </a:cubicBezTo>
                    <a:cubicBezTo>
                      <a:pt x="61" y="79"/>
                      <a:pt x="61" y="80"/>
                      <a:pt x="60" y="81"/>
                    </a:cubicBezTo>
                    <a:cubicBezTo>
                      <a:pt x="60" y="81"/>
                      <a:pt x="61" y="80"/>
                      <a:pt x="60" y="81"/>
                    </a:cubicBezTo>
                    <a:cubicBezTo>
                      <a:pt x="60" y="81"/>
                      <a:pt x="60" y="81"/>
                      <a:pt x="60" y="81"/>
                    </a:cubicBezTo>
                    <a:cubicBezTo>
                      <a:pt x="60" y="81"/>
                      <a:pt x="60" y="81"/>
                      <a:pt x="59" y="82"/>
                    </a:cubicBezTo>
                    <a:cubicBezTo>
                      <a:pt x="59" y="82"/>
                      <a:pt x="59" y="83"/>
                      <a:pt x="58" y="83"/>
                    </a:cubicBezTo>
                    <a:cubicBezTo>
                      <a:pt x="57" y="85"/>
                      <a:pt x="55" y="86"/>
                      <a:pt x="53" y="88"/>
                    </a:cubicBezTo>
                    <a:cubicBezTo>
                      <a:pt x="53" y="88"/>
                      <a:pt x="53" y="88"/>
                      <a:pt x="52" y="88"/>
                    </a:cubicBezTo>
                    <a:cubicBezTo>
                      <a:pt x="52" y="89"/>
                      <a:pt x="52" y="89"/>
                      <a:pt x="53" y="88"/>
                    </a:cubicBezTo>
                    <a:cubicBezTo>
                      <a:pt x="53" y="88"/>
                      <a:pt x="52" y="88"/>
                      <a:pt x="52" y="88"/>
                    </a:cubicBezTo>
                    <a:cubicBezTo>
                      <a:pt x="52" y="89"/>
                      <a:pt x="51" y="89"/>
                      <a:pt x="51" y="90"/>
                    </a:cubicBezTo>
                    <a:cubicBezTo>
                      <a:pt x="50" y="90"/>
                      <a:pt x="49" y="91"/>
                      <a:pt x="48" y="91"/>
                    </a:cubicBezTo>
                    <a:cubicBezTo>
                      <a:pt x="47" y="92"/>
                      <a:pt x="46" y="92"/>
                      <a:pt x="45" y="93"/>
                    </a:cubicBezTo>
                    <a:cubicBezTo>
                      <a:pt x="46" y="92"/>
                      <a:pt x="45" y="93"/>
                      <a:pt x="44" y="93"/>
                    </a:cubicBezTo>
                    <a:cubicBezTo>
                      <a:pt x="44" y="93"/>
                      <a:pt x="44" y="93"/>
                      <a:pt x="44" y="93"/>
                    </a:cubicBezTo>
                    <a:cubicBezTo>
                      <a:pt x="43" y="94"/>
                      <a:pt x="42" y="94"/>
                      <a:pt x="42" y="94"/>
                    </a:cubicBezTo>
                    <a:cubicBezTo>
                      <a:pt x="41" y="94"/>
                      <a:pt x="39" y="95"/>
                      <a:pt x="38" y="95"/>
                    </a:cubicBezTo>
                    <a:cubicBezTo>
                      <a:pt x="38" y="95"/>
                      <a:pt x="37" y="95"/>
                      <a:pt x="36" y="95"/>
                    </a:cubicBezTo>
                    <a:cubicBezTo>
                      <a:pt x="36" y="95"/>
                      <a:pt x="36" y="95"/>
                      <a:pt x="36" y="95"/>
                    </a:cubicBezTo>
                    <a:cubicBezTo>
                      <a:pt x="37" y="95"/>
                      <a:pt x="37" y="95"/>
                      <a:pt x="36" y="95"/>
                    </a:cubicBezTo>
                    <a:cubicBezTo>
                      <a:pt x="36" y="95"/>
                      <a:pt x="35" y="95"/>
                      <a:pt x="35" y="95"/>
                    </a:cubicBezTo>
                    <a:cubicBezTo>
                      <a:pt x="34" y="96"/>
                      <a:pt x="32" y="96"/>
                      <a:pt x="31" y="96"/>
                    </a:cubicBezTo>
                    <a:cubicBezTo>
                      <a:pt x="30" y="96"/>
                      <a:pt x="30" y="96"/>
                      <a:pt x="29" y="96"/>
                    </a:cubicBezTo>
                    <a:cubicBezTo>
                      <a:pt x="29" y="96"/>
                      <a:pt x="28" y="96"/>
                      <a:pt x="28" y="95"/>
                    </a:cubicBezTo>
                    <a:cubicBezTo>
                      <a:pt x="27" y="95"/>
                      <a:pt x="27" y="95"/>
                      <a:pt x="27" y="95"/>
                    </a:cubicBezTo>
                    <a:cubicBezTo>
                      <a:pt x="27" y="95"/>
                      <a:pt x="27" y="95"/>
                      <a:pt x="28" y="96"/>
                    </a:cubicBezTo>
                    <a:cubicBezTo>
                      <a:pt x="28" y="95"/>
                      <a:pt x="27" y="95"/>
                      <a:pt x="27" y="95"/>
                    </a:cubicBezTo>
                    <a:cubicBezTo>
                      <a:pt x="27" y="95"/>
                      <a:pt x="27" y="95"/>
                      <a:pt x="26" y="95"/>
                    </a:cubicBezTo>
                    <a:cubicBezTo>
                      <a:pt x="26" y="95"/>
                      <a:pt x="26" y="95"/>
                      <a:pt x="26" y="95"/>
                    </a:cubicBezTo>
                    <a:cubicBezTo>
                      <a:pt x="27" y="95"/>
                      <a:pt x="27" y="95"/>
                      <a:pt x="26" y="95"/>
                    </a:cubicBezTo>
                    <a:cubicBezTo>
                      <a:pt x="24" y="94"/>
                      <a:pt x="22" y="93"/>
                      <a:pt x="21" y="92"/>
                    </a:cubicBezTo>
                    <a:cubicBezTo>
                      <a:pt x="20" y="91"/>
                      <a:pt x="20" y="91"/>
                      <a:pt x="19" y="91"/>
                    </a:cubicBezTo>
                    <a:cubicBezTo>
                      <a:pt x="19" y="91"/>
                      <a:pt x="18" y="90"/>
                      <a:pt x="19" y="91"/>
                    </a:cubicBezTo>
                    <a:cubicBezTo>
                      <a:pt x="19" y="91"/>
                      <a:pt x="19" y="91"/>
                      <a:pt x="19" y="90"/>
                    </a:cubicBezTo>
                    <a:cubicBezTo>
                      <a:pt x="18" y="90"/>
                      <a:pt x="18" y="90"/>
                      <a:pt x="18" y="90"/>
                    </a:cubicBezTo>
                    <a:cubicBezTo>
                      <a:pt x="17" y="89"/>
                      <a:pt x="15" y="88"/>
                      <a:pt x="14" y="86"/>
                    </a:cubicBezTo>
                    <a:cubicBezTo>
                      <a:pt x="14" y="86"/>
                      <a:pt x="13" y="85"/>
                      <a:pt x="12" y="84"/>
                    </a:cubicBezTo>
                    <a:cubicBezTo>
                      <a:pt x="13" y="85"/>
                      <a:pt x="12" y="84"/>
                      <a:pt x="12" y="84"/>
                    </a:cubicBezTo>
                    <a:cubicBezTo>
                      <a:pt x="12" y="83"/>
                      <a:pt x="12" y="83"/>
                      <a:pt x="12" y="83"/>
                    </a:cubicBezTo>
                    <a:cubicBezTo>
                      <a:pt x="11" y="82"/>
                      <a:pt x="11" y="82"/>
                      <a:pt x="11" y="81"/>
                    </a:cubicBezTo>
                    <a:cubicBezTo>
                      <a:pt x="10" y="80"/>
                      <a:pt x="9" y="79"/>
                      <a:pt x="9" y="78"/>
                    </a:cubicBezTo>
                    <a:cubicBezTo>
                      <a:pt x="8" y="77"/>
                      <a:pt x="8" y="77"/>
                      <a:pt x="8" y="76"/>
                    </a:cubicBezTo>
                    <a:cubicBezTo>
                      <a:pt x="8" y="76"/>
                      <a:pt x="8" y="76"/>
                      <a:pt x="7" y="75"/>
                    </a:cubicBezTo>
                    <a:cubicBezTo>
                      <a:pt x="8" y="76"/>
                      <a:pt x="7" y="75"/>
                      <a:pt x="7" y="75"/>
                    </a:cubicBezTo>
                    <a:cubicBezTo>
                      <a:pt x="6" y="73"/>
                      <a:pt x="5" y="72"/>
                      <a:pt x="3" y="72"/>
                    </a:cubicBezTo>
                    <a:cubicBezTo>
                      <a:pt x="1" y="73"/>
                      <a:pt x="0" y="75"/>
                      <a:pt x="0" y="7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58">
                <a:extLst>
                  <a:ext uri="{FF2B5EF4-FFF2-40B4-BE49-F238E27FC236}">
                    <a16:creationId xmlns:a16="http://schemas.microsoft.com/office/drawing/2014/main" id="{FE9A6DA5-BCC1-4300-B2C2-90FEC0162864}"/>
                  </a:ext>
                </a:extLst>
              </p:cNvPr>
              <p:cNvSpPr>
                <a:spLocks/>
              </p:cNvSpPr>
              <p:nvPr/>
            </p:nvSpPr>
            <p:spPr bwMode="auto">
              <a:xfrm>
                <a:off x="6146800" y="1108075"/>
                <a:ext cx="69850" cy="71437"/>
              </a:xfrm>
              <a:custGeom>
                <a:avLst/>
                <a:gdLst>
                  <a:gd name="T0" fmla="*/ 0 w 19"/>
                  <a:gd name="T1" fmla="*/ 6 h 19"/>
                  <a:gd name="T2" fmla="*/ 10 w 19"/>
                  <a:gd name="T3" fmla="*/ 1 h 19"/>
                  <a:gd name="T4" fmla="*/ 18 w 19"/>
                  <a:gd name="T5" fmla="*/ 11 h 19"/>
                  <a:gd name="T6" fmla="*/ 0 w 19"/>
                  <a:gd name="T7" fmla="*/ 6 h 19"/>
                </a:gdLst>
                <a:ahLst/>
                <a:cxnLst>
                  <a:cxn ang="0">
                    <a:pos x="T0" y="T1"/>
                  </a:cxn>
                  <a:cxn ang="0">
                    <a:pos x="T2" y="T3"/>
                  </a:cxn>
                  <a:cxn ang="0">
                    <a:pos x="T4" y="T5"/>
                  </a:cxn>
                  <a:cxn ang="0">
                    <a:pos x="T6" y="T7"/>
                  </a:cxn>
                </a:cxnLst>
                <a:rect l="0" t="0" r="r" b="b"/>
                <a:pathLst>
                  <a:path w="19" h="19">
                    <a:moveTo>
                      <a:pt x="0" y="6"/>
                    </a:moveTo>
                    <a:cubicBezTo>
                      <a:pt x="4" y="0"/>
                      <a:pt x="10" y="1"/>
                      <a:pt x="10" y="1"/>
                    </a:cubicBezTo>
                    <a:cubicBezTo>
                      <a:pt x="19" y="2"/>
                      <a:pt x="18" y="11"/>
                      <a:pt x="18" y="11"/>
                    </a:cubicBezTo>
                    <a:cubicBezTo>
                      <a:pt x="11" y="19"/>
                      <a:pt x="0" y="6"/>
                      <a:pt x="0" y="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59">
                <a:extLst>
                  <a:ext uri="{FF2B5EF4-FFF2-40B4-BE49-F238E27FC236}">
                    <a16:creationId xmlns:a16="http://schemas.microsoft.com/office/drawing/2014/main" id="{242E2ED1-3786-4F46-AEF8-695728D4C801}"/>
                  </a:ext>
                </a:extLst>
              </p:cNvPr>
              <p:cNvSpPr>
                <a:spLocks/>
              </p:cNvSpPr>
              <p:nvPr/>
            </p:nvSpPr>
            <p:spPr bwMode="auto">
              <a:xfrm>
                <a:off x="6130925" y="1212850"/>
                <a:ext cx="139700" cy="85725"/>
              </a:xfrm>
              <a:custGeom>
                <a:avLst/>
                <a:gdLst>
                  <a:gd name="T0" fmla="*/ 0 w 37"/>
                  <a:gd name="T1" fmla="*/ 15 h 23"/>
                  <a:gd name="T2" fmla="*/ 23 w 37"/>
                  <a:gd name="T3" fmla="*/ 3 h 23"/>
                  <a:gd name="T4" fmla="*/ 37 w 37"/>
                  <a:gd name="T5" fmla="*/ 23 h 23"/>
                  <a:gd name="T6" fmla="*/ 0 w 37"/>
                  <a:gd name="T7" fmla="*/ 15 h 23"/>
                </a:gdLst>
                <a:ahLst/>
                <a:cxnLst>
                  <a:cxn ang="0">
                    <a:pos x="T0" y="T1"/>
                  </a:cxn>
                  <a:cxn ang="0">
                    <a:pos x="T2" y="T3"/>
                  </a:cxn>
                  <a:cxn ang="0">
                    <a:pos x="T4" y="T5"/>
                  </a:cxn>
                  <a:cxn ang="0">
                    <a:pos x="T6" y="T7"/>
                  </a:cxn>
                </a:cxnLst>
                <a:rect l="0" t="0" r="r" b="b"/>
                <a:pathLst>
                  <a:path w="37" h="23">
                    <a:moveTo>
                      <a:pt x="0" y="15"/>
                    </a:moveTo>
                    <a:cubicBezTo>
                      <a:pt x="0" y="14"/>
                      <a:pt x="10" y="0"/>
                      <a:pt x="23" y="3"/>
                    </a:cubicBezTo>
                    <a:cubicBezTo>
                      <a:pt x="36" y="7"/>
                      <a:pt x="37" y="23"/>
                      <a:pt x="37" y="23"/>
                    </a:cubicBezTo>
                    <a:cubicBezTo>
                      <a:pt x="37" y="23"/>
                      <a:pt x="24" y="5"/>
                      <a:pt x="0" y="15"/>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60">
                <a:extLst>
                  <a:ext uri="{FF2B5EF4-FFF2-40B4-BE49-F238E27FC236}">
                    <a16:creationId xmlns:a16="http://schemas.microsoft.com/office/drawing/2014/main" id="{68535A34-668F-452D-A9A4-763AD9F1129A}"/>
                  </a:ext>
                </a:extLst>
              </p:cNvPr>
              <p:cNvSpPr>
                <a:spLocks/>
              </p:cNvSpPr>
              <p:nvPr/>
            </p:nvSpPr>
            <p:spPr bwMode="auto">
              <a:xfrm>
                <a:off x="6254750" y="1130300"/>
                <a:ext cx="71438" cy="71437"/>
              </a:xfrm>
              <a:custGeom>
                <a:avLst/>
                <a:gdLst>
                  <a:gd name="T0" fmla="*/ 0 w 19"/>
                  <a:gd name="T1" fmla="*/ 9 h 19"/>
                  <a:gd name="T2" fmla="*/ 11 w 19"/>
                  <a:gd name="T3" fmla="*/ 2 h 19"/>
                  <a:gd name="T4" fmla="*/ 19 w 19"/>
                  <a:gd name="T5" fmla="*/ 10 h 19"/>
                  <a:gd name="T6" fmla="*/ 0 w 19"/>
                  <a:gd name="T7" fmla="*/ 9 h 19"/>
                </a:gdLst>
                <a:ahLst/>
                <a:cxnLst>
                  <a:cxn ang="0">
                    <a:pos x="T0" y="T1"/>
                  </a:cxn>
                  <a:cxn ang="0">
                    <a:pos x="T2" y="T3"/>
                  </a:cxn>
                  <a:cxn ang="0">
                    <a:pos x="T4" y="T5"/>
                  </a:cxn>
                  <a:cxn ang="0">
                    <a:pos x="T6" y="T7"/>
                  </a:cxn>
                </a:cxnLst>
                <a:rect l="0" t="0" r="r" b="b"/>
                <a:pathLst>
                  <a:path w="19" h="19">
                    <a:moveTo>
                      <a:pt x="0" y="9"/>
                    </a:moveTo>
                    <a:cubicBezTo>
                      <a:pt x="0" y="9"/>
                      <a:pt x="2" y="0"/>
                      <a:pt x="11" y="2"/>
                    </a:cubicBezTo>
                    <a:cubicBezTo>
                      <a:pt x="11" y="2"/>
                      <a:pt x="17" y="3"/>
                      <a:pt x="19" y="10"/>
                    </a:cubicBezTo>
                    <a:cubicBezTo>
                      <a:pt x="19" y="10"/>
                      <a:pt x="4" y="19"/>
                      <a:pt x="0" y="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80" name="Groupe 679">
            <a:extLst>
              <a:ext uri="{FF2B5EF4-FFF2-40B4-BE49-F238E27FC236}">
                <a16:creationId xmlns:a16="http://schemas.microsoft.com/office/drawing/2014/main" id="{84535CB4-7BE5-4499-B2F1-BEE7C516EC0A}"/>
              </a:ext>
              <a:ext uri="{C183D7F6-B498-43B3-948B-1728B52AA6E4}">
                <adec:decorative xmlns:adec="http://schemas.microsoft.com/office/drawing/2017/decorative" val="1"/>
              </a:ext>
            </a:extLst>
          </p:cNvPr>
          <p:cNvGrpSpPr>
            <a:grpSpLocks noChangeAspect="1"/>
          </p:cNvGrpSpPr>
          <p:nvPr/>
        </p:nvGrpSpPr>
        <p:grpSpPr>
          <a:xfrm>
            <a:off x="2890339" y="4150773"/>
            <a:ext cx="676507" cy="633600"/>
            <a:chOff x="650875" y="5604149"/>
            <a:chExt cx="750888" cy="703263"/>
          </a:xfrm>
        </p:grpSpPr>
        <p:sp>
          <p:nvSpPr>
            <p:cNvPr id="681" name="Freeform 397">
              <a:extLst>
                <a:ext uri="{FF2B5EF4-FFF2-40B4-BE49-F238E27FC236}">
                  <a16:creationId xmlns:a16="http://schemas.microsoft.com/office/drawing/2014/main" id="{7C2B0069-6A04-4131-BC08-A9B74A7D5CC2}"/>
                </a:ext>
              </a:extLst>
            </p:cNvPr>
            <p:cNvSpPr>
              <a:spLocks/>
            </p:cNvSpPr>
            <p:nvPr/>
          </p:nvSpPr>
          <p:spPr bwMode="auto">
            <a:xfrm>
              <a:off x="650875" y="5604149"/>
              <a:ext cx="750888" cy="703263"/>
            </a:xfrm>
            <a:custGeom>
              <a:avLst/>
              <a:gdLst>
                <a:gd name="T0" fmla="*/ 78 w 542"/>
                <a:gd name="T1" fmla="*/ 396 h 507"/>
                <a:gd name="T2" fmla="*/ 130 w 542"/>
                <a:gd name="T3" fmla="*/ 76 h 507"/>
                <a:gd name="T4" fmla="*/ 464 w 542"/>
                <a:gd name="T5" fmla="*/ 123 h 507"/>
                <a:gd name="T6" fmla="*/ 404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7" y="0"/>
                    <a:pt x="387" y="21"/>
                    <a:pt x="464" y="123"/>
                  </a:cubicBezTo>
                  <a:cubicBezTo>
                    <a:pt x="542" y="225"/>
                    <a:pt x="510" y="356"/>
                    <a:pt x="404" y="431"/>
                  </a:cubicBezTo>
                  <a:cubicBezTo>
                    <a:pt x="297" y="507"/>
                    <a:pt x="156" y="498"/>
                    <a:pt x="78" y="396"/>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2" name="Freeform 398">
              <a:extLst>
                <a:ext uri="{FF2B5EF4-FFF2-40B4-BE49-F238E27FC236}">
                  <a16:creationId xmlns:a16="http://schemas.microsoft.com/office/drawing/2014/main" id="{357DA006-ECE1-4097-B6C7-342F044AF4B2}"/>
                </a:ext>
              </a:extLst>
            </p:cNvPr>
            <p:cNvSpPr>
              <a:spLocks/>
            </p:cNvSpPr>
            <p:nvPr/>
          </p:nvSpPr>
          <p:spPr bwMode="auto">
            <a:xfrm>
              <a:off x="854075" y="5780362"/>
              <a:ext cx="282575" cy="360363"/>
            </a:xfrm>
            <a:custGeom>
              <a:avLst/>
              <a:gdLst>
                <a:gd name="T0" fmla="*/ 192 w 204"/>
                <a:gd name="T1" fmla="*/ 204 h 260"/>
                <a:gd name="T2" fmla="*/ 191 w 204"/>
                <a:gd name="T3" fmla="*/ 202 h 260"/>
                <a:gd name="T4" fmla="*/ 191 w 204"/>
                <a:gd name="T5" fmla="*/ 202 h 260"/>
                <a:gd name="T6" fmla="*/ 190 w 204"/>
                <a:gd name="T7" fmla="*/ 201 h 260"/>
                <a:gd name="T8" fmla="*/ 189 w 204"/>
                <a:gd name="T9" fmla="*/ 202 h 260"/>
                <a:gd name="T10" fmla="*/ 188 w 204"/>
                <a:gd name="T11" fmla="*/ 202 h 260"/>
                <a:gd name="T12" fmla="*/ 186 w 204"/>
                <a:gd name="T13" fmla="*/ 203 h 260"/>
                <a:gd name="T14" fmla="*/ 181 w 204"/>
                <a:gd name="T15" fmla="*/ 205 h 260"/>
                <a:gd name="T16" fmla="*/ 176 w 204"/>
                <a:gd name="T17" fmla="*/ 206 h 260"/>
                <a:gd name="T18" fmla="*/ 173 w 204"/>
                <a:gd name="T19" fmla="*/ 207 h 260"/>
                <a:gd name="T20" fmla="*/ 155 w 204"/>
                <a:gd name="T21" fmla="*/ 210 h 260"/>
                <a:gd name="T22" fmla="*/ 109 w 204"/>
                <a:gd name="T23" fmla="*/ 201 h 260"/>
                <a:gd name="T24" fmla="*/ 85 w 204"/>
                <a:gd name="T25" fmla="*/ 164 h 260"/>
                <a:gd name="T26" fmla="*/ 181 w 204"/>
                <a:gd name="T27" fmla="*/ 164 h 260"/>
                <a:gd name="T28" fmla="*/ 181 w 204"/>
                <a:gd name="T29" fmla="*/ 137 h 260"/>
                <a:gd name="T30" fmla="*/ 80 w 204"/>
                <a:gd name="T31" fmla="*/ 137 h 260"/>
                <a:gd name="T32" fmla="*/ 80 w 204"/>
                <a:gd name="T33" fmla="*/ 119 h 260"/>
                <a:gd name="T34" fmla="*/ 181 w 204"/>
                <a:gd name="T35" fmla="*/ 119 h 260"/>
                <a:gd name="T36" fmla="*/ 181 w 204"/>
                <a:gd name="T37" fmla="*/ 92 h 260"/>
                <a:gd name="T38" fmla="*/ 86 w 204"/>
                <a:gd name="T39" fmla="*/ 92 h 260"/>
                <a:gd name="T40" fmla="*/ 87 w 204"/>
                <a:gd name="T41" fmla="*/ 86 h 260"/>
                <a:gd name="T42" fmla="*/ 140 w 204"/>
                <a:gd name="T43" fmla="*/ 46 h 260"/>
                <a:gd name="T44" fmla="*/ 175 w 204"/>
                <a:gd name="T45" fmla="*/ 51 h 260"/>
                <a:gd name="T46" fmla="*/ 188 w 204"/>
                <a:gd name="T47" fmla="*/ 55 h 260"/>
                <a:gd name="T48" fmla="*/ 198 w 204"/>
                <a:gd name="T49" fmla="*/ 12 h 260"/>
                <a:gd name="T50" fmla="*/ 162 w 204"/>
                <a:gd name="T51" fmla="*/ 2 h 260"/>
                <a:gd name="T52" fmla="*/ 150 w 204"/>
                <a:gd name="T53" fmla="*/ 0 h 260"/>
                <a:gd name="T54" fmla="*/ 132 w 204"/>
                <a:gd name="T55" fmla="*/ 0 h 260"/>
                <a:gd name="T56" fmla="*/ 125 w 204"/>
                <a:gd name="T57" fmla="*/ 1 h 260"/>
                <a:gd name="T58" fmla="*/ 84 w 204"/>
                <a:gd name="T59" fmla="*/ 14 h 260"/>
                <a:gd name="T60" fmla="*/ 28 w 204"/>
                <a:gd name="T61" fmla="*/ 82 h 260"/>
                <a:gd name="T62" fmla="*/ 25 w 204"/>
                <a:gd name="T63" fmla="*/ 92 h 260"/>
                <a:gd name="T64" fmla="*/ 0 w 204"/>
                <a:gd name="T65" fmla="*/ 92 h 260"/>
                <a:gd name="T66" fmla="*/ 0 w 204"/>
                <a:gd name="T67" fmla="*/ 119 h 260"/>
                <a:gd name="T68" fmla="*/ 21 w 204"/>
                <a:gd name="T69" fmla="*/ 119 h 260"/>
                <a:gd name="T70" fmla="*/ 21 w 204"/>
                <a:gd name="T71" fmla="*/ 137 h 260"/>
                <a:gd name="T72" fmla="*/ 0 w 204"/>
                <a:gd name="T73" fmla="*/ 137 h 260"/>
                <a:gd name="T74" fmla="*/ 0 w 204"/>
                <a:gd name="T75" fmla="*/ 164 h 260"/>
                <a:gd name="T76" fmla="*/ 25 w 204"/>
                <a:gd name="T77" fmla="*/ 164 h 260"/>
                <a:gd name="T78" fmla="*/ 26 w 204"/>
                <a:gd name="T79" fmla="*/ 169 h 260"/>
                <a:gd name="T80" fmla="*/ 27 w 204"/>
                <a:gd name="T81" fmla="*/ 174 h 260"/>
                <a:gd name="T82" fmla="*/ 90 w 204"/>
                <a:gd name="T83" fmla="*/ 248 h 260"/>
                <a:gd name="T84" fmla="*/ 155 w 204"/>
                <a:gd name="T85" fmla="*/ 257 h 260"/>
                <a:gd name="T86" fmla="*/ 198 w 204"/>
                <a:gd name="T87" fmla="*/ 245 h 260"/>
                <a:gd name="T88" fmla="*/ 199 w 204"/>
                <a:gd name="T89" fmla="*/ 244 h 260"/>
                <a:gd name="T90" fmla="*/ 204 w 204"/>
                <a:gd name="T91" fmla="*/ 243 h 260"/>
                <a:gd name="T92" fmla="*/ 192 w 204"/>
                <a:gd name="T93" fmla="*/ 20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60">
                  <a:moveTo>
                    <a:pt x="192" y="204"/>
                  </a:moveTo>
                  <a:cubicBezTo>
                    <a:pt x="192" y="203"/>
                    <a:pt x="192" y="203"/>
                    <a:pt x="191" y="202"/>
                  </a:cubicBezTo>
                  <a:cubicBezTo>
                    <a:pt x="191" y="202"/>
                    <a:pt x="191" y="202"/>
                    <a:pt x="191" y="202"/>
                  </a:cubicBezTo>
                  <a:cubicBezTo>
                    <a:pt x="191" y="202"/>
                    <a:pt x="191" y="201"/>
                    <a:pt x="190" y="201"/>
                  </a:cubicBezTo>
                  <a:cubicBezTo>
                    <a:pt x="190" y="201"/>
                    <a:pt x="190" y="201"/>
                    <a:pt x="189" y="202"/>
                  </a:cubicBezTo>
                  <a:cubicBezTo>
                    <a:pt x="189" y="202"/>
                    <a:pt x="188" y="202"/>
                    <a:pt x="188" y="202"/>
                  </a:cubicBezTo>
                  <a:cubicBezTo>
                    <a:pt x="187" y="202"/>
                    <a:pt x="186" y="203"/>
                    <a:pt x="186" y="203"/>
                  </a:cubicBezTo>
                  <a:cubicBezTo>
                    <a:pt x="184" y="204"/>
                    <a:pt x="182" y="204"/>
                    <a:pt x="181" y="205"/>
                  </a:cubicBezTo>
                  <a:cubicBezTo>
                    <a:pt x="179" y="205"/>
                    <a:pt x="178" y="206"/>
                    <a:pt x="176" y="206"/>
                  </a:cubicBezTo>
                  <a:cubicBezTo>
                    <a:pt x="175" y="207"/>
                    <a:pt x="174" y="207"/>
                    <a:pt x="173" y="207"/>
                  </a:cubicBezTo>
                  <a:cubicBezTo>
                    <a:pt x="167" y="209"/>
                    <a:pt x="161" y="210"/>
                    <a:pt x="155" y="210"/>
                  </a:cubicBezTo>
                  <a:cubicBezTo>
                    <a:pt x="138" y="212"/>
                    <a:pt x="123" y="210"/>
                    <a:pt x="109" y="201"/>
                  </a:cubicBezTo>
                  <a:cubicBezTo>
                    <a:pt x="95" y="192"/>
                    <a:pt x="88" y="180"/>
                    <a:pt x="85" y="164"/>
                  </a:cubicBezTo>
                  <a:cubicBezTo>
                    <a:pt x="117" y="164"/>
                    <a:pt x="149" y="164"/>
                    <a:pt x="181" y="164"/>
                  </a:cubicBezTo>
                  <a:cubicBezTo>
                    <a:pt x="181" y="155"/>
                    <a:pt x="181" y="146"/>
                    <a:pt x="181" y="137"/>
                  </a:cubicBezTo>
                  <a:cubicBezTo>
                    <a:pt x="147" y="137"/>
                    <a:pt x="113" y="137"/>
                    <a:pt x="80" y="137"/>
                  </a:cubicBezTo>
                  <a:cubicBezTo>
                    <a:pt x="80" y="131"/>
                    <a:pt x="80" y="125"/>
                    <a:pt x="80" y="119"/>
                  </a:cubicBezTo>
                  <a:cubicBezTo>
                    <a:pt x="114" y="119"/>
                    <a:pt x="147" y="119"/>
                    <a:pt x="181" y="119"/>
                  </a:cubicBezTo>
                  <a:cubicBezTo>
                    <a:pt x="181" y="110"/>
                    <a:pt x="181" y="101"/>
                    <a:pt x="181" y="92"/>
                  </a:cubicBezTo>
                  <a:cubicBezTo>
                    <a:pt x="149" y="92"/>
                    <a:pt x="118" y="92"/>
                    <a:pt x="86" y="92"/>
                  </a:cubicBezTo>
                  <a:cubicBezTo>
                    <a:pt x="86" y="90"/>
                    <a:pt x="87" y="88"/>
                    <a:pt x="87" y="86"/>
                  </a:cubicBezTo>
                  <a:cubicBezTo>
                    <a:pt x="95" y="63"/>
                    <a:pt x="116" y="48"/>
                    <a:pt x="140" y="46"/>
                  </a:cubicBezTo>
                  <a:cubicBezTo>
                    <a:pt x="152" y="46"/>
                    <a:pt x="164" y="48"/>
                    <a:pt x="175" y="51"/>
                  </a:cubicBezTo>
                  <a:cubicBezTo>
                    <a:pt x="180" y="53"/>
                    <a:pt x="183" y="54"/>
                    <a:pt x="188" y="55"/>
                  </a:cubicBezTo>
                  <a:cubicBezTo>
                    <a:pt x="191" y="41"/>
                    <a:pt x="195" y="26"/>
                    <a:pt x="198" y="12"/>
                  </a:cubicBezTo>
                  <a:cubicBezTo>
                    <a:pt x="187" y="7"/>
                    <a:pt x="175" y="3"/>
                    <a:pt x="162" y="2"/>
                  </a:cubicBezTo>
                  <a:cubicBezTo>
                    <a:pt x="158" y="1"/>
                    <a:pt x="154" y="1"/>
                    <a:pt x="150" y="0"/>
                  </a:cubicBezTo>
                  <a:cubicBezTo>
                    <a:pt x="144" y="0"/>
                    <a:pt x="138" y="0"/>
                    <a:pt x="132" y="0"/>
                  </a:cubicBezTo>
                  <a:cubicBezTo>
                    <a:pt x="130" y="1"/>
                    <a:pt x="127" y="1"/>
                    <a:pt x="125" y="1"/>
                  </a:cubicBezTo>
                  <a:cubicBezTo>
                    <a:pt x="110" y="3"/>
                    <a:pt x="97" y="7"/>
                    <a:pt x="84" y="14"/>
                  </a:cubicBezTo>
                  <a:cubicBezTo>
                    <a:pt x="57" y="29"/>
                    <a:pt x="38" y="52"/>
                    <a:pt x="28" y="82"/>
                  </a:cubicBezTo>
                  <a:cubicBezTo>
                    <a:pt x="27" y="85"/>
                    <a:pt x="26" y="88"/>
                    <a:pt x="25" y="92"/>
                  </a:cubicBezTo>
                  <a:cubicBezTo>
                    <a:pt x="17" y="92"/>
                    <a:pt x="8" y="92"/>
                    <a:pt x="0" y="92"/>
                  </a:cubicBezTo>
                  <a:cubicBezTo>
                    <a:pt x="0" y="101"/>
                    <a:pt x="0" y="110"/>
                    <a:pt x="0" y="119"/>
                  </a:cubicBezTo>
                  <a:cubicBezTo>
                    <a:pt x="7" y="119"/>
                    <a:pt x="14" y="119"/>
                    <a:pt x="21" y="119"/>
                  </a:cubicBezTo>
                  <a:cubicBezTo>
                    <a:pt x="21" y="125"/>
                    <a:pt x="21" y="131"/>
                    <a:pt x="21" y="137"/>
                  </a:cubicBezTo>
                  <a:cubicBezTo>
                    <a:pt x="14" y="137"/>
                    <a:pt x="7" y="137"/>
                    <a:pt x="0" y="137"/>
                  </a:cubicBezTo>
                  <a:cubicBezTo>
                    <a:pt x="0" y="146"/>
                    <a:pt x="0" y="155"/>
                    <a:pt x="0" y="164"/>
                  </a:cubicBezTo>
                  <a:cubicBezTo>
                    <a:pt x="8" y="164"/>
                    <a:pt x="16" y="164"/>
                    <a:pt x="25" y="164"/>
                  </a:cubicBezTo>
                  <a:cubicBezTo>
                    <a:pt x="25" y="166"/>
                    <a:pt x="25" y="168"/>
                    <a:pt x="26" y="169"/>
                  </a:cubicBezTo>
                  <a:cubicBezTo>
                    <a:pt x="26" y="171"/>
                    <a:pt x="26" y="172"/>
                    <a:pt x="27" y="174"/>
                  </a:cubicBezTo>
                  <a:cubicBezTo>
                    <a:pt x="36" y="209"/>
                    <a:pt x="57" y="234"/>
                    <a:pt x="90" y="248"/>
                  </a:cubicBezTo>
                  <a:cubicBezTo>
                    <a:pt x="111" y="257"/>
                    <a:pt x="132" y="260"/>
                    <a:pt x="155" y="257"/>
                  </a:cubicBezTo>
                  <a:cubicBezTo>
                    <a:pt x="170" y="255"/>
                    <a:pt x="184" y="252"/>
                    <a:pt x="198" y="245"/>
                  </a:cubicBezTo>
                  <a:cubicBezTo>
                    <a:pt x="198" y="245"/>
                    <a:pt x="199" y="244"/>
                    <a:pt x="199" y="244"/>
                  </a:cubicBezTo>
                  <a:cubicBezTo>
                    <a:pt x="201" y="243"/>
                    <a:pt x="202" y="243"/>
                    <a:pt x="204" y="243"/>
                  </a:cubicBezTo>
                  <a:cubicBezTo>
                    <a:pt x="200" y="232"/>
                    <a:pt x="201" y="220"/>
                    <a:pt x="192" y="20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0" name="Groupe 689">
            <a:extLst>
              <a:ext uri="{FF2B5EF4-FFF2-40B4-BE49-F238E27FC236}">
                <a16:creationId xmlns:a16="http://schemas.microsoft.com/office/drawing/2014/main" id="{C959F459-0609-4109-ACD5-EC6D2B097482}"/>
              </a:ext>
              <a:ext uri="{C183D7F6-B498-43B3-948B-1728B52AA6E4}">
                <adec:decorative xmlns:adec="http://schemas.microsoft.com/office/drawing/2017/decorative" val="1"/>
              </a:ext>
            </a:extLst>
          </p:cNvPr>
          <p:cNvGrpSpPr>
            <a:grpSpLocks noChangeAspect="1"/>
          </p:cNvGrpSpPr>
          <p:nvPr/>
        </p:nvGrpSpPr>
        <p:grpSpPr>
          <a:xfrm>
            <a:off x="2027574" y="1458706"/>
            <a:ext cx="676507" cy="633600"/>
            <a:chOff x="3289300" y="5604149"/>
            <a:chExt cx="750888" cy="703263"/>
          </a:xfrm>
        </p:grpSpPr>
        <p:sp>
          <p:nvSpPr>
            <p:cNvPr id="691" name="Freeform 387">
              <a:extLst>
                <a:ext uri="{FF2B5EF4-FFF2-40B4-BE49-F238E27FC236}">
                  <a16:creationId xmlns:a16="http://schemas.microsoft.com/office/drawing/2014/main" id="{A6034036-5D7E-4571-AEB3-B111CA449D24}"/>
                </a:ext>
              </a:extLst>
            </p:cNvPr>
            <p:cNvSpPr>
              <a:spLocks/>
            </p:cNvSpPr>
            <p:nvPr/>
          </p:nvSpPr>
          <p:spPr bwMode="auto">
            <a:xfrm>
              <a:off x="3289300" y="5604149"/>
              <a:ext cx="750888" cy="703263"/>
            </a:xfrm>
            <a:custGeom>
              <a:avLst/>
              <a:gdLst>
                <a:gd name="T0" fmla="*/ 78 w 542"/>
                <a:gd name="T1" fmla="*/ 396 h 507"/>
                <a:gd name="T2" fmla="*/ 130 w 542"/>
                <a:gd name="T3" fmla="*/ 76 h 507"/>
                <a:gd name="T4" fmla="*/ 464 w 542"/>
                <a:gd name="T5" fmla="*/ 123 h 507"/>
                <a:gd name="T6" fmla="*/ 403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6" y="0"/>
                    <a:pt x="386" y="21"/>
                    <a:pt x="464" y="123"/>
                  </a:cubicBezTo>
                  <a:cubicBezTo>
                    <a:pt x="542" y="225"/>
                    <a:pt x="510" y="356"/>
                    <a:pt x="403" y="431"/>
                  </a:cubicBezTo>
                  <a:cubicBezTo>
                    <a:pt x="297" y="507"/>
                    <a:pt x="156" y="498"/>
                    <a:pt x="78" y="396"/>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399">
              <a:extLst>
                <a:ext uri="{FF2B5EF4-FFF2-40B4-BE49-F238E27FC236}">
                  <a16:creationId xmlns:a16="http://schemas.microsoft.com/office/drawing/2014/main" id="{56C8F821-082C-4F53-AB78-8632F22E49D2}"/>
                </a:ext>
              </a:extLst>
            </p:cNvPr>
            <p:cNvSpPr>
              <a:spLocks/>
            </p:cNvSpPr>
            <p:nvPr/>
          </p:nvSpPr>
          <p:spPr bwMode="auto">
            <a:xfrm>
              <a:off x="3590925" y="5762899"/>
              <a:ext cx="168275" cy="234950"/>
            </a:xfrm>
            <a:custGeom>
              <a:avLst/>
              <a:gdLst>
                <a:gd name="T0" fmla="*/ 101 w 121"/>
                <a:gd name="T1" fmla="*/ 170 h 170"/>
                <a:gd name="T2" fmla="*/ 7 w 121"/>
                <a:gd name="T3" fmla="*/ 163 h 170"/>
                <a:gd name="T4" fmla="*/ 0 w 121"/>
                <a:gd name="T5" fmla="*/ 155 h 170"/>
                <a:gd name="T6" fmla="*/ 12 w 121"/>
                <a:gd name="T7" fmla="*/ 7 h 170"/>
                <a:gd name="T8" fmla="*/ 20 w 121"/>
                <a:gd name="T9" fmla="*/ 0 h 170"/>
                <a:gd name="T10" fmla="*/ 114 w 121"/>
                <a:gd name="T11" fmla="*/ 8 h 170"/>
                <a:gd name="T12" fmla="*/ 120 w 121"/>
                <a:gd name="T13" fmla="*/ 15 h 170"/>
                <a:gd name="T14" fmla="*/ 109 w 121"/>
                <a:gd name="T15" fmla="*/ 164 h 170"/>
                <a:gd name="T16" fmla="*/ 101 w 121"/>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70">
                  <a:moveTo>
                    <a:pt x="101" y="170"/>
                  </a:moveTo>
                  <a:cubicBezTo>
                    <a:pt x="7" y="163"/>
                    <a:pt x="7" y="163"/>
                    <a:pt x="7" y="163"/>
                  </a:cubicBezTo>
                  <a:cubicBezTo>
                    <a:pt x="3" y="162"/>
                    <a:pt x="0" y="159"/>
                    <a:pt x="0" y="155"/>
                  </a:cubicBezTo>
                  <a:cubicBezTo>
                    <a:pt x="12" y="7"/>
                    <a:pt x="12" y="7"/>
                    <a:pt x="12" y="7"/>
                  </a:cubicBezTo>
                  <a:cubicBezTo>
                    <a:pt x="12" y="3"/>
                    <a:pt x="16" y="0"/>
                    <a:pt x="20" y="0"/>
                  </a:cubicBezTo>
                  <a:cubicBezTo>
                    <a:pt x="114" y="8"/>
                    <a:pt x="114" y="8"/>
                    <a:pt x="114" y="8"/>
                  </a:cubicBezTo>
                  <a:cubicBezTo>
                    <a:pt x="118" y="8"/>
                    <a:pt x="121" y="12"/>
                    <a:pt x="120" y="15"/>
                  </a:cubicBezTo>
                  <a:cubicBezTo>
                    <a:pt x="109" y="164"/>
                    <a:pt x="109" y="164"/>
                    <a:pt x="109" y="164"/>
                  </a:cubicBezTo>
                  <a:cubicBezTo>
                    <a:pt x="108" y="168"/>
                    <a:pt x="105" y="170"/>
                    <a:pt x="101" y="17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Oval 400">
              <a:extLst>
                <a:ext uri="{FF2B5EF4-FFF2-40B4-BE49-F238E27FC236}">
                  <a16:creationId xmlns:a16="http://schemas.microsoft.com/office/drawing/2014/main" id="{75447074-A191-48A7-B4FE-8489E0B1C509}"/>
                </a:ext>
              </a:extLst>
            </p:cNvPr>
            <p:cNvSpPr>
              <a:spLocks noChangeArrowheads="1"/>
            </p:cNvSpPr>
            <p:nvPr/>
          </p:nvSpPr>
          <p:spPr bwMode="auto">
            <a:xfrm>
              <a:off x="3711575" y="6097862"/>
              <a:ext cx="69850" cy="68263"/>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4" name="Oval 401">
              <a:extLst>
                <a:ext uri="{FF2B5EF4-FFF2-40B4-BE49-F238E27FC236}">
                  <a16:creationId xmlns:a16="http://schemas.microsoft.com/office/drawing/2014/main" id="{C90C8C81-2146-42F3-807E-500313526194}"/>
                </a:ext>
              </a:extLst>
            </p:cNvPr>
            <p:cNvSpPr>
              <a:spLocks noChangeArrowheads="1"/>
            </p:cNvSpPr>
            <p:nvPr/>
          </p:nvSpPr>
          <p:spPr bwMode="auto">
            <a:xfrm>
              <a:off x="3541713" y="6097862"/>
              <a:ext cx="69850" cy="68263"/>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402">
              <a:extLst>
                <a:ext uri="{FF2B5EF4-FFF2-40B4-BE49-F238E27FC236}">
                  <a16:creationId xmlns:a16="http://schemas.microsoft.com/office/drawing/2014/main" id="{6BEFF8F5-44F1-40B0-8431-60125588440F}"/>
                </a:ext>
              </a:extLst>
            </p:cNvPr>
            <p:cNvSpPr>
              <a:spLocks/>
            </p:cNvSpPr>
            <p:nvPr/>
          </p:nvSpPr>
          <p:spPr bwMode="auto">
            <a:xfrm>
              <a:off x="3463925" y="5823224"/>
              <a:ext cx="350838" cy="255588"/>
            </a:xfrm>
            <a:custGeom>
              <a:avLst/>
              <a:gdLst>
                <a:gd name="T0" fmla="*/ 241 w 253"/>
                <a:gd name="T1" fmla="*/ 25 h 185"/>
                <a:gd name="T2" fmla="*/ 64 w 253"/>
                <a:gd name="T3" fmla="*/ 25 h 185"/>
                <a:gd name="T4" fmla="*/ 59 w 253"/>
                <a:gd name="T5" fmla="*/ 25 h 185"/>
                <a:gd name="T6" fmla="*/ 48 w 253"/>
                <a:gd name="T7" fmla="*/ 0 h 185"/>
                <a:gd name="T8" fmla="*/ 15 w 253"/>
                <a:gd name="T9" fmla="*/ 0 h 185"/>
                <a:gd name="T10" fmla="*/ 15 w 253"/>
                <a:gd name="T11" fmla="*/ 0 h 185"/>
                <a:gd name="T12" fmla="*/ 6 w 253"/>
                <a:gd name="T13" fmla="*/ 0 h 185"/>
                <a:gd name="T14" fmla="*/ 5 w 253"/>
                <a:gd name="T15" fmla="*/ 8 h 185"/>
                <a:gd name="T16" fmla="*/ 7 w 253"/>
                <a:gd name="T17" fmla="*/ 25 h 185"/>
                <a:gd name="T18" fmla="*/ 32 w 253"/>
                <a:gd name="T19" fmla="*/ 25 h 185"/>
                <a:gd name="T20" fmla="*/ 76 w 253"/>
                <a:gd name="T21" fmla="*/ 119 h 185"/>
                <a:gd name="T22" fmla="*/ 59 w 253"/>
                <a:gd name="T23" fmla="*/ 148 h 185"/>
                <a:gd name="T24" fmla="*/ 56 w 253"/>
                <a:gd name="T25" fmla="*/ 161 h 185"/>
                <a:gd name="T26" fmla="*/ 81 w 253"/>
                <a:gd name="T27" fmla="*/ 185 h 185"/>
                <a:gd name="T28" fmla="*/ 229 w 253"/>
                <a:gd name="T29" fmla="*/ 185 h 185"/>
                <a:gd name="T30" fmla="*/ 229 w 253"/>
                <a:gd name="T31" fmla="*/ 161 h 185"/>
                <a:gd name="T32" fmla="*/ 86 w 253"/>
                <a:gd name="T33" fmla="*/ 161 h 185"/>
                <a:gd name="T34" fmla="*/ 83 w 253"/>
                <a:gd name="T35" fmla="*/ 158 h 185"/>
                <a:gd name="T36" fmla="*/ 83 w 253"/>
                <a:gd name="T37" fmla="*/ 157 h 185"/>
                <a:gd name="T38" fmla="*/ 94 w 253"/>
                <a:gd name="T39" fmla="*/ 136 h 185"/>
                <a:gd name="T40" fmla="*/ 186 w 253"/>
                <a:gd name="T41" fmla="*/ 136 h 185"/>
                <a:gd name="T42" fmla="*/ 207 w 253"/>
                <a:gd name="T43" fmla="*/ 124 h 185"/>
                <a:gd name="T44" fmla="*/ 220 w 253"/>
                <a:gd name="T45" fmla="*/ 100 h 185"/>
                <a:gd name="T46" fmla="*/ 251 w 253"/>
                <a:gd name="T47" fmla="*/ 44 h 185"/>
                <a:gd name="T48" fmla="*/ 253 w 253"/>
                <a:gd name="T49" fmla="*/ 41 h 185"/>
                <a:gd name="T50" fmla="*/ 253 w 253"/>
                <a:gd name="T51" fmla="*/ 38 h 185"/>
                <a:gd name="T52" fmla="*/ 253 w 253"/>
                <a:gd name="T53" fmla="*/ 37 h 185"/>
                <a:gd name="T54" fmla="*/ 241 w 253"/>
                <a:gd name="T55" fmla="*/ 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3" h="185">
                  <a:moveTo>
                    <a:pt x="241" y="25"/>
                  </a:moveTo>
                  <a:cubicBezTo>
                    <a:pt x="64" y="25"/>
                    <a:pt x="64" y="25"/>
                    <a:pt x="64" y="25"/>
                  </a:cubicBezTo>
                  <a:cubicBezTo>
                    <a:pt x="59" y="25"/>
                    <a:pt x="59" y="25"/>
                    <a:pt x="59" y="25"/>
                  </a:cubicBezTo>
                  <a:cubicBezTo>
                    <a:pt x="48" y="0"/>
                    <a:pt x="48" y="0"/>
                    <a:pt x="48" y="0"/>
                  </a:cubicBezTo>
                  <a:cubicBezTo>
                    <a:pt x="15" y="0"/>
                    <a:pt x="15" y="0"/>
                    <a:pt x="15" y="0"/>
                  </a:cubicBezTo>
                  <a:cubicBezTo>
                    <a:pt x="15" y="0"/>
                    <a:pt x="15" y="0"/>
                    <a:pt x="15" y="0"/>
                  </a:cubicBezTo>
                  <a:cubicBezTo>
                    <a:pt x="6" y="0"/>
                    <a:pt x="6" y="0"/>
                    <a:pt x="6" y="0"/>
                  </a:cubicBezTo>
                  <a:cubicBezTo>
                    <a:pt x="6" y="0"/>
                    <a:pt x="6" y="5"/>
                    <a:pt x="5" y="8"/>
                  </a:cubicBezTo>
                  <a:cubicBezTo>
                    <a:pt x="4" y="11"/>
                    <a:pt x="0" y="22"/>
                    <a:pt x="7" y="25"/>
                  </a:cubicBezTo>
                  <a:cubicBezTo>
                    <a:pt x="32" y="25"/>
                    <a:pt x="32" y="25"/>
                    <a:pt x="32" y="25"/>
                  </a:cubicBezTo>
                  <a:cubicBezTo>
                    <a:pt x="76" y="119"/>
                    <a:pt x="76" y="119"/>
                    <a:pt x="76" y="119"/>
                  </a:cubicBezTo>
                  <a:cubicBezTo>
                    <a:pt x="59" y="148"/>
                    <a:pt x="59" y="148"/>
                    <a:pt x="59" y="148"/>
                  </a:cubicBezTo>
                  <a:cubicBezTo>
                    <a:pt x="58" y="152"/>
                    <a:pt x="56" y="157"/>
                    <a:pt x="56" y="161"/>
                  </a:cubicBezTo>
                  <a:cubicBezTo>
                    <a:pt x="56" y="174"/>
                    <a:pt x="67" y="185"/>
                    <a:pt x="81" y="185"/>
                  </a:cubicBezTo>
                  <a:cubicBezTo>
                    <a:pt x="229" y="185"/>
                    <a:pt x="229" y="185"/>
                    <a:pt x="229" y="185"/>
                  </a:cubicBezTo>
                  <a:cubicBezTo>
                    <a:pt x="229" y="161"/>
                    <a:pt x="229" y="161"/>
                    <a:pt x="229" y="161"/>
                  </a:cubicBezTo>
                  <a:cubicBezTo>
                    <a:pt x="86" y="161"/>
                    <a:pt x="86" y="161"/>
                    <a:pt x="86" y="161"/>
                  </a:cubicBezTo>
                  <a:cubicBezTo>
                    <a:pt x="85" y="161"/>
                    <a:pt x="83" y="159"/>
                    <a:pt x="83" y="158"/>
                  </a:cubicBezTo>
                  <a:cubicBezTo>
                    <a:pt x="83" y="157"/>
                    <a:pt x="83" y="157"/>
                    <a:pt x="83" y="157"/>
                  </a:cubicBezTo>
                  <a:cubicBezTo>
                    <a:pt x="94" y="136"/>
                    <a:pt x="94" y="136"/>
                    <a:pt x="94" y="136"/>
                  </a:cubicBezTo>
                  <a:cubicBezTo>
                    <a:pt x="186" y="136"/>
                    <a:pt x="186" y="136"/>
                    <a:pt x="186" y="136"/>
                  </a:cubicBezTo>
                  <a:cubicBezTo>
                    <a:pt x="195" y="136"/>
                    <a:pt x="203" y="131"/>
                    <a:pt x="207" y="124"/>
                  </a:cubicBezTo>
                  <a:cubicBezTo>
                    <a:pt x="220" y="100"/>
                    <a:pt x="220" y="100"/>
                    <a:pt x="220" y="100"/>
                  </a:cubicBezTo>
                  <a:cubicBezTo>
                    <a:pt x="251" y="44"/>
                    <a:pt x="251" y="44"/>
                    <a:pt x="251" y="44"/>
                  </a:cubicBezTo>
                  <a:cubicBezTo>
                    <a:pt x="252" y="42"/>
                    <a:pt x="253" y="42"/>
                    <a:pt x="253" y="41"/>
                  </a:cubicBezTo>
                  <a:cubicBezTo>
                    <a:pt x="253" y="40"/>
                    <a:pt x="253" y="39"/>
                    <a:pt x="253" y="38"/>
                  </a:cubicBezTo>
                  <a:cubicBezTo>
                    <a:pt x="253" y="38"/>
                    <a:pt x="253" y="38"/>
                    <a:pt x="253" y="37"/>
                  </a:cubicBezTo>
                  <a:cubicBezTo>
                    <a:pt x="253" y="30"/>
                    <a:pt x="248" y="25"/>
                    <a:pt x="241" y="2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Oval 409">
              <a:extLst>
                <a:ext uri="{FF2B5EF4-FFF2-40B4-BE49-F238E27FC236}">
                  <a16:creationId xmlns:a16="http://schemas.microsoft.com/office/drawing/2014/main" id="{EA717D9F-FB4B-4180-BDCA-9C0C4D8FAF1C}"/>
                </a:ext>
              </a:extLst>
            </p:cNvPr>
            <p:cNvSpPr>
              <a:spLocks noChangeArrowheads="1"/>
            </p:cNvSpPr>
            <p:nvPr/>
          </p:nvSpPr>
          <p:spPr bwMode="auto">
            <a:xfrm>
              <a:off x="3613150" y="5880374"/>
              <a:ext cx="106363" cy="104775"/>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410">
              <a:extLst>
                <a:ext uri="{FF2B5EF4-FFF2-40B4-BE49-F238E27FC236}">
                  <a16:creationId xmlns:a16="http://schemas.microsoft.com/office/drawing/2014/main" id="{1F69F997-C304-4B1C-9E49-CFD0A3E1368B}"/>
                </a:ext>
              </a:extLst>
            </p:cNvPr>
            <p:cNvSpPr>
              <a:spLocks/>
            </p:cNvSpPr>
            <p:nvPr/>
          </p:nvSpPr>
          <p:spPr bwMode="auto">
            <a:xfrm>
              <a:off x="3627438" y="5927999"/>
              <a:ext cx="31750" cy="33338"/>
            </a:xfrm>
            <a:custGeom>
              <a:avLst/>
              <a:gdLst>
                <a:gd name="T0" fmla="*/ 16 w 20"/>
                <a:gd name="T1" fmla="*/ 21 h 21"/>
                <a:gd name="T2" fmla="*/ 0 w 20"/>
                <a:gd name="T3" fmla="*/ 5 h 21"/>
                <a:gd name="T4" fmla="*/ 5 w 20"/>
                <a:gd name="T5" fmla="*/ 0 h 21"/>
                <a:gd name="T6" fmla="*/ 20 w 20"/>
                <a:gd name="T7" fmla="*/ 17 h 21"/>
                <a:gd name="T8" fmla="*/ 16 w 20"/>
                <a:gd name="T9" fmla="*/ 21 h 21"/>
              </a:gdLst>
              <a:ahLst/>
              <a:cxnLst>
                <a:cxn ang="0">
                  <a:pos x="T0" y="T1"/>
                </a:cxn>
                <a:cxn ang="0">
                  <a:pos x="T2" y="T3"/>
                </a:cxn>
                <a:cxn ang="0">
                  <a:pos x="T4" y="T5"/>
                </a:cxn>
                <a:cxn ang="0">
                  <a:pos x="T6" y="T7"/>
                </a:cxn>
                <a:cxn ang="0">
                  <a:pos x="T8" y="T9"/>
                </a:cxn>
              </a:cxnLst>
              <a:rect l="0" t="0" r="r" b="b"/>
              <a:pathLst>
                <a:path w="20" h="21">
                  <a:moveTo>
                    <a:pt x="16" y="21"/>
                  </a:moveTo>
                  <a:lnTo>
                    <a:pt x="0" y="5"/>
                  </a:lnTo>
                  <a:lnTo>
                    <a:pt x="5" y="0"/>
                  </a:lnTo>
                  <a:lnTo>
                    <a:pt x="20" y="17"/>
                  </a:lnTo>
                  <a:lnTo>
                    <a:pt x="16" y="21"/>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411">
              <a:extLst>
                <a:ext uri="{FF2B5EF4-FFF2-40B4-BE49-F238E27FC236}">
                  <a16:creationId xmlns:a16="http://schemas.microsoft.com/office/drawing/2014/main" id="{53E630AA-4171-4F11-BBD8-C176F7AD5567}"/>
                </a:ext>
              </a:extLst>
            </p:cNvPr>
            <p:cNvSpPr>
              <a:spLocks/>
            </p:cNvSpPr>
            <p:nvPr/>
          </p:nvSpPr>
          <p:spPr bwMode="auto">
            <a:xfrm>
              <a:off x="3646488" y="5908949"/>
              <a:ext cx="55563" cy="53975"/>
            </a:xfrm>
            <a:custGeom>
              <a:avLst/>
              <a:gdLst>
                <a:gd name="T0" fmla="*/ 0 w 35"/>
                <a:gd name="T1" fmla="*/ 30 h 34"/>
                <a:gd name="T2" fmla="*/ 31 w 35"/>
                <a:gd name="T3" fmla="*/ 0 h 34"/>
                <a:gd name="T4" fmla="*/ 35 w 35"/>
                <a:gd name="T5" fmla="*/ 4 h 34"/>
                <a:gd name="T6" fmla="*/ 5 w 35"/>
                <a:gd name="T7" fmla="*/ 34 h 34"/>
                <a:gd name="T8" fmla="*/ 0 w 35"/>
                <a:gd name="T9" fmla="*/ 30 h 34"/>
              </a:gdLst>
              <a:ahLst/>
              <a:cxnLst>
                <a:cxn ang="0">
                  <a:pos x="T0" y="T1"/>
                </a:cxn>
                <a:cxn ang="0">
                  <a:pos x="T2" y="T3"/>
                </a:cxn>
                <a:cxn ang="0">
                  <a:pos x="T4" y="T5"/>
                </a:cxn>
                <a:cxn ang="0">
                  <a:pos x="T6" y="T7"/>
                </a:cxn>
                <a:cxn ang="0">
                  <a:pos x="T8" y="T9"/>
                </a:cxn>
              </a:cxnLst>
              <a:rect l="0" t="0" r="r" b="b"/>
              <a:pathLst>
                <a:path w="35" h="34">
                  <a:moveTo>
                    <a:pt x="0" y="30"/>
                  </a:moveTo>
                  <a:lnTo>
                    <a:pt x="31" y="0"/>
                  </a:lnTo>
                  <a:lnTo>
                    <a:pt x="35" y="4"/>
                  </a:lnTo>
                  <a:lnTo>
                    <a:pt x="5" y="34"/>
                  </a:lnTo>
                  <a:lnTo>
                    <a:pt x="0" y="3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1" name="ZoneTexte 270">
            <a:extLst>
              <a:ext uri="{FF2B5EF4-FFF2-40B4-BE49-F238E27FC236}">
                <a16:creationId xmlns:a16="http://schemas.microsoft.com/office/drawing/2014/main" id="{F475DCCF-4365-4B1F-A756-3975F32554E3}"/>
              </a:ext>
              <a:ext uri="{C183D7F6-B498-43B3-948B-1728B52AA6E4}">
                <adec:decorative xmlns:adec="http://schemas.microsoft.com/office/drawing/2017/decorative" val="1"/>
              </a:ext>
            </a:extLst>
          </p:cNvPr>
          <p:cNvSpPr txBox="1"/>
          <p:nvPr/>
        </p:nvSpPr>
        <p:spPr>
          <a:xfrm>
            <a:off x="315470" y="1039587"/>
            <a:ext cx="5530864" cy="307777"/>
          </a:xfrm>
          <a:prstGeom prst="rect">
            <a:avLst/>
          </a:prstGeom>
          <a:noFill/>
        </p:spPr>
        <p:txBody>
          <a:bodyPr wrap="square" rtlCol="0">
            <a:spAutoFit/>
          </a:bodyPr>
          <a:lstStyle/>
          <a:p>
            <a:r>
              <a:rPr lang="en-US" sz="1400"/>
              <a:t>Consumer Products, Retail, Distribution</a:t>
            </a:r>
          </a:p>
        </p:txBody>
      </p:sp>
      <p:sp>
        <p:nvSpPr>
          <p:cNvPr id="272" name="ZoneTexte 271">
            <a:extLst>
              <a:ext uri="{FF2B5EF4-FFF2-40B4-BE49-F238E27FC236}">
                <a16:creationId xmlns:a16="http://schemas.microsoft.com/office/drawing/2014/main" id="{B9B30CD0-307B-4918-9E9A-C44F8374607F}"/>
              </a:ext>
              <a:ext uri="{C183D7F6-B498-43B3-948B-1728B52AA6E4}">
                <adec:decorative xmlns:adec="http://schemas.microsoft.com/office/drawing/2017/decorative" val="1"/>
              </a:ext>
            </a:extLst>
          </p:cNvPr>
          <p:cNvSpPr txBox="1"/>
          <p:nvPr/>
        </p:nvSpPr>
        <p:spPr>
          <a:xfrm>
            <a:off x="315470" y="2370446"/>
            <a:ext cx="4199847" cy="307777"/>
          </a:xfrm>
          <a:prstGeom prst="rect">
            <a:avLst/>
          </a:prstGeom>
          <a:noFill/>
        </p:spPr>
        <p:txBody>
          <a:bodyPr wrap="square" rtlCol="0">
            <a:spAutoFit/>
          </a:bodyPr>
          <a:lstStyle/>
          <a:p>
            <a:r>
              <a:rPr lang="en-US" sz="1400"/>
              <a:t>Telecom, Media, Entertainment</a:t>
            </a:r>
          </a:p>
        </p:txBody>
      </p:sp>
      <p:sp>
        <p:nvSpPr>
          <p:cNvPr id="275" name="ZoneTexte 274">
            <a:extLst>
              <a:ext uri="{FF2B5EF4-FFF2-40B4-BE49-F238E27FC236}">
                <a16:creationId xmlns:a16="http://schemas.microsoft.com/office/drawing/2014/main" id="{F926354C-0A7C-4E46-8A87-73F0066F6731}"/>
              </a:ext>
              <a:ext uri="{C183D7F6-B498-43B3-948B-1728B52AA6E4}">
                <adec:decorative xmlns:adec="http://schemas.microsoft.com/office/drawing/2017/decorative" val="1"/>
              </a:ext>
            </a:extLst>
          </p:cNvPr>
          <p:cNvSpPr txBox="1"/>
          <p:nvPr/>
        </p:nvSpPr>
        <p:spPr>
          <a:xfrm>
            <a:off x="315470" y="3789000"/>
            <a:ext cx="2546104" cy="307777"/>
          </a:xfrm>
          <a:prstGeom prst="rect">
            <a:avLst/>
          </a:prstGeom>
          <a:noFill/>
        </p:spPr>
        <p:txBody>
          <a:bodyPr wrap="square" rtlCol="0">
            <a:spAutoFit/>
          </a:bodyPr>
          <a:lstStyle/>
          <a:p>
            <a:r>
              <a:rPr lang="en-US" sz="1400"/>
              <a:t>Financial</a:t>
            </a:r>
          </a:p>
        </p:txBody>
      </p:sp>
      <p:sp>
        <p:nvSpPr>
          <p:cNvPr id="276" name="ZoneTexte 275">
            <a:extLst>
              <a:ext uri="{FF2B5EF4-FFF2-40B4-BE49-F238E27FC236}">
                <a16:creationId xmlns:a16="http://schemas.microsoft.com/office/drawing/2014/main" id="{9325C1EF-9EDE-42E1-A3FE-E04B672D46FC}"/>
              </a:ext>
              <a:ext uri="{C183D7F6-B498-43B3-948B-1728B52AA6E4}">
                <adec:decorative xmlns:adec="http://schemas.microsoft.com/office/drawing/2017/decorative" val="1"/>
              </a:ext>
            </a:extLst>
          </p:cNvPr>
          <p:cNvSpPr txBox="1"/>
          <p:nvPr/>
        </p:nvSpPr>
        <p:spPr>
          <a:xfrm>
            <a:off x="315470" y="5134847"/>
            <a:ext cx="2546104" cy="307777"/>
          </a:xfrm>
          <a:prstGeom prst="rect">
            <a:avLst/>
          </a:prstGeom>
          <a:noFill/>
        </p:spPr>
        <p:txBody>
          <a:bodyPr wrap="square" rtlCol="0">
            <a:spAutoFit/>
          </a:bodyPr>
          <a:lstStyle/>
          <a:p>
            <a:r>
              <a:rPr lang="en-US" sz="1400"/>
              <a:t>Public Services</a:t>
            </a:r>
          </a:p>
        </p:txBody>
      </p:sp>
      <p:grpSp>
        <p:nvGrpSpPr>
          <p:cNvPr id="9" name="Groupe 8">
            <a:extLst>
              <a:ext uri="{FF2B5EF4-FFF2-40B4-BE49-F238E27FC236}">
                <a16:creationId xmlns:a16="http://schemas.microsoft.com/office/drawing/2014/main" id="{3C3AF741-5909-4C98-BB62-03E1AE18745F}"/>
              </a:ext>
              <a:ext uri="{C183D7F6-B498-43B3-948B-1728B52AA6E4}">
                <adec:decorative xmlns:adec="http://schemas.microsoft.com/office/drawing/2017/decorative" val="1"/>
              </a:ext>
            </a:extLst>
          </p:cNvPr>
          <p:cNvGrpSpPr>
            <a:grpSpLocks noChangeAspect="1"/>
          </p:cNvGrpSpPr>
          <p:nvPr/>
        </p:nvGrpSpPr>
        <p:grpSpPr>
          <a:xfrm>
            <a:off x="2902476" y="2795400"/>
            <a:ext cx="671664" cy="633600"/>
            <a:chOff x="4943815" y="5482413"/>
            <a:chExt cx="938994" cy="885779"/>
          </a:xfrm>
        </p:grpSpPr>
        <p:sp>
          <p:nvSpPr>
            <p:cNvPr id="289" name="Freeform 111">
              <a:extLst>
                <a:ext uri="{FF2B5EF4-FFF2-40B4-BE49-F238E27FC236}">
                  <a16:creationId xmlns:a16="http://schemas.microsoft.com/office/drawing/2014/main" id="{947F6C92-E057-4E81-A228-D73644A2F57F}"/>
                </a:ext>
              </a:extLst>
            </p:cNvPr>
            <p:cNvSpPr>
              <a:spLocks noChangeAspect="1"/>
            </p:cNvSpPr>
            <p:nvPr/>
          </p:nvSpPr>
          <p:spPr bwMode="auto">
            <a:xfrm>
              <a:off x="4943815" y="5482413"/>
              <a:ext cx="938994" cy="885779"/>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8" name="Groupe 7">
              <a:extLst>
                <a:ext uri="{FF2B5EF4-FFF2-40B4-BE49-F238E27FC236}">
                  <a16:creationId xmlns:a16="http://schemas.microsoft.com/office/drawing/2014/main" id="{CF578F46-E983-4CA8-AA65-D9597799DA9D}"/>
                </a:ext>
              </a:extLst>
            </p:cNvPr>
            <p:cNvGrpSpPr>
              <a:grpSpLocks noChangeAspect="1"/>
            </p:cNvGrpSpPr>
            <p:nvPr/>
          </p:nvGrpSpPr>
          <p:grpSpPr>
            <a:xfrm>
              <a:off x="5213566" y="5666726"/>
              <a:ext cx="394582" cy="471602"/>
              <a:chOff x="5213566" y="5666726"/>
              <a:chExt cx="394582" cy="471602"/>
            </a:xfrm>
          </p:grpSpPr>
          <p:sp>
            <p:nvSpPr>
              <p:cNvPr id="290" name="Freeform 57">
                <a:extLst>
                  <a:ext uri="{FF2B5EF4-FFF2-40B4-BE49-F238E27FC236}">
                    <a16:creationId xmlns:a16="http://schemas.microsoft.com/office/drawing/2014/main" id="{2139510F-382D-4AD7-B55F-FA5FDDE14902}"/>
                  </a:ext>
                </a:extLst>
              </p:cNvPr>
              <p:cNvSpPr>
                <a:spLocks noEditPoints="1"/>
              </p:cNvSpPr>
              <p:nvPr/>
            </p:nvSpPr>
            <p:spPr bwMode="auto">
              <a:xfrm>
                <a:off x="5252668" y="5666726"/>
                <a:ext cx="355480" cy="359033"/>
              </a:xfrm>
              <a:custGeom>
                <a:avLst/>
                <a:gdLst>
                  <a:gd name="T0" fmla="*/ 118 w 127"/>
                  <a:gd name="T1" fmla="*/ 20 h 128"/>
                  <a:gd name="T2" fmla="*/ 123 w 127"/>
                  <a:gd name="T3" fmla="*/ 17 h 128"/>
                  <a:gd name="T4" fmla="*/ 123 w 127"/>
                  <a:gd name="T5" fmla="*/ 3 h 128"/>
                  <a:gd name="T6" fmla="*/ 110 w 127"/>
                  <a:gd name="T7" fmla="*/ 3 h 128"/>
                  <a:gd name="T8" fmla="*/ 107 w 127"/>
                  <a:gd name="T9" fmla="*/ 8 h 128"/>
                  <a:gd name="T10" fmla="*/ 52 w 127"/>
                  <a:gd name="T11" fmla="*/ 35 h 128"/>
                  <a:gd name="T12" fmla="*/ 52 w 127"/>
                  <a:gd name="T13" fmla="*/ 35 h 128"/>
                  <a:gd name="T14" fmla="*/ 25 w 127"/>
                  <a:gd name="T15" fmla="*/ 7 h 128"/>
                  <a:gd name="T16" fmla="*/ 16 w 127"/>
                  <a:gd name="T17" fmla="*/ 91 h 128"/>
                  <a:gd name="T18" fmla="*/ 36 w 127"/>
                  <a:gd name="T19" fmla="*/ 92 h 128"/>
                  <a:gd name="T20" fmla="*/ 37 w 127"/>
                  <a:gd name="T21" fmla="*/ 111 h 128"/>
                  <a:gd name="T22" fmla="*/ 120 w 127"/>
                  <a:gd name="T23" fmla="*/ 102 h 128"/>
                  <a:gd name="T24" fmla="*/ 93 w 127"/>
                  <a:gd name="T25" fmla="*/ 75 h 128"/>
                  <a:gd name="T26" fmla="*/ 93 w 127"/>
                  <a:gd name="T27" fmla="*/ 75 h 128"/>
                  <a:gd name="T28" fmla="*/ 118 w 127"/>
                  <a:gd name="T29" fmla="*/ 20 h 128"/>
                  <a:gd name="T30" fmla="*/ 118 w 127"/>
                  <a:gd name="T31" fmla="*/ 20 h 128"/>
                  <a:gd name="T32" fmla="*/ 88 w 127"/>
                  <a:gd name="T33" fmla="*/ 71 h 128"/>
                  <a:gd name="T34" fmla="*/ 57 w 127"/>
                  <a:gd name="T35" fmla="*/ 39 h 128"/>
                  <a:gd name="T36" fmla="*/ 108 w 127"/>
                  <a:gd name="T37" fmla="*/ 15 h 128"/>
                  <a:gd name="T38" fmla="*/ 110 w 127"/>
                  <a:gd name="T39" fmla="*/ 17 h 128"/>
                  <a:gd name="T40" fmla="*/ 112 w 127"/>
                  <a:gd name="T41" fmla="*/ 18 h 128"/>
                  <a:gd name="T42" fmla="*/ 88 w 127"/>
                  <a:gd name="T43" fmla="*/ 71 h 128"/>
                  <a:gd name="T44" fmla="*/ 88 w 127"/>
                  <a:gd name="T45" fmla="*/ 7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 h="128">
                    <a:moveTo>
                      <a:pt x="118" y="20"/>
                    </a:moveTo>
                    <a:cubicBezTo>
                      <a:pt x="120" y="20"/>
                      <a:pt x="122" y="18"/>
                      <a:pt x="123" y="17"/>
                    </a:cubicBezTo>
                    <a:cubicBezTo>
                      <a:pt x="127" y="13"/>
                      <a:pt x="127" y="7"/>
                      <a:pt x="123" y="3"/>
                    </a:cubicBezTo>
                    <a:cubicBezTo>
                      <a:pt x="120" y="0"/>
                      <a:pt x="114" y="0"/>
                      <a:pt x="110" y="3"/>
                    </a:cubicBezTo>
                    <a:cubicBezTo>
                      <a:pt x="109" y="5"/>
                      <a:pt x="108" y="7"/>
                      <a:pt x="107" y="8"/>
                    </a:cubicBezTo>
                    <a:cubicBezTo>
                      <a:pt x="52" y="35"/>
                      <a:pt x="52" y="35"/>
                      <a:pt x="52" y="35"/>
                    </a:cubicBezTo>
                    <a:cubicBezTo>
                      <a:pt x="52" y="35"/>
                      <a:pt x="52" y="35"/>
                      <a:pt x="52" y="35"/>
                    </a:cubicBezTo>
                    <a:cubicBezTo>
                      <a:pt x="25" y="7"/>
                      <a:pt x="25" y="7"/>
                      <a:pt x="25" y="7"/>
                    </a:cubicBezTo>
                    <a:cubicBezTo>
                      <a:pt x="3" y="30"/>
                      <a:pt x="0" y="65"/>
                      <a:pt x="16" y="91"/>
                    </a:cubicBezTo>
                    <a:cubicBezTo>
                      <a:pt x="22" y="86"/>
                      <a:pt x="30" y="86"/>
                      <a:pt x="36" y="92"/>
                    </a:cubicBezTo>
                    <a:cubicBezTo>
                      <a:pt x="41" y="97"/>
                      <a:pt x="41" y="106"/>
                      <a:pt x="37" y="111"/>
                    </a:cubicBezTo>
                    <a:cubicBezTo>
                      <a:pt x="63" y="128"/>
                      <a:pt x="97" y="124"/>
                      <a:pt x="120" y="102"/>
                    </a:cubicBezTo>
                    <a:cubicBezTo>
                      <a:pt x="93" y="75"/>
                      <a:pt x="93" y="75"/>
                      <a:pt x="93" y="75"/>
                    </a:cubicBezTo>
                    <a:cubicBezTo>
                      <a:pt x="93" y="75"/>
                      <a:pt x="93" y="75"/>
                      <a:pt x="93" y="75"/>
                    </a:cubicBezTo>
                    <a:cubicBezTo>
                      <a:pt x="118" y="20"/>
                      <a:pt x="118" y="20"/>
                      <a:pt x="118" y="20"/>
                    </a:cubicBezTo>
                    <a:cubicBezTo>
                      <a:pt x="118" y="20"/>
                      <a:pt x="118" y="20"/>
                      <a:pt x="118" y="20"/>
                    </a:cubicBezTo>
                    <a:close/>
                    <a:moveTo>
                      <a:pt x="88" y="71"/>
                    </a:moveTo>
                    <a:cubicBezTo>
                      <a:pt x="57" y="39"/>
                      <a:pt x="57" y="39"/>
                      <a:pt x="57" y="39"/>
                    </a:cubicBezTo>
                    <a:cubicBezTo>
                      <a:pt x="108" y="15"/>
                      <a:pt x="108" y="15"/>
                      <a:pt x="108" y="15"/>
                    </a:cubicBezTo>
                    <a:cubicBezTo>
                      <a:pt x="109" y="16"/>
                      <a:pt x="109" y="16"/>
                      <a:pt x="110" y="17"/>
                    </a:cubicBezTo>
                    <a:cubicBezTo>
                      <a:pt x="110" y="18"/>
                      <a:pt x="112" y="18"/>
                      <a:pt x="112" y="18"/>
                    </a:cubicBezTo>
                    <a:cubicBezTo>
                      <a:pt x="88" y="71"/>
                      <a:pt x="88" y="71"/>
                      <a:pt x="88" y="71"/>
                    </a:cubicBezTo>
                    <a:cubicBezTo>
                      <a:pt x="88" y="71"/>
                      <a:pt x="88" y="71"/>
                      <a:pt x="88"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291" name="Freeform 58">
                <a:extLst>
                  <a:ext uri="{FF2B5EF4-FFF2-40B4-BE49-F238E27FC236}">
                    <a16:creationId xmlns:a16="http://schemas.microsoft.com/office/drawing/2014/main" id="{BB7C9C22-C7C2-4427-BA15-0859AF163004}"/>
                  </a:ext>
                </a:extLst>
              </p:cNvPr>
              <p:cNvSpPr>
                <a:spLocks/>
              </p:cNvSpPr>
              <p:nvPr/>
            </p:nvSpPr>
            <p:spPr bwMode="auto">
              <a:xfrm>
                <a:off x="5297696" y="5925040"/>
                <a:ext cx="53322" cy="55692"/>
              </a:xfrm>
              <a:custGeom>
                <a:avLst/>
                <a:gdLst>
                  <a:gd name="T0" fmla="*/ 15 w 19"/>
                  <a:gd name="T1" fmla="*/ 16 h 20"/>
                  <a:gd name="T2" fmla="*/ 15 w 19"/>
                  <a:gd name="T3" fmla="*/ 4 h 20"/>
                  <a:gd name="T4" fmla="*/ 3 w 19"/>
                  <a:gd name="T5" fmla="*/ 4 h 20"/>
                  <a:gd name="T6" fmla="*/ 3 w 19"/>
                  <a:gd name="T7" fmla="*/ 16 h 20"/>
                  <a:gd name="T8" fmla="*/ 15 w 19"/>
                  <a:gd name="T9" fmla="*/ 16 h 20"/>
                </a:gdLst>
                <a:ahLst/>
                <a:cxnLst>
                  <a:cxn ang="0">
                    <a:pos x="T0" y="T1"/>
                  </a:cxn>
                  <a:cxn ang="0">
                    <a:pos x="T2" y="T3"/>
                  </a:cxn>
                  <a:cxn ang="0">
                    <a:pos x="T4" y="T5"/>
                  </a:cxn>
                  <a:cxn ang="0">
                    <a:pos x="T6" y="T7"/>
                  </a:cxn>
                  <a:cxn ang="0">
                    <a:pos x="T8" y="T9"/>
                  </a:cxn>
                </a:cxnLst>
                <a:rect l="0" t="0" r="r" b="b"/>
                <a:pathLst>
                  <a:path w="19" h="20">
                    <a:moveTo>
                      <a:pt x="15" y="16"/>
                    </a:moveTo>
                    <a:cubicBezTo>
                      <a:pt x="19" y="12"/>
                      <a:pt x="19" y="7"/>
                      <a:pt x="15" y="4"/>
                    </a:cubicBezTo>
                    <a:cubicBezTo>
                      <a:pt x="12" y="0"/>
                      <a:pt x="6" y="0"/>
                      <a:pt x="3" y="4"/>
                    </a:cubicBezTo>
                    <a:cubicBezTo>
                      <a:pt x="0" y="7"/>
                      <a:pt x="0" y="12"/>
                      <a:pt x="3" y="16"/>
                    </a:cubicBezTo>
                    <a:cubicBezTo>
                      <a:pt x="6" y="20"/>
                      <a:pt x="12" y="20"/>
                      <a:pt x="15" y="1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2" name="Freeform 59">
                <a:extLst>
                  <a:ext uri="{FF2B5EF4-FFF2-40B4-BE49-F238E27FC236}">
                    <a16:creationId xmlns:a16="http://schemas.microsoft.com/office/drawing/2014/main" id="{B9381863-0D44-47BA-9596-EF1E4D6DB54D}"/>
                  </a:ext>
                </a:extLst>
              </p:cNvPr>
              <p:cNvSpPr>
                <a:spLocks/>
              </p:cNvSpPr>
              <p:nvPr/>
            </p:nvSpPr>
            <p:spPr bwMode="auto">
              <a:xfrm>
                <a:off x="5281107" y="5986656"/>
                <a:ext cx="86500" cy="41473"/>
              </a:xfrm>
              <a:custGeom>
                <a:avLst/>
                <a:gdLst>
                  <a:gd name="T0" fmla="*/ 0 w 31"/>
                  <a:gd name="T1" fmla="*/ 15 h 15"/>
                  <a:gd name="T2" fmla="*/ 15 w 31"/>
                  <a:gd name="T3" fmla="*/ 12 h 15"/>
                  <a:gd name="T4" fmla="*/ 31 w 31"/>
                  <a:gd name="T5" fmla="*/ 15 h 15"/>
                  <a:gd name="T6" fmla="*/ 30 w 31"/>
                  <a:gd name="T7" fmla="*/ 11 h 15"/>
                  <a:gd name="T8" fmla="*/ 24 w 31"/>
                  <a:gd name="T9" fmla="*/ 0 h 15"/>
                  <a:gd name="T10" fmla="*/ 15 w 31"/>
                  <a:gd name="T11" fmla="*/ 2 h 15"/>
                  <a:gd name="T12" fmla="*/ 7 w 31"/>
                  <a:gd name="T13" fmla="*/ 0 h 15"/>
                  <a:gd name="T14" fmla="*/ 1 w 31"/>
                  <a:gd name="T15" fmla="*/ 11 h 15"/>
                  <a:gd name="T16" fmla="*/ 0 w 31"/>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5">
                    <a:moveTo>
                      <a:pt x="0" y="15"/>
                    </a:moveTo>
                    <a:cubicBezTo>
                      <a:pt x="5" y="12"/>
                      <a:pt x="10" y="12"/>
                      <a:pt x="15" y="12"/>
                    </a:cubicBezTo>
                    <a:cubicBezTo>
                      <a:pt x="21" y="12"/>
                      <a:pt x="26" y="12"/>
                      <a:pt x="31" y="15"/>
                    </a:cubicBezTo>
                    <a:cubicBezTo>
                      <a:pt x="31" y="14"/>
                      <a:pt x="30" y="12"/>
                      <a:pt x="30" y="11"/>
                    </a:cubicBezTo>
                    <a:cubicBezTo>
                      <a:pt x="24" y="0"/>
                      <a:pt x="24" y="0"/>
                      <a:pt x="24" y="0"/>
                    </a:cubicBezTo>
                    <a:cubicBezTo>
                      <a:pt x="21" y="2"/>
                      <a:pt x="19" y="2"/>
                      <a:pt x="15" y="2"/>
                    </a:cubicBezTo>
                    <a:cubicBezTo>
                      <a:pt x="12" y="2"/>
                      <a:pt x="9" y="2"/>
                      <a:pt x="7" y="0"/>
                    </a:cubicBezTo>
                    <a:cubicBezTo>
                      <a:pt x="1" y="11"/>
                      <a:pt x="1" y="11"/>
                      <a:pt x="1" y="11"/>
                    </a:cubicBezTo>
                    <a:cubicBezTo>
                      <a:pt x="0" y="12"/>
                      <a:pt x="0" y="14"/>
                      <a:pt x="0" y="1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3" name="Freeform 60">
                <a:extLst>
                  <a:ext uri="{FF2B5EF4-FFF2-40B4-BE49-F238E27FC236}">
                    <a16:creationId xmlns:a16="http://schemas.microsoft.com/office/drawing/2014/main" id="{05B7F318-7EB2-4D5B-B991-5603B044E6D6}"/>
                  </a:ext>
                </a:extLst>
              </p:cNvPr>
              <p:cNvSpPr>
                <a:spLocks/>
              </p:cNvSpPr>
              <p:nvPr/>
            </p:nvSpPr>
            <p:spPr bwMode="auto">
              <a:xfrm>
                <a:off x="5213566" y="6028129"/>
                <a:ext cx="221583" cy="110199"/>
              </a:xfrm>
              <a:custGeom>
                <a:avLst/>
                <a:gdLst>
                  <a:gd name="T0" fmla="*/ 39 w 79"/>
                  <a:gd name="T1" fmla="*/ 0 h 39"/>
                  <a:gd name="T2" fmla="*/ 0 w 79"/>
                  <a:gd name="T3" fmla="*/ 39 h 39"/>
                  <a:gd name="T4" fmla="*/ 11 w 79"/>
                  <a:gd name="T5" fmla="*/ 39 h 39"/>
                  <a:gd name="T6" fmla="*/ 39 w 79"/>
                  <a:gd name="T7" fmla="*/ 12 h 39"/>
                  <a:gd name="T8" fmla="*/ 67 w 79"/>
                  <a:gd name="T9" fmla="*/ 39 h 39"/>
                  <a:gd name="T10" fmla="*/ 79 w 79"/>
                  <a:gd name="T11" fmla="*/ 39 h 39"/>
                  <a:gd name="T12" fmla="*/ 39 w 79"/>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79" h="39">
                    <a:moveTo>
                      <a:pt x="39" y="0"/>
                    </a:moveTo>
                    <a:cubicBezTo>
                      <a:pt x="17" y="0"/>
                      <a:pt x="0" y="18"/>
                      <a:pt x="0" y="39"/>
                    </a:cubicBezTo>
                    <a:cubicBezTo>
                      <a:pt x="11" y="39"/>
                      <a:pt x="11" y="39"/>
                      <a:pt x="11" y="39"/>
                    </a:cubicBezTo>
                    <a:cubicBezTo>
                      <a:pt x="11" y="25"/>
                      <a:pt x="24" y="12"/>
                      <a:pt x="39" y="12"/>
                    </a:cubicBezTo>
                    <a:cubicBezTo>
                      <a:pt x="55" y="12"/>
                      <a:pt x="67" y="25"/>
                      <a:pt x="67" y="39"/>
                    </a:cubicBezTo>
                    <a:cubicBezTo>
                      <a:pt x="79" y="39"/>
                      <a:pt x="79" y="39"/>
                      <a:pt x="79" y="39"/>
                    </a:cubicBezTo>
                    <a:cubicBezTo>
                      <a:pt x="79" y="18"/>
                      <a:pt x="61" y="0"/>
                      <a:pt x="3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5" name="Groupe 4">
            <a:extLst>
              <a:ext uri="{FF2B5EF4-FFF2-40B4-BE49-F238E27FC236}">
                <a16:creationId xmlns:a16="http://schemas.microsoft.com/office/drawing/2014/main" id="{CC117C0F-7232-400A-B30C-90A04265E67C}"/>
              </a:ext>
              <a:ext uri="{C183D7F6-B498-43B3-948B-1728B52AA6E4}">
                <adec:decorative xmlns:adec="http://schemas.microsoft.com/office/drawing/2017/decorative" val="1"/>
              </a:ext>
            </a:extLst>
          </p:cNvPr>
          <p:cNvGrpSpPr>
            <a:grpSpLocks noChangeAspect="1"/>
          </p:cNvGrpSpPr>
          <p:nvPr/>
        </p:nvGrpSpPr>
        <p:grpSpPr>
          <a:xfrm>
            <a:off x="5440070" y="4150773"/>
            <a:ext cx="671614" cy="633600"/>
            <a:chOff x="7420820" y="5509240"/>
            <a:chExt cx="909812" cy="858315"/>
          </a:xfrm>
        </p:grpSpPr>
        <p:sp>
          <p:nvSpPr>
            <p:cNvPr id="287" name="Freeform 190">
              <a:extLst>
                <a:ext uri="{FF2B5EF4-FFF2-40B4-BE49-F238E27FC236}">
                  <a16:creationId xmlns:a16="http://schemas.microsoft.com/office/drawing/2014/main" id="{E3F021F9-B9AF-4CFF-8A3A-662BE496C3E2}"/>
                </a:ext>
              </a:extLst>
            </p:cNvPr>
            <p:cNvSpPr>
              <a:spLocks noChangeAspect="1"/>
            </p:cNvSpPr>
            <p:nvPr/>
          </p:nvSpPr>
          <p:spPr bwMode="auto">
            <a:xfrm>
              <a:off x="7420820" y="5509240"/>
              <a:ext cx="909812" cy="858315"/>
            </a:xfrm>
            <a:custGeom>
              <a:avLst/>
              <a:gdLst>
                <a:gd name="T0" fmla="*/ 63 w 438"/>
                <a:gd name="T1" fmla="*/ 321 h 410"/>
                <a:gd name="T2" fmla="*/ 105 w 438"/>
                <a:gd name="T3" fmla="*/ 62 h 410"/>
                <a:gd name="T4" fmla="*/ 375 w 438"/>
                <a:gd name="T5" fmla="*/ 100 h 410"/>
                <a:gd name="T6" fmla="*/ 326 w 438"/>
                <a:gd name="T7" fmla="*/ 349 h 410"/>
                <a:gd name="T8" fmla="*/ 63 w 438"/>
                <a:gd name="T9" fmla="*/ 321 h 410"/>
              </a:gdLst>
              <a:ahLst/>
              <a:cxnLst>
                <a:cxn ang="0">
                  <a:pos x="T0" y="T1"/>
                </a:cxn>
                <a:cxn ang="0">
                  <a:pos x="T2" y="T3"/>
                </a:cxn>
                <a:cxn ang="0">
                  <a:pos x="T4" y="T5"/>
                </a:cxn>
                <a:cxn ang="0">
                  <a:pos x="T6" y="T7"/>
                </a:cxn>
                <a:cxn ang="0">
                  <a:pos x="T8" y="T9"/>
                </a:cxn>
              </a:cxnLst>
              <a:rect l="0" t="0" r="r" b="b"/>
              <a:pathLst>
                <a:path w="438" h="410">
                  <a:moveTo>
                    <a:pt x="63" y="321"/>
                  </a:moveTo>
                  <a:cubicBezTo>
                    <a:pt x="0" y="239"/>
                    <a:pt x="19" y="123"/>
                    <a:pt x="105" y="62"/>
                  </a:cubicBezTo>
                  <a:cubicBezTo>
                    <a:pt x="191" y="0"/>
                    <a:pt x="312" y="18"/>
                    <a:pt x="375" y="100"/>
                  </a:cubicBezTo>
                  <a:cubicBezTo>
                    <a:pt x="438" y="182"/>
                    <a:pt x="412" y="288"/>
                    <a:pt x="326" y="349"/>
                  </a:cubicBezTo>
                  <a:cubicBezTo>
                    <a:pt x="240" y="410"/>
                    <a:pt x="126" y="403"/>
                    <a:pt x="63" y="321"/>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294" name="Gruppieren 243">
              <a:extLst>
                <a:ext uri="{FF2B5EF4-FFF2-40B4-BE49-F238E27FC236}">
                  <a16:creationId xmlns:a16="http://schemas.microsoft.com/office/drawing/2014/main" id="{9B906896-7F78-4352-8A75-F9E972530517}"/>
                </a:ext>
              </a:extLst>
            </p:cNvPr>
            <p:cNvGrpSpPr/>
            <p:nvPr/>
          </p:nvGrpSpPr>
          <p:grpSpPr>
            <a:xfrm>
              <a:off x="7654704" y="5657170"/>
              <a:ext cx="445940" cy="576143"/>
              <a:chOff x="3576835" y="3306025"/>
              <a:chExt cx="445940" cy="576143"/>
            </a:xfrm>
          </p:grpSpPr>
          <p:sp>
            <p:nvSpPr>
              <p:cNvPr id="295" name="Freeform 46">
                <a:extLst>
                  <a:ext uri="{FF2B5EF4-FFF2-40B4-BE49-F238E27FC236}">
                    <a16:creationId xmlns:a16="http://schemas.microsoft.com/office/drawing/2014/main" id="{B7FBFCBD-E010-433B-8B57-45A71D30290C}"/>
                  </a:ext>
                </a:extLst>
              </p:cNvPr>
              <p:cNvSpPr>
                <a:spLocks/>
              </p:cNvSpPr>
              <p:nvPr/>
            </p:nvSpPr>
            <p:spPr bwMode="auto">
              <a:xfrm>
                <a:off x="3663665" y="3353945"/>
                <a:ext cx="273353" cy="277485"/>
              </a:xfrm>
              <a:custGeom>
                <a:avLst/>
                <a:gdLst>
                  <a:gd name="T0" fmla="*/ 148 w 154"/>
                  <a:gd name="T1" fmla="*/ 51 h 150"/>
                  <a:gd name="T2" fmla="*/ 84 w 154"/>
                  <a:gd name="T3" fmla="*/ 3 h 150"/>
                  <a:gd name="T4" fmla="*/ 69 w 154"/>
                  <a:gd name="T5" fmla="*/ 3 h 150"/>
                  <a:gd name="T6" fmla="*/ 6 w 154"/>
                  <a:gd name="T7" fmla="*/ 51 h 150"/>
                  <a:gd name="T8" fmla="*/ 1 w 154"/>
                  <a:gd name="T9" fmla="*/ 65 h 150"/>
                  <a:gd name="T10" fmla="*/ 26 w 154"/>
                  <a:gd name="T11" fmla="*/ 142 h 150"/>
                  <a:gd name="T12" fmla="*/ 37 w 154"/>
                  <a:gd name="T13" fmla="*/ 150 h 150"/>
                  <a:gd name="T14" fmla="*/ 57 w 154"/>
                  <a:gd name="T15" fmla="*/ 150 h 150"/>
                  <a:gd name="T16" fmla="*/ 57 w 154"/>
                  <a:gd name="T17" fmla="*/ 90 h 150"/>
                  <a:gd name="T18" fmla="*/ 61 w 154"/>
                  <a:gd name="T19" fmla="*/ 83 h 150"/>
                  <a:gd name="T20" fmla="*/ 92 w 154"/>
                  <a:gd name="T21" fmla="*/ 83 h 150"/>
                  <a:gd name="T22" fmla="*/ 96 w 154"/>
                  <a:gd name="T23" fmla="*/ 90 h 150"/>
                  <a:gd name="T24" fmla="*/ 96 w 154"/>
                  <a:gd name="T25" fmla="*/ 150 h 150"/>
                  <a:gd name="T26" fmla="*/ 116 w 154"/>
                  <a:gd name="T27" fmla="*/ 150 h 150"/>
                  <a:gd name="T28" fmla="*/ 128 w 154"/>
                  <a:gd name="T29" fmla="*/ 142 h 150"/>
                  <a:gd name="T30" fmla="*/ 152 w 154"/>
                  <a:gd name="T31" fmla="*/ 65 h 150"/>
                  <a:gd name="T32" fmla="*/ 148 w 154"/>
                  <a:gd name="T33" fmla="*/ 5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50">
                    <a:moveTo>
                      <a:pt x="148" y="51"/>
                    </a:moveTo>
                    <a:cubicBezTo>
                      <a:pt x="84" y="3"/>
                      <a:pt x="84" y="3"/>
                      <a:pt x="84" y="3"/>
                    </a:cubicBezTo>
                    <a:cubicBezTo>
                      <a:pt x="80" y="0"/>
                      <a:pt x="73" y="0"/>
                      <a:pt x="69" y="3"/>
                    </a:cubicBezTo>
                    <a:cubicBezTo>
                      <a:pt x="6" y="51"/>
                      <a:pt x="6" y="51"/>
                      <a:pt x="6" y="51"/>
                    </a:cubicBezTo>
                    <a:cubicBezTo>
                      <a:pt x="2" y="54"/>
                      <a:pt x="0" y="60"/>
                      <a:pt x="1" y="65"/>
                    </a:cubicBezTo>
                    <a:cubicBezTo>
                      <a:pt x="26" y="142"/>
                      <a:pt x="26" y="142"/>
                      <a:pt x="26" y="142"/>
                    </a:cubicBezTo>
                    <a:cubicBezTo>
                      <a:pt x="27" y="146"/>
                      <a:pt x="32" y="150"/>
                      <a:pt x="37" y="150"/>
                    </a:cubicBezTo>
                    <a:cubicBezTo>
                      <a:pt x="57" y="150"/>
                      <a:pt x="57" y="150"/>
                      <a:pt x="57" y="150"/>
                    </a:cubicBezTo>
                    <a:cubicBezTo>
                      <a:pt x="57" y="90"/>
                      <a:pt x="57" y="90"/>
                      <a:pt x="57" y="90"/>
                    </a:cubicBezTo>
                    <a:cubicBezTo>
                      <a:pt x="57" y="86"/>
                      <a:pt x="59" y="83"/>
                      <a:pt x="61" y="83"/>
                    </a:cubicBezTo>
                    <a:cubicBezTo>
                      <a:pt x="92" y="83"/>
                      <a:pt x="92" y="83"/>
                      <a:pt x="92" y="83"/>
                    </a:cubicBezTo>
                    <a:cubicBezTo>
                      <a:pt x="94" y="83"/>
                      <a:pt x="96" y="86"/>
                      <a:pt x="96" y="90"/>
                    </a:cubicBezTo>
                    <a:cubicBezTo>
                      <a:pt x="96" y="150"/>
                      <a:pt x="96" y="150"/>
                      <a:pt x="96" y="150"/>
                    </a:cubicBezTo>
                    <a:cubicBezTo>
                      <a:pt x="116" y="150"/>
                      <a:pt x="116" y="150"/>
                      <a:pt x="116" y="150"/>
                    </a:cubicBezTo>
                    <a:cubicBezTo>
                      <a:pt x="121" y="150"/>
                      <a:pt x="126" y="146"/>
                      <a:pt x="128" y="142"/>
                    </a:cubicBezTo>
                    <a:cubicBezTo>
                      <a:pt x="152" y="65"/>
                      <a:pt x="152" y="65"/>
                      <a:pt x="152" y="65"/>
                    </a:cubicBezTo>
                    <a:cubicBezTo>
                      <a:pt x="154" y="60"/>
                      <a:pt x="152" y="54"/>
                      <a:pt x="148" y="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6" name="Freeform 47">
                <a:extLst>
                  <a:ext uri="{FF2B5EF4-FFF2-40B4-BE49-F238E27FC236}">
                    <a16:creationId xmlns:a16="http://schemas.microsoft.com/office/drawing/2014/main" id="{2E2DB9E5-4DC0-4758-B2DE-DE49DB1F2A83}"/>
                  </a:ext>
                </a:extLst>
              </p:cNvPr>
              <p:cNvSpPr>
                <a:spLocks/>
              </p:cNvSpPr>
              <p:nvPr/>
            </p:nvSpPr>
            <p:spPr bwMode="auto">
              <a:xfrm>
                <a:off x="3631505" y="3306025"/>
                <a:ext cx="336599" cy="137071"/>
              </a:xfrm>
              <a:custGeom>
                <a:avLst/>
                <a:gdLst>
                  <a:gd name="T0" fmla="*/ 185 w 189"/>
                  <a:gd name="T1" fmla="*/ 61 h 74"/>
                  <a:gd name="T2" fmla="*/ 156 w 189"/>
                  <a:gd name="T3" fmla="*/ 40 h 74"/>
                  <a:gd name="T4" fmla="*/ 156 w 189"/>
                  <a:gd name="T5" fmla="*/ 21 h 74"/>
                  <a:gd name="T6" fmla="*/ 147 w 189"/>
                  <a:gd name="T7" fmla="*/ 11 h 74"/>
                  <a:gd name="T8" fmla="*/ 143 w 189"/>
                  <a:gd name="T9" fmla="*/ 11 h 74"/>
                  <a:gd name="T10" fmla="*/ 134 w 189"/>
                  <a:gd name="T11" fmla="*/ 21 h 74"/>
                  <a:gd name="T12" fmla="*/ 134 w 189"/>
                  <a:gd name="T13" fmla="*/ 24 h 74"/>
                  <a:gd name="T14" fmla="*/ 107 w 189"/>
                  <a:gd name="T15" fmla="*/ 5 h 74"/>
                  <a:gd name="T16" fmla="*/ 82 w 189"/>
                  <a:gd name="T17" fmla="*/ 5 h 74"/>
                  <a:gd name="T18" fmla="*/ 4 w 189"/>
                  <a:gd name="T19" fmla="*/ 61 h 74"/>
                  <a:gd name="T20" fmla="*/ 2 w 189"/>
                  <a:gd name="T21" fmla="*/ 70 h 74"/>
                  <a:gd name="T22" fmla="*/ 11 w 189"/>
                  <a:gd name="T23" fmla="*/ 72 h 74"/>
                  <a:gd name="T24" fmla="*/ 90 w 189"/>
                  <a:gd name="T25" fmla="*/ 16 h 74"/>
                  <a:gd name="T26" fmla="*/ 100 w 189"/>
                  <a:gd name="T27" fmla="*/ 16 h 74"/>
                  <a:gd name="T28" fmla="*/ 134 w 189"/>
                  <a:gd name="T29" fmla="*/ 40 h 74"/>
                  <a:gd name="T30" fmla="*/ 134 w 189"/>
                  <a:gd name="T31" fmla="*/ 41 h 74"/>
                  <a:gd name="T32" fmla="*/ 135 w 189"/>
                  <a:gd name="T33" fmla="*/ 41 h 74"/>
                  <a:gd name="T34" fmla="*/ 178 w 189"/>
                  <a:gd name="T35" fmla="*/ 72 h 74"/>
                  <a:gd name="T36" fmla="*/ 187 w 189"/>
                  <a:gd name="T37" fmla="*/ 70 h 74"/>
                  <a:gd name="T38" fmla="*/ 185 w 189"/>
                  <a:gd name="T39"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 h="74">
                    <a:moveTo>
                      <a:pt x="185" y="61"/>
                    </a:moveTo>
                    <a:cubicBezTo>
                      <a:pt x="156" y="40"/>
                      <a:pt x="156" y="40"/>
                      <a:pt x="156" y="40"/>
                    </a:cubicBezTo>
                    <a:cubicBezTo>
                      <a:pt x="156" y="21"/>
                      <a:pt x="156" y="21"/>
                      <a:pt x="156" y="21"/>
                    </a:cubicBezTo>
                    <a:cubicBezTo>
                      <a:pt x="156" y="16"/>
                      <a:pt x="152" y="11"/>
                      <a:pt x="147" y="11"/>
                    </a:cubicBezTo>
                    <a:cubicBezTo>
                      <a:pt x="143" y="11"/>
                      <a:pt x="143" y="11"/>
                      <a:pt x="143" y="11"/>
                    </a:cubicBezTo>
                    <a:cubicBezTo>
                      <a:pt x="138" y="11"/>
                      <a:pt x="134" y="16"/>
                      <a:pt x="134" y="21"/>
                    </a:cubicBezTo>
                    <a:cubicBezTo>
                      <a:pt x="134" y="24"/>
                      <a:pt x="134" y="24"/>
                      <a:pt x="134" y="24"/>
                    </a:cubicBezTo>
                    <a:cubicBezTo>
                      <a:pt x="107" y="5"/>
                      <a:pt x="107" y="5"/>
                      <a:pt x="107" y="5"/>
                    </a:cubicBezTo>
                    <a:cubicBezTo>
                      <a:pt x="100" y="0"/>
                      <a:pt x="89" y="0"/>
                      <a:pt x="82" y="5"/>
                    </a:cubicBezTo>
                    <a:cubicBezTo>
                      <a:pt x="4" y="61"/>
                      <a:pt x="4" y="61"/>
                      <a:pt x="4" y="61"/>
                    </a:cubicBezTo>
                    <a:cubicBezTo>
                      <a:pt x="1" y="63"/>
                      <a:pt x="0" y="67"/>
                      <a:pt x="2" y="70"/>
                    </a:cubicBezTo>
                    <a:cubicBezTo>
                      <a:pt x="4" y="73"/>
                      <a:pt x="9" y="74"/>
                      <a:pt x="11" y="72"/>
                    </a:cubicBezTo>
                    <a:cubicBezTo>
                      <a:pt x="90" y="16"/>
                      <a:pt x="90" y="16"/>
                      <a:pt x="90" y="16"/>
                    </a:cubicBezTo>
                    <a:cubicBezTo>
                      <a:pt x="92" y="14"/>
                      <a:pt x="97" y="14"/>
                      <a:pt x="100" y="16"/>
                    </a:cubicBezTo>
                    <a:cubicBezTo>
                      <a:pt x="134" y="40"/>
                      <a:pt x="134" y="40"/>
                      <a:pt x="134" y="40"/>
                    </a:cubicBezTo>
                    <a:cubicBezTo>
                      <a:pt x="134" y="41"/>
                      <a:pt x="134" y="41"/>
                      <a:pt x="134" y="41"/>
                    </a:cubicBezTo>
                    <a:cubicBezTo>
                      <a:pt x="135" y="41"/>
                      <a:pt x="135" y="41"/>
                      <a:pt x="135" y="41"/>
                    </a:cubicBezTo>
                    <a:cubicBezTo>
                      <a:pt x="178" y="72"/>
                      <a:pt x="178" y="72"/>
                      <a:pt x="178" y="72"/>
                    </a:cubicBezTo>
                    <a:cubicBezTo>
                      <a:pt x="181" y="74"/>
                      <a:pt x="185" y="73"/>
                      <a:pt x="187" y="70"/>
                    </a:cubicBezTo>
                    <a:cubicBezTo>
                      <a:pt x="189" y="67"/>
                      <a:pt x="188" y="63"/>
                      <a:pt x="185" y="6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7" name="Freeform 48">
                <a:extLst>
                  <a:ext uri="{FF2B5EF4-FFF2-40B4-BE49-F238E27FC236}">
                    <a16:creationId xmlns:a16="http://schemas.microsoft.com/office/drawing/2014/main" id="{0FA04648-3952-4873-8E42-5139DE7BF344}"/>
                  </a:ext>
                </a:extLst>
              </p:cNvPr>
              <p:cNvSpPr>
                <a:spLocks noEditPoints="1"/>
              </p:cNvSpPr>
              <p:nvPr/>
            </p:nvSpPr>
            <p:spPr bwMode="auto">
              <a:xfrm>
                <a:off x="3576835" y="3497701"/>
                <a:ext cx="445940" cy="384467"/>
              </a:xfrm>
              <a:custGeom>
                <a:avLst/>
                <a:gdLst>
                  <a:gd name="T0" fmla="*/ 241 w 251"/>
                  <a:gd name="T1" fmla="*/ 1 h 208"/>
                  <a:gd name="T2" fmla="*/ 230 w 251"/>
                  <a:gd name="T3" fmla="*/ 44 h 208"/>
                  <a:gd name="T4" fmla="*/ 217 w 251"/>
                  <a:gd name="T5" fmla="*/ 90 h 208"/>
                  <a:gd name="T6" fmla="*/ 188 w 251"/>
                  <a:gd name="T7" fmla="*/ 118 h 208"/>
                  <a:gd name="T8" fmla="*/ 216 w 251"/>
                  <a:gd name="T9" fmla="*/ 69 h 208"/>
                  <a:gd name="T10" fmla="*/ 184 w 251"/>
                  <a:gd name="T11" fmla="*/ 85 h 208"/>
                  <a:gd name="T12" fmla="*/ 136 w 251"/>
                  <a:gd name="T13" fmla="*/ 127 h 208"/>
                  <a:gd name="T14" fmla="*/ 134 w 251"/>
                  <a:gd name="T15" fmla="*/ 187 h 208"/>
                  <a:gd name="T16" fmla="*/ 134 w 251"/>
                  <a:gd name="T17" fmla="*/ 208 h 208"/>
                  <a:gd name="T18" fmla="*/ 185 w 251"/>
                  <a:gd name="T19" fmla="*/ 208 h 208"/>
                  <a:gd name="T20" fmla="*/ 185 w 251"/>
                  <a:gd name="T21" fmla="*/ 167 h 208"/>
                  <a:gd name="T22" fmla="*/ 241 w 251"/>
                  <a:gd name="T23" fmla="*/ 103 h 208"/>
                  <a:gd name="T24" fmla="*/ 249 w 251"/>
                  <a:gd name="T25" fmla="*/ 42 h 208"/>
                  <a:gd name="T26" fmla="*/ 241 w 251"/>
                  <a:gd name="T27" fmla="*/ 1 h 208"/>
                  <a:gd name="T28" fmla="*/ 115 w 251"/>
                  <a:gd name="T29" fmla="*/ 127 h 208"/>
                  <a:gd name="T30" fmla="*/ 68 w 251"/>
                  <a:gd name="T31" fmla="*/ 85 h 208"/>
                  <a:gd name="T32" fmla="*/ 36 w 251"/>
                  <a:gd name="T33" fmla="*/ 69 h 208"/>
                  <a:gd name="T34" fmla="*/ 63 w 251"/>
                  <a:gd name="T35" fmla="*/ 118 h 208"/>
                  <a:gd name="T36" fmla="*/ 34 w 251"/>
                  <a:gd name="T37" fmla="*/ 90 h 208"/>
                  <a:gd name="T38" fmla="*/ 21 w 251"/>
                  <a:gd name="T39" fmla="*/ 44 h 208"/>
                  <a:gd name="T40" fmla="*/ 11 w 251"/>
                  <a:gd name="T41" fmla="*/ 1 h 208"/>
                  <a:gd name="T42" fmla="*/ 2 w 251"/>
                  <a:gd name="T43" fmla="*/ 42 h 208"/>
                  <a:gd name="T44" fmla="*/ 10 w 251"/>
                  <a:gd name="T45" fmla="*/ 103 h 208"/>
                  <a:gd name="T46" fmla="*/ 67 w 251"/>
                  <a:gd name="T47" fmla="*/ 167 h 208"/>
                  <a:gd name="T48" fmla="*/ 66 w 251"/>
                  <a:gd name="T49" fmla="*/ 208 h 208"/>
                  <a:gd name="T50" fmla="*/ 118 w 251"/>
                  <a:gd name="T51" fmla="*/ 208 h 208"/>
                  <a:gd name="T52" fmla="*/ 118 w 251"/>
                  <a:gd name="T53" fmla="*/ 187 h 208"/>
                  <a:gd name="T54" fmla="*/ 115 w 251"/>
                  <a:gd name="T55" fmla="*/ 12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1" h="208">
                    <a:moveTo>
                      <a:pt x="241" y="1"/>
                    </a:moveTo>
                    <a:cubicBezTo>
                      <a:pt x="231" y="3"/>
                      <a:pt x="234" y="30"/>
                      <a:pt x="230" y="44"/>
                    </a:cubicBezTo>
                    <a:cubicBezTo>
                      <a:pt x="227" y="58"/>
                      <a:pt x="224" y="81"/>
                      <a:pt x="217" y="90"/>
                    </a:cubicBezTo>
                    <a:cubicBezTo>
                      <a:pt x="210" y="99"/>
                      <a:pt x="197" y="118"/>
                      <a:pt x="188" y="118"/>
                    </a:cubicBezTo>
                    <a:cubicBezTo>
                      <a:pt x="180" y="119"/>
                      <a:pt x="227" y="74"/>
                      <a:pt x="216" y="69"/>
                    </a:cubicBezTo>
                    <a:cubicBezTo>
                      <a:pt x="205" y="65"/>
                      <a:pt x="190" y="80"/>
                      <a:pt x="184" y="85"/>
                    </a:cubicBezTo>
                    <a:cubicBezTo>
                      <a:pt x="177" y="89"/>
                      <a:pt x="138" y="119"/>
                      <a:pt x="136" y="127"/>
                    </a:cubicBezTo>
                    <a:cubicBezTo>
                      <a:pt x="135" y="136"/>
                      <a:pt x="134" y="172"/>
                      <a:pt x="134" y="187"/>
                    </a:cubicBezTo>
                    <a:cubicBezTo>
                      <a:pt x="133" y="196"/>
                      <a:pt x="134" y="203"/>
                      <a:pt x="134" y="208"/>
                    </a:cubicBezTo>
                    <a:cubicBezTo>
                      <a:pt x="185" y="208"/>
                      <a:pt x="185" y="208"/>
                      <a:pt x="185" y="208"/>
                    </a:cubicBezTo>
                    <a:cubicBezTo>
                      <a:pt x="182" y="200"/>
                      <a:pt x="178" y="182"/>
                      <a:pt x="185" y="167"/>
                    </a:cubicBezTo>
                    <a:cubicBezTo>
                      <a:pt x="194" y="145"/>
                      <a:pt x="239" y="131"/>
                      <a:pt x="241" y="103"/>
                    </a:cubicBezTo>
                    <a:cubicBezTo>
                      <a:pt x="243" y="76"/>
                      <a:pt x="247" y="64"/>
                      <a:pt x="249" y="42"/>
                    </a:cubicBezTo>
                    <a:cubicBezTo>
                      <a:pt x="251" y="19"/>
                      <a:pt x="250" y="0"/>
                      <a:pt x="241" y="1"/>
                    </a:cubicBezTo>
                    <a:close/>
                    <a:moveTo>
                      <a:pt x="115" y="127"/>
                    </a:moveTo>
                    <a:cubicBezTo>
                      <a:pt x="113" y="119"/>
                      <a:pt x="74" y="89"/>
                      <a:pt x="68" y="85"/>
                    </a:cubicBezTo>
                    <a:cubicBezTo>
                      <a:pt x="61" y="80"/>
                      <a:pt x="47" y="65"/>
                      <a:pt x="36" y="69"/>
                    </a:cubicBezTo>
                    <a:cubicBezTo>
                      <a:pt x="25" y="74"/>
                      <a:pt x="71" y="119"/>
                      <a:pt x="63" y="118"/>
                    </a:cubicBezTo>
                    <a:cubicBezTo>
                      <a:pt x="55" y="118"/>
                      <a:pt x="41" y="99"/>
                      <a:pt x="34" y="90"/>
                    </a:cubicBezTo>
                    <a:cubicBezTo>
                      <a:pt x="27" y="81"/>
                      <a:pt x="25" y="58"/>
                      <a:pt x="21" y="44"/>
                    </a:cubicBezTo>
                    <a:cubicBezTo>
                      <a:pt x="17" y="30"/>
                      <a:pt x="20" y="3"/>
                      <a:pt x="11" y="1"/>
                    </a:cubicBezTo>
                    <a:cubicBezTo>
                      <a:pt x="1" y="0"/>
                      <a:pt x="0" y="19"/>
                      <a:pt x="2" y="42"/>
                    </a:cubicBezTo>
                    <a:cubicBezTo>
                      <a:pt x="4" y="64"/>
                      <a:pt x="8" y="76"/>
                      <a:pt x="10" y="103"/>
                    </a:cubicBezTo>
                    <a:cubicBezTo>
                      <a:pt x="12" y="131"/>
                      <a:pt x="57" y="145"/>
                      <a:pt x="67" y="167"/>
                    </a:cubicBezTo>
                    <a:cubicBezTo>
                      <a:pt x="73" y="182"/>
                      <a:pt x="69" y="200"/>
                      <a:pt x="66" y="208"/>
                    </a:cubicBezTo>
                    <a:cubicBezTo>
                      <a:pt x="118" y="208"/>
                      <a:pt x="118" y="208"/>
                      <a:pt x="118" y="208"/>
                    </a:cubicBezTo>
                    <a:cubicBezTo>
                      <a:pt x="118" y="203"/>
                      <a:pt x="118" y="196"/>
                      <a:pt x="118" y="187"/>
                    </a:cubicBezTo>
                    <a:cubicBezTo>
                      <a:pt x="117" y="172"/>
                      <a:pt x="117" y="136"/>
                      <a:pt x="115" y="127"/>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3" name="Group 2">
            <a:extLst>
              <a:ext uri="{FF2B5EF4-FFF2-40B4-BE49-F238E27FC236}">
                <a16:creationId xmlns:a16="http://schemas.microsoft.com/office/drawing/2014/main" id="{535D8DAC-2D54-4725-88D0-59EE51270ACF}"/>
              </a:ext>
              <a:ext uri="{C183D7F6-B498-43B3-948B-1728B52AA6E4}">
                <adec:decorative xmlns:adec="http://schemas.microsoft.com/office/drawing/2017/decorative" val="1"/>
              </a:ext>
            </a:extLst>
          </p:cNvPr>
          <p:cNvGrpSpPr>
            <a:grpSpLocks noChangeAspect="1"/>
          </p:cNvGrpSpPr>
          <p:nvPr/>
        </p:nvGrpSpPr>
        <p:grpSpPr>
          <a:xfrm>
            <a:off x="1188990" y="4150773"/>
            <a:ext cx="674066" cy="633600"/>
            <a:chOff x="2023346" y="4196419"/>
            <a:chExt cx="765984" cy="720000"/>
          </a:xfrm>
        </p:grpSpPr>
        <p:sp>
          <p:nvSpPr>
            <p:cNvPr id="299" name="Freeform 228">
              <a:extLst>
                <a:ext uri="{FF2B5EF4-FFF2-40B4-BE49-F238E27FC236}">
                  <a16:creationId xmlns:a16="http://schemas.microsoft.com/office/drawing/2014/main" id="{9A1FC404-DE9D-4162-98C9-958A7830C069}"/>
                </a:ext>
              </a:extLst>
            </p:cNvPr>
            <p:cNvSpPr>
              <a:spLocks/>
            </p:cNvSpPr>
            <p:nvPr/>
          </p:nvSpPr>
          <p:spPr bwMode="auto">
            <a:xfrm>
              <a:off x="2023346" y="4196419"/>
              <a:ext cx="765984" cy="720000"/>
            </a:xfrm>
            <a:custGeom>
              <a:avLst/>
              <a:gdLst>
                <a:gd name="T0" fmla="*/ 69 w 481"/>
                <a:gd name="T1" fmla="*/ 351 h 449"/>
                <a:gd name="T2" fmla="*/ 115 w 481"/>
                <a:gd name="T3" fmla="*/ 66 h 449"/>
                <a:gd name="T4" fmla="*/ 412 w 481"/>
                <a:gd name="T5" fmla="*/ 108 h 449"/>
                <a:gd name="T6" fmla="*/ 358 w 481"/>
                <a:gd name="T7" fmla="*/ 382 h 449"/>
                <a:gd name="T8" fmla="*/ 69 w 481"/>
                <a:gd name="T9" fmla="*/ 351 h 449"/>
              </a:gdLst>
              <a:ahLst/>
              <a:cxnLst>
                <a:cxn ang="0">
                  <a:pos x="T0" y="T1"/>
                </a:cxn>
                <a:cxn ang="0">
                  <a:pos x="T2" y="T3"/>
                </a:cxn>
                <a:cxn ang="0">
                  <a:pos x="T4" y="T5"/>
                </a:cxn>
                <a:cxn ang="0">
                  <a:pos x="T6" y="T7"/>
                </a:cxn>
                <a:cxn ang="0">
                  <a:pos x="T8" y="T9"/>
                </a:cxn>
              </a:cxnLst>
              <a:rect l="0" t="0" r="r" b="b"/>
              <a:pathLst>
                <a:path w="481" h="449">
                  <a:moveTo>
                    <a:pt x="69" y="351"/>
                  </a:moveTo>
                  <a:cubicBezTo>
                    <a:pt x="0" y="261"/>
                    <a:pt x="21" y="133"/>
                    <a:pt x="115" y="66"/>
                  </a:cubicBezTo>
                  <a:cubicBezTo>
                    <a:pt x="210" y="0"/>
                    <a:pt x="343" y="18"/>
                    <a:pt x="412" y="108"/>
                  </a:cubicBezTo>
                  <a:cubicBezTo>
                    <a:pt x="481" y="198"/>
                    <a:pt x="452" y="315"/>
                    <a:pt x="358" y="382"/>
                  </a:cubicBezTo>
                  <a:cubicBezTo>
                    <a:pt x="263" y="449"/>
                    <a:pt x="138" y="441"/>
                    <a:pt x="69" y="351"/>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01" name="Group 886">
              <a:extLst>
                <a:ext uri="{FF2B5EF4-FFF2-40B4-BE49-F238E27FC236}">
                  <a16:creationId xmlns:a16="http://schemas.microsoft.com/office/drawing/2014/main" id="{245BE97D-ADE1-4FF8-B555-F70D8C85BF3D}"/>
                </a:ext>
              </a:extLst>
            </p:cNvPr>
            <p:cNvGrpSpPr>
              <a:grpSpLocks noChangeAspect="1"/>
            </p:cNvGrpSpPr>
            <p:nvPr/>
          </p:nvGrpSpPr>
          <p:grpSpPr>
            <a:xfrm>
              <a:off x="2145589" y="4339378"/>
              <a:ext cx="540000" cy="359089"/>
              <a:chOff x="9598694" y="5558012"/>
              <a:chExt cx="678867" cy="451432"/>
            </a:xfrm>
          </p:grpSpPr>
          <p:sp>
            <p:nvSpPr>
              <p:cNvPr id="302" name="Freeform 91">
                <a:extLst>
                  <a:ext uri="{FF2B5EF4-FFF2-40B4-BE49-F238E27FC236}">
                    <a16:creationId xmlns:a16="http://schemas.microsoft.com/office/drawing/2014/main" id="{AF1B1EEE-E21D-4BDA-8415-B0B0A6C4D4E7}"/>
                  </a:ext>
                </a:extLst>
              </p:cNvPr>
              <p:cNvSpPr>
                <a:spLocks/>
              </p:cNvSpPr>
              <p:nvPr/>
            </p:nvSpPr>
            <p:spPr bwMode="auto">
              <a:xfrm>
                <a:off x="9778441" y="5558012"/>
                <a:ext cx="499120" cy="413570"/>
              </a:xfrm>
              <a:custGeom>
                <a:avLst/>
                <a:gdLst>
                  <a:gd name="T0" fmla="*/ 1570 w 1582"/>
                  <a:gd name="T1" fmla="*/ 593 h 1444"/>
                  <a:gd name="T2" fmla="*/ 1504 w 1582"/>
                  <a:gd name="T3" fmla="*/ 523 h 1444"/>
                  <a:gd name="T4" fmla="*/ 362 w 1582"/>
                  <a:gd name="T5" fmla="*/ 11 h 1444"/>
                  <a:gd name="T6" fmla="*/ 311 w 1582"/>
                  <a:gd name="T7" fmla="*/ 0 h 1444"/>
                  <a:gd name="T8" fmla="*/ 196 w 1582"/>
                  <a:gd name="T9" fmla="*/ 75 h 1444"/>
                  <a:gd name="T10" fmla="*/ 0 w 1582"/>
                  <a:gd name="T11" fmla="*/ 512 h 1444"/>
                  <a:gd name="T12" fmla="*/ 504 w 1582"/>
                  <a:gd name="T13" fmla="*/ 512 h 1444"/>
                  <a:gd name="T14" fmla="*/ 129 w 1582"/>
                  <a:gd name="T15" fmla="*/ 344 h 1444"/>
                  <a:gd name="T16" fmla="*/ 124 w 1582"/>
                  <a:gd name="T17" fmla="*/ 339 h 1444"/>
                  <a:gd name="T18" fmla="*/ 124 w 1582"/>
                  <a:gd name="T19" fmla="*/ 332 h 1444"/>
                  <a:gd name="T20" fmla="*/ 205 w 1582"/>
                  <a:gd name="T21" fmla="*/ 151 h 1444"/>
                  <a:gd name="T22" fmla="*/ 213 w 1582"/>
                  <a:gd name="T23" fmla="*/ 146 h 1444"/>
                  <a:gd name="T24" fmla="*/ 217 w 1582"/>
                  <a:gd name="T25" fmla="*/ 147 h 1444"/>
                  <a:gd name="T26" fmla="*/ 1500 w 1582"/>
                  <a:gd name="T27" fmla="*/ 722 h 1444"/>
                  <a:gd name="T28" fmla="*/ 1504 w 1582"/>
                  <a:gd name="T29" fmla="*/ 734 h 1444"/>
                  <a:gd name="T30" fmla="*/ 1424 w 1582"/>
                  <a:gd name="T31" fmla="*/ 914 h 1444"/>
                  <a:gd name="T32" fmla="*/ 1419 w 1582"/>
                  <a:gd name="T33" fmla="*/ 919 h 1444"/>
                  <a:gd name="T34" fmla="*/ 1415 w 1582"/>
                  <a:gd name="T35" fmla="*/ 919 h 1444"/>
                  <a:gd name="T36" fmla="*/ 1412 w 1582"/>
                  <a:gd name="T37" fmla="*/ 919 h 1444"/>
                  <a:gd name="T38" fmla="*/ 1001 w 1582"/>
                  <a:gd name="T39" fmla="*/ 735 h 1444"/>
                  <a:gd name="T40" fmla="*/ 1001 w 1582"/>
                  <a:gd name="T41" fmla="*/ 1391 h 1444"/>
                  <a:gd name="T42" fmla="*/ 1096 w 1582"/>
                  <a:gd name="T43" fmla="*/ 1433 h 1444"/>
                  <a:gd name="T44" fmla="*/ 1147 w 1582"/>
                  <a:gd name="T45" fmla="*/ 1444 h 1444"/>
                  <a:gd name="T46" fmla="*/ 1147 w 1582"/>
                  <a:gd name="T47" fmla="*/ 1444 h 1444"/>
                  <a:gd name="T48" fmla="*/ 1262 w 1582"/>
                  <a:gd name="T49" fmla="*/ 1370 h 1444"/>
                  <a:gd name="T50" fmla="*/ 1567 w 1582"/>
                  <a:gd name="T51" fmla="*/ 689 h 1444"/>
                  <a:gd name="T52" fmla="*/ 1570 w 1582"/>
                  <a:gd name="T53" fmla="*/ 593 h 1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82" h="1444">
                    <a:moveTo>
                      <a:pt x="1570" y="593"/>
                    </a:moveTo>
                    <a:cubicBezTo>
                      <a:pt x="1558" y="561"/>
                      <a:pt x="1535" y="536"/>
                      <a:pt x="1504" y="523"/>
                    </a:cubicBezTo>
                    <a:cubicBezTo>
                      <a:pt x="362" y="11"/>
                      <a:pt x="362" y="11"/>
                      <a:pt x="362" y="11"/>
                    </a:cubicBezTo>
                    <a:cubicBezTo>
                      <a:pt x="346" y="4"/>
                      <a:pt x="329" y="0"/>
                      <a:pt x="311" y="0"/>
                    </a:cubicBezTo>
                    <a:cubicBezTo>
                      <a:pt x="262" y="0"/>
                      <a:pt x="216" y="29"/>
                      <a:pt x="196" y="75"/>
                    </a:cubicBezTo>
                    <a:cubicBezTo>
                      <a:pt x="0" y="512"/>
                      <a:pt x="0" y="512"/>
                      <a:pt x="0" y="512"/>
                    </a:cubicBezTo>
                    <a:cubicBezTo>
                      <a:pt x="504" y="512"/>
                      <a:pt x="504" y="512"/>
                      <a:pt x="504" y="512"/>
                    </a:cubicBezTo>
                    <a:cubicBezTo>
                      <a:pt x="129" y="344"/>
                      <a:pt x="129" y="344"/>
                      <a:pt x="129" y="344"/>
                    </a:cubicBezTo>
                    <a:cubicBezTo>
                      <a:pt x="126" y="343"/>
                      <a:pt x="125" y="341"/>
                      <a:pt x="124" y="339"/>
                    </a:cubicBezTo>
                    <a:cubicBezTo>
                      <a:pt x="123" y="336"/>
                      <a:pt x="123" y="334"/>
                      <a:pt x="124" y="332"/>
                    </a:cubicBezTo>
                    <a:cubicBezTo>
                      <a:pt x="205" y="151"/>
                      <a:pt x="205" y="151"/>
                      <a:pt x="205" y="151"/>
                    </a:cubicBezTo>
                    <a:cubicBezTo>
                      <a:pt x="206" y="148"/>
                      <a:pt x="210" y="146"/>
                      <a:pt x="213" y="146"/>
                    </a:cubicBezTo>
                    <a:cubicBezTo>
                      <a:pt x="214" y="146"/>
                      <a:pt x="216" y="146"/>
                      <a:pt x="217" y="147"/>
                    </a:cubicBezTo>
                    <a:cubicBezTo>
                      <a:pt x="1500" y="722"/>
                      <a:pt x="1500" y="722"/>
                      <a:pt x="1500" y="722"/>
                    </a:cubicBezTo>
                    <a:cubicBezTo>
                      <a:pt x="1504" y="724"/>
                      <a:pt x="1506" y="729"/>
                      <a:pt x="1504" y="734"/>
                    </a:cubicBezTo>
                    <a:cubicBezTo>
                      <a:pt x="1424" y="914"/>
                      <a:pt x="1424" y="914"/>
                      <a:pt x="1424" y="914"/>
                    </a:cubicBezTo>
                    <a:cubicBezTo>
                      <a:pt x="1423" y="916"/>
                      <a:pt x="1421" y="918"/>
                      <a:pt x="1419" y="919"/>
                    </a:cubicBezTo>
                    <a:cubicBezTo>
                      <a:pt x="1418" y="919"/>
                      <a:pt x="1416" y="919"/>
                      <a:pt x="1415" y="919"/>
                    </a:cubicBezTo>
                    <a:cubicBezTo>
                      <a:pt x="1414" y="919"/>
                      <a:pt x="1413" y="919"/>
                      <a:pt x="1412" y="919"/>
                    </a:cubicBezTo>
                    <a:cubicBezTo>
                      <a:pt x="1001" y="735"/>
                      <a:pt x="1001" y="735"/>
                      <a:pt x="1001" y="735"/>
                    </a:cubicBezTo>
                    <a:cubicBezTo>
                      <a:pt x="1001" y="1391"/>
                      <a:pt x="1001" y="1391"/>
                      <a:pt x="1001" y="1391"/>
                    </a:cubicBezTo>
                    <a:cubicBezTo>
                      <a:pt x="1096" y="1433"/>
                      <a:pt x="1096" y="1433"/>
                      <a:pt x="1096" y="1433"/>
                    </a:cubicBezTo>
                    <a:cubicBezTo>
                      <a:pt x="1112" y="1440"/>
                      <a:pt x="1130" y="1444"/>
                      <a:pt x="1147" y="1444"/>
                    </a:cubicBezTo>
                    <a:cubicBezTo>
                      <a:pt x="1147" y="1444"/>
                      <a:pt x="1147" y="1444"/>
                      <a:pt x="1147" y="1444"/>
                    </a:cubicBezTo>
                    <a:cubicBezTo>
                      <a:pt x="1197" y="1444"/>
                      <a:pt x="1242" y="1415"/>
                      <a:pt x="1262" y="1370"/>
                    </a:cubicBezTo>
                    <a:cubicBezTo>
                      <a:pt x="1567" y="689"/>
                      <a:pt x="1567" y="689"/>
                      <a:pt x="1567" y="689"/>
                    </a:cubicBezTo>
                    <a:cubicBezTo>
                      <a:pt x="1581" y="658"/>
                      <a:pt x="1582" y="624"/>
                      <a:pt x="1570" y="59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3" name="Freeform 92">
                <a:extLst>
                  <a:ext uri="{FF2B5EF4-FFF2-40B4-BE49-F238E27FC236}">
                    <a16:creationId xmlns:a16="http://schemas.microsoft.com/office/drawing/2014/main" id="{DA0024CE-3B71-496E-9E04-5A514E115ACC}"/>
                  </a:ext>
                </a:extLst>
              </p:cNvPr>
              <p:cNvSpPr>
                <a:spLocks/>
              </p:cNvSpPr>
              <p:nvPr/>
            </p:nvSpPr>
            <p:spPr bwMode="auto">
              <a:xfrm>
                <a:off x="9985472" y="5942457"/>
                <a:ext cx="14444" cy="11650"/>
              </a:xfrm>
              <a:custGeom>
                <a:avLst/>
                <a:gdLst>
                  <a:gd name="T0" fmla="*/ 43 w 46"/>
                  <a:gd name="T1" fmla="*/ 8 h 39"/>
                  <a:gd name="T2" fmla="*/ 28 w 46"/>
                  <a:gd name="T3" fmla="*/ 2 h 39"/>
                  <a:gd name="T4" fmla="*/ 27 w 46"/>
                  <a:gd name="T5" fmla="*/ 1 h 39"/>
                  <a:gd name="T6" fmla="*/ 25 w 46"/>
                  <a:gd name="T7" fmla="*/ 1 h 39"/>
                  <a:gd name="T8" fmla="*/ 24 w 46"/>
                  <a:gd name="T9" fmla="*/ 0 h 39"/>
                  <a:gd name="T10" fmla="*/ 22 w 46"/>
                  <a:gd name="T11" fmla="*/ 0 h 39"/>
                  <a:gd name="T12" fmla="*/ 22 w 46"/>
                  <a:gd name="T13" fmla="*/ 0 h 39"/>
                  <a:gd name="T14" fmla="*/ 22 w 46"/>
                  <a:gd name="T15" fmla="*/ 0 h 39"/>
                  <a:gd name="T16" fmla="*/ 21 w 46"/>
                  <a:gd name="T17" fmla="*/ 2 h 39"/>
                  <a:gd name="T18" fmla="*/ 20 w 46"/>
                  <a:gd name="T19" fmla="*/ 4 h 39"/>
                  <a:gd name="T20" fmla="*/ 20 w 46"/>
                  <a:gd name="T21" fmla="*/ 6 h 39"/>
                  <a:gd name="T22" fmla="*/ 19 w 46"/>
                  <a:gd name="T23" fmla="*/ 7 h 39"/>
                  <a:gd name="T24" fmla="*/ 0 w 46"/>
                  <a:gd name="T25" fmla="*/ 39 h 39"/>
                  <a:gd name="T26" fmla="*/ 44 w 46"/>
                  <a:gd name="T27" fmla="*/ 12 h 39"/>
                  <a:gd name="T28" fmla="*/ 45 w 46"/>
                  <a:gd name="T29" fmla="*/ 11 h 39"/>
                  <a:gd name="T30" fmla="*/ 46 w 46"/>
                  <a:gd name="T31" fmla="*/ 9 h 39"/>
                  <a:gd name="T32" fmla="*/ 45 w 46"/>
                  <a:gd name="T33" fmla="*/ 9 h 39"/>
                  <a:gd name="T34" fmla="*/ 43 w 46"/>
                  <a:gd name="T35"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9">
                    <a:moveTo>
                      <a:pt x="43" y="8"/>
                    </a:moveTo>
                    <a:cubicBezTo>
                      <a:pt x="38" y="6"/>
                      <a:pt x="34" y="4"/>
                      <a:pt x="28" y="2"/>
                    </a:cubicBezTo>
                    <a:cubicBezTo>
                      <a:pt x="28" y="2"/>
                      <a:pt x="27" y="2"/>
                      <a:pt x="27" y="1"/>
                    </a:cubicBezTo>
                    <a:cubicBezTo>
                      <a:pt x="26" y="1"/>
                      <a:pt x="26" y="1"/>
                      <a:pt x="25" y="1"/>
                    </a:cubicBezTo>
                    <a:cubicBezTo>
                      <a:pt x="25" y="1"/>
                      <a:pt x="24" y="1"/>
                      <a:pt x="24" y="0"/>
                    </a:cubicBezTo>
                    <a:cubicBezTo>
                      <a:pt x="23" y="0"/>
                      <a:pt x="23" y="0"/>
                      <a:pt x="22" y="0"/>
                    </a:cubicBezTo>
                    <a:cubicBezTo>
                      <a:pt x="22" y="0"/>
                      <a:pt x="22" y="0"/>
                      <a:pt x="22" y="0"/>
                    </a:cubicBezTo>
                    <a:cubicBezTo>
                      <a:pt x="22" y="0"/>
                      <a:pt x="22" y="0"/>
                      <a:pt x="22" y="0"/>
                    </a:cubicBezTo>
                    <a:cubicBezTo>
                      <a:pt x="22" y="1"/>
                      <a:pt x="21" y="1"/>
                      <a:pt x="21" y="2"/>
                    </a:cubicBezTo>
                    <a:cubicBezTo>
                      <a:pt x="21" y="3"/>
                      <a:pt x="21" y="3"/>
                      <a:pt x="20" y="4"/>
                    </a:cubicBezTo>
                    <a:cubicBezTo>
                      <a:pt x="20" y="4"/>
                      <a:pt x="20" y="5"/>
                      <a:pt x="20" y="6"/>
                    </a:cubicBezTo>
                    <a:cubicBezTo>
                      <a:pt x="19" y="6"/>
                      <a:pt x="19" y="7"/>
                      <a:pt x="19" y="7"/>
                    </a:cubicBezTo>
                    <a:cubicBezTo>
                      <a:pt x="13" y="20"/>
                      <a:pt x="7" y="30"/>
                      <a:pt x="0" y="39"/>
                    </a:cubicBezTo>
                    <a:cubicBezTo>
                      <a:pt x="16" y="32"/>
                      <a:pt x="31" y="23"/>
                      <a:pt x="44" y="12"/>
                    </a:cubicBezTo>
                    <a:cubicBezTo>
                      <a:pt x="44" y="11"/>
                      <a:pt x="45" y="11"/>
                      <a:pt x="45" y="11"/>
                    </a:cubicBezTo>
                    <a:cubicBezTo>
                      <a:pt x="45" y="10"/>
                      <a:pt x="46" y="10"/>
                      <a:pt x="46" y="9"/>
                    </a:cubicBezTo>
                    <a:cubicBezTo>
                      <a:pt x="46" y="9"/>
                      <a:pt x="45" y="9"/>
                      <a:pt x="45" y="9"/>
                    </a:cubicBezTo>
                    <a:cubicBezTo>
                      <a:pt x="44" y="8"/>
                      <a:pt x="44" y="8"/>
                      <a:pt x="43"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4" name="Freeform 93">
                <a:extLst>
                  <a:ext uri="{FF2B5EF4-FFF2-40B4-BE49-F238E27FC236}">
                    <a16:creationId xmlns:a16="http://schemas.microsoft.com/office/drawing/2014/main" id="{E145A16D-AA7B-43EE-B359-137514A0373A}"/>
                  </a:ext>
                </a:extLst>
              </p:cNvPr>
              <p:cNvSpPr>
                <a:spLocks/>
              </p:cNvSpPr>
              <p:nvPr/>
            </p:nvSpPr>
            <p:spPr bwMode="auto">
              <a:xfrm>
                <a:off x="9921277" y="5888577"/>
                <a:ext cx="19259" cy="23300"/>
              </a:xfrm>
              <a:custGeom>
                <a:avLst/>
                <a:gdLst>
                  <a:gd name="T0" fmla="*/ 3 w 63"/>
                  <a:gd name="T1" fmla="*/ 79 h 79"/>
                  <a:gd name="T2" fmla="*/ 4 w 63"/>
                  <a:gd name="T3" fmla="*/ 79 h 79"/>
                  <a:gd name="T4" fmla="*/ 6 w 63"/>
                  <a:gd name="T5" fmla="*/ 79 h 79"/>
                  <a:gd name="T6" fmla="*/ 46 w 63"/>
                  <a:gd name="T7" fmla="*/ 79 h 79"/>
                  <a:gd name="T8" fmla="*/ 48 w 63"/>
                  <a:gd name="T9" fmla="*/ 79 h 79"/>
                  <a:gd name="T10" fmla="*/ 50 w 63"/>
                  <a:gd name="T11" fmla="*/ 79 h 79"/>
                  <a:gd name="T12" fmla="*/ 52 w 63"/>
                  <a:gd name="T13" fmla="*/ 79 h 79"/>
                  <a:gd name="T14" fmla="*/ 53 w 63"/>
                  <a:gd name="T15" fmla="*/ 79 h 79"/>
                  <a:gd name="T16" fmla="*/ 53 w 63"/>
                  <a:gd name="T17" fmla="*/ 77 h 79"/>
                  <a:gd name="T18" fmla="*/ 53 w 63"/>
                  <a:gd name="T19" fmla="*/ 75 h 79"/>
                  <a:gd name="T20" fmla="*/ 53 w 63"/>
                  <a:gd name="T21" fmla="*/ 73 h 79"/>
                  <a:gd name="T22" fmla="*/ 53 w 63"/>
                  <a:gd name="T23" fmla="*/ 71 h 79"/>
                  <a:gd name="T24" fmla="*/ 60 w 63"/>
                  <a:gd name="T25" fmla="*/ 26 h 79"/>
                  <a:gd name="T26" fmla="*/ 61 w 63"/>
                  <a:gd name="T27" fmla="*/ 20 h 79"/>
                  <a:gd name="T28" fmla="*/ 62 w 63"/>
                  <a:gd name="T29" fmla="*/ 18 h 79"/>
                  <a:gd name="T30" fmla="*/ 62 w 63"/>
                  <a:gd name="T31" fmla="*/ 17 h 79"/>
                  <a:gd name="T32" fmla="*/ 63 w 63"/>
                  <a:gd name="T33" fmla="*/ 15 h 79"/>
                  <a:gd name="T34" fmla="*/ 63 w 63"/>
                  <a:gd name="T35" fmla="*/ 13 h 79"/>
                  <a:gd name="T36" fmla="*/ 62 w 63"/>
                  <a:gd name="T37" fmla="*/ 13 h 79"/>
                  <a:gd name="T38" fmla="*/ 60 w 63"/>
                  <a:gd name="T39" fmla="*/ 12 h 79"/>
                  <a:gd name="T40" fmla="*/ 58 w 63"/>
                  <a:gd name="T41" fmla="*/ 12 h 79"/>
                  <a:gd name="T42" fmla="*/ 56 w 63"/>
                  <a:gd name="T43" fmla="*/ 11 h 79"/>
                  <a:gd name="T44" fmla="*/ 39 w 63"/>
                  <a:gd name="T45" fmla="*/ 4 h 79"/>
                  <a:gd name="T46" fmla="*/ 37 w 63"/>
                  <a:gd name="T47" fmla="*/ 3 h 79"/>
                  <a:gd name="T48" fmla="*/ 35 w 63"/>
                  <a:gd name="T49" fmla="*/ 2 h 79"/>
                  <a:gd name="T50" fmla="*/ 33 w 63"/>
                  <a:gd name="T51" fmla="*/ 1 h 79"/>
                  <a:gd name="T52" fmla="*/ 32 w 63"/>
                  <a:gd name="T53" fmla="*/ 1 h 79"/>
                  <a:gd name="T54" fmla="*/ 30 w 63"/>
                  <a:gd name="T55" fmla="*/ 0 h 79"/>
                  <a:gd name="T56" fmla="*/ 23 w 63"/>
                  <a:gd name="T57" fmla="*/ 9 h 79"/>
                  <a:gd name="T58" fmla="*/ 11 w 63"/>
                  <a:gd name="T59" fmla="*/ 32 h 79"/>
                  <a:gd name="T60" fmla="*/ 0 w 63"/>
                  <a:gd name="T61" fmla="*/ 73 h 79"/>
                  <a:gd name="T62" fmla="*/ 0 w 63"/>
                  <a:gd name="T63" fmla="*/ 75 h 79"/>
                  <a:gd name="T64" fmla="*/ 0 w 63"/>
                  <a:gd name="T65" fmla="*/ 76 h 79"/>
                  <a:gd name="T66" fmla="*/ 0 w 63"/>
                  <a:gd name="T67" fmla="*/ 78 h 79"/>
                  <a:gd name="T68" fmla="*/ 0 w 63"/>
                  <a:gd name="T69" fmla="*/ 79 h 79"/>
                  <a:gd name="T70" fmla="*/ 1 w 63"/>
                  <a:gd name="T71" fmla="*/ 79 h 79"/>
                  <a:gd name="T72" fmla="*/ 3 w 63"/>
                  <a:gd name="T7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 h="79">
                    <a:moveTo>
                      <a:pt x="3" y="79"/>
                    </a:moveTo>
                    <a:cubicBezTo>
                      <a:pt x="4" y="79"/>
                      <a:pt x="4" y="79"/>
                      <a:pt x="4" y="79"/>
                    </a:cubicBezTo>
                    <a:cubicBezTo>
                      <a:pt x="6" y="79"/>
                      <a:pt x="6" y="79"/>
                      <a:pt x="6" y="79"/>
                    </a:cubicBezTo>
                    <a:cubicBezTo>
                      <a:pt x="46" y="79"/>
                      <a:pt x="46" y="79"/>
                      <a:pt x="46" y="79"/>
                    </a:cubicBezTo>
                    <a:cubicBezTo>
                      <a:pt x="48" y="79"/>
                      <a:pt x="48" y="79"/>
                      <a:pt x="48" y="79"/>
                    </a:cubicBezTo>
                    <a:cubicBezTo>
                      <a:pt x="50" y="79"/>
                      <a:pt x="50" y="79"/>
                      <a:pt x="50" y="79"/>
                    </a:cubicBezTo>
                    <a:cubicBezTo>
                      <a:pt x="52" y="79"/>
                      <a:pt x="52" y="79"/>
                      <a:pt x="52" y="79"/>
                    </a:cubicBezTo>
                    <a:cubicBezTo>
                      <a:pt x="53" y="79"/>
                      <a:pt x="53" y="79"/>
                      <a:pt x="53" y="79"/>
                    </a:cubicBezTo>
                    <a:cubicBezTo>
                      <a:pt x="53" y="78"/>
                      <a:pt x="53" y="78"/>
                      <a:pt x="53" y="77"/>
                    </a:cubicBezTo>
                    <a:cubicBezTo>
                      <a:pt x="53" y="76"/>
                      <a:pt x="53" y="76"/>
                      <a:pt x="53" y="75"/>
                    </a:cubicBezTo>
                    <a:cubicBezTo>
                      <a:pt x="53" y="74"/>
                      <a:pt x="53" y="74"/>
                      <a:pt x="53" y="73"/>
                    </a:cubicBezTo>
                    <a:cubicBezTo>
                      <a:pt x="53" y="73"/>
                      <a:pt x="53" y="72"/>
                      <a:pt x="53" y="71"/>
                    </a:cubicBezTo>
                    <a:cubicBezTo>
                      <a:pt x="54" y="56"/>
                      <a:pt x="57" y="40"/>
                      <a:pt x="60" y="26"/>
                    </a:cubicBezTo>
                    <a:cubicBezTo>
                      <a:pt x="60" y="24"/>
                      <a:pt x="61" y="22"/>
                      <a:pt x="61" y="20"/>
                    </a:cubicBezTo>
                    <a:cubicBezTo>
                      <a:pt x="61" y="20"/>
                      <a:pt x="62" y="19"/>
                      <a:pt x="62" y="18"/>
                    </a:cubicBezTo>
                    <a:cubicBezTo>
                      <a:pt x="62" y="18"/>
                      <a:pt x="62" y="17"/>
                      <a:pt x="62" y="17"/>
                    </a:cubicBezTo>
                    <a:cubicBezTo>
                      <a:pt x="62" y="16"/>
                      <a:pt x="62" y="15"/>
                      <a:pt x="63" y="15"/>
                    </a:cubicBezTo>
                    <a:cubicBezTo>
                      <a:pt x="63" y="14"/>
                      <a:pt x="63" y="14"/>
                      <a:pt x="63" y="13"/>
                    </a:cubicBezTo>
                    <a:cubicBezTo>
                      <a:pt x="63" y="13"/>
                      <a:pt x="62" y="13"/>
                      <a:pt x="62" y="13"/>
                    </a:cubicBezTo>
                    <a:cubicBezTo>
                      <a:pt x="61" y="13"/>
                      <a:pt x="61" y="13"/>
                      <a:pt x="60" y="12"/>
                    </a:cubicBezTo>
                    <a:cubicBezTo>
                      <a:pt x="59" y="12"/>
                      <a:pt x="59" y="12"/>
                      <a:pt x="58" y="12"/>
                    </a:cubicBezTo>
                    <a:cubicBezTo>
                      <a:pt x="58" y="12"/>
                      <a:pt x="57" y="11"/>
                      <a:pt x="56" y="11"/>
                    </a:cubicBezTo>
                    <a:cubicBezTo>
                      <a:pt x="50" y="9"/>
                      <a:pt x="44" y="7"/>
                      <a:pt x="39" y="4"/>
                    </a:cubicBezTo>
                    <a:cubicBezTo>
                      <a:pt x="38" y="4"/>
                      <a:pt x="37" y="3"/>
                      <a:pt x="37" y="3"/>
                    </a:cubicBezTo>
                    <a:cubicBezTo>
                      <a:pt x="36" y="3"/>
                      <a:pt x="36" y="3"/>
                      <a:pt x="35" y="2"/>
                    </a:cubicBezTo>
                    <a:cubicBezTo>
                      <a:pt x="34" y="2"/>
                      <a:pt x="34" y="2"/>
                      <a:pt x="33" y="1"/>
                    </a:cubicBezTo>
                    <a:cubicBezTo>
                      <a:pt x="33" y="1"/>
                      <a:pt x="32" y="1"/>
                      <a:pt x="32" y="1"/>
                    </a:cubicBezTo>
                    <a:cubicBezTo>
                      <a:pt x="31" y="0"/>
                      <a:pt x="31" y="0"/>
                      <a:pt x="30" y="0"/>
                    </a:cubicBezTo>
                    <a:cubicBezTo>
                      <a:pt x="28" y="3"/>
                      <a:pt x="26" y="6"/>
                      <a:pt x="23" y="9"/>
                    </a:cubicBezTo>
                    <a:cubicBezTo>
                      <a:pt x="19" y="17"/>
                      <a:pt x="15" y="24"/>
                      <a:pt x="11" y="32"/>
                    </a:cubicBezTo>
                    <a:cubicBezTo>
                      <a:pt x="6" y="45"/>
                      <a:pt x="2" y="59"/>
                      <a:pt x="0" y="73"/>
                    </a:cubicBezTo>
                    <a:cubicBezTo>
                      <a:pt x="0" y="74"/>
                      <a:pt x="0" y="74"/>
                      <a:pt x="0" y="75"/>
                    </a:cubicBezTo>
                    <a:cubicBezTo>
                      <a:pt x="0" y="75"/>
                      <a:pt x="0" y="76"/>
                      <a:pt x="0" y="76"/>
                    </a:cubicBezTo>
                    <a:cubicBezTo>
                      <a:pt x="0" y="77"/>
                      <a:pt x="0" y="78"/>
                      <a:pt x="0" y="78"/>
                    </a:cubicBezTo>
                    <a:cubicBezTo>
                      <a:pt x="0" y="78"/>
                      <a:pt x="0" y="78"/>
                      <a:pt x="0" y="79"/>
                    </a:cubicBezTo>
                    <a:cubicBezTo>
                      <a:pt x="1" y="79"/>
                      <a:pt x="1" y="79"/>
                      <a:pt x="1" y="79"/>
                    </a:cubicBezTo>
                    <a:lnTo>
                      <a:pt x="3" y="7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5" name="Freeform 94">
                <a:extLst>
                  <a:ext uri="{FF2B5EF4-FFF2-40B4-BE49-F238E27FC236}">
                    <a16:creationId xmlns:a16="http://schemas.microsoft.com/office/drawing/2014/main" id="{09C11EEF-8C12-491E-8890-F6D2824CE02F}"/>
                  </a:ext>
                </a:extLst>
              </p:cNvPr>
              <p:cNvSpPr>
                <a:spLocks/>
              </p:cNvSpPr>
              <p:nvPr/>
            </p:nvSpPr>
            <p:spPr bwMode="auto">
              <a:xfrm>
                <a:off x="9950165" y="5939545"/>
                <a:ext cx="35307" cy="16019"/>
              </a:xfrm>
              <a:custGeom>
                <a:avLst/>
                <a:gdLst>
                  <a:gd name="T0" fmla="*/ 106 w 109"/>
                  <a:gd name="T1" fmla="*/ 5 h 59"/>
                  <a:gd name="T2" fmla="*/ 104 w 109"/>
                  <a:gd name="T3" fmla="*/ 4 h 59"/>
                  <a:gd name="T4" fmla="*/ 55 w 109"/>
                  <a:gd name="T5" fmla="*/ 0 h 59"/>
                  <a:gd name="T6" fmla="*/ 5 w 109"/>
                  <a:gd name="T7" fmla="*/ 4 h 59"/>
                  <a:gd name="T8" fmla="*/ 4 w 109"/>
                  <a:gd name="T9" fmla="*/ 5 h 59"/>
                  <a:gd name="T10" fmla="*/ 2 w 109"/>
                  <a:gd name="T11" fmla="*/ 5 h 59"/>
                  <a:gd name="T12" fmla="*/ 0 w 109"/>
                  <a:gd name="T13" fmla="*/ 5 h 59"/>
                  <a:gd name="T14" fmla="*/ 1 w 109"/>
                  <a:gd name="T15" fmla="*/ 6 h 59"/>
                  <a:gd name="T16" fmla="*/ 2 w 109"/>
                  <a:gd name="T17" fmla="*/ 8 h 59"/>
                  <a:gd name="T18" fmla="*/ 2 w 109"/>
                  <a:gd name="T19" fmla="*/ 10 h 59"/>
                  <a:gd name="T20" fmla="*/ 38 w 109"/>
                  <a:gd name="T21" fmla="*/ 51 h 59"/>
                  <a:gd name="T22" fmla="*/ 86 w 109"/>
                  <a:gd name="T23" fmla="*/ 42 h 59"/>
                  <a:gd name="T24" fmla="*/ 88 w 109"/>
                  <a:gd name="T25" fmla="*/ 40 h 59"/>
                  <a:gd name="T26" fmla="*/ 107 w 109"/>
                  <a:gd name="T27" fmla="*/ 10 h 59"/>
                  <a:gd name="T28" fmla="*/ 108 w 109"/>
                  <a:gd name="T29" fmla="*/ 8 h 59"/>
                  <a:gd name="T30" fmla="*/ 108 w 109"/>
                  <a:gd name="T31" fmla="*/ 6 h 59"/>
                  <a:gd name="T32" fmla="*/ 109 w 109"/>
                  <a:gd name="T33" fmla="*/ 5 h 59"/>
                  <a:gd name="T34" fmla="*/ 107 w 109"/>
                  <a:gd name="T35" fmla="*/ 5 h 59"/>
                  <a:gd name="T36" fmla="*/ 106 w 109"/>
                  <a:gd name="T37" fmla="*/ 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9" h="59">
                    <a:moveTo>
                      <a:pt x="106" y="5"/>
                    </a:moveTo>
                    <a:cubicBezTo>
                      <a:pt x="105" y="4"/>
                      <a:pt x="105" y="4"/>
                      <a:pt x="104" y="4"/>
                    </a:cubicBezTo>
                    <a:cubicBezTo>
                      <a:pt x="88" y="1"/>
                      <a:pt x="72" y="0"/>
                      <a:pt x="55" y="0"/>
                    </a:cubicBezTo>
                    <a:cubicBezTo>
                      <a:pt x="38" y="0"/>
                      <a:pt x="21" y="1"/>
                      <a:pt x="5" y="4"/>
                    </a:cubicBezTo>
                    <a:cubicBezTo>
                      <a:pt x="5" y="4"/>
                      <a:pt x="4" y="5"/>
                      <a:pt x="4" y="5"/>
                    </a:cubicBezTo>
                    <a:cubicBezTo>
                      <a:pt x="3" y="5"/>
                      <a:pt x="2" y="5"/>
                      <a:pt x="2" y="5"/>
                    </a:cubicBezTo>
                    <a:cubicBezTo>
                      <a:pt x="1" y="5"/>
                      <a:pt x="1" y="5"/>
                      <a:pt x="0" y="5"/>
                    </a:cubicBezTo>
                    <a:cubicBezTo>
                      <a:pt x="1" y="6"/>
                      <a:pt x="1" y="6"/>
                      <a:pt x="1" y="6"/>
                    </a:cubicBezTo>
                    <a:cubicBezTo>
                      <a:pt x="1" y="7"/>
                      <a:pt x="1" y="8"/>
                      <a:pt x="2" y="8"/>
                    </a:cubicBezTo>
                    <a:cubicBezTo>
                      <a:pt x="2" y="9"/>
                      <a:pt x="2" y="9"/>
                      <a:pt x="2" y="10"/>
                    </a:cubicBezTo>
                    <a:cubicBezTo>
                      <a:pt x="10" y="26"/>
                      <a:pt x="21" y="43"/>
                      <a:pt x="38" y="51"/>
                    </a:cubicBezTo>
                    <a:cubicBezTo>
                      <a:pt x="55" y="59"/>
                      <a:pt x="73" y="55"/>
                      <a:pt x="86" y="42"/>
                    </a:cubicBezTo>
                    <a:cubicBezTo>
                      <a:pt x="87" y="41"/>
                      <a:pt x="87" y="40"/>
                      <a:pt x="88" y="40"/>
                    </a:cubicBezTo>
                    <a:cubicBezTo>
                      <a:pt x="95" y="32"/>
                      <a:pt x="101" y="22"/>
                      <a:pt x="107" y="10"/>
                    </a:cubicBezTo>
                    <a:cubicBezTo>
                      <a:pt x="107" y="9"/>
                      <a:pt x="107" y="9"/>
                      <a:pt x="108" y="8"/>
                    </a:cubicBezTo>
                    <a:cubicBezTo>
                      <a:pt x="108" y="7"/>
                      <a:pt x="108" y="7"/>
                      <a:pt x="108" y="6"/>
                    </a:cubicBezTo>
                    <a:cubicBezTo>
                      <a:pt x="109" y="6"/>
                      <a:pt x="109" y="6"/>
                      <a:pt x="109" y="5"/>
                    </a:cubicBezTo>
                    <a:cubicBezTo>
                      <a:pt x="108" y="5"/>
                      <a:pt x="108" y="5"/>
                      <a:pt x="107" y="5"/>
                    </a:cubicBezTo>
                    <a:cubicBezTo>
                      <a:pt x="107" y="5"/>
                      <a:pt x="106" y="5"/>
                      <a:pt x="106"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6" name="Freeform 95">
                <a:extLst>
                  <a:ext uri="{FF2B5EF4-FFF2-40B4-BE49-F238E27FC236}">
                    <a16:creationId xmlns:a16="http://schemas.microsoft.com/office/drawing/2014/main" id="{6E067E16-D28A-48F8-A475-228CB3E25CFC}"/>
                  </a:ext>
                </a:extLst>
              </p:cNvPr>
              <p:cNvSpPr>
                <a:spLocks/>
              </p:cNvSpPr>
              <p:nvPr/>
            </p:nvSpPr>
            <p:spPr bwMode="auto">
              <a:xfrm>
                <a:off x="9977447" y="59511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7" name="Freeform 96">
                <a:extLst>
                  <a:ext uri="{FF2B5EF4-FFF2-40B4-BE49-F238E27FC236}">
                    <a16:creationId xmlns:a16="http://schemas.microsoft.com/office/drawing/2014/main" id="{A528BB40-41C1-4B79-B10D-B64BE0D5396D}"/>
                  </a:ext>
                </a:extLst>
              </p:cNvPr>
              <p:cNvSpPr>
                <a:spLocks/>
              </p:cNvSpPr>
              <p:nvPr/>
            </p:nvSpPr>
            <p:spPr bwMode="auto">
              <a:xfrm>
                <a:off x="9921277" y="5917702"/>
                <a:ext cx="19259" cy="21844"/>
              </a:xfrm>
              <a:custGeom>
                <a:avLst/>
                <a:gdLst>
                  <a:gd name="T0" fmla="*/ 58 w 63"/>
                  <a:gd name="T1" fmla="*/ 67 h 79"/>
                  <a:gd name="T2" fmla="*/ 60 w 63"/>
                  <a:gd name="T3" fmla="*/ 67 h 79"/>
                  <a:gd name="T4" fmla="*/ 62 w 63"/>
                  <a:gd name="T5" fmla="*/ 66 h 79"/>
                  <a:gd name="T6" fmla="*/ 63 w 63"/>
                  <a:gd name="T7" fmla="*/ 66 h 79"/>
                  <a:gd name="T8" fmla="*/ 63 w 63"/>
                  <a:gd name="T9" fmla="*/ 64 h 79"/>
                  <a:gd name="T10" fmla="*/ 62 w 63"/>
                  <a:gd name="T11" fmla="*/ 62 h 79"/>
                  <a:gd name="T12" fmla="*/ 62 w 63"/>
                  <a:gd name="T13" fmla="*/ 61 h 79"/>
                  <a:gd name="T14" fmla="*/ 61 w 63"/>
                  <a:gd name="T15" fmla="*/ 59 h 79"/>
                  <a:gd name="T16" fmla="*/ 53 w 63"/>
                  <a:gd name="T17" fmla="*/ 8 h 79"/>
                  <a:gd name="T18" fmla="*/ 53 w 63"/>
                  <a:gd name="T19" fmla="*/ 6 h 79"/>
                  <a:gd name="T20" fmla="*/ 53 w 63"/>
                  <a:gd name="T21" fmla="*/ 4 h 79"/>
                  <a:gd name="T22" fmla="*/ 53 w 63"/>
                  <a:gd name="T23" fmla="*/ 2 h 79"/>
                  <a:gd name="T24" fmla="*/ 53 w 63"/>
                  <a:gd name="T25" fmla="*/ 0 h 79"/>
                  <a:gd name="T26" fmla="*/ 52 w 63"/>
                  <a:gd name="T27" fmla="*/ 0 h 79"/>
                  <a:gd name="T28" fmla="*/ 50 w 63"/>
                  <a:gd name="T29" fmla="*/ 0 h 79"/>
                  <a:gd name="T30" fmla="*/ 48 w 63"/>
                  <a:gd name="T31" fmla="*/ 0 h 79"/>
                  <a:gd name="T32" fmla="*/ 46 w 63"/>
                  <a:gd name="T33" fmla="*/ 0 h 79"/>
                  <a:gd name="T34" fmla="*/ 6 w 63"/>
                  <a:gd name="T35" fmla="*/ 0 h 79"/>
                  <a:gd name="T36" fmla="*/ 4 w 63"/>
                  <a:gd name="T37" fmla="*/ 0 h 79"/>
                  <a:gd name="T38" fmla="*/ 3 w 63"/>
                  <a:gd name="T39" fmla="*/ 0 h 79"/>
                  <a:gd name="T40" fmla="*/ 1 w 63"/>
                  <a:gd name="T41" fmla="*/ 0 h 79"/>
                  <a:gd name="T42" fmla="*/ 0 w 63"/>
                  <a:gd name="T43" fmla="*/ 0 h 79"/>
                  <a:gd name="T44" fmla="*/ 0 w 63"/>
                  <a:gd name="T45" fmla="*/ 1 h 79"/>
                  <a:gd name="T46" fmla="*/ 0 w 63"/>
                  <a:gd name="T47" fmla="*/ 2 h 79"/>
                  <a:gd name="T48" fmla="*/ 0 w 63"/>
                  <a:gd name="T49" fmla="*/ 4 h 79"/>
                  <a:gd name="T50" fmla="*/ 0 w 63"/>
                  <a:gd name="T51" fmla="*/ 6 h 79"/>
                  <a:gd name="T52" fmla="*/ 11 w 63"/>
                  <a:gd name="T53" fmla="*/ 47 h 79"/>
                  <a:gd name="T54" fmla="*/ 30 w 63"/>
                  <a:gd name="T55" fmla="*/ 79 h 79"/>
                  <a:gd name="T56" fmla="*/ 32 w 63"/>
                  <a:gd name="T57" fmla="*/ 78 h 79"/>
                  <a:gd name="T58" fmla="*/ 33 w 63"/>
                  <a:gd name="T59" fmla="*/ 78 h 79"/>
                  <a:gd name="T60" fmla="*/ 35 w 63"/>
                  <a:gd name="T61" fmla="*/ 77 h 79"/>
                  <a:gd name="T62" fmla="*/ 37 w 63"/>
                  <a:gd name="T63" fmla="*/ 76 h 79"/>
                  <a:gd name="T64" fmla="*/ 39 w 63"/>
                  <a:gd name="T65" fmla="*/ 75 h 79"/>
                  <a:gd name="T66" fmla="*/ 56 w 63"/>
                  <a:gd name="T67" fmla="*/ 68 h 79"/>
                  <a:gd name="T68" fmla="*/ 58 w 63"/>
                  <a:gd name="T6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79">
                    <a:moveTo>
                      <a:pt x="58" y="67"/>
                    </a:moveTo>
                    <a:cubicBezTo>
                      <a:pt x="59" y="67"/>
                      <a:pt x="59" y="67"/>
                      <a:pt x="60" y="67"/>
                    </a:cubicBezTo>
                    <a:cubicBezTo>
                      <a:pt x="61" y="66"/>
                      <a:pt x="61" y="66"/>
                      <a:pt x="62" y="66"/>
                    </a:cubicBezTo>
                    <a:cubicBezTo>
                      <a:pt x="62" y="66"/>
                      <a:pt x="63" y="66"/>
                      <a:pt x="63" y="66"/>
                    </a:cubicBezTo>
                    <a:cubicBezTo>
                      <a:pt x="63" y="65"/>
                      <a:pt x="63" y="65"/>
                      <a:pt x="63" y="64"/>
                    </a:cubicBezTo>
                    <a:cubicBezTo>
                      <a:pt x="63" y="64"/>
                      <a:pt x="62" y="63"/>
                      <a:pt x="62" y="62"/>
                    </a:cubicBezTo>
                    <a:cubicBezTo>
                      <a:pt x="62" y="62"/>
                      <a:pt x="62" y="61"/>
                      <a:pt x="62" y="61"/>
                    </a:cubicBezTo>
                    <a:cubicBezTo>
                      <a:pt x="62" y="60"/>
                      <a:pt x="61" y="59"/>
                      <a:pt x="61" y="59"/>
                    </a:cubicBezTo>
                    <a:cubicBezTo>
                      <a:pt x="57" y="43"/>
                      <a:pt x="54" y="25"/>
                      <a:pt x="53" y="8"/>
                    </a:cubicBezTo>
                    <a:cubicBezTo>
                      <a:pt x="53" y="7"/>
                      <a:pt x="53" y="6"/>
                      <a:pt x="53" y="6"/>
                    </a:cubicBezTo>
                    <a:cubicBezTo>
                      <a:pt x="53" y="5"/>
                      <a:pt x="53" y="4"/>
                      <a:pt x="53" y="4"/>
                    </a:cubicBezTo>
                    <a:cubicBezTo>
                      <a:pt x="53" y="3"/>
                      <a:pt x="53" y="3"/>
                      <a:pt x="53" y="2"/>
                    </a:cubicBezTo>
                    <a:cubicBezTo>
                      <a:pt x="53" y="1"/>
                      <a:pt x="53" y="1"/>
                      <a:pt x="53" y="0"/>
                    </a:cubicBezTo>
                    <a:cubicBezTo>
                      <a:pt x="52" y="0"/>
                      <a:pt x="52" y="0"/>
                      <a:pt x="52" y="0"/>
                    </a:cubicBezTo>
                    <a:cubicBezTo>
                      <a:pt x="50" y="0"/>
                      <a:pt x="50" y="0"/>
                      <a:pt x="50" y="0"/>
                    </a:cubicBezTo>
                    <a:cubicBezTo>
                      <a:pt x="48" y="0"/>
                      <a:pt x="48" y="0"/>
                      <a:pt x="48" y="0"/>
                    </a:cubicBezTo>
                    <a:cubicBezTo>
                      <a:pt x="46" y="0"/>
                      <a:pt x="46" y="0"/>
                      <a:pt x="46" y="0"/>
                    </a:cubicBezTo>
                    <a:cubicBezTo>
                      <a:pt x="6" y="0"/>
                      <a:pt x="6" y="0"/>
                      <a:pt x="6" y="0"/>
                    </a:cubicBezTo>
                    <a:cubicBezTo>
                      <a:pt x="4" y="0"/>
                      <a:pt x="4" y="0"/>
                      <a:pt x="4" y="0"/>
                    </a:cubicBezTo>
                    <a:cubicBezTo>
                      <a:pt x="3" y="0"/>
                      <a:pt x="3" y="0"/>
                      <a:pt x="3" y="0"/>
                    </a:cubicBezTo>
                    <a:cubicBezTo>
                      <a:pt x="1" y="0"/>
                      <a:pt x="1" y="0"/>
                      <a:pt x="1" y="0"/>
                    </a:cubicBezTo>
                    <a:cubicBezTo>
                      <a:pt x="0" y="0"/>
                      <a:pt x="0" y="0"/>
                      <a:pt x="0" y="0"/>
                    </a:cubicBezTo>
                    <a:cubicBezTo>
                      <a:pt x="0" y="0"/>
                      <a:pt x="0" y="1"/>
                      <a:pt x="0" y="1"/>
                    </a:cubicBezTo>
                    <a:cubicBezTo>
                      <a:pt x="0" y="1"/>
                      <a:pt x="0" y="2"/>
                      <a:pt x="0" y="2"/>
                    </a:cubicBezTo>
                    <a:cubicBezTo>
                      <a:pt x="0" y="3"/>
                      <a:pt x="0" y="4"/>
                      <a:pt x="0" y="4"/>
                    </a:cubicBezTo>
                    <a:cubicBezTo>
                      <a:pt x="0" y="5"/>
                      <a:pt x="0" y="5"/>
                      <a:pt x="0" y="6"/>
                    </a:cubicBezTo>
                    <a:cubicBezTo>
                      <a:pt x="2" y="20"/>
                      <a:pt x="6" y="34"/>
                      <a:pt x="11" y="47"/>
                    </a:cubicBezTo>
                    <a:cubicBezTo>
                      <a:pt x="16" y="58"/>
                      <a:pt x="23" y="69"/>
                      <a:pt x="30" y="79"/>
                    </a:cubicBezTo>
                    <a:cubicBezTo>
                      <a:pt x="31" y="79"/>
                      <a:pt x="31" y="79"/>
                      <a:pt x="32" y="78"/>
                    </a:cubicBezTo>
                    <a:cubicBezTo>
                      <a:pt x="32" y="78"/>
                      <a:pt x="33" y="78"/>
                      <a:pt x="33" y="78"/>
                    </a:cubicBezTo>
                    <a:cubicBezTo>
                      <a:pt x="34" y="77"/>
                      <a:pt x="35" y="77"/>
                      <a:pt x="35" y="77"/>
                    </a:cubicBezTo>
                    <a:cubicBezTo>
                      <a:pt x="36" y="76"/>
                      <a:pt x="36" y="76"/>
                      <a:pt x="37" y="76"/>
                    </a:cubicBezTo>
                    <a:cubicBezTo>
                      <a:pt x="38" y="75"/>
                      <a:pt x="38" y="75"/>
                      <a:pt x="39" y="75"/>
                    </a:cubicBezTo>
                    <a:cubicBezTo>
                      <a:pt x="44" y="72"/>
                      <a:pt x="50" y="70"/>
                      <a:pt x="56" y="68"/>
                    </a:cubicBezTo>
                    <a:cubicBezTo>
                      <a:pt x="57" y="68"/>
                      <a:pt x="58" y="67"/>
                      <a:pt x="58" y="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8" name="Freeform 97">
                <a:extLst>
                  <a:ext uri="{FF2B5EF4-FFF2-40B4-BE49-F238E27FC236}">
                    <a16:creationId xmlns:a16="http://schemas.microsoft.com/office/drawing/2014/main" id="{7B642B2D-DAE4-40E5-9990-DD5C7C8B7E8D}"/>
                  </a:ext>
                </a:extLst>
              </p:cNvPr>
              <p:cNvSpPr>
                <a:spLocks noEditPoints="1"/>
              </p:cNvSpPr>
              <p:nvPr/>
            </p:nvSpPr>
            <p:spPr bwMode="auto">
              <a:xfrm>
                <a:off x="9598694" y="5724023"/>
                <a:ext cx="475046" cy="285421"/>
              </a:xfrm>
              <a:custGeom>
                <a:avLst/>
                <a:gdLst>
                  <a:gd name="T0" fmla="*/ 126 w 1503"/>
                  <a:gd name="T1" fmla="*/ 998 h 998"/>
                  <a:gd name="T2" fmla="*/ 1377 w 1503"/>
                  <a:gd name="T3" fmla="*/ 0 h 998"/>
                  <a:gd name="T4" fmla="*/ 1337 w 1503"/>
                  <a:gd name="T5" fmla="*/ 350 h 998"/>
                  <a:gd name="T6" fmla="*/ 230 w 1503"/>
                  <a:gd name="T7" fmla="*/ 815 h 998"/>
                  <a:gd name="T8" fmla="*/ 196 w 1503"/>
                  <a:gd name="T9" fmla="*/ 748 h 998"/>
                  <a:gd name="T10" fmla="*/ 221 w 1503"/>
                  <a:gd name="T11" fmla="*/ 410 h 998"/>
                  <a:gd name="T12" fmla="*/ 221 w 1503"/>
                  <a:gd name="T13" fmla="*/ 334 h 998"/>
                  <a:gd name="T14" fmla="*/ 196 w 1503"/>
                  <a:gd name="T15" fmla="*/ 235 h 998"/>
                  <a:gd name="T16" fmla="*/ 230 w 1503"/>
                  <a:gd name="T17" fmla="*/ 169 h 998"/>
                  <a:gd name="T18" fmla="*/ 314 w 1503"/>
                  <a:gd name="T19" fmla="*/ 787 h 998"/>
                  <a:gd name="T20" fmla="*/ 314 w 1503"/>
                  <a:gd name="T21" fmla="*/ 374 h 998"/>
                  <a:gd name="T22" fmla="*/ 314 w 1503"/>
                  <a:gd name="T23" fmla="*/ 199 h 998"/>
                  <a:gd name="T24" fmla="*/ 325 w 1503"/>
                  <a:gd name="T25" fmla="*/ 815 h 998"/>
                  <a:gd name="T26" fmla="*/ 369 w 1503"/>
                  <a:gd name="T27" fmla="*/ 815 h 998"/>
                  <a:gd name="T28" fmla="*/ 325 w 1503"/>
                  <a:gd name="T29" fmla="*/ 343 h 998"/>
                  <a:gd name="T30" fmla="*/ 369 w 1503"/>
                  <a:gd name="T31" fmla="*/ 226 h 998"/>
                  <a:gd name="T32" fmla="*/ 335 w 1503"/>
                  <a:gd name="T33" fmla="*/ 160 h 998"/>
                  <a:gd name="T34" fmla="*/ 381 w 1503"/>
                  <a:gd name="T35" fmla="*/ 787 h 998"/>
                  <a:gd name="T36" fmla="*/ 381 w 1503"/>
                  <a:gd name="T37" fmla="*/ 374 h 998"/>
                  <a:gd name="T38" fmla="*/ 417 w 1503"/>
                  <a:gd name="T39" fmla="*/ 235 h 998"/>
                  <a:gd name="T40" fmla="*/ 451 w 1503"/>
                  <a:gd name="T41" fmla="*/ 212 h 998"/>
                  <a:gd name="T42" fmla="*/ 464 w 1503"/>
                  <a:gd name="T43" fmla="*/ 757 h 998"/>
                  <a:gd name="T44" fmla="*/ 508 w 1503"/>
                  <a:gd name="T45" fmla="*/ 401 h 998"/>
                  <a:gd name="T46" fmla="*/ 474 w 1503"/>
                  <a:gd name="T47" fmla="*/ 334 h 998"/>
                  <a:gd name="T48" fmla="*/ 499 w 1503"/>
                  <a:gd name="T49" fmla="*/ 235 h 998"/>
                  <a:gd name="T50" fmla="*/ 499 w 1503"/>
                  <a:gd name="T51" fmla="*/ 160 h 998"/>
                  <a:gd name="T52" fmla="*/ 556 w 1503"/>
                  <a:gd name="T53" fmla="*/ 751 h 998"/>
                  <a:gd name="T54" fmla="*/ 520 w 1503"/>
                  <a:gd name="T55" fmla="*/ 374 h 998"/>
                  <a:gd name="T56" fmla="*/ 556 w 1503"/>
                  <a:gd name="T57" fmla="*/ 235 h 998"/>
                  <a:gd name="T58" fmla="*/ 647 w 1503"/>
                  <a:gd name="T59" fmla="*/ 815 h 998"/>
                  <a:gd name="T60" fmla="*/ 613 w 1503"/>
                  <a:gd name="T61" fmla="*/ 748 h 998"/>
                  <a:gd name="T62" fmla="*/ 638 w 1503"/>
                  <a:gd name="T63" fmla="*/ 410 h 998"/>
                  <a:gd name="T64" fmla="*/ 638 w 1503"/>
                  <a:gd name="T65" fmla="*/ 334 h 998"/>
                  <a:gd name="T66" fmla="*/ 613 w 1503"/>
                  <a:gd name="T67" fmla="*/ 235 h 998"/>
                  <a:gd name="T68" fmla="*/ 647 w 1503"/>
                  <a:gd name="T69" fmla="*/ 169 h 998"/>
                  <a:gd name="T70" fmla="*/ 731 w 1503"/>
                  <a:gd name="T71" fmla="*/ 787 h 998"/>
                  <a:gd name="T72" fmla="*/ 731 w 1503"/>
                  <a:gd name="T73" fmla="*/ 374 h 998"/>
                  <a:gd name="T74" fmla="*/ 731 w 1503"/>
                  <a:gd name="T75" fmla="*/ 199 h 998"/>
                  <a:gd name="T76" fmla="*/ 743 w 1503"/>
                  <a:gd name="T77" fmla="*/ 815 h 998"/>
                  <a:gd name="T78" fmla="*/ 786 w 1503"/>
                  <a:gd name="T79" fmla="*/ 815 h 998"/>
                  <a:gd name="T80" fmla="*/ 743 w 1503"/>
                  <a:gd name="T81" fmla="*/ 343 h 998"/>
                  <a:gd name="T82" fmla="*/ 786 w 1503"/>
                  <a:gd name="T83" fmla="*/ 226 h 998"/>
                  <a:gd name="T84" fmla="*/ 752 w 1503"/>
                  <a:gd name="T85" fmla="*/ 160 h 998"/>
                  <a:gd name="T86" fmla="*/ 798 w 1503"/>
                  <a:gd name="T87" fmla="*/ 787 h 998"/>
                  <a:gd name="T88" fmla="*/ 798 w 1503"/>
                  <a:gd name="T89" fmla="*/ 199 h 998"/>
                  <a:gd name="T90" fmla="*/ 916 w 1503"/>
                  <a:gd name="T91" fmla="*/ 824 h 998"/>
                  <a:gd name="T92" fmla="*/ 916 w 1503"/>
                  <a:gd name="T93" fmla="*/ 748 h 998"/>
                  <a:gd name="T94" fmla="*/ 891 w 1503"/>
                  <a:gd name="T95" fmla="*/ 235 h 998"/>
                  <a:gd name="T96" fmla="*/ 925 w 1503"/>
                  <a:gd name="T97" fmla="*/ 169 h 998"/>
                  <a:gd name="T98" fmla="*/ 1294 w 1503"/>
                  <a:gd name="T99" fmla="*/ 791 h 998"/>
                  <a:gd name="T100" fmla="*/ 1167 w 1503"/>
                  <a:gd name="T101" fmla="*/ 844 h 998"/>
                  <a:gd name="T102" fmla="*/ 1016 w 1503"/>
                  <a:gd name="T103" fmla="*/ 570 h 998"/>
                  <a:gd name="T104" fmla="*/ 1300 w 1503"/>
                  <a:gd name="T105" fmla="*/ 544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03" h="998">
                    <a:moveTo>
                      <a:pt x="1377" y="0"/>
                    </a:moveTo>
                    <a:cubicBezTo>
                      <a:pt x="126" y="0"/>
                      <a:pt x="126" y="0"/>
                      <a:pt x="126" y="0"/>
                    </a:cubicBezTo>
                    <a:cubicBezTo>
                      <a:pt x="57" y="0"/>
                      <a:pt x="0" y="56"/>
                      <a:pt x="0" y="126"/>
                    </a:cubicBezTo>
                    <a:cubicBezTo>
                      <a:pt x="0" y="872"/>
                      <a:pt x="0" y="872"/>
                      <a:pt x="0" y="872"/>
                    </a:cubicBezTo>
                    <a:cubicBezTo>
                      <a:pt x="0" y="941"/>
                      <a:pt x="57" y="998"/>
                      <a:pt x="126" y="998"/>
                    </a:cubicBezTo>
                    <a:cubicBezTo>
                      <a:pt x="1377" y="998"/>
                      <a:pt x="1377" y="998"/>
                      <a:pt x="1377" y="998"/>
                    </a:cubicBezTo>
                    <a:cubicBezTo>
                      <a:pt x="1446" y="998"/>
                      <a:pt x="1503" y="941"/>
                      <a:pt x="1503" y="872"/>
                    </a:cubicBezTo>
                    <a:cubicBezTo>
                      <a:pt x="1503" y="126"/>
                      <a:pt x="1503" y="126"/>
                      <a:pt x="1503" y="126"/>
                    </a:cubicBezTo>
                    <a:cubicBezTo>
                      <a:pt x="1503" y="123"/>
                      <a:pt x="1503" y="121"/>
                      <a:pt x="1503" y="119"/>
                    </a:cubicBezTo>
                    <a:cubicBezTo>
                      <a:pt x="1499" y="52"/>
                      <a:pt x="1444" y="0"/>
                      <a:pt x="1377" y="0"/>
                    </a:cubicBezTo>
                    <a:close/>
                    <a:moveTo>
                      <a:pt x="999" y="220"/>
                    </a:moveTo>
                    <a:cubicBezTo>
                      <a:pt x="999" y="187"/>
                      <a:pt x="1026" y="160"/>
                      <a:pt x="1059" y="160"/>
                    </a:cubicBezTo>
                    <a:cubicBezTo>
                      <a:pt x="1277" y="160"/>
                      <a:pt x="1277" y="160"/>
                      <a:pt x="1277" y="160"/>
                    </a:cubicBezTo>
                    <a:cubicBezTo>
                      <a:pt x="1310" y="160"/>
                      <a:pt x="1337" y="187"/>
                      <a:pt x="1337" y="220"/>
                    </a:cubicBezTo>
                    <a:cubicBezTo>
                      <a:pt x="1337" y="350"/>
                      <a:pt x="1337" y="350"/>
                      <a:pt x="1337" y="350"/>
                    </a:cubicBezTo>
                    <a:cubicBezTo>
                      <a:pt x="1337" y="383"/>
                      <a:pt x="1310" y="410"/>
                      <a:pt x="1277" y="410"/>
                    </a:cubicBezTo>
                    <a:cubicBezTo>
                      <a:pt x="1059" y="410"/>
                      <a:pt x="1059" y="410"/>
                      <a:pt x="1059" y="410"/>
                    </a:cubicBezTo>
                    <a:cubicBezTo>
                      <a:pt x="1026" y="410"/>
                      <a:pt x="999" y="383"/>
                      <a:pt x="999" y="350"/>
                    </a:cubicBezTo>
                    <a:lnTo>
                      <a:pt x="999" y="220"/>
                    </a:lnTo>
                    <a:close/>
                    <a:moveTo>
                      <a:pt x="230" y="815"/>
                    </a:moveTo>
                    <a:cubicBezTo>
                      <a:pt x="230" y="820"/>
                      <a:pt x="226" y="824"/>
                      <a:pt x="221" y="824"/>
                    </a:cubicBezTo>
                    <a:cubicBezTo>
                      <a:pt x="196" y="824"/>
                      <a:pt x="196" y="824"/>
                      <a:pt x="196" y="824"/>
                    </a:cubicBezTo>
                    <a:cubicBezTo>
                      <a:pt x="190" y="824"/>
                      <a:pt x="186" y="820"/>
                      <a:pt x="186" y="815"/>
                    </a:cubicBezTo>
                    <a:cubicBezTo>
                      <a:pt x="186" y="757"/>
                      <a:pt x="186" y="757"/>
                      <a:pt x="186" y="757"/>
                    </a:cubicBezTo>
                    <a:cubicBezTo>
                      <a:pt x="186" y="752"/>
                      <a:pt x="190" y="748"/>
                      <a:pt x="196" y="748"/>
                    </a:cubicBezTo>
                    <a:cubicBezTo>
                      <a:pt x="221" y="748"/>
                      <a:pt x="221" y="748"/>
                      <a:pt x="221" y="748"/>
                    </a:cubicBezTo>
                    <a:cubicBezTo>
                      <a:pt x="226" y="748"/>
                      <a:pt x="230" y="752"/>
                      <a:pt x="230" y="757"/>
                    </a:cubicBezTo>
                    <a:lnTo>
                      <a:pt x="230" y="815"/>
                    </a:lnTo>
                    <a:close/>
                    <a:moveTo>
                      <a:pt x="230" y="401"/>
                    </a:moveTo>
                    <a:cubicBezTo>
                      <a:pt x="230" y="406"/>
                      <a:pt x="226" y="410"/>
                      <a:pt x="221" y="410"/>
                    </a:cubicBezTo>
                    <a:cubicBezTo>
                      <a:pt x="196" y="410"/>
                      <a:pt x="196" y="410"/>
                      <a:pt x="196" y="410"/>
                    </a:cubicBezTo>
                    <a:cubicBezTo>
                      <a:pt x="190" y="410"/>
                      <a:pt x="186" y="406"/>
                      <a:pt x="186" y="401"/>
                    </a:cubicBezTo>
                    <a:cubicBezTo>
                      <a:pt x="186" y="343"/>
                      <a:pt x="186" y="343"/>
                      <a:pt x="186" y="343"/>
                    </a:cubicBezTo>
                    <a:cubicBezTo>
                      <a:pt x="186" y="338"/>
                      <a:pt x="190" y="334"/>
                      <a:pt x="196" y="334"/>
                    </a:cubicBezTo>
                    <a:cubicBezTo>
                      <a:pt x="221" y="334"/>
                      <a:pt x="221" y="334"/>
                      <a:pt x="221" y="334"/>
                    </a:cubicBezTo>
                    <a:cubicBezTo>
                      <a:pt x="226" y="334"/>
                      <a:pt x="230" y="338"/>
                      <a:pt x="230" y="343"/>
                    </a:cubicBezTo>
                    <a:lnTo>
                      <a:pt x="230" y="401"/>
                    </a:lnTo>
                    <a:close/>
                    <a:moveTo>
                      <a:pt x="230" y="226"/>
                    </a:moveTo>
                    <a:cubicBezTo>
                      <a:pt x="230" y="231"/>
                      <a:pt x="226" y="235"/>
                      <a:pt x="221" y="235"/>
                    </a:cubicBezTo>
                    <a:cubicBezTo>
                      <a:pt x="196" y="235"/>
                      <a:pt x="196" y="235"/>
                      <a:pt x="196" y="235"/>
                    </a:cubicBezTo>
                    <a:cubicBezTo>
                      <a:pt x="190" y="235"/>
                      <a:pt x="186" y="231"/>
                      <a:pt x="186" y="226"/>
                    </a:cubicBezTo>
                    <a:cubicBezTo>
                      <a:pt x="186" y="169"/>
                      <a:pt x="186" y="169"/>
                      <a:pt x="186" y="169"/>
                    </a:cubicBezTo>
                    <a:cubicBezTo>
                      <a:pt x="186" y="164"/>
                      <a:pt x="190" y="160"/>
                      <a:pt x="196" y="160"/>
                    </a:cubicBezTo>
                    <a:cubicBezTo>
                      <a:pt x="221" y="160"/>
                      <a:pt x="221" y="160"/>
                      <a:pt x="221" y="160"/>
                    </a:cubicBezTo>
                    <a:cubicBezTo>
                      <a:pt x="226" y="160"/>
                      <a:pt x="230" y="164"/>
                      <a:pt x="230" y="169"/>
                    </a:cubicBezTo>
                    <a:lnTo>
                      <a:pt x="230" y="226"/>
                    </a:lnTo>
                    <a:close/>
                    <a:moveTo>
                      <a:pt x="278" y="824"/>
                    </a:moveTo>
                    <a:cubicBezTo>
                      <a:pt x="258" y="824"/>
                      <a:pt x="242" y="807"/>
                      <a:pt x="242" y="787"/>
                    </a:cubicBezTo>
                    <a:cubicBezTo>
                      <a:pt x="242" y="767"/>
                      <a:pt x="258" y="751"/>
                      <a:pt x="278" y="751"/>
                    </a:cubicBezTo>
                    <a:cubicBezTo>
                      <a:pt x="298" y="751"/>
                      <a:pt x="314" y="767"/>
                      <a:pt x="314" y="787"/>
                    </a:cubicBezTo>
                    <a:cubicBezTo>
                      <a:pt x="314" y="807"/>
                      <a:pt x="298" y="824"/>
                      <a:pt x="278" y="824"/>
                    </a:cubicBezTo>
                    <a:close/>
                    <a:moveTo>
                      <a:pt x="278" y="410"/>
                    </a:moveTo>
                    <a:cubicBezTo>
                      <a:pt x="258" y="410"/>
                      <a:pt x="242" y="394"/>
                      <a:pt x="242" y="374"/>
                    </a:cubicBezTo>
                    <a:cubicBezTo>
                      <a:pt x="242" y="354"/>
                      <a:pt x="258" y="337"/>
                      <a:pt x="278" y="337"/>
                    </a:cubicBezTo>
                    <a:cubicBezTo>
                      <a:pt x="298" y="337"/>
                      <a:pt x="314" y="354"/>
                      <a:pt x="314" y="374"/>
                    </a:cubicBezTo>
                    <a:cubicBezTo>
                      <a:pt x="314" y="394"/>
                      <a:pt x="298" y="410"/>
                      <a:pt x="278" y="410"/>
                    </a:cubicBezTo>
                    <a:close/>
                    <a:moveTo>
                      <a:pt x="278" y="235"/>
                    </a:moveTo>
                    <a:cubicBezTo>
                      <a:pt x="258" y="235"/>
                      <a:pt x="242" y="219"/>
                      <a:pt x="242" y="199"/>
                    </a:cubicBezTo>
                    <a:cubicBezTo>
                      <a:pt x="242" y="179"/>
                      <a:pt x="258" y="163"/>
                      <a:pt x="278" y="163"/>
                    </a:cubicBezTo>
                    <a:cubicBezTo>
                      <a:pt x="298" y="163"/>
                      <a:pt x="314" y="179"/>
                      <a:pt x="314" y="199"/>
                    </a:cubicBezTo>
                    <a:cubicBezTo>
                      <a:pt x="314" y="219"/>
                      <a:pt x="298" y="235"/>
                      <a:pt x="278" y="235"/>
                    </a:cubicBezTo>
                    <a:close/>
                    <a:moveTo>
                      <a:pt x="369" y="815"/>
                    </a:moveTo>
                    <a:cubicBezTo>
                      <a:pt x="369" y="820"/>
                      <a:pt x="365" y="824"/>
                      <a:pt x="360" y="824"/>
                    </a:cubicBezTo>
                    <a:cubicBezTo>
                      <a:pt x="335" y="824"/>
                      <a:pt x="335" y="824"/>
                      <a:pt x="335" y="824"/>
                    </a:cubicBezTo>
                    <a:cubicBezTo>
                      <a:pt x="329" y="824"/>
                      <a:pt x="325" y="820"/>
                      <a:pt x="325" y="815"/>
                    </a:cubicBezTo>
                    <a:cubicBezTo>
                      <a:pt x="325" y="757"/>
                      <a:pt x="325" y="757"/>
                      <a:pt x="325" y="757"/>
                    </a:cubicBezTo>
                    <a:cubicBezTo>
                      <a:pt x="325" y="752"/>
                      <a:pt x="329" y="748"/>
                      <a:pt x="335" y="748"/>
                    </a:cubicBezTo>
                    <a:cubicBezTo>
                      <a:pt x="360" y="748"/>
                      <a:pt x="360" y="748"/>
                      <a:pt x="360" y="748"/>
                    </a:cubicBezTo>
                    <a:cubicBezTo>
                      <a:pt x="365" y="748"/>
                      <a:pt x="369" y="752"/>
                      <a:pt x="369" y="757"/>
                    </a:cubicBezTo>
                    <a:lnTo>
                      <a:pt x="369" y="815"/>
                    </a:lnTo>
                    <a:close/>
                    <a:moveTo>
                      <a:pt x="369" y="401"/>
                    </a:moveTo>
                    <a:cubicBezTo>
                      <a:pt x="369" y="406"/>
                      <a:pt x="365" y="410"/>
                      <a:pt x="360" y="410"/>
                    </a:cubicBezTo>
                    <a:cubicBezTo>
                      <a:pt x="335" y="410"/>
                      <a:pt x="335" y="410"/>
                      <a:pt x="335" y="410"/>
                    </a:cubicBezTo>
                    <a:cubicBezTo>
                      <a:pt x="329" y="410"/>
                      <a:pt x="325" y="406"/>
                      <a:pt x="325" y="401"/>
                    </a:cubicBezTo>
                    <a:cubicBezTo>
                      <a:pt x="325" y="343"/>
                      <a:pt x="325" y="343"/>
                      <a:pt x="325" y="343"/>
                    </a:cubicBezTo>
                    <a:cubicBezTo>
                      <a:pt x="325" y="338"/>
                      <a:pt x="329" y="334"/>
                      <a:pt x="335" y="334"/>
                    </a:cubicBezTo>
                    <a:cubicBezTo>
                      <a:pt x="360" y="334"/>
                      <a:pt x="360" y="334"/>
                      <a:pt x="360" y="334"/>
                    </a:cubicBezTo>
                    <a:cubicBezTo>
                      <a:pt x="365" y="334"/>
                      <a:pt x="369" y="338"/>
                      <a:pt x="369" y="343"/>
                    </a:cubicBezTo>
                    <a:lnTo>
                      <a:pt x="369" y="401"/>
                    </a:lnTo>
                    <a:close/>
                    <a:moveTo>
                      <a:pt x="369" y="226"/>
                    </a:moveTo>
                    <a:cubicBezTo>
                      <a:pt x="369" y="231"/>
                      <a:pt x="365" y="235"/>
                      <a:pt x="360" y="235"/>
                    </a:cubicBezTo>
                    <a:cubicBezTo>
                      <a:pt x="335" y="235"/>
                      <a:pt x="335" y="235"/>
                      <a:pt x="335" y="235"/>
                    </a:cubicBezTo>
                    <a:cubicBezTo>
                      <a:pt x="329" y="235"/>
                      <a:pt x="325" y="231"/>
                      <a:pt x="325" y="226"/>
                    </a:cubicBezTo>
                    <a:cubicBezTo>
                      <a:pt x="325" y="169"/>
                      <a:pt x="325" y="169"/>
                      <a:pt x="325" y="169"/>
                    </a:cubicBezTo>
                    <a:cubicBezTo>
                      <a:pt x="325" y="164"/>
                      <a:pt x="329" y="160"/>
                      <a:pt x="335" y="160"/>
                    </a:cubicBezTo>
                    <a:cubicBezTo>
                      <a:pt x="360" y="160"/>
                      <a:pt x="360" y="160"/>
                      <a:pt x="360" y="160"/>
                    </a:cubicBezTo>
                    <a:cubicBezTo>
                      <a:pt x="365" y="160"/>
                      <a:pt x="369" y="164"/>
                      <a:pt x="369" y="169"/>
                    </a:cubicBezTo>
                    <a:lnTo>
                      <a:pt x="369" y="226"/>
                    </a:lnTo>
                    <a:close/>
                    <a:moveTo>
                      <a:pt x="417" y="824"/>
                    </a:moveTo>
                    <a:cubicBezTo>
                      <a:pt x="397" y="824"/>
                      <a:pt x="381" y="807"/>
                      <a:pt x="381" y="787"/>
                    </a:cubicBezTo>
                    <a:cubicBezTo>
                      <a:pt x="381" y="767"/>
                      <a:pt x="397" y="751"/>
                      <a:pt x="417" y="751"/>
                    </a:cubicBezTo>
                    <a:cubicBezTo>
                      <a:pt x="437" y="751"/>
                      <a:pt x="453" y="767"/>
                      <a:pt x="453" y="787"/>
                    </a:cubicBezTo>
                    <a:cubicBezTo>
                      <a:pt x="453" y="807"/>
                      <a:pt x="437" y="824"/>
                      <a:pt x="417" y="824"/>
                    </a:cubicBezTo>
                    <a:close/>
                    <a:moveTo>
                      <a:pt x="417" y="410"/>
                    </a:moveTo>
                    <a:cubicBezTo>
                      <a:pt x="397" y="410"/>
                      <a:pt x="381" y="394"/>
                      <a:pt x="381" y="374"/>
                    </a:cubicBezTo>
                    <a:cubicBezTo>
                      <a:pt x="381" y="354"/>
                      <a:pt x="397" y="337"/>
                      <a:pt x="417" y="337"/>
                    </a:cubicBezTo>
                    <a:cubicBezTo>
                      <a:pt x="437" y="337"/>
                      <a:pt x="453" y="354"/>
                      <a:pt x="453" y="374"/>
                    </a:cubicBezTo>
                    <a:cubicBezTo>
                      <a:pt x="453" y="394"/>
                      <a:pt x="437" y="410"/>
                      <a:pt x="417" y="410"/>
                    </a:cubicBezTo>
                    <a:close/>
                    <a:moveTo>
                      <a:pt x="451" y="212"/>
                    </a:moveTo>
                    <a:cubicBezTo>
                      <a:pt x="446" y="226"/>
                      <a:pt x="432" y="235"/>
                      <a:pt x="417" y="235"/>
                    </a:cubicBezTo>
                    <a:cubicBezTo>
                      <a:pt x="397" y="235"/>
                      <a:pt x="381" y="219"/>
                      <a:pt x="381" y="199"/>
                    </a:cubicBezTo>
                    <a:cubicBezTo>
                      <a:pt x="381" y="179"/>
                      <a:pt x="397" y="163"/>
                      <a:pt x="417" y="163"/>
                    </a:cubicBezTo>
                    <a:cubicBezTo>
                      <a:pt x="437" y="163"/>
                      <a:pt x="453" y="179"/>
                      <a:pt x="453" y="199"/>
                    </a:cubicBezTo>
                    <a:cubicBezTo>
                      <a:pt x="453" y="199"/>
                      <a:pt x="453" y="199"/>
                      <a:pt x="453" y="199"/>
                    </a:cubicBezTo>
                    <a:cubicBezTo>
                      <a:pt x="453" y="203"/>
                      <a:pt x="452" y="208"/>
                      <a:pt x="451" y="212"/>
                    </a:cubicBezTo>
                    <a:close/>
                    <a:moveTo>
                      <a:pt x="508" y="815"/>
                    </a:moveTo>
                    <a:cubicBezTo>
                      <a:pt x="508" y="820"/>
                      <a:pt x="504" y="824"/>
                      <a:pt x="499" y="824"/>
                    </a:cubicBezTo>
                    <a:cubicBezTo>
                      <a:pt x="474" y="824"/>
                      <a:pt x="474" y="824"/>
                      <a:pt x="474" y="824"/>
                    </a:cubicBezTo>
                    <a:cubicBezTo>
                      <a:pt x="469" y="824"/>
                      <a:pt x="464" y="820"/>
                      <a:pt x="464" y="815"/>
                    </a:cubicBezTo>
                    <a:cubicBezTo>
                      <a:pt x="464" y="757"/>
                      <a:pt x="464" y="757"/>
                      <a:pt x="464" y="757"/>
                    </a:cubicBezTo>
                    <a:cubicBezTo>
                      <a:pt x="464" y="752"/>
                      <a:pt x="469" y="748"/>
                      <a:pt x="474" y="748"/>
                    </a:cubicBezTo>
                    <a:cubicBezTo>
                      <a:pt x="499" y="748"/>
                      <a:pt x="499" y="748"/>
                      <a:pt x="499" y="748"/>
                    </a:cubicBezTo>
                    <a:cubicBezTo>
                      <a:pt x="504" y="748"/>
                      <a:pt x="508" y="752"/>
                      <a:pt x="508" y="757"/>
                    </a:cubicBezTo>
                    <a:lnTo>
                      <a:pt x="508" y="815"/>
                    </a:lnTo>
                    <a:close/>
                    <a:moveTo>
                      <a:pt x="508" y="401"/>
                    </a:moveTo>
                    <a:cubicBezTo>
                      <a:pt x="508" y="406"/>
                      <a:pt x="504" y="410"/>
                      <a:pt x="499" y="410"/>
                    </a:cubicBezTo>
                    <a:cubicBezTo>
                      <a:pt x="474" y="410"/>
                      <a:pt x="474" y="410"/>
                      <a:pt x="474" y="410"/>
                    </a:cubicBezTo>
                    <a:cubicBezTo>
                      <a:pt x="469" y="410"/>
                      <a:pt x="464" y="406"/>
                      <a:pt x="464" y="401"/>
                    </a:cubicBezTo>
                    <a:cubicBezTo>
                      <a:pt x="464" y="343"/>
                      <a:pt x="464" y="343"/>
                      <a:pt x="464" y="343"/>
                    </a:cubicBezTo>
                    <a:cubicBezTo>
                      <a:pt x="464" y="338"/>
                      <a:pt x="469" y="334"/>
                      <a:pt x="474" y="334"/>
                    </a:cubicBezTo>
                    <a:cubicBezTo>
                      <a:pt x="499" y="334"/>
                      <a:pt x="499" y="334"/>
                      <a:pt x="499" y="334"/>
                    </a:cubicBezTo>
                    <a:cubicBezTo>
                      <a:pt x="504" y="334"/>
                      <a:pt x="508" y="338"/>
                      <a:pt x="508" y="343"/>
                    </a:cubicBezTo>
                    <a:lnTo>
                      <a:pt x="508" y="401"/>
                    </a:lnTo>
                    <a:close/>
                    <a:moveTo>
                      <a:pt x="508" y="226"/>
                    </a:moveTo>
                    <a:cubicBezTo>
                      <a:pt x="508" y="231"/>
                      <a:pt x="504" y="235"/>
                      <a:pt x="499" y="235"/>
                    </a:cubicBezTo>
                    <a:cubicBezTo>
                      <a:pt x="474" y="235"/>
                      <a:pt x="474" y="235"/>
                      <a:pt x="474" y="235"/>
                    </a:cubicBezTo>
                    <a:cubicBezTo>
                      <a:pt x="469" y="235"/>
                      <a:pt x="464" y="231"/>
                      <a:pt x="464" y="226"/>
                    </a:cubicBezTo>
                    <a:cubicBezTo>
                      <a:pt x="464" y="169"/>
                      <a:pt x="464" y="169"/>
                      <a:pt x="464" y="169"/>
                    </a:cubicBezTo>
                    <a:cubicBezTo>
                      <a:pt x="464" y="164"/>
                      <a:pt x="469" y="160"/>
                      <a:pt x="474" y="160"/>
                    </a:cubicBezTo>
                    <a:cubicBezTo>
                      <a:pt x="499" y="160"/>
                      <a:pt x="499" y="160"/>
                      <a:pt x="499" y="160"/>
                    </a:cubicBezTo>
                    <a:cubicBezTo>
                      <a:pt x="504" y="160"/>
                      <a:pt x="508" y="164"/>
                      <a:pt x="508" y="169"/>
                    </a:cubicBezTo>
                    <a:lnTo>
                      <a:pt x="508" y="226"/>
                    </a:lnTo>
                    <a:close/>
                    <a:moveTo>
                      <a:pt x="556" y="824"/>
                    </a:moveTo>
                    <a:cubicBezTo>
                      <a:pt x="536" y="824"/>
                      <a:pt x="520" y="807"/>
                      <a:pt x="520" y="787"/>
                    </a:cubicBezTo>
                    <a:cubicBezTo>
                      <a:pt x="520" y="767"/>
                      <a:pt x="536" y="751"/>
                      <a:pt x="556" y="751"/>
                    </a:cubicBezTo>
                    <a:cubicBezTo>
                      <a:pt x="576" y="751"/>
                      <a:pt x="592" y="767"/>
                      <a:pt x="592" y="787"/>
                    </a:cubicBezTo>
                    <a:cubicBezTo>
                      <a:pt x="592" y="807"/>
                      <a:pt x="576" y="824"/>
                      <a:pt x="556" y="824"/>
                    </a:cubicBezTo>
                    <a:close/>
                    <a:moveTo>
                      <a:pt x="592" y="379"/>
                    </a:moveTo>
                    <a:cubicBezTo>
                      <a:pt x="589" y="397"/>
                      <a:pt x="574" y="410"/>
                      <a:pt x="556" y="410"/>
                    </a:cubicBezTo>
                    <a:cubicBezTo>
                      <a:pt x="536" y="410"/>
                      <a:pt x="520" y="394"/>
                      <a:pt x="520" y="374"/>
                    </a:cubicBezTo>
                    <a:cubicBezTo>
                      <a:pt x="520" y="365"/>
                      <a:pt x="523" y="357"/>
                      <a:pt x="528" y="350"/>
                    </a:cubicBezTo>
                    <a:cubicBezTo>
                      <a:pt x="535" y="342"/>
                      <a:pt x="545" y="337"/>
                      <a:pt x="556" y="337"/>
                    </a:cubicBezTo>
                    <a:cubicBezTo>
                      <a:pt x="576" y="337"/>
                      <a:pt x="592" y="354"/>
                      <a:pt x="592" y="374"/>
                    </a:cubicBezTo>
                    <a:cubicBezTo>
                      <a:pt x="592" y="375"/>
                      <a:pt x="592" y="377"/>
                      <a:pt x="592" y="379"/>
                    </a:cubicBezTo>
                    <a:close/>
                    <a:moveTo>
                      <a:pt x="556" y="235"/>
                    </a:moveTo>
                    <a:cubicBezTo>
                      <a:pt x="536" y="235"/>
                      <a:pt x="520" y="219"/>
                      <a:pt x="520" y="199"/>
                    </a:cubicBezTo>
                    <a:cubicBezTo>
                      <a:pt x="520" y="179"/>
                      <a:pt x="536" y="163"/>
                      <a:pt x="556" y="163"/>
                    </a:cubicBezTo>
                    <a:cubicBezTo>
                      <a:pt x="576" y="163"/>
                      <a:pt x="592" y="179"/>
                      <a:pt x="592" y="199"/>
                    </a:cubicBezTo>
                    <a:cubicBezTo>
                      <a:pt x="592" y="219"/>
                      <a:pt x="576" y="235"/>
                      <a:pt x="556" y="235"/>
                    </a:cubicBezTo>
                    <a:close/>
                    <a:moveTo>
                      <a:pt x="647" y="815"/>
                    </a:moveTo>
                    <a:cubicBezTo>
                      <a:pt x="647" y="820"/>
                      <a:pt x="643" y="824"/>
                      <a:pt x="638" y="824"/>
                    </a:cubicBezTo>
                    <a:cubicBezTo>
                      <a:pt x="613" y="824"/>
                      <a:pt x="613" y="824"/>
                      <a:pt x="613" y="824"/>
                    </a:cubicBezTo>
                    <a:cubicBezTo>
                      <a:pt x="608" y="824"/>
                      <a:pt x="603" y="820"/>
                      <a:pt x="603" y="815"/>
                    </a:cubicBezTo>
                    <a:cubicBezTo>
                      <a:pt x="603" y="757"/>
                      <a:pt x="603" y="757"/>
                      <a:pt x="603" y="757"/>
                    </a:cubicBezTo>
                    <a:cubicBezTo>
                      <a:pt x="603" y="752"/>
                      <a:pt x="608" y="748"/>
                      <a:pt x="613" y="748"/>
                    </a:cubicBezTo>
                    <a:cubicBezTo>
                      <a:pt x="638" y="748"/>
                      <a:pt x="638" y="748"/>
                      <a:pt x="638" y="748"/>
                    </a:cubicBezTo>
                    <a:cubicBezTo>
                      <a:pt x="643" y="748"/>
                      <a:pt x="647" y="752"/>
                      <a:pt x="647" y="757"/>
                    </a:cubicBezTo>
                    <a:lnTo>
                      <a:pt x="647" y="815"/>
                    </a:lnTo>
                    <a:close/>
                    <a:moveTo>
                      <a:pt x="647" y="401"/>
                    </a:moveTo>
                    <a:cubicBezTo>
                      <a:pt x="647" y="406"/>
                      <a:pt x="643" y="410"/>
                      <a:pt x="638" y="410"/>
                    </a:cubicBezTo>
                    <a:cubicBezTo>
                      <a:pt x="613" y="410"/>
                      <a:pt x="613" y="410"/>
                      <a:pt x="613" y="410"/>
                    </a:cubicBezTo>
                    <a:cubicBezTo>
                      <a:pt x="608" y="410"/>
                      <a:pt x="603" y="406"/>
                      <a:pt x="603" y="401"/>
                    </a:cubicBezTo>
                    <a:cubicBezTo>
                      <a:pt x="603" y="343"/>
                      <a:pt x="603" y="343"/>
                      <a:pt x="603" y="343"/>
                    </a:cubicBezTo>
                    <a:cubicBezTo>
                      <a:pt x="603" y="338"/>
                      <a:pt x="608" y="334"/>
                      <a:pt x="613" y="334"/>
                    </a:cubicBezTo>
                    <a:cubicBezTo>
                      <a:pt x="638" y="334"/>
                      <a:pt x="638" y="334"/>
                      <a:pt x="638" y="334"/>
                    </a:cubicBezTo>
                    <a:cubicBezTo>
                      <a:pt x="643" y="334"/>
                      <a:pt x="647" y="338"/>
                      <a:pt x="647" y="343"/>
                    </a:cubicBezTo>
                    <a:lnTo>
                      <a:pt x="647" y="401"/>
                    </a:lnTo>
                    <a:close/>
                    <a:moveTo>
                      <a:pt x="647" y="226"/>
                    </a:moveTo>
                    <a:cubicBezTo>
                      <a:pt x="647" y="231"/>
                      <a:pt x="643" y="235"/>
                      <a:pt x="638" y="235"/>
                    </a:cubicBezTo>
                    <a:cubicBezTo>
                      <a:pt x="613" y="235"/>
                      <a:pt x="613" y="235"/>
                      <a:pt x="613" y="235"/>
                    </a:cubicBezTo>
                    <a:cubicBezTo>
                      <a:pt x="608" y="235"/>
                      <a:pt x="603" y="231"/>
                      <a:pt x="603" y="226"/>
                    </a:cubicBezTo>
                    <a:cubicBezTo>
                      <a:pt x="603" y="169"/>
                      <a:pt x="603" y="169"/>
                      <a:pt x="603" y="169"/>
                    </a:cubicBezTo>
                    <a:cubicBezTo>
                      <a:pt x="603" y="164"/>
                      <a:pt x="608" y="160"/>
                      <a:pt x="613" y="160"/>
                    </a:cubicBezTo>
                    <a:cubicBezTo>
                      <a:pt x="638" y="160"/>
                      <a:pt x="638" y="160"/>
                      <a:pt x="638" y="160"/>
                    </a:cubicBezTo>
                    <a:cubicBezTo>
                      <a:pt x="643" y="160"/>
                      <a:pt x="647" y="164"/>
                      <a:pt x="647" y="169"/>
                    </a:cubicBezTo>
                    <a:lnTo>
                      <a:pt x="647" y="226"/>
                    </a:lnTo>
                    <a:close/>
                    <a:moveTo>
                      <a:pt x="695" y="824"/>
                    </a:moveTo>
                    <a:cubicBezTo>
                      <a:pt x="675" y="824"/>
                      <a:pt x="659" y="807"/>
                      <a:pt x="659" y="787"/>
                    </a:cubicBezTo>
                    <a:cubicBezTo>
                      <a:pt x="659" y="767"/>
                      <a:pt x="675" y="751"/>
                      <a:pt x="695" y="751"/>
                    </a:cubicBezTo>
                    <a:cubicBezTo>
                      <a:pt x="715" y="751"/>
                      <a:pt x="731" y="767"/>
                      <a:pt x="731" y="787"/>
                    </a:cubicBezTo>
                    <a:cubicBezTo>
                      <a:pt x="731" y="807"/>
                      <a:pt x="715" y="824"/>
                      <a:pt x="695" y="824"/>
                    </a:cubicBezTo>
                    <a:close/>
                    <a:moveTo>
                      <a:pt x="695" y="410"/>
                    </a:moveTo>
                    <a:cubicBezTo>
                      <a:pt x="675" y="410"/>
                      <a:pt x="659" y="394"/>
                      <a:pt x="659" y="374"/>
                    </a:cubicBezTo>
                    <a:cubicBezTo>
                      <a:pt x="659" y="354"/>
                      <a:pt x="675" y="337"/>
                      <a:pt x="695" y="337"/>
                    </a:cubicBezTo>
                    <a:cubicBezTo>
                      <a:pt x="715" y="337"/>
                      <a:pt x="731" y="354"/>
                      <a:pt x="731" y="374"/>
                    </a:cubicBezTo>
                    <a:cubicBezTo>
                      <a:pt x="731" y="394"/>
                      <a:pt x="715" y="410"/>
                      <a:pt x="695" y="410"/>
                    </a:cubicBezTo>
                    <a:close/>
                    <a:moveTo>
                      <a:pt x="695" y="235"/>
                    </a:moveTo>
                    <a:cubicBezTo>
                      <a:pt x="675" y="235"/>
                      <a:pt x="659" y="219"/>
                      <a:pt x="659" y="199"/>
                    </a:cubicBezTo>
                    <a:cubicBezTo>
                      <a:pt x="659" y="179"/>
                      <a:pt x="675" y="163"/>
                      <a:pt x="695" y="163"/>
                    </a:cubicBezTo>
                    <a:cubicBezTo>
                      <a:pt x="715" y="163"/>
                      <a:pt x="731" y="179"/>
                      <a:pt x="731" y="199"/>
                    </a:cubicBezTo>
                    <a:cubicBezTo>
                      <a:pt x="731" y="219"/>
                      <a:pt x="715" y="235"/>
                      <a:pt x="695" y="235"/>
                    </a:cubicBezTo>
                    <a:close/>
                    <a:moveTo>
                      <a:pt x="786" y="815"/>
                    </a:moveTo>
                    <a:cubicBezTo>
                      <a:pt x="786" y="820"/>
                      <a:pt x="782" y="824"/>
                      <a:pt x="777" y="824"/>
                    </a:cubicBezTo>
                    <a:cubicBezTo>
                      <a:pt x="752" y="824"/>
                      <a:pt x="752" y="824"/>
                      <a:pt x="752" y="824"/>
                    </a:cubicBezTo>
                    <a:cubicBezTo>
                      <a:pt x="747" y="824"/>
                      <a:pt x="743" y="820"/>
                      <a:pt x="743" y="815"/>
                    </a:cubicBezTo>
                    <a:cubicBezTo>
                      <a:pt x="743" y="757"/>
                      <a:pt x="743" y="757"/>
                      <a:pt x="743" y="757"/>
                    </a:cubicBezTo>
                    <a:cubicBezTo>
                      <a:pt x="743" y="752"/>
                      <a:pt x="747" y="748"/>
                      <a:pt x="752" y="748"/>
                    </a:cubicBezTo>
                    <a:cubicBezTo>
                      <a:pt x="777" y="748"/>
                      <a:pt x="777" y="748"/>
                      <a:pt x="777" y="748"/>
                    </a:cubicBezTo>
                    <a:cubicBezTo>
                      <a:pt x="782" y="748"/>
                      <a:pt x="786" y="752"/>
                      <a:pt x="786" y="757"/>
                    </a:cubicBezTo>
                    <a:lnTo>
                      <a:pt x="786" y="815"/>
                    </a:lnTo>
                    <a:close/>
                    <a:moveTo>
                      <a:pt x="786" y="401"/>
                    </a:moveTo>
                    <a:cubicBezTo>
                      <a:pt x="786" y="406"/>
                      <a:pt x="782" y="410"/>
                      <a:pt x="777" y="410"/>
                    </a:cubicBezTo>
                    <a:cubicBezTo>
                      <a:pt x="752" y="410"/>
                      <a:pt x="752" y="410"/>
                      <a:pt x="752" y="410"/>
                    </a:cubicBezTo>
                    <a:cubicBezTo>
                      <a:pt x="747" y="410"/>
                      <a:pt x="743" y="406"/>
                      <a:pt x="743" y="401"/>
                    </a:cubicBezTo>
                    <a:cubicBezTo>
                      <a:pt x="743" y="343"/>
                      <a:pt x="743" y="343"/>
                      <a:pt x="743" y="343"/>
                    </a:cubicBezTo>
                    <a:cubicBezTo>
                      <a:pt x="743" y="338"/>
                      <a:pt x="747" y="334"/>
                      <a:pt x="752" y="334"/>
                    </a:cubicBezTo>
                    <a:cubicBezTo>
                      <a:pt x="777" y="334"/>
                      <a:pt x="777" y="334"/>
                      <a:pt x="777" y="334"/>
                    </a:cubicBezTo>
                    <a:cubicBezTo>
                      <a:pt x="782" y="334"/>
                      <a:pt x="786" y="338"/>
                      <a:pt x="786" y="343"/>
                    </a:cubicBezTo>
                    <a:lnTo>
                      <a:pt x="786" y="401"/>
                    </a:lnTo>
                    <a:close/>
                    <a:moveTo>
                      <a:pt x="786" y="226"/>
                    </a:moveTo>
                    <a:cubicBezTo>
                      <a:pt x="786" y="231"/>
                      <a:pt x="782" y="235"/>
                      <a:pt x="777" y="235"/>
                    </a:cubicBezTo>
                    <a:cubicBezTo>
                      <a:pt x="752" y="235"/>
                      <a:pt x="752" y="235"/>
                      <a:pt x="752" y="235"/>
                    </a:cubicBezTo>
                    <a:cubicBezTo>
                      <a:pt x="747" y="235"/>
                      <a:pt x="743" y="231"/>
                      <a:pt x="743" y="226"/>
                    </a:cubicBezTo>
                    <a:cubicBezTo>
                      <a:pt x="743" y="169"/>
                      <a:pt x="743" y="169"/>
                      <a:pt x="743" y="169"/>
                    </a:cubicBezTo>
                    <a:cubicBezTo>
                      <a:pt x="743" y="164"/>
                      <a:pt x="747" y="160"/>
                      <a:pt x="752" y="160"/>
                    </a:cubicBezTo>
                    <a:cubicBezTo>
                      <a:pt x="777" y="160"/>
                      <a:pt x="777" y="160"/>
                      <a:pt x="777" y="160"/>
                    </a:cubicBezTo>
                    <a:cubicBezTo>
                      <a:pt x="782" y="160"/>
                      <a:pt x="786" y="164"/>
                      <a:pt x="786" y="169"/>
                    </a:cubicBezTo>
                    <a:lnTo>
                      <a:pt x="786" y="226"/>
                    </a:lnTo>
                    <a:close/>
                    <a:moveTo>
                      <a:pt x="834" y="824"/>
                    </a:moveTo>
                    <a:cubicBezTo>
                      <a:pt x="814" y="824"/>
                      <a:pt x="798" y="807"/>
                      <a:pt x="798" y="787"/>
                    </a:cubicBezTo>
                    <a:cubicBezTo>
                      <a:pt x="798" y="767"/>
                      <a:pt x="814" y="751"/>
                      <a:pt x="834" y="751"/>
                    </a:cubicBezTo>
                    <a:cubicBezTo>
                      <a:pt x="854" y="751"/>
                      <a:pt x="870" y="767"/>
                      <a:pt x="870" y="787"/>
                    </a:cubicBezTo>
                    <a:cubicBezTo>
                      <a:pt x="870" y="807"/>
                      <a:pt x="854" y="824"/>
                      <a:pt x="834" y="824"/>
                    </a:cubicBezTo>
                    <a:close/>
                    <a:moveTo>
                      <a:pt x="834" y="235"/>
                    </a:moveTo>
                    <a:cubicBezTo>
                      <a:pt x="814" y="235"/>
                      <a:pt x="798" y="219"/>
                      <a:pt x="798" y="199"/>
                    </a:cubicBezTo>
                    <a:cubicBezTo>
                      <a:pt x="798" y="179"/>
                      <a:pt x="814" y="163"/>
                      <a:pt x="834" y="163"/>
                    </a:cubicBezTo>
                    <a:cubicBezTo>
                      <a:pt x="854" y="163"/>
                      <a:pt x="870" y="179"/>
                      <a:pt x="870" y="199"/>
                    </a:cubicBezTo>
                    <a:cubicBezTo>
                      <a:pt x="870" y="219"/>
                      <a:pt x="854" y="235"/>
                      <a:pt x="834" y="235"/>
                    </a:cubicBezTo>
                    <a:close/>
                    <a:moveTo>
                      <a:pt x="925" y="815"/>
                    </a:moveTo>
                    <a:cubicBezTo>
                      <a:pt x="925" y="820"/>
                      <a:pt x="921" y="824"/>
                      <a:pt x="916" y="824"/>
                    </a:cubicBezTo>
                    <a:cubicBezTo>
                      <a:pt x="891" y="824"/>
                      <a:pt x="891" y="824"/>
                      <a:pt x="891" y="824"/>
                    </a:cubicBezTo>
                    <a:cubicBezTo>
                      <a:pt x="886" y="824"/>
                      <a:pt x="882" y="820"/>
                      <a:pt x="882" y="815"/>
                    </a:cubicBezTo>
                    <a:cubicBezTo>
                      <a:pt x="882" y="757"/>
                      <a:pt x="882" y="757"/>
                      <a:pt x="882" y="757"/>
                    </a:cubicBezTo>
                    <a:cubicBezTo>
                      <a:pt x="882" y="752"/>
                      <a:pt x="886" y="748"/>
                      <a:pt x="891" y="748"/>
                    </a:cubicBezTo>
                    <a:cubicBezTo>
                      <a:pt x="916" y="748"/>
                      <a:pt x="916" y="748"/>
                      <a:pt x="916" y="748"/>
                    </a:cubicBezTo>
                    <a:cubicBezTo>
                      <a:pt x="921" y="748"/>
                      <a:pt x="925" y="752"/>
                      <a:pt x="925" y="757"/>
                    </a:cubicBezTo>
                    <a:lnTo>
                      <a:pt x="925" y="815"/>
                    </a:lnTo>
                    <a:close/>
                    <a:moveTo>
                      <a:pt x="925" y="226"/>
                    </a:moveTo>
                    <a:cubicBezTo>
                      <a:pt x="925" y="231"/>
                      <a:pt x="921" y="235"/>
                      <a:pt x="916" y="235"/>
                    </a:cubicBezTo>
                    <a:cubicBezTo>
                      <a:pt x="891" y="235"/>
                      <a:pt x="891" y="235"/>
                      <a:pt x="891" y="235"/>
                    </a:cubicBezTo>
                    <a:cubicBezTo>
                      <a:pt x="886" y="235"/>
                      <a:pt x="882" y="231"/>
                      <a:pt x="882" y="226"/>
                    </a:cubicBezTo>
                    <a:cubicBezTo>
                      <a:pt x="882" y="169"/>
                      <a:pt x="882" y="169"/>
                      <a:pt x="882" y="169"/>
                    </a:cubicBezTo>
                    <a:cubicBezTo>
                      <a:pt x="882" y="164"/>
                      <a:pt x="886" y="160"/>
                      <a:pt x="891" y="160"/>
                    </a:cubicBezTo>
                    <a:cubicBezTo>
                      <a:pt x="916" y="160"/>
                      <a:pt x="916" y="160"/>
                      <a:pt x="916" y="160"/>
                    </a:cubicBezTo>
                    <a:cubicBezTo>
                      <a:pt x="921" y="160"/>
                      <a:pt x="925" y="164"/>
                      <a:pt x="925" y="169"/>
                    </a:cubicBezTo>
                    <a:lnTo>
                      <a:pt x="925" y="226"/>
                    </a:lnTo>
                    <a:close/>
                    <a:moveTo>
                      <a:pt x="1339" y="715"/>
                    </a:moveTo>
                    <a:cubicBezTo>
                      <a:pt x="1337" y="722"/>
                      <a:pt x="1335" y="728"/>
                      <a:pt x="1333" y="733"/>
                    </a:cubicBezTo>
                    <a:cubicBezTo>
                      <a:pt x="1329" y="744"/>
                      <a:pt x="1323" y="755"/>
                      <a:pt x="1316" y="764"/>
                    </a:cubicBezTo>
                    <a:cubicBezTo>
                      <a:pt x="1310" y="774"/>
                      <a:pt x="1302" y="783"/>
                      <a:pt x="1294" y="791"/>
                    </a:cubicBezTo>
                    <a:cubicBezTo>
                      <a:pt x="1294" y="791"/>
                      <a:pt x="1291" y="794"/>
                      <a:pt x="1291" y="795"/>
                    </a:cubicBezTo>
                    <a:cubicBezTo>
                      <a:pt x="1288" y="797"/>
                      <a:pt x="1288" y="797"/>
                      <a:pt x="1288" y="797"/>
                    </a:cubicBezTo>
                    <a:cubicBezTo>
                      <a:pt x="1271" y="813"/>
                      <a:pt x="1251" y="825"/>
                      <a:pt x="1229" y="833"/>
                    </a:cubicBezTo>
                    <a:cubicBezTo>
                      <a:pt x="1213" y="839"/>
                      <a:pt x="1196" y="842"/>
                      <a:pt x="1185" y="843"/>
                    </a:cubicBezTo>
                    <a:cubicBezTo>
                      <a:pt x="1179" y="844"/>
                      <a:pt x="1173" y="844"/>
                      <a:pt x="1167" y="844"/>
                    </a:cubicBezTo>
                    <a:cubicBezTo>
                      <a:pt x="1121" y="844"/>
                      <a:pt x="1074" y="824"/>
                      <a:pt x="1041" y="791"/>
                    </a:cubicBezTo>
                    <a:cubicBezTo>
                      <a:pt x="1027" y="777"/>
                      <a:pt x="1015" y="761"/>
                      <a:pt x="1006" y="743"/>
                    </a:cubicBezTo>
                    <a:cubicBezTo>
                      <a:pt x="990" y="708"/>
                      <a:pt x="985" y="668"/>
                      <a:pt x="992" y="630"/>
                    </a:cubicBezTo>
                    <a:cubicBezTo>
                      <a:pt x="996" y="613"/>
                      <a:pt x="1002" y="596"/>
                      <a:pt x="1011" y="578"/>
                    </a:cubicBezTo>
                    <a:cubicBezTo>
                      <a:pt x="1013" y="575"/>
                      <a:pt x="1014" y="573"/>
                      <a:pt x="1016" y="570"/>
                    </a:cubicBezTo>
                    <a:cubicBezTo>
                      <a:pt x="1034" y="540"/>
                      <a:pt x="1065" y="514"/>
                      <a:pt x="1099" y="500"/>
                    </a:cubicBezTo>
                    <a:cubicBezTo>
                      <a:pt x="1116" y="493"/>
                      <a:pt x="1135" y="488"/>
                      <a:pt x="1156" y="486"/>
                    </a:cubicBezTo>
                    <a:cubicBezTo>
                      <a:pt x="1159" y="486"/>
                      <a:pt x="1163" y="486"/>
                      <a:pt x="1166" y="486"/>
                    </a:cubicBezTo>
                    <a:cubicBezTo>
                      <a:pt x="1184" y="486"/>
                      <a:pt x="1202" y="489"/>
                      <a:pt x="1213" y="492"/>
                    </a:cubicBezTo>
                    <a:cubicBezTo>
                      <a:pt x="1245" y="500"/>
                      <a:pt x="1276" y="518"/>
                      <a:pt x="1300" y="544"/>
                    </a:cubicBezTo>
                    <a:cubicBezTo>
                      <a:pt x="1321" y="567"/>
                      <a:pt x="1337" y="599"/>
                      <a:pt x="1343" y="630"/>
                    </a:cubicBezTo>
                    <a:cubicBezTo>
                      <a:pt x="1349" y="658"/>
                      <a:pt x="1347" y="687"/>
                      <a:pt x="1339" y="7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9" name="Freeform 98">
                <a:extLst>
                  <a:ext uri="{FF2B5EF4-FFF2-40B4-BE49-F238E27FC236}">
                    <a16:creationId xmlns:a16="http://schemas.microsoft.com/office/drawing/2014/main" id="{EEF1A9DC-182D-4275-A664-90022CF676FD}"/>
                  </a:ext>
                </a:extLst>
              </p:cNvPr>
              <p:cNvSpPr>
                <a:spLocks/>
              </p:cNvSpPr>
              <p:nvPr/>
            </p:nvSpPr>
            <p:spPr bwMode="auto">
              <a:xfrm>
                <a:off x="9945349" y="5917702"/>
                <a:ext cx="44937" cy="17475"/>
              </a:xfrm>
              <a:custGeom>
                <a:avLst/>
                <a:gdLst>
                  <a:gd name="T0" fmla="*/ 139 w 142"/>
                  <a:gd name="T1" fmla="*/ 0 h 60"/>
                  <a:gd name="T2" fmla="*/ 137 w 142"/>
                  <a:gd name="T3" fmla="*/ 0 h 60"/>
                  <a:gd name="T4" fmla="*/ 135 w 142"/>
                  <a:gd name="T5" fmla="*/ 0 h 60"/>
                  <a:gd name="T6" fmla="*/ 6 w 142"/>
                  <a:gd name="T7" fmla="*/ 0 h 60"/>
                  <a:gd name="T8" fmla="*/ 4 w 142"/>
                  <a:gd name="T9" fmla="*/ 0 h 60"/>
                  <a:gd name="T10" fmla="*/ 3 w 142"/>
                  <a:gd name="T11" fmla="*/ 0 h 60"/>
                  <a:gd name="T12" fmla="*/ 1 w 142"/>
                  <a:gd name="T13" fmla="*/ 0 h 60"/>
                  <a:gd name="T14" fmla="*/ 0 w 142"/>
                  <a:gd name="T15" fmla="*/ 0 h 60"/>
                  <a:gd name="T16" fmla="*/ 0 w 142"/>
                  <a:gd name="T17" fmla="*/ 1 h 60"/>
                  <a:gd name="T18" fmla="*/ 0 w 142"/>
                  <a:gd name="T19" fmla="*/ 3 h 60"/>
                  <a:gd name="T20" fmla="*/ 0 w 142"/>
                  <a:gd name="T21" fmla="*/ 5 h 60"/>
                  <a:gd name="T22" fmla="*/ 0 w 142"/>
                  <a:gd name="T23" fmla="*/ 6 h 60"/>
                  <a:gd name="T24" fmla="*/ 7 w 142"/>
                  <a:gd name="T25" fmla="*/ 53 h 60"/>
                  <a:gd name="T26" fmla="*/ 8 w 142"/>
                  <a:gd name="T27" fmla="*/ 55 h 60"/>
                  <a:gd name="T28" fmla="*/ 8 w 142"/>
                  <a:gd name="T29" fmla="*/ 56 h 60"/>
                  <a:gd name="T30" fmla="*/ 8 w 142"/>
                  <a:gd name="T31" fmla="*/ 58 h 60"/>
                  <a:gd name="T32" fmla="*/ 9 w 142"/>
                  <a:gd name="T33" fmla="*/ 60 h 60"/>
                  <a:gd name="T34" fmla="*/ 9 w 142"/>
                  <a:gd name="T35" fmla="*/ 60 h 60"/>
                  <a:gd name="T36" fmla="*/ 11 w 142"/>
                  <a:gd name="T37" fmla="*/ 59 h 60"/>
                  <a:gd name="T38" fmla="*/ 13 w 142"/>
                  <a:gd name="T39" fmla="*/ 59 h 60"/>
                  <a:gd name="T40" fmla="*/ 15 w 142"/>
                  <a:gd name="T41" fmla="*/ 58 h 60"/>
                  <a:gd name="T42" fmla="*/ 17 w 142"/>
                  <a:gd name="T43" fmla="*/ 58 h 60"/>
                  <a:gd name="T44" fmla="*/ 71 w 142"/>
                  <a:gd name="T45" fmla="*/ 53 h 60"/>
                  <a:gd name="T46" fmla="*/ 71 w 142"/>
                  <a:gd name="T47" fmla="*/ 53 h 60"/>
                  <a:gd name="T48" fmla="*/ 71 w 142"/>
                  <a:gd name="T49" fmla="*/ 53 h 60"/>
                  <a:gd name="T50" fmla="*/ 125 w 142"/>
                  <a:gd name="T51" fmla="*/ 58 h 60"/>
                  <a:gd name="T52" fmla="*/ 127 w 142"/>
                  <a:gd name="T53" fmla="*/ 58 h 60"/>
                  <a:gd name="T54" fmla="*/ 128 w 142"/>
                  <a:gd name="T55" fmla="*/ 59 h 60"/>
                  <a:gd name="T56" fmla="*/ 130 w 142"/>
                  <a:gd name="T57" fmla="*/ 59 h 60"/>
                  <a:gd name="T58" fmla="*/ 132 w 142"/>
                  <a:gd name="T59" fmla="*/ 60 h 60"/>
                  <a:gd name="T60" fmla="*/ 132 w 142"/>
                  <a:gd name="T61" fmla="*/ 60 h 60"/>
                  <a:gd name="T62" fmla="*/ 133 w 142"/>
                  <a:gd name="T63" fmla="*/ 58 h 60"/>
                  <a:gd name="T64" fmla="*/ 133 w 142"/>
                  <a:gd name="T65" fmla="*/ 56 h 60"/>
                  <a:gd name="T66" fmla="*/ 134 w 142"/>
                  <a:gd name="T67" fmla="*/ 55 h 60"/>
                  <a:gd name="T68" fmla="*/ 134 w 142"/>
                  <a:gd name="T69" fmla="*/ 53 h 60"/>
                  <a:gd name="T70" fmla="*/ 141 w 142"/>
                  <a:gd name="T71" fmla="*/ 6 h 60"/>
                  <a:gd name="T72" fmla="*/ 141 w 142"/>
                  <a:gd name="T73" fmla="*/ 5 h 60"/>
                  <a:gd name="T74" fmla="*/ 141 w 142"/>
                  <a:gd name="T75" fmla="*/ 3 h 60"/>
                  <a:gd name="T76" fmla="*/ 142 w 142"/>
                  <a:gd name="T77" fmla="*/ 1 h 60"/>
                  <a:gd name="T78" fmla="*/ 142 w 142"/>
                  <a:gd name="T79" fmla="*/ 0 h 60"/>
                  <a:gd name="T80" fmla="*/ 141 w 142"/>
                  <a:gd name="T81" fmla="*/ 0 h 60"/>
                  <a:gd name="T82" fmla="*/ 139 w 142"/>
                  <a:gd name="T8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60">
                    <a:moveTo>
                      <a:pt x="139" y="0"/>
                    </a:moveTo>
                    <a:cubicBezTo>
                      <a:pt x="137" y="0"/>
                      <a:pt x="137" y="0"/>
                      <a:pt x="137" y="0"/>
                    </a:cubicBezTo>
                    <a:cubicBezTo>
                      <a:pt x="135" y="0"/>
                      <a:pt x="135" y="0"/>
                      <a:pt x="135" y="0"/>
                    </a:cubicBezTo>
                    <a:cubicBezTo>
                      <a:pt x="6" y="0"/>
                      <a:pt x="6" y="0"/>
                      <a:pt x="6" y="0"/>
                    </a:cubicBezTo>
                    <a:cubicBezTo>
                      <a:pt x="4" y="0"/>
                      <a:pt x="4" y="0"/>
                      <a:pt x="4" y="0"/>
                    </a:cubicBezTo>
                    <a:cubicBezTo>
                      <a:pt x="3" y="0"/>
                      <a:pt x="3" y="0"/>
                      <a:pt x="3" y="0"/>
                    </a:cubicBezTo>
                    <a:cubicBezTo>
                      <a:pt x="1" y="0"/>
                      <a:pt x="1" y="0"/>
                      <a:pt x="1" y="0"/>
                    </a:cubicBezTo>
                    <a:cubicBezTo>
                      <a:pt x="0" y="0"/>
                      <a:pt x="0" y="0"/>
                      <a:pt x="0" y="0"/>
                    </a:cubicBezTo>
                    <a:cubicBezTo>
                      <a:pt x="0" y="1"/>
                      <a:pt x="0" y="1"/>
                      <a:pt x="0" y="1"/>
                    </a:cubicBezTo>
                    <a:cubicBezTo>
                      <a:pt x="0" y="2"/>
                      <a:pt x="0" y="2"/>
                      <a:pt x="0" y="3"/>
                    </a:cubicBezTo>
                    <a:cubicBezTo>
                      <a:pt x="0" y="3"/>
                      <a:pt x="0" y="4"/>
                      <a:pt x="0" y="5"/>
                    </a:cubicBezTo>
                    <a:cubicBezTo>
                      <a:pt x="0" y="5"/>
                      <a:pt x="0" y="6"/>
                      <a:pt x="0" y="6"/>
                    </a:cubicBezTo>
                    <a:cubicBezTo>
                      <a:pt x="1" y="23"/>
                      <a:pt x="3" y="38"/>
                      <a:pt x="7" y="53"/>
                    </a:cubicBezTo>
                    <a:cubicBezTo>
                      <a:pt x="7" y="54"/>
                      <a:pt x="7" y="54"/>
                      <a:pt x="8" y="55"/>
                    </a:cubicBezTo>
                    <a:cubicBezTo>
                      <a:pt x="8" y="55"/>
                      <a:pt x="8" y="56"/>
                      <a:pt x="8" y="56"/>
                    </a:cubicBezTo>
                    <a:cubicBezTo>
                      <a:pt x="8" y="57"/>
                      <a:pt x="8" y="58"/>
                      <a:pt x="8" y="58"/>
                    </a:cubicBezTo>
                    <a:cubicBezTo>
                      <a:pt x="9" y="59"/>
                      <a:pt x="9" y="59"/>
                      <a:pt x="9" y="60"/>
                    </a:cubicBezTo>
                    <a:cubicBezTo>
                      <a:pt x="9" y="60"/>
                      <a:pt x="9" y="60"/>
                      <a:pt x="9" y="60"/>
                    </a:cubicBezTo>
                    <a:cubicBezTo>
                      <a:pt x="10" y="59"/>
                      <a:pt x="10" y="59"/>
                      <a:pt x="11" y="59"/>
                    </a:cubicBezTo>
                    <a:cubicBezTo>
                      <a:pt x="12" y="59"/>
                      <a:pt x="12" y="59"/>
                      <a:pt x="13" y="59"/>
                    </a:cubicBezTo>
                    <a:cubicBezTo>
                      <a:pt x="14" y="59"/>
                      <a:pt x="14" y="59"/>
                      <a:pt x="15" y="58"/>
                    </a:cubicBezTo>
                    <a:cubicBezTo>
                      <a:pt x="15" y="58"/>
                      <a:pt x="16" y="58"/>
                      <a:pt x="17" y="58"/>
                    </a:cubicBezTo>
                    <a:cubicBezTo>
                      <a:pt x="34" y="55"/>
                      <a:pt x="52" y="53"/>
                      <a:pt x="71" y="53"/>
                    </a:cubicBezTo>
                    <a:cubicBezTo>
                      <a:pt x="71" y="53"/>
                      <a:pt x="71" y="53"/>
                      <a:pt x="71" y="53"/>
                    </a:cubicBezTo>
                    <a:cubicBezTo>
                      <a:pt x="71" y="53"/>
                      <a:pt x="71" y="53"/>
                      <a:pt x="71" y="53"/>
                    </a:cubicBezTo>
                    <a:cubicBezTo>
                      <a:pt x="89" y="53"/>
                      <a:pt x="108" y="55"/>
                      <a:pt x="125" y="58"/>
                    </a:cubicBezTo>
                    <a:cubicBezTo>
                      <a:pt x="125" y="58"/>
                      <a:pt x="126" y="58"/>
                      <a:pt x="127" y="58"/>
                    </a:cubicBezTo>
                    <a:cubicBezTo>
                      <a:pt x="127" y="59"/>
                      <a:pt x="128" y="59"/>
                      <a:pt x="128" y="59"/>
                    </a:cubicBezTo>
                    <a:cubicBezTo>
                      <a:pt x="129" y="59"/>
                      <a:pt x="130" y="59"/>
                      <a:pt x="130" y="59"/>
                    </a:cubicBezTo>
                    <a:cubicBezTo>
                      <a:pt x="131" y="59"/>
                      <a:pt x="131" y="59"/>
                      <a:pt x="132" y="60"/>
                    </a:cubicBezTo>
                    <a:cubicBezTo>
                      <a:pt x="132" y="60"/>
                      <a:pt x="132" y="60"/>
                      <a:pt x="132" y="60"/>
                    </a:cubicBezTo>
                    <a:cubicBezTo>
                      <a:pt x="133" y="59"/>
                      <a:pt x="133" y="59"/>
                      <a:pt x="133" y="58"/>
                    </a:cubicBezTo>
                    <a:cubicBezTo>
                      <a:pt x="133" y="57"/>
                      <a:pt x="133" y="57"/>
                      <a:pt x="133" y="56"/>
                    </a:cubicBezTo>
                    <a:cubicBezTo>
                      <a:pt x="133" y="56"/>
                      <a:pt x="134" y="55"/>
                      <a:pt x="134" y="55"/>
                    </a:cubicBezTo>
                    <a:cubicBezTo>
                      <a:pt x="134" y="54"/>
                      <a:pt x="134" y="54"/>
                      <a:pt x="134" y="53"/>
                    </a:cubicBezTo>
                    <a:cubicBezTo>
                      <a:pt x="138" y="38"/>
                      <a:pt x="140" y="23"/>
                      <a:pt x="141" y="6"/>
                    </a:cubicBezTo>
                    <a:cubicBezTo>
                      <a:pt x="141" y="6"/>
                      <a:pt x="141" y="5"/>
                      <a:pt x="141" y="5"/>
                    </a:cubicBezTo>
                    <a:cubicBezTo>
                      <a:pt x="141" y="4"/>
                      <a:pt x="141" y="3"/>
                      <a:pt x="141" y="3"/>
                    </a:cubicBezTo>
                    <a:cubicBezTo>
                      <a:pt x="142" y="2"/>
                      <a:pt x="142" y="2"/>
                      <a:pt x="142" y="1"/>
                    </a:cubicBezTo>
                    <a:cubicBezTo>
                      <a:pt x="142" y="1"/>
                      <a:pt x="142" y="1"/>
                      <a:pt x="142" y="0"/>
                    </a:cubicBezTo>
                    <a:cubicBezTo>
                      <a:pt x="141" y="0"/>
                      <a:pt x="141" y="0"/>
                      <a:pt x="141" y="0"/>
                    </a:cubicBezTo>
                    <a:lnTo>
                      <a:pt x="13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0" name="Freeform 99">
                <a:extLst>
                  <a:ext uri="{FF2B5EF4-FFF2-40B4-BE49-F238E27FC236}">
                    <a16:creationId xmlns:a16="http://schemas.microsoft.com/office/drawing/2014/main" id="{7488C014-3DA0-4F4C-8A71-60C6C3D6CE61}"/>
                  </a:ext>
                </a:extLst>
              </p:cNvPr>
              <p:cNvSpPr>
                <a:spLocks/>
              </p:cNvSpPr>
              <p:nvPr/>
            </p:nvSpPr>
            <p:spPr bwMode="auto">
              <a:xfrm>
                <a:off x="9935720" y="5942457"/>
                <a:ext cx="14444" cy="11650"/>
              </a:xfrm>
              <a:custGeom>
                <a:avLst/>
                <a:gdLst>
                  <a:gd name="T0" fmla="*/ 27 w 46"/>
                  <a:gd name="T1" fmla="*/ 6 h 39"/>
                  <a:gd name="T2" fmla="*/ 26 w 46"/>
                  <a:gd name="T3" fmla="*/ 4 h 39"/>
                  <a:gd name="T4" fmla="*/ 25 w 46"/>
                  <a:gd name="T5" fmla="*/ 2 h 39"/>
                  <a:gd name="T6" fmla="*/ 25 w 46"/>
                  <a:gd name="T7" fmla="*/ 0 h 39"/>
                  <a:gd name="T8" fmla="*/ 24 w 46"/>
                  <a:gd name="T9" fmla="*/ 0 h 39"/>
                  <a:gd name="T10" fmla="*/ 23 w 46"/>
                  <a:gd name="T11" fmla="*/ 0 h 39"/>
                  <a:gd name="T12" fmla="*/ 21 w 46"/>
                  <a:gd name="T13" fmla="*/ 1 h 39"/>
                  <a:gd name="T14" fmla="*/ 20 w 46"/>
                  <a:gd name="T15" fmla="*/ 2 h 39"/>
                  <a:gd name="T16" fmla="*/ 18 w 46"/>
                  <a:gd name="T17" fmla="*/ 2 h 39"/>
                  <a:gd name="T18" fmla="*/ 3 w 46"/>
                  <a:gd name="T19" fmla="*/ 8 h 39"/>
                  <a:gd name="T20" fmla="*/ 2 w 46"/>
                  <a:gd name="T21" fmla="*/ 9 h 39"/>
                  <a:gd name="T22" fmla="*/ 0 w 46"/>
                  <a:gd name="T23" fmla="*/ 9 h 39"/>
                  <a:gd name="T24" fmla="*/ 1 w 46"/>
                  <a:gd name="T25" fmla="*/ 11 h 39"/>
                  <a:gd name="T26" fmla="*/ 3 w 46"/>
                  <a:gd name="T27" fmla="*/ 12 h 39"/>
                  <a:gd name="T28" fmla="*/ 46 w 46"/>
                  <a:gd name="T29" fmla="*/ 39 h 39"/>
                  <a:gd name="T30" fmla="*/ 28 w 46"/>
                  <a:gd name="T31" fmla="*/ 7 h 39"/>
                  <a:gd name="T32" fmla="*/ 27 w 46"/>
                  <a:gd name="T33"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39">
                    <a:moveTo>
                      <a:pt x="27" y="6"/>
                    </a:moveTo>
                    <a:cubicBezTo>
                      <a:pt x="27" y="5"/>
                      <a:pt x="26" y="4"/>
                      <a:pt x="26" y="4"/>
                    </a:cubicBezTo>
                    <a:cubicBezTo>
                      <a:pt x="26" y="3"/>
                      <a:pt x="26" y="3"/>
                      <a:pt x="25" y="2"/>
                    </a:cubicBezTo>
                    <a:cubicBezTo>
                      <a:pt x="25" y="2"/>
                      <a:pt x="25" y="1"/>
                      <a:pt x="25" y="0"/>
                    </a:cubicBezTo>
                    <a:cubicBezTo>
                      <a:pt x="24" y="0"/>
                      <a:pt x="24" y="0"/>
                      <a:pt x="24" y="0"/>
                    </a:cubicBezTo>
                    <a:cubicBezTo>
                      <a:pt x="24" y="0"/>
                      <a:pt x="23" y="0"/>
                      <a:pt x="23" y="0"/>
                    </a:cubicBezTo>
                    <a:cubicBezTo>
                      <a:pt x="22" y="1"/>
                      <a:pt x="22" y="1"/>
                      <a:pt x="21" y="1"/>
                    </a:cubicBezTo>
                    <a:cubicBezTo>
                      <a:pt x="21" y="1"/>
                      <a:pt x="20" y="1"/>
                      <a:pt x="20" y="2"/>
                    </a:cubicBezTo>
                    <a:cubicBezTo>
                      <a:pt x="19" y="2"/>
                      <a:pt x="18" y="2"/>
                      <a:pt x="18" y="2"/>
                    </a:cubicBezTo>
                    <a:cubicBezTo>
                      <a:pt x="13" y="4"/>
                      <a:pt x="8" y="6"/>
                      <a:pt x="3" y="8"/>
                    </a:cubicBezTo>
                    <a:cubicBezTo>
                      <a:pt x="3" y="8"/>
                      <a:pt x="2" y="8"/>
                      <a:pt x="2" y="9"/>
                    </a:cubicBezTo>
                    <a:cubicBezTo>
                      <a:pt x="1" y="9"/>
                      <a:pt x="1" y="9"/>
                      <a:pt x="0" y="9"/>
                    </a:cubicBezTo>
                    <a:cubicBezTo>
                      <a:pt x="1" y="10"/>
                      <a:pt x="1" y="10"/>
                      <a:pt x="1" y="11"/>
                    </a:cubicBezTo>
                    <a:cubicBezTo>
                      <a:pt x="2" y="11"/>
                      <a:pt x="2" y="11"/>
                      <a:pt x="3" y="12"/>
                    </a:cubicBezTo>
                    <a:cubicBezTo>
                      <a:pt x="16" y="23"/>
                      <a:pt x="30" y="32"/>
                      <a:pt x="46" y="39"/>
                    </a:cubicBezTo>
                    <a:cubicBezTo>
                      <a:pt x="39" y="30"/>
                      <a:pt x="33" y="20"/>
                      <a:pt x="28" y="7"/>
                    </a:cubicBezTo>
                    <a:cubicBezTo>
                      <a:pt x="27" y="7"/>
                      <a:pt x="27" y="6"/>
                      <a:pt x="27"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1" name="Freeform 100">
                <a:extLst>
                  <a:ext uri="{FF2B5EF4-FFF2-40B4-BE49-F238E27FC236}">
                    <a16:creationId xmlns:a16="http://schemas.microsoft.com/office/drawing/2014/main" id="{E711FC62-09C4-4157-B821-5D5AC0E813C5}"/>
                  </a:ext>
                </a:extLst>
              </p:cNvPr>
              <p:cNvSpPr>
                <a:spLocks/>
              </p:cNvSpPr>
              <p:nvPr/>
            </p:nvSpPr>
            <p:spPr bwMode="auto">
              <a:xfrm>
                <a:off x="9950165" y="5872558"/>
                <a:ext cx="35307" cy="17475"/>
              </a:xfrm>
              <a:custGeom>
                <a:avLst/>
                <a:gdLst>
                  <a:gd name="T0" fmla="*/ 4 w 109"/>
                  <a:gd name="T1" fmla="*/ 52 h 57"/>
                  <a:gd name="T2" fmla="*/ 5 w 109"/>
                  <a:gd name="T3" fmla="*/ 53 h 57"/>
                  <a:gd name="T4" fmla="*/ 55 w 109"/>
                  <a:gd name="T5" fmla="*/ 57 h 57"/>
                  <a:gd name="T6" fmla="*/ 104 w 109"/>
                  <a:gd name="T7" fmla="*/ 53 h 57"/>
                  <a:gd name="T8" fmla="*/ 106 w 109"/>
                  <a:gd name="T9" fmla="*/ 52 h 57"/>
                  <a:gd name="T10" fmla="*/ 107 w 109"/>
                  <a:gd name="T11" fmla="*/ 52 h 57"/>
                  <a:gd name="T12" fmla="*/ 109 w 109"/>
                  <a:gd name="T13" fmla="*/ 52 h 57"/>
                  <a:gd name="T14" fmla="*/ 108 w 109"/>
                  <a:gd name="T15" fmla="*/ 50 h 57"/>
                  <a:gd name="T16" fmla="*/ 108 w 109"/>
                  <a:gd name="T17" fmla="*/ 49 h 57"/>
                  <a:gd name="T18" fmla="*/ 107 w 109"/>
                  <a:gd name="T19" fmla="*/ 47 h 57"/>
                  <a:gd name="T20" fmla="*/ 55 w 109"/>
                  <a:gd name="T21" fmla="*/ 0 h 57"/>
                  <a:gd name="T22" fmla="*/ 22 w 109"/>
                  <a:gd name="T23" fmla="*/ 17 h 57"/>
                  <a:gd name="T24" fmla="*/ 2 w 109"/>
                  <a:gd name="T25" fmla="*/ 47 h 57"/>
                  <a:gd name="T26" fmla="*/ 2 w 109"/>
                  <a:gd name="T27" fmla="*/ 49 h 57"/>
                  <a:gd name="T28" fmla="*/ 1 w 109"/>
                  <a:gd name="T29" fmla="*/ 50 h 57"/>
                  <a:gd name="T30" fmla="*/ 0 w 109"/>
                  <a:gd name="T31" fmla="*/ 52 h 57"/>
                  <a:gd name="T32" fmla="*/ 2 w 109"/>
                  <a:gd name="T33" fmla="*/ 52 h 57"/>
                  <a:gd name="T34" fmla="*/ 4 w 109"/>
                  <a:gd name="T3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57">
                    <a:moveTo>
                      <a:pt x="4" y="52"/>
                    </a:moveTo>
                    <a:cubicBezTo>
                      <a:pt x="4" y="52"/>
                      <a:pt x="5" y="53"/>
                      <a:pt x="5" y="53"/>
                    </a:cubicBezTo>
                    <a:cubicBezTo>
                      <a:pt x="21" y="56"/>
                      <a:pt x="38" y="57"/>
                      <a:pt x="55" y="57"/>
                    </a:cubicBezTo>
                    <a:cubicBezTo>
                      <a:pt x="72" y="57"/>
                      <a:pt x="88" y="56"/>
                      <a:pt x="104" y="53"/>
                    </a:cubicBezTo>
                    <a:cubicBezTo>
                      <a:pt x="105" y="53"/>
                      <a:pt x="105" y="52"/>
                      <a:pt x="106" y="52"/>
                    </a:cubicBezTo>
                    <a:cubicBezTo>
                      <a:pt x="106" y="52"/>
                      <a:pt x="107" y="52"/>
                      <a:pt x="107" y="52"/>
                    </a:cubicBezTo>
                    <a:cubicBezTo>
                      <a:pt x="108" y="52"/>
                      <a:pt x="108" y="52"/>
                      <a:pt x="109" y="52"/>
                    </a:cubicBezTo>
                    <a:cubicBezTo>
                      <a:pt x="109" y="51"/>
                      <a:pt x="108" y="51"/>
                      <a:pt x="108" y="50"/>
                    </a:cubicBezTo>
                    <a:cubicBezTo>
                      <a:pt x="108" y="50"/>
                      <a:pt x="108" y="49"/>
                      <a:pt x="108" y="49"/>
                    </a:cubicBezTo>
                    <a:cubicBezTo>
                      <a:pt x="107" y="48"/>
                      <a:pt x="107" y="48"/>
                      <a:pt x="107" y="47"/>
                    </a:cubicBezTo>
                    <a:cubicBezTo>
                      <a:pt x="98" y="27"/>
                      <a:pt x="80" y="0"/>
                      <a:pt x="55" y="0"/>
                    </a:cubicBezTo>
                    <a:cubicBezTo>
                      <a:pt x="42" y="1"/>
                      <a:pt x="30" y="8"/>
                      <a:pt x="22" y="17"/>
                    </a:cubicBezTo>
                    <a:cubicBezTo>
                      <a:pt x="14" y="25"/>
                      <a:pt x="8" y="35"/>
                      <a:pt x="2" y="47"/>
                    </a:cubicBezTo>
                    <a:cubicBezTo>
                      <a:pt x="2" y="48"/>
                      <a:pt x="2" y="48"/>
                      <a:pt x="2" y="49"/>
                    </a:cubicBezTo>
                    <a:cubicBezTo>
                      <a:pt x="1" y="49"/>
                      <a:pt x="1" y="50"/>
                      <a:pt x="1" y="50"/>
                    </a:cubicBezTo>
                    <a:cubicBezTo>
                      <a:pt x="1" y="51"/>
                      <a:pt x="1" y="51"/>
                      <a:pt x="0" y="52"/>
                    </a:cubicBezTo>
                    <a:cubicBezTo>
                      <a:pt x="1" y="52"/>
                      <a:pt x="1" y="52"/>
                      <a:pt x="2" y="52"/>
                    </a:cubicBezTo>
                    <a:cubicBezTo>
                      <a:pt x="2" y="52"/>
                      <a:pt x="3" y="52"/>
                      <a:pt x="4"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2" name="Freeform 101">
                <a:extLst>
                  <a:ext uri="{FF2B5EF4-FFF2-40B4-BE49-F238E27FC236}">
                    <a16:creationId xmlns:a16="http://schemas.microsoft.com/office/drawing/2014/main" id="{FAB79945-3BB0-4E95-B846-39383BF7B7C9}"/>
                  </a:ext>
                </a:extLst>
              </p:cNvPr>
              <p:cNvSpPr>
                <a:spLocks/>
              </p:cNvSpPr>
              <p:nvPr/>
            </p:nvSpPr>
            <p:spPr bwMode="auto">
              <a:xfrm>
                <a:off x="9935720" y="5875471"/>
                <a:ext cx="14444" cy="11650"/>
              </a:xfrm>
              <a:custGeom>
                <a:avLst/>
                <a:gdLst>
                  <a:gd name="T0" fmla="*/ 3 w 46"/>
                  <a:gd name="T1" fmla="*/ 31 h 39"/>
                  <a:gd name="T2" fmla="*/ 18 w 46"/>
                  <a:gd name="T3" fmla="*/ 37 h 39"/>
                  <a:gd name="T4" fmla="*/ 19 w 46"/>
                  <a:gd name="T5" fmla="*/ 37 h 39"/>
                  <a:gd name="T6" fmla="*/ 21 w 46"/>
                  <a:gd name="T7" fmla="*/ 38 h 39"/>
                  <a:gd name="T8" fmla="*/ 23 w 46"/>
                  <a:gd name="T9" fmla="*/ 39 h 39"/>
                  <a:gd name="T10" fmla="*/ 24 w 46"/>
                  <a:gd name="T11" fmla="*/ 39 h 39"/>
                  <a:gd name="T12" fmla="*/ 25 w 46"/>
                  <a:gd name="T13" fmla="*/ 39 h 39"/>
                  <a:gd name="T14" fmla="*/ 25 w 46"/>
                  <a:gd name="T15" fmla="*/ 37 h 39"/>
                  <a:gd name="T16" fmla="*/ 26 w 46"/>
                  <a:gd name="T17" fmla="*/ 35 h 39"/>
                  <a:gd name="T18" fmla="*/ 27 w 46"/>
                  <a:gd name="T19" fmla="*/ 33 h 39"/>
                  <a:gd name="T20" fmla="*/ 28 w 46"/>
                  <a:gd name="T21" fmla="*/ 32 h 39"/>
                  <a:gd name="T22" fmla="*/ 46 w 46"/>
                  <a:gd name="T23" fmla="*/ 0 h 39"/>
                  <a:gd name="T24" fmla="*/ 3 w 46"/>
                  <a:gd name="T25" fmla="*/ 27 h 39"/>
                  <a:gd name="T26" fmla="*/ 1 w 46"/>
                  <a:gd name="T27" fmla="*/ 28 h 39"/>
                  <a:gd name="T28" fmla="*/ 0 w 46"/>
                  <a:gd name="T29" fmla="*/ 29 h 39"/>
                  <a:gd name="T30" fmla="*/ 2 w 46"/>
                  <a:gd name="T31" fmla="*/ 30 h 39"/>
                  <a:gd name="T32" fmla="*/ 3 w 46"/>
                  <a:gd name="T33"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39">
                    <a:moveTo>
                      <a:pt x="3" y="31"/>
                    </a:moveTo>
                    <a:cubicBezTo>
                      <a:pt x="8" y="33"/>
                      <a:pt x="13" y="35"/>
                      <a:pt x="18" y="37"/>
                    </a:cubicBezTo>
                    <a:cubicBezTo>
                      <a:pt x="18" y="37"/>
                      <a:pt x="19" y="37"/>
                      <a:pt x="19" y="37"/>
                    </a:cubicBezTo>
                    <a:cubicBezTo>
                      <a:pt x="20" y="38"/>
                      <a:pt x="21" y="38"/>
                      <a:pt x="21" y="38"/>
                    </a:cubicBezTo>
                    <a:cubicBezTo>
                      <a:pt x="22" y="38"/>
                      <a:pt x="22" y="38"/>
                      <a:pt x="23" y="39"/>
                    </a:cubicBezTo>
                    <a:cubicBezTo>
                      <a:pt x="23" y="39"/>
                      <a:pt x="24" y="39"/>
                      <a:pt x="24" y="39"/>
                    </a:cubicBezTo>
                    <a:cubicBezTo>
                      <a:pt x="25" y="39"/>
                      <a:pt x="25" y="39"/>
                      <a:pt x="25" y="39"/>
                    </a:cubicBezTo>
                    <a:cubicBezTo>
                      <a:pt x="25" y="38"/>
                      <a:pt x="25" y="37"/>
                      <a:pt x="25" y="37"/>
                    </a:cubicBezTo>
                    <a:cubicBezTo>
                      <a:pt x="25" y="36"/>
                      <a:pt x="26" y="36"/>
                      <a:pt x="26" y="35"/>
                    </a:cubicBezTo>
                    <a:cubicBezTo>
                      <a:pt x="26" y="34"/>
                      <a:pt x="26" y="34"/>
                      <a:pt x="27" y="33"/>
                    </a:cubicBezTo>
                    <a:cubicBezTo>
                      <a:pt x="27" y="33"/>
                      <a:pt x="27" y="32"/>
                      <a:pt x="28" y="32"/>
                    </a:cubicBezTo>
                    <a:cubicBezTo>
                      <a:pt x="33" y="19"/>
                      <a:pt x="39" y="9"/>
                      <a:pt x="46" y="0"/>
                    </a:cubicBezTo>
                    <a:cubicBezTo>
                      <a:pt x="30" y="7"/>
                      <a:pt x="15" y="16"/>
                      <a:pt x="3" y="27"/>
                    </a:cubicBezTo>
                    <a:cubicBezTo>
                      <a:pt x="2" y="28"/>
                      <a:pt x="2" y="28"/>
                      <a:pt x="1" y="28"/>
                    </a:cubicBezTo>
                    <a:cubicBezTo>
                      <a:pt x="1" y="29"/>
                      <a:pt x="0" y="29"/>
                      <a:pt x="0" y="29"/>
                    </a:cubicBezTo>
                    <a:cubicBezTo>
                      <a:pt x="1" y="30"/>
                      <a:pt x="1" y="30"/>
                      <a:pt x="2" y="30"/>
                    </a:cubicBezTo>
                    <a:cubicBezTo>
                      <a:pt x="2" y="30"/>
                      <a:pt x="3" y="31"/>
                      <a:pt x="3" y="3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3" name="Freeform 102">
                <a:extLst>
                  <a:ext uri="{FF2B5EF4-FFF2-40B4-BE49-F238E27FC236}">
                    <a16:creationId xmlns:a16="http://schemas.microsoft.com/office/drawing/2014/main" id="{8BE7D2FA-2C2B-458E-AA23-733A8F4B185A}"/>
                  </a:ext>
                </a:extLst>
              </p:cNvPr>
              <p:cNvSpPr>
                <a:spLocks/>
              </p:cNvSpPr>
              <p:nvPr/>
            </p:nvSpPr>
            <p:spPr bwMode="auto">
              <a:xfrm>
                <a:off x="9945349" y="5894402"/>
                <a:ext cx="44937" cy="17475"/>
              </a:xfrm>
              <a:custGeom>
                <a:avLst/>
                <a:gdLst>
                  <a:gd name="T0" fmla="*/ 142 w 142"/>
                  <a:gd name="T1" fmla="*/ 59 h 60"/>
                  <a:gd name="T2" fmla="*/ 141 w 142"/>
                  <a:gd name="T3" fmla="*/ 57 h 60"/>
                  <a:gd name="T4" fmla="*/ 141 w 142"/>
                  <a:gd name="T5" fmla="*/ 55 h 60"/>
                  <a:gd name="T6" fmla="*/ 141 w 142"/>
                  <a:gd name="T7" fmla="*/ 54 h 60"/>
                  <a:gd name="T8" fmla="*/ 134 w 142"/>
                  <a:gd name="T9" fmla="*/ 7 h 60"/>
                  <a:gd name="T10" fmla="*/ 134 w 142"/>
                  <a:gd name="T11" fmla="*/ 5 h 60"/>
                  <a:gd name="T12" fmla="*/ 133 w 142"/>
                  <a:gd name="T13" fmla="*/ 4 h 60"/>
                  <a:gd name="T14" fmla="*/ 133 w 142"/>
                  <a:gd name="T15" fmla="*/ 2 h 60"/>
                  <a:gd name="T16" fmla="*/ 132 w 142"/>
                  <a:gd name="T17" fmla="*/ 0 h 60"/>
                  <a:gd name="T18" fmla="*/ 132 w 142"/>
                  <a:gd name="T19" fmla="*/ 0 h 60"/>
                  <a:gd name="T20" fmla="*/ 130 w 142"/>
                  <a:gd name="T21" fmla="*/ 1 h 60"/>
                  <a:gd name="T22" fmla="*/ 128 w 142"/>
                  <a:gd name="T23" fmla="*/ 1 h 60"/>
                  <a:gd name="T24" fmla="*/ 127 w 142"/>
                  <a:gd name="T25" fmla="*/ 1 h 60"/>
                  <a:gd name="T26" fmla="*/ 125 w 142"/>
                  <a:gd name="T27" fmla="*/ 2 h 60"/>
                  <a:gd name="T28" fmla="*/ 71 w 142"/>
                  <a:gd name="T29" fmla="*/ 7 h 60"/>
                  <a:gd name="T30" fmla="*/ 71 w 142"/>
                  <a:gd name="T31" fmla="*/ 7 h 60"/>
                  <a:gd name="T32" fmla="*/ 71 w 142"/>
                  <a:gd name="T33" fmla="*/ 7 h 60"/>
                  <a:gd name="T34" fmla="*/ 17 w 142"/>
                  <a:gd name="T35" fmla="*/ 2 h 60"/>
                  <a:gd name="T36" fmla="*/ 15 w 142"/>
                  <a:gd name="T37" fmla="*/ 1 h 60"/>
                  <a:gd name="T38" fmla="*/ 13 w 142"/>
                  <a:gd name="T39" fmla="*/ 1 h 60"/>
                  <a:gd name="T40" fmla="*/ 11 w 142"/>
                  <a:gd name="T41" fmla="*/ 1 h 60"/>
                  <a:gd name="T42" fmla="*/ 9 w 142"/>
                  <a:gd name="T43" fmla="*/ 0 h 60"/>
                  <a:gd name="T44" fmla="*/ 9 w 142"/>
                  <a:gd name="T45" fmla="*/ 0 h 60"/>
                  <a:gd name="T46" fmla="*/ 8 w 142"/>
                  <a:gd name="T47" fmla="*/ 2 h 60"/>
                  <a:gd name="T48" fmla="*/ 8 w 142"/>
                  <a:gd name="T49" fmla="*/ 4 h 60"/>
                  <a:gd name="T50" fmla="*/ 8 w 142"/>
                  <a:gd name="T51" fmla="*/ 5 h 60"/>
                  <a:gd name="T52" fmla="*/ 7 w 142"/>
                  <a:gd name="T53" fmla="*/ 7 h 60"/>
                  <a:gd name="T54" fmla="*/ 5 w 142"/>
                  <a:gd name="T55" fmla="*/ 16 h 60"/>
                  <a:gd name="T56" fmla="*/ 0 w 142"/>
                  <a:gd name="T57" fmla="*/ 54 h 60"/>
                  <a:gd name="T58" fmla="*/ 0 w 142"/>
                  <a:gd name="T59" fmla="*/ 55 h 60"/>
                  <a:gd name="T60" fmla="*/ 0 w 142"/>
                  <a:gd name="T61" fmla="*/ 57 h 60"/>
                  <a:gd name="T62" fmla="*/ 0 w 142"/>
                  <a:gd name="T63" fmla="*/ 59 h 60"/>
                  <a:gd name="T64" fmla="*/ 0 w 142"/>
                  <a:gd name="T65" fmla="*/ 60 h 60"/>
                  <a:gd name="T66" fmla="*/ 1 w 142"/>
                  <a:gd name="T67" fmla="*/ 60 h 60"/>
                  <a:gd name="T68" fmla="*/ 3 w 142"/>
                  <a:gd name="T69" fmla="*/ 60 h 60"/>
                  <a:gd name="T70" fmla="*/ 4 w 142"/>
                  <a:gd name="T71" fmla="*/ 60 h 60"/>
                  <a:gd name="T72" fmla="*/ 6 w 142"/>
                  <a:gd name="T73" fmla="*/ 60 h 60"/>
                  <a:gd name="T74" fmla="*/ 102 w 142"/>
                  <a:gd name="T75" fmla="*/ 60 h 60"/>
                  <a:gd name="T76" fmla="*/ 135 w 142"/>
                  <a:gd name="T77" fmla="*/ 60 h 60"/>
                  <a:gd name="T78" fmla="*/ 137 w 142"/>
                  <a:gd name="T79" fmla="*/ 60 h 60"/>
                  <a:gd name="T80" fmla="*/ 139 w 142"/>
                  <a:gd name="T81" fmla="*/ 60 h 60"/>
                  <a:gd name="T82" fmla="*/ 141 w 142"/>
                  <a:gd name="T83" fmla="*/ 60 h 60"/>
                  <a:gd name="T84" fmla="*/ 142 w 142"/>
                  <a:gd name="T85" fmla="*/ 60 h 60"/>
                  <a:gd name="T86" fmla="*/ 142 w 142"/>
                  <a:gd name="T87"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2" h="60">
                    <a:moveTo>
                      <a:pt x="142" y="59"/>
                    </a:moveTo>
                    <a:cubicBezTo>
                      <a:pt x="142" y="58"/>
                      <a:pt x="142" y="58"/>
                      <a:pt x="141" y="57"/>
                    </a:cubicBezTo>
                    <a:cubicBezTo>
                      <a:pt x="141" y="56"/>
                      <a:pt x="141" y="56"/>
                      <a:pt x="141" y="55"/>
                    </a:cubicBezTo>
                    <a:cubicBezTo>
                      <a:pt x="141" y="55"/>
                      <a:pt x="141" y="54"/>
                      <a:pt x="141" y="54"/>
                    </a:cubicBezTo>
                    <a:cubicBezTo>
                      <a:pt x="140" y="37"/>
                      <a:pt x="138" y="21"/>
                      <a:pt x="134" y="7"/>
                    </a:cubicBezTo>
                    <a:cubicBezTo>
                      <a:pt x="134" y="6"/>
                      <a:pt x="134" y="6"/>
                      <a:pt x="134" y="5"/>
                    </a:cubicBezTo>
                    <a:cubicBezTo>
                      <a:pt x="134" y="5"/>
                      <a:pt x="133" y="4"/>
                      <a:pt x="133" y="4"/>
                    </a:cubicBezTo>
                    <a:cubicBezTo>
                      <a:pt x="133" y="3"/>
                      <a:pt x="133" y="2"/>
                      <a:pt x="133" y="2"/>
                    </a:cubicBezTo>
                    <a:cubicBezTo>
                      <a:pt x="133" y="1"/>
                      <a:pt x="133" y="1"/>
                      <a:pt x="132" y="0"/>
                    </a:cubicBezTo>
                    <a:cubicBezTo>
                      <a:pt x="132" y="0"/>
                      <a:pt x="132" y="0"/>
                      <a:pt x="132" y="0"/>
                    </a:cubicBezTo>
                    <a:cubicBezTo>
                      <a:pt x="131" y="0"/>
                      <a:pt x="131" y="1"/>
                      <a:pt x="130" y="1"/>
                    </a:cubicBezTo>
                    <a:cubicBezTo>
                      <a:pt x="130" y="1"/>
                      <a:pt x="129" y="1"/>
                      <a:pt x="128" y="1"/>
                    </a:cubicBezTo>
                    <a:cubicBezTo>
                      <a:pt x="128" y="1"/>
                      <a:pt x="127" y="1"/>
                      <a:pt x="127" y="1"/>
                    </a:cubicBezTo>
                    <a:cubicBezTo>
                      <a:pt x="126" y="2"/>
                      <a:pt x="125" y="2"/>
                      <a:pt x="125" y="2"/>
                    </a:cubicBezTo>
                    <a:cubicBezTo>
                      <a:pt x="108" y="5"/>
                      <a:pt x="89" y="7"/>
                      <a:pt x="71" y="7"/>
                    </a:cubicBezTo>
                    <a:cubicBezTo>
                      <a:pt x="71" y="7"/>
                      <a:pt x="71" y="7"/>
                      <a:pt x="71" y="7"/>
                    </a:cubicBezTo>
                    <a:cubicBezTo>
                      <a:pt x="71" y="7"/>
                      <a:pt x="71" y="7"/>
                      <a:pt x="71" y="7"/>
                    </a:cubicBezTo>
                    <a:cubicBezTo>
                      <a:pt x="52" y="7"/>
                      <a:pt x="34" y="5"/>
                      <a:pt x="17" y="2"/>
                    </a:cubicBezTo>
                    <a:cubicBezTo>
                      <a:pt x="16" y="2"/>
                      <a:pt x="15" y="2"/>
                      <a:pt x="15" y="1"/>
                    </a:cubicBezTo>
                    <a:cubicBezTo>
                      <a:pt x="14" y="1"/>
                      <a:pt x="14" y="1"/>
                      <a:pt x="13" y="1"/>
                    </a:cubicBezTo>
                    <a:cubicBezTo>
                      <a:pt x="12" y="1"/>
                      <a:pt x="12" y="1"/>
                      <a:pt x="11" y="1"/>
                    </a:cubicBezTo>
                    <a:cubicBezTo>
                      <a:pt x="10" y="1"/>
                      <a:pt x="10" y="0"/>
                      <a:pt x="9" y="0"/>
                    </a:cubicBezTo>
                    <a:cubicBezTo>
                      <a:pt x="9" y="0"/>
                      <a:pt x="9" y="0"/>
                      <a:pt x="9" y="0"/>
                    </a:cubicBezTo>
                    <a:cubicBezTo>
                      <a:pt x="9" y="1"/>
                      <a:pt x="9" y="1"/>
                      <a:pt x="8" y="2"/>
                    </a:cubicBezTo>
                    <a:cubicBezTo>
                      <a:pt x="8" y="2"/>
                      <a:pt x="8" y="3"/>
                      <a:pt x="8" y="4"/>
                    </a:cubicBezTo>
                    <a:cubicBezTo>
                      <a:pt x="8" y="4"/>
                      <a:pt x="8" y="5"/>
                      <a:pt x="8" y="5"/>
                    </a:cubicBezTo>
                    <a:cubicBezTo>
                      <a:pt x="7" y="6"/>
                      <a:pt x="7" y="6"/>
                      <a:pt x="7" y="7"/>
                    </a:cubicBezTo>
                    <a:cubicBezTo>
                      <a:pt x="6" y="10"/>
                      <a:pt x="6" y="13"/>
                      <a:pt x="5" y="16"/>
                    </a:cubicBezTo>
                    <a:cubicBezTo>
                      <a:pt x="2" y="28"/>
                      <a:pt x="1" y="41"/>
                      <a:pt x="0" y="54"/>
                    </a:cubicBezTo>
                    <a:cubicBezTo>
                      <a:pt x="0" y="54"/>
                      <a:pt x="0" y="55"/>
                      <a:pt x="0" y="55"/>
                    </a:cubicBezTo>
                    <a:cubicBezTo>
                      <a:pt x="0" y="56"/>
                      <a:pt x="0" y="56"/>
                      <a:pt x="0" y="57"/>
                    </a:cubicBezTo>
                    <a:cubicBezTo>
                      <a:pt x="0" y="58"/>
                      <a:pt x="0" y="58"/>
                      <a:pt x="0" y="59"/>
                    </a:cubicBezTo>
                    <a:cubicBezTo>
                      <a:pt x="0" y="59"/>
                      <a:pt x="0" y="59"/>
                      <a:pt x="0" y="60"/>
                    </a:cubicBezTo>
                    <a:cubicBezTo>
                      <a:pt x="1" y="60"/>
                      <a:pt x="1" y="60"/>
                      <a:pt x="1" y="60"/>
                    </a:cubicBezTo>
                    <a:cubicBezTo>
                      <a:pt x="3" y="60"/>
                      <a:pt x="3" y="60"/>
                      <a:pt x="3" y="60"/>
                    </a:cubicBezTo>
                    <a:cubicBezTo>
                      <a:pt x="4" y="60"/>
                      <a:pt x="4" y="60"/>
                      <a:pt x="4" y="60"/>
                    </a:cubicBezTo>
                    <a:cubicBezTo>
                      <a:pt x="6" y="60"/>
                      <a:pt x="6" y="60"/>
                      <a:pt x="6" y="60"/>
                    </a:cubicBezTo>
                    <a:cubicBezTo>
                      <a:pt x="102" y="60"/>
                      <a:pt x="102" y="60"/>
                      <a:pt x="102" y="60"/>
                    </a:cubicBezTo>
                    <a:cubicBezTo>
                      <a:pt x="135" y="60"/>
                      <a:pt x="135" y="60"/>
                      <a:pt x="135" y="60"/>
                    </a:cubicBezTo>
                    <a:cubicBezTo>
                      <a:pt x="137" y="60"/>
                      <a:pt x="137" y="60"/>
                      <a:pt x="137" y="60"/>
                    </a:cubicBezTo>
                    <a:cubicBezTo>
                      <a:pt x="139" y="60"/>
                      <a:pt x="139" y="60"/>
                      <a:pt x="139" y="60"/>
                    </a:cubicBezTo>
                    <a:cubicBezTo>
                      <a:pt x="141" y="60"/>
                      <a:pt x="141" y="60"/>
                      <a:pt x="141" y="60"/>
                    </a:cubicBezTo>
                    <a:cubicBezTo>
                      <a:pt x="142" y="60"/>
                      <a:pt x="142" y="60"/>
                      <a:pt x="142" y="60"/>
                    </a:cubicBezTo>
                    <a:cubicBezTo>
                      <a:pt x="142" y="59"/>
                      <a:pt x="142" y="59"/>
                      <a:pt x="142" y="5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4" name="Freeform 103">
                <a:extLst>
                  <a:ext uri="{FF2B5EF4-FFF2-40B4-BE49-F238E27FC236}">
                    <a16:creationId xmlns:a16="http://schemas.microsoft.com/office/drawing/2014/main" id="{1A77F8A6-54AE-4867-AC71-DBE0CA9E241D}"/>
                  </a:ext>
                </a:extLst>
              </p:cNvPr>
              <p:cNvSpPr>
                <a:spLocks/>
              </p:cNvSpPr>
              <p:nvPr/>
            </p:nvSpPr>
            <p:spPr bwMode="auto">
              <a:xfrm>
                <a:off x="9993496" y="5917702"/>
                <a:ext cx="20864" cy="21844"/>
              </a:xfrm>
              <a:custGeom>
                <a:avLst/>
                <a:gdLst>
                  <a:gd name="T0" fmla="*/ 61 w 63"/>
                  <a:gd name="T1" fmla="*/ 0 h 79"/>
                  <a:gd name="T2" fmla="*/ 59 w 63"/>
                  <a:gd name="T3" fmla="*/ 0 h 79"/>
                  <a:gd name="T4" fmla="*/ 57 w 63"/>
                  <a:gd name="T5" fmla="*/ 0 h 79"/>
                  <a:gd name="T6" fmla="*/ 17 w 63"/>
                  <a:gd name="T7" fmla="*/ 0 h 79"/>
                  <a:gd name="T8" fmla="*/ 15 w 63"/>
                  <a:gd name="T9" fmla="*/ 0 h 79"/>
                  <a:gd name="T10" fmla="*/ 14 w 63"/>
                  <a:gd name="T11" fmla="*/ 0 h 79"/>
                  <a:gd name="T12" fmla="*/ 12 w 63"/>
                  <a:gd name="T13" fmla="*/ 0 h 79"/>
                  <a:gd name="T14" fmla="*/ 10 w 63"/>
                  <a:gd name="T15" fmla="*/ 0 h 79"/>
                  <a:gd name="T16" fmla="*/ 10 w 63"/>
                  <a:gd name="T17" fmla="*/ 2 h 79"/>
                  <a:gd name="T18" fmla="*/ 10 w 63"/>
                  <a:gd name="T19" fmla="*/ 4 h 79"/>
                  <a:gd name="T20" fmla="*/ 10 w 63"/>
                  <a:gd name="T21" fmla="*/ 6 h 79"/>
                  <a:gd name="T22" fmla="*/ 10 w 63"/>
                  <a:gd name="T23" fmla="*/ 6 h 79"/>
                  <a:gd name="T24" fmla="*/ 10 w 63"/>
                  <a:gd name="T25" fmla="*/ 8 h 79"/>
                  <a:gd name="T26" fmla="*/ 2 w 63"/>
                  <a:gd name="T27" fmla="*/ 59 h 79"/>
                  <a:gd name="T28" fmla="*/ 2 w 63"/>
                  <a:gd name="T29" fmla="*/ 60 h 79"/>
                  <a:gd name="T30" fmla="*/ 1 w 63"/>
                  <a:gd name="T31" fmla="*/ 62 h 79"/>
                  <a:gd name="T32" fmla="*/ 1 w 63"/>
                  <a:gd name="T33" fmla="*/ 64 h 79"/>
                  <a:gd name="T34" fmla="*/ 0 w 63"/>
                  <a:gd name="T35" fmla="*/ 65 h 79"/>
                  <a:gd name="T36" fmla="*/ 2 w 63"/>
                  <a:gd name="T37" fmla="*/ 66 h 79"/>
                  <a:gd name="T38" fmla="*/ 3 w 63"/>
                  <a:gd name="T39" fmla="*/ 66 h 79"/>
                  <a:gd name="T40" fmla="*/ 5 w 63"/>
                  <a:gd name="T41" fmla="*/ 67 h 79"/>
                  <a:gd name="T42" fmla="*/ 7 w 63"/>
                  <a:gd name="T43" fmla="*/ 68 h 79"/>
                  <a:gd name="T44" fmla="*/ 25 w 63"/>
                  <a:gd name="T45" fmla="*/ 75 h 79"/>
                  <a:gd name="T46" fmla="*/ 26 w 63"/>
                  <a:gd name="T47" fmla="*/ 76 h 79"/>
                  <a:gd name="T48" fmla="*/ 28 w 63"/>
                  <a:gd name="T49" fmla="*/ 76 h 79"/>
                  <a:gd name="T50" fmla="*/ 30 w 63"/>
                  <a:gd name="T51" fmla="*/ 77 h 79"/>
                  <a:gd name="T52" fmla="*/ 32 w 63"/>
                  <a:gd name="T53" fmla="*/ 78 h 79"/>
                  <a:gd name="T54" fmla="*/ 33 w 63"/>
                  <a:gd name="T55" fmla="*/ 79 h 79"/>
                  <a:gd name="T56" fmla="*/ 52 w 63"/>
                  <a:gd name="T57" fmla="*/ 46 h 79"/>
                  <a:gd name="T58" fmla="*/ 59 w 63"/>
                  <a:gd name="T59" fmla="*/ 27 h 79"/>
                  <a:gd name="T60" fmla="*/ 63 w 63"/>
                  <a:gd name="T61" fmla="*/ 6 h 79"/>
                  <a:gd name="T62" fmla="*/ 63 w 63"/>
                  <a:gd name="T63" fmla="*/ 4 h 79"/>
                  <a:gd name="T64" fmla="*/ 63 w 63"/>
                  <a:gd name="T65" fmla="*/ 2 h 79"/>
                  <a:gd name="T66" fmla="*/ 63 w 63"/>
                  <a:gd name="T67" fmla="*/ 1 h 79"/>
                  <a:gd name="T68" fmla="*/ 63 w 63"/>
                  <a:gd name="T69" fmla="*/ 0 h 79"/>
                  <a:gd name="T70" fmla="*/ 63 w 63"/>
                  <a:gd name="T71" fmla="*/ 0 h 79"/>
                  <a:gd name="T72" fmla="*/ 61 w 63"/>
                  <a:gd name="T7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 h="79">
                    <a:moveTo>
                      <a:pt x="61" y="0"/>
                    </a:moveTo>
                    <a:cubicBezTo>
                      <a:pt x="59" y="0"/>
                      <a:pt x="59" y="0"/>
                      <a:pt x="59" y="0"/>
                    </a:cubicBezTo>
                    <a:cubicBezTo>
                      <a:pt x="57" y="0"/>
                      <a:pt x="57" y="0"/>
                      <a:pt x="57" y="0"/>
                    </a:cubicBezTo>
                    <a:cubicBezTo>
                      <a:pt x="17" y="0"/>
                      <a:pt x="17" y="0"/>
                      <a:pt x="17" y="0"/>
                    </a:cubicBezTo>
                    <a:cubicBezTo>
                      <a:pt x="15" y="0"/>
                      <a:pt x="15" y="0"/>
                      <a:pt x="15" y="0"/>
                    </a:cubicBezTo>
                    <a:cubicBezTo>
                      <a:pt x="14" y="0"/>
                      <a:pt x="14" y="0"/>
                      <a:pt x="14" y="0"/>
                    </a:cubicBezTo>
                    <a:cubicBezTo>
                      <a:pt x="12" y="0"/>
                      <a:pt x="12" y="0"/>
                      <a:pt x="12" y="0"/>
                    </a:cubicBezTo>
                    <a:cubicBezTo>
                      <a:pt x="10" y="0"/>
                      <a:pt x="10" y="0"/>
                      <a:pt x="10" y="0"/>
                    </a:cubicBezTo>
                    <a:cubicBezTo>
                      <a:pt x="10" y="1"/>
                      <a:pt x="10" y="1"/>
                      <a:pt x="10" y="2"/>
                    </a:cubicBezTo>
                    <a:cubicBezTo>
                      <a:pt x="10" y="3"/>
                      <a:pt x="10" y="3"/>
                      <a:pt x="10" y="4"/>
                    </a:cubicBezTo>
                    <a:cubicBezTo>
                      <a:pt x="10" y="4"/>
                      <a:pt x="10" y="5"/>
                      <a:pt x="10" y="6"/>
                    </a:cubicBezTo>
                    <a:cubicBezTo>
                      <a:pt x="10" y="6"/>
                      <a:pt x="10" y="6"/>
                      <a:pt x="10" y="6"/>
                    </a:cubicBezTo>
                    <a:cubicBezTo>
                      <a:pt x="10" y="6"/>
                      <a:pt x="10" y="7"/>
                      <a:pt x="10" y="8"/>
                    </a:cubicBezTo>
                    <a:cubicBezTo>
                      <a:pt x="9" y="25"/>
                      <a:pt x="6" y="43"/>
                      <a:pt x="2" y="59"/>
                    </a:cubicBezTo>
                    <a:cubicBezTo>
                      <a:pt x="2" y="59"/>
                      <a:pt x="2" y="60"/>
                      <a:pt x="2" y="60"/>
                    </a:cubicBezTo>
                    <a:cubicBezTo>
                      <a:pt x="1" y="61"/>
                      <a:pt x="1" y="62"/>
                      <a:pt x="1" y="62"/>
                    </a:cubicBezTo>
                    <a:cubicBezTo>
                      <a:pt x="1" y="63"/>
                      <a:pt x="1" y="63"/>
                      <a:pt x="1" y="64"/>
                    </a:cubicBezTo>
                    <a:cubicBezTo>
                      <a:pt x="1" y="64"/>
                      <a:pt x="0" y="65"/>
                      <a:pt x="0" y="65"/>
                    </a:cubicBezTo>
                    <a:cubicBezTo>
                      <a:pt x="1" y="66"/>
                      <a:pt x="1" y="66"/>
                      <a:pt x="2" y="66"/>
                    </a:cubicBezTo>
                    <a:cubicBezTo>
                      <a:pt x="2" y="66"/>
                      <a:pt x="3" y="66"/>
                      <a:pt x="3" y="66"/>
                    </a:cubicBezTo>
                    <a:cubicBezTo>
                      <a:pt x="4" y="67"/>
                      <a:pt x="5" y="67"/>
                      <a:pt x="5" y="67"/>
                    </a:cubicBezTo>
                    <a:cubicBezTo>
                      <a:pt x="6" y="67"/>
                      <a:pt x="6" y="67"/>
                      <a:pt x="7" y="68"/>
                    </a:cubicBezTo>
                    <a:cubicBezTo>
                      <a:pt x="13" y="70"/>
                      <a:pt x="19" y="72"/>
                      <a:pt x="25" y="75"/>
                    </a:cubicBezTo>
                    <a:cubicBezTo>
                      <a:pt x="25" y="75"/>
                      <a:pt x="26" y="75"/>
                      <a:pt x="26" y="76"/>
                    </a:cubicBezTo>
                    <a:cubicBezTo>
                      <a:pt x="27" y="76"/>
                      <a:pt x="28" y="76"/>
                      <a:pt x="28" y="76"/>
                    </a:cubicBezTo>
                    <a:cubicBezTo>
                      <a:pt x="29" y="77"/>
                      <a:pt x="29" y="77"/>
                      <a:pt x="30" y="77"/>
                    </a:cubicBezTo>
                    <a:cubicBezTo>
                      <a:pt x="31" y="78"/>
                      <a:pt x="31" y="78"/>
                      <a:pt x="32" y="78"/>
                    </a:cubicBezTo>
                    <a:cubicBezTo>
                      <a:pt x="32" y="79"/>
                      <a:pt x="33" y="79"/>
                      <a:pt x="33" y="79"/>
                    </a:cubicBezTo>
                    <a:cubicBezTo>
                      <a:pt x="41" y="69"/>
                      <a:pt x="47" y="58"/>
                      <a:pt x="52" y="46"/>
                    </a:cubicBezTo>
                    <a:cubicBezTo>
                      <a:pt x="55" y="40"/>
                      <a:pt x="57" y="34"/>
                      <a:pt x="59" y="27"/>
                    </a:cubicBezTo>
                    <a:cubicBezTo>
                      <a:pt x="61" y="20"/>
                      <a:pt x="62" y="13"/>
                      <a:pt x="63" y="6"/>
                    </a:cubicBezTo>
                    <a:cubicBezTo>
                      <a:pt x="63" y="5"/>
                      <a:pt x="63" y="5"/>
                      <a:pt x="63" y="4"/>
                    </a:cubicBezTo>
                    <a:cubicBezTo>
                      <a:pt x="63" y="4"/>
                      <a:pt x="63" y="3"/>
                      <a:pt x="63" y="2"/>
                    </a:cubicBezTo>
                    <a:cubicBezTo>
                      <a:pt x="63" y="2"/>
                      <a:pt x="63" y="1"/>
                      <a:pt x="63" y="1"/>
                    </a:cubicBezTo>
                    <a:cubicBezTo>
                      <a:pt x="63" y="1"/>
                      <a:pt x="63" y="0"/>
                      <a:pt x="63" y="0"/>
                    </a:cubicBezTo>
                    <a:cubicBezTo>
                      <a:pt x="63" y="0"/>
                      <a:pt x="63" y="0"/>
                      <a:pt x="63" y="0"/>
                    </a:cubicBezTo>
                    <a:lnTo>
                      <a:pt x="6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5" name="Freeform 104">
                <a:extLst>
                  <a:ext uri="{FF2B5EF4-FFF2-40B4-BE49-F238E27FC236}">
                    <a16:creationId xmlns:a16="http://schemas.microsoft.com/office/drawing/2014/main" id="{74C54E47-2288-4204-98E3-BA1A2C2B5774}"/>
                  </a:ext>
                </a:extLst>
              </p:cNvPr>
              <p:cNvSpPr>
                <a:spLocks/>
              </p:cNvSpPr>
              <p:nvPr/>
            </p:nvSpPr>
            <p:spPr bwMode="auto">
              <a:xfrm>
                <a:off x="9985472" y="5875471"/>
                <a:ext cx="14444" cy="11650"/>
              </a:xfrm>
              <a:custGeom>
                <a:avLst/>
                <a:gdLst>
                  <a:gd name="T0" fmla="*/ 20 w 46"/>
                  <a:gd name="T1" fmla="*/ 33 h 39"/>
                  <a:gd name="T2" fmla="*/ 20 w 46"/>
                  <a:gd name="T3" fmla="*/ 35 h 39"/>
                  <a:gd name="T4" fmla="*/ 21 w 46"/>
                  <a:gd name="T5" fmla="*/ 37 h 39"/>
                  <a:gd name="T6" fmla="*/ 22 w 46"/>
                  <a:gd name="T7" fmla="*/ 39 h 39"/>
                  <a:gd name="T8" fmla="*/ 22 w 46"/>
                  <a:gd name="T9" fmla="*/ 39 h 39"/>
                  <a:gd name="T10" fmla="*/ 22 w 46"/>
                  <a:gd name="T11" fmla="*/ 39 h 39"/>
                  <a:gd name="T12" fmla="*/ 24 w 46"/>
                  <a:gd name="T13" fmla="*/ 39 h 39"/>
                  <a:gd name="T14" fmla="*/ 25 w 46"/>
                  <a:gd name="T15" fmla="*/ 38 h 39"/>
                  <a:gd name="T16" fmla="*/ 27 w 46"/>
                  <a:gd name="T17" fmla="*/ 37 h 39"/>
                  <a:gd name="T18" fmla="*/ 28 w 46"/>
                  <a:gd name="T19" fmla="*/ 37 h 39"/>
                  <a:gd name="T20" fmla="*/ 43 w 46"/>
                  <a:gd name="T21" fmla="*/ 31 h 39"/>
                  <a:gd name="T22" fmla="*/ 45 w 46"/>
                  <a:gd name="T23" fmla="*/ 30 h 39"/>
                  <a:gd name="T24" fmla="*/ 46 w 46"/>
                  <a:gd name="T25" fmla="*/ 29 h 39"/>
                  <a:gd name="T26" fmla="*/ 45 w 46"/>
                  <a:gd name="T27" fmla="*/ 28 h 39"/>
                  <a:gd name="T28" fmla="*/ 44 w 46"/>
                  <a:gd name="T29" fmla="*/ 27 h 39"/>
                  <a:gd name="T30" fmla="*/ 0 w 46"/>
                  <a:gd name="T31" fmla="*/ 0 h 39"/>
                  <a:gd name="T32" fmla="*/ 19 w 46"/>
                  <a:gd name="T33" fmla="*/ 32 h 39"/>
                  <a:gd name="T34" fmla="*/ 20 w 46"/>
                  <a:gd name="T35"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9">
                    <a:moveTo>
                      <a:pt x="20" y="33"/>
                    </a:moveTo>
                    <a:cubicBezTo>
                      <a:pt x="20" y="34"/>
                      <a:pt x="20" y="34"/>
                      <a:pt x="20" y="35"/>
                    </a:cubicBezTo>
                    <a:cubicBezTo>
                      <a:pt x="21" y="36"/>
                      <a:pt x="21" y="36"/>
                      <a:pt x="21" y="37"/>
                    </a:cubicBezTo>
                    <a:cubicBezTo>
                      <a:pt x="21" y="37"/>
                      <a:pt x="22" y="38"/>
                      <a:pt x="22" y="39"/>
                    </a:cubicBezTo>
                    <a:cubicBezTo>
                      <a:pt x="22" y="39"/>
                      <a:pt x="22" y="39"/>
                      <a:pt x="22" y="39"/>
                    </a:cubicBezTo>
                    <a:cubicBezTo>
                      <a:pt x="22" y="39"/>
                      <a:pt x="22" y="39"/>
                      <a:pt x="22" y="39"/>
                    </a:cubicBezTo>
                    <a:cubicBezTo>
                      <a:pt x="23" y="39"/>
                      <a:pt x="23" y="39"/>
                      <a:pt x="24" y="39"/>
                    </a:cubicBezTo>
                    <a:cubicBezTo>
                      <a:pt x="24" y="38"/>
                      <a:pt x="25" y="38"/>
                      <a:pt x="25" y="38"/>
                    </a:cubicBezTo>
                    <a:cubicBezTo>
                      <a:pt x="26" y="38"/>
                      <a:pt x="26" y="38"/>
                      <a:pt x="27" y="37"/>
                    </a:cubicBezTo>
                    <a:cubicBezTo>
                      <a:pt x="27" y="37"/>
                      <a:pt x="28" y="37"/>
                      <a:pt x="28" y="37"/>
                    </a:cubicBezTo>
                    <a:cubicBezTo>
                      <a:pt x="34" y="35"/>
                      <a:pt x="38" y="33"/>
                      <a:pt x="43" y="31"/>
                    </a:cubicBezTo>
                    <a:cubicBezTo>
                      <a:pt x="44" y="31"/>
                      <a:pt x="44" y="30"/>
                      <a:pt x="45" y="30"/>
                    </a:cubicBezTo>
                    <a:cubicBezTo>
                      <a:pt x="45" y="30"/>
                      <a:pt x="46" y="30"/>
                      <a:pt x="46" y="29"/>
                    </a:cubicBezTo>
                    <a:cubicBezTo>
                      <a:pt x="46" y="29"/>
                      <a:pt x="45" y="29"/>
                      <a:pt x="45" y="28"/>
                    </a:cubicBezTo>
                    <a:cubicBezTo>
                      <a:pt x="45" y="28"/>
                      <a:pt x="44" y="27"/>
                      <a:pt x="44" y="27"/>
                    </a:cubicBezTo>
                    <a:cubicBezTo>
                      <a:pt x="31" y="16"/>
                      <a:pt x="16" y="7"/>
                      <a:pt x="0" y="0"/>
                    </a:cubicBezTo>
                    <a:cubicBezTo>
                      <a:pt x="7" y="9"/>
                      <a:pt x="13" y="19"/>
                      <a:pt x="19" y="32"/>
                    </a:cubicBezTo>
                    <a:cubicBezTo>
                      <a:pt x="19" y="32"/>
                      <a:pt x="19" y="33"/>
                      <a:pt x="20"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6" name="Freeform 105">
                <a:extLst>
                  <a:ext uri="{FF2B5EF4-FFF2-40B4-BE49-F238E27FC236}">
                    <a16:creationId xmlns:a16="http://schemas.microsoft.com/office/drawing/2014/main" id="{FD40F936-5E0E-497D-AE08-E87B2EA9ACC9}"/>
                  </a:ext>
                </a:extLst>
              </p:cNvPr>
              <p:cNvSpPr>
                <a:spLocks/>
              </p:cNvSpPr>
              <p:nvPr/>
            </p:nvSpPr>
            <p:spPr bwMode="auto">
              <a:xfrm>
                <a:off x="9993496" y="5888577"/>
                <a:ext cx="20864" cy="23300"/>
              </a:xfrm>
              <a:custGeom>
                <a:avLst/>
                <a:gdLst>
                  <a:gd name="T0" fmla="*/ 63 w 63"/>
                  <a:gd name="T1" fmla="*/ 76 h 79"/>
                  <a:gd name="T2" fmla="*/ 63 w 63"/>
                  <a:gd name="T3" fmla="*/ 75 h 79"/>
                  <a:gd name="T4" fmla="*/ 63 w 63"/>
                  <a:gd name="T5" fmla="*/ 73 h 79"/>
                  <a:gd name="T6" fmla="*/ 52 w 63"/>
                  <a:gd name="T7" fmla="*/ 33 h 79"/>
                  <a:gd name="T8" fmla="*/ 33 w 63"/>
                  <a:gd name="T9" fmla="*/ 0 h 79"/>
                  <a:gd name="T10" fmla="*/ 32 w 63"/>
                  <a:gd name="T11" fmla="*/ 1 h 79"/>
                  <a:gd name="T12" fmla="*/ 30 w 63"/>
                  <a:gd name="T13" fmla="*/ 1 h 79"/>
                  <a:gd name="T14" fmla="*/ 28 w 63"/>
                  <a:gd name="T15" fmla="*/ 2 h 79"/>
                  <a:gd name="T16" fmla="*/ 26 w 63"/>
                  <a:gd name="T17" fmla="*/ 3 h 79"/>
                  <a:gd name="T18" fmla="*/ 25 w 63"/>
                  <a:gd name="T19" fmla="*/ 4 h 79"/>
                  <a:gd name="T20" fmla="*/ 7 w 63"/>
                  <a:gd name="T21" fmla="*/ 11 h 79"/>
                  <a:gd name="T22" fmla="*/ 5 w 63"/>
                  <a:gd name="T23" fmla="*/ 12 h 79"/>
                  <a:gd name="T24" fmla="*/ 3 w 63"/>
                  <a:gd name="T25" fmla="*/ 12 h 79"/>
                  <a:gd name="T26" fmla="*/ 2 w 63"/>
                  <a:gd name="T27" fmla="*/ 13 h 79"/>
                  <a:gd name="T28" fmla="*/ 0 w 63"/>
                  <a:gd name="T29" fmla="*/ 13 h 79"/>
                  <a:gd name="T30" fmla="*/ 1 w 63"/>
                  <a:gd name="T31" fmla="*/ 15 h 79"/>
                  <a:gd name="T32" fmla="*/ 1 w 63"/>
                  <a:gd name="T33" fmla="*/ 17 h 79"/>
                  <a:gd name="T34" fmla="*/ 2 w 63"/>
                  <a:gd name="T35" fmla="*/ 18 h 79"/>
                  <a:gd name="T36" fmla="*/ 2 w 63"/>
                  <a:gd name="T37" fmla="*/ 20 h 79"/>
                  <a:gd name="T38" fmla="*/ 10 w 63"/>
                  <a:gd name="T39" fmla="*/ 71 h 79"/>
                  <a:gd name="T40" fmla="*/ 10 w 63"/>
                  <a:gd name="T41" fmla="*/ 73 h 79"/>
                  <a:gd name="T42" fmla="*/ 10 w 63"/>
                  <a:gd name="T43" fmla="*/ 75 h 79"/>
                  <a:gd name="T44" fmla="*/ 10 w 63"/>
                  <a:gd name="T45" fmla="*/ 77 h 79"/>
                  <a:gd name="T46" fmla="*/ 10 w 63"/>
                  <a:gd name="T47" fmla="*/ 79 h 79"/>
                  <a:gd name="T48" fmla="*/ 12 w 63"/>
                  <a:gd name="T49" fmla="*/ 79 h 79"/>
                  <a:gd name="T50" fmla="*/ 14 w 63"/>
                  <a:gd name="T51" fmla="*/ 79 h 79"/>
                  <a:gd name="T52" fmla="*/ 15 w 63"/>
                  <a:gd name="T53" fmla="*/ 79 h 79"/>
                  <a:gd name="T54" fmla="*/ 17 w 63"/>
                  <a:gd name="T55" fmla="*/ 79 h 79"/>
                  <a:gd name="T56" fmla="*/ 57 w 63"/>
                  <a:gd name="T57" fmla="*/ 79 h 79"/>
                  <a:gd name="T58" fmla="*/ 59 w 63"/>
                  <a:gd name="T59" fmla="*/ 79 h 79"/>
                  <a:gd name="T60" fmla="*/ 61 w 63"/>
                  <a:gd name="T61" fmla="*/ 79 h 79"/>
                  <a:gd name="T62" fmla="*/ 63 w 63"/>
                  <a:gd name="T63" fmla="*/ 79 h 79"/>
                  <a:gd name="T64" fmla="*/ 63 w 63"/>
                  <a:gd name="T65" fmla="*/ 79 h 79"/>
                  <a:gd name="T66" fmla="*/ 63 w 63"/>
                  <a:gd name="T67" fmla="*/ 78 h 79"/>
                  <a:gd name="T68" fmla="*/ 63 w 63"/>
                  <a:gd name="T69"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79">
                    <a:moveTo>
                      <a:pt x="63" y="76"/>
                    </a:moveTo>
                    <a:cubicBezTo>
                      <a:pt x="63" y="76"/>
                      <a:pt x="63" y="75"/>
                      <a:pt x="63" y="75"/>
                    </a:cubicBezTo>
                    <a:cubicBezTo>
                      <a:pt x="63" y="74"/>
                      <a:pt x="63" y="74"/>
                      <a:pt x="63" y="73"/>
                    </a:cubicBezTo>
                    <a:cubicBezTo>
                      <a:pt x="61" y="59"/>
                      <a:pt x="58" y="46"/>
                      <a:pt x="52" y="33"/>
                    </a:cubicBezTo>
                    <a:cubicBezTo>
                      <a:pt x="47" y="21"/>
                      <a:pt x="41" y="10"/>
                      <a:pt x="33" y="0"/>
                    </a:cubicBezTo>
                    <a:cubicBezTo>
                      <a:pt x="33" y="0"/>
                      <a:pt x="32" y="0"/>
                      <a:pt x="32" y="1"/>
                    </a:cubicBezTo>
                    <a:cubicBezTo>
                      <a:pt x="31" y="1"/>
                      <a:pt x="31" y="1"/>
                      <a:pt x="30" y="1"/>
                    </a:cubicBezTo>
                    <a:cubicBezTo>
                      <a:pt x="29" y="2"/>
                      <a:pt x="29" y="2"/>
                      <a:pt x="28" y="2"/>
                    </a:cubicBezTo>
                    <a:cubicBezTo>
                      <a:pt x="28" y="3"/>
                      <a:pt x="27" y="3"/>
                      <a:pt x="26" y="3"/>
                    </a:cubicBezTo>
                    <a:cubicBezTo>
                      <a:pt x="26" y="3"/>
                      <a:pt x="25" y="4"/>
                      <a:pt x="25" y="4"/>
                    </a:cubicBezTo>
                    <a:cubicBezTo>
                      <a:pt x="19" y="7"/>
                      <a:pt x="13" y="9"/>
                      <a:pt x="7" y="11"/>
                    </a:cubicBezTo>
                    <a:cubicBezTo>
                      <a:pt x="6" y="11"/>
                      <a:pt x="6" y="12"/>
                      <a:pt x="5" y="12"/>
                    </a:cubicBezTo>
                    <a:cubicBezTo>
                      <a:pt x="5" y="12"/>
                      <a:pt x="4" y="12"/>
                      <a:pt x="3" y="12"/>
                    </a:cubicBezTo>
                    <a:cubicBezTo>
                      <a:pt x="3" y="13"/>
                      <a:pt x="2" y="13"/>
                      <a:pt x="2" y="13"/>
                    </a:cubicBezTo>
                    <a:cubicBezTo>
                      <a:pt x="1" y="13"/>
                      <a:pt x="1" y="13"/>
                      <a:pt x="0" y="13"/>
                    </a:cubicBezTo>
                    <a:cubicBezTo>
                      <a:pt x="0" y="14"/>
                      <a:pt x="1" y="14"/>
                      <a:pt x="1" y="15"/>
                    </a:cubicBezTo>
                    <a:cubicBezTo>
                      <a:pt x="1" y="15"/>
                      <a:pt x="1" y="16"/>
                      <a:pt x="1" y="17"/>
                    </a:cubicBezTo>
                    <a:cubicBezTo>
                      <a:pt x="1" y="17"/>
                      <a:pt x="1" y="18"/>
                      <a:pt x="2" y="18"/>
                    </a:cubicBezTo>
                    <a:cubicBezTo>
                      <a:pt x="2" y="19"/>
                      <a:pt x="2" y="20"/>
                      <a:pt x="2" y="20"/>
                    </a:cubicBezTo>
                    <a:cubicBezTo>
                      <a:pt x="6" y="36"/>
                      <a:pt x="9" y="53"/>
                      <a:pt x="10" y="71"/>
                    </a:cubicBezTo>
                    <a:cubicBezTo>
                      <a:pt x="10" y="72"/>
                      <a:pt x="10" y="73"/>
                      <a:pt x="10" y="73"/>
                    </a:cubicBezTo>
                    <a:cubicBezTo>
                      <a:pt x="10" y="74"/>
                      <a:pt x="10" y="74"/>
                      <a:pt x="10" y="75"/>
                    </a:cubicBezTo>
                    <a:cubicBezTo>
                      <a:pt x="10" y="76"/>
                      <a:pt x="10" y="76"/>
                      <a:pt x="10" y="77"/>
                    </a:cubicBezTo>
                    <a:cubicBezTo>
                      <a:pt x="10" y="77"/>
                      <a:pt x="10" y="78"/>
                      <a:pt x="10" y="79"/>
                    </a:cubicBezTo>
                    <a:cubicBezTo>
                      <a:pt x="12" y="79"/>
                      <a:pt x="12" y="79"/>
                      <a:pt x="12" y="79"/>
                    </a:cubicBezTo>
                    <a:cubicBezTo>
                      <a:pt x="14" y="79"/>
                      <a:pt x="14" y="79"/>
                      <a:pt x="14" y="79"/>
                    </a:cubicBezTo>
                    <a:cubicBezTo>
                      <a:pt x="15" y="79"/>
                      <a:pt x="15" y="79"/>
                      <a:pt x="15" y="79"/>
                    </a:cubicBezTo>
                    <a:cubicBezTo>
                      <a:pt x="17" y="79"/>
                      <a:pt x="17" y="79"/>
                      <a:pt x="17" y="79"/>
                    </a:cubicBezTo>
                    <a:cubicBezTo>
                      <a:pt x="57" y="79"/>
                      <a:pt x="57" y="79"/>
                      <a:pt x="57" y="79"/>
                    </a:cubicBezTo>
                    <a:cubicBezTo>
                      <a:pt x="59" y="79"/>
                      <a:pt x="59" y="79"/>
                      <a:pt x="59" y="79"/>
                    </a:cubicBezTo>
                    <a:cubicBezTo>
                      <a:pt x="61" y="79"/>
                      <a:pt x="61" y="79"/>
                      <a:pt x="61" y="79"/>
                    </a:cubicBezTo>
                    <a:cubicBezTo>
                      <a:pt x="63" y="79"/>
                      <a:pt x="63" y="79"/>
                      <a:pt x="63" y="79"/>
                    </a:cubicBezTo>
                    <a:cubicBezTo>
                      <a:pt x="63" y="79"/>
                      <a:pt x="63" y="79"/>
                      <a:pt x="63" y="79"/>
                    </a:cubicBezTo>
                    <a:cubicBezTo>
                      <a:pt x="63" y="78"/>
                      <a:pt x="63" y="78"/>
                      <a:pt x="63" y="78"/>
                    </a:cubicBezTo>
                    <a:cubicBezTo>
                      <a:pt x="63" y="78"/>
                      <a:pt x="63" y="77"/>
                      <a:pt x="63"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7" name="Freeform 106">
                <a:extLst>
                  <a:ext uri="{FF2B5EF4-FFF2-40B4-BE49-F238E27FC236}">
                    <a16:creationId xmlns:a16="http://schemas.microsoft.com/office/drawing/2014/main" id="{B84E9ACD-BB8A-4E25-A501-38DA57778EEE}"/>
                  </a:ext>
                </a:extLst>
              </p:cNvPr>
              <p:cNvSpPr>
                <a:spLocks/>
              </p:cNvSpPr>
              <p:nvPr/>
            </p:nvSpPr>
            <p:spPr bwMode="auto">
              <a:xfrm>
                <a:off x="9926091" y="5780816"/>
                <a:ext cx="83454" cy="49512"/>
              </a:xfrm>
              <a:custGeom>
                <a:avLst/>
                <a:gdLst>
                  <a:gd name="T0" fmla="*/ 24 w 265"/>
                  <a:gd name="T1" fmla="*/ 177 h 177"/>
                  <a:gd name="T2" fmla="*/ 242 w 265"/>
                  <a:gd name="T3" fmla="*/ 177 h 177"/>
                  <a:gd name="T4" fmla="*/ 265 w 265"/>
                  <a:gd name="T5" fmla="*/ 154 h 177"/>
                  <a:gd name="T6" fmla="*/ 265 w 265"/>
                  <a:gd name="T7" fmla="*/ 24 h 177"/>
                  <a:gd name="T8" fmla="*/ 242 w 265"/>
                  <a:gd name="T9" fmla="*/ 0 h 177"/>
                  <a:gd name="T10" fmla="*/ 24 w 265"/>
                  <a:gd name="T11" fmla="*/ 0 h 177"/>
                  <a:gd name="T12" fmla="*/ 0 w 265"/>
                  <a:gd name="T13" fmla="*/ 24 h 177"/>
                  <a:gd name="T14" fmla="*/ 0 w 265"/>
                  <a:gd name="T15" fmla="*/ 154 h 177"/>
                  <a:gd name="T16" fmla="*/ 24 w 265"/>
                  <a:gd name="T1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177">
                    <a:moveTo>
                      <a:pt x="24" y="177"/>
                    </a:moveTo>
                    <a:cubicBezTo>
                      <a:pt x="242" y="177"/>
                      <a:pt x="242" y="177"/>
                      <a:pt x="242" y="177"/>
                    </a:cubicBezTo>
                    <a:cubicBezTo>
                      <a:pt x="255" y="177"/>
                      <a:pt x="265" y="167"/>
                      <a:pt x="265" y="154"/>
                    </a:cubicBezTo>
                    <a:cubicBezTo>
                      <a:pt x="265" y="24"/>
                      <a:pt x="265" y="24"/>
                      <a:pt x="265" y="24"/>
                    </a:cubicBezTo>
                    <a:cubicBezTo>
                      <a:pt x="265" y="11"/>
                      <a:pt x="255" y="0"/>
                      <a:pt x="242" y="0"/>
                    </a:cubicBezTo>
                    <a:cubicBezTo>
                      <a:pt x="24" y="0"/>
                      <a:pt x="24" y="0"/>
                      <a:pt x="24" y="0"/>
                    </a:cubicBezTo>
                    <a:cubicBezTo>
                      <a:pt x="11" y="0"/>
                      <a:pt x="0" y="11"/>
                      <a:pt x="0" y="24"/>
                    </a:cubicBezTo>
                    <a:cubicBezTo>
                      <a:pt x="0" y="154"/>
                      <a:pt x="0" y="154"/>
                      <a:pt x="0" y="154"/>
                    </a:cubicBezTo>
                    <a:cubicBezTo>
                      <a:pt x="0" y="167"/>
                      <a:pt x="11" y="177"/>
                      <a:pt x="24" y="1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273" name="Graphic 81">
            <a:extLst>
              <a:ext uri="{FF2B5EF4-FFF2-40B4-BE49-F238E27FC236}">
                <a16:creationId xmlns:a16="http://schemas.microsoft.com/office/drawing/2014/main" id="{A1994882-F3C9-458F-935B-1BC408D28E7E}"/>
              </a:ext>
              <a:ext uri="{C183D7F6-B498-43B3-948B-1728B52AA6E4}">
                <adec:decorative xmlns:adec="http://schemas.microsoft.com/office/drawing/2017/decorative" val="1"/>
              </a:ext>
            </a:extLst>
          </p:cNvPr>
          <p:cNvGrpSpPr>
            <a:grpSpLocks noChangeAspect="1"/>
          </p:cNvGrpSpPr>
          <p:nvPr/>
        </p:nvGrpSpPr>
        <p:grpSpPr>
          <a:xfrm>
            <a:off x="339252" y="1458706"/>
            <a:ext cx="665280" cy="633600"/>
            <a:chOff x="5759439" y="3111405"/>
            <a:chExt cx="671794" cy="636285"/>
          </a:xfrm>
        </p:grpSpPr>
        <p:sp>
          <p:nvSpPr>
            <p:cNvPr id="274" name="Freeform 302">
              <a:extLst>
                <a:ext uri="{FF2B5EF4-FFF2-40B4-BE49-F238E27FC236}">
                  <a16:creationId xmlns:a16="http://schemas.microsoft.com/office/drawing/2014/main" id="{582AA5AF-D929-4DCC-8915-2413D114F397}"/>
                </a:ext>
              </a:extLst>
            </p:cNvPr>
            <p:cNvSpPr/>
            <p:nvPr/>
          </p:nvSpPr>
          <p:spPr>
            <a:xfrm>
              <a:off x="5759439" y="3111405"/>
              <a:ext cx="671794" cy="636285"/>
            </a:xfrm>
            <a:custGeom>
              <a:avLst/>
              <a:gdLst>
                <a:gd name="connsiteX0" fmla="*/ 65140 w 671794"/>
                <a:gd name="connsiteY0" fmla="*/ 516719 h 636285"/>
                <a:gd name="connsiteX1" fmla="*/ 138612 w 671794"/>
                <a:gd name="connsiteY1" fmla="*/ 63973 h 636285"/>
                <a:gd name="connsiteX2" fmla="*/ 610825 w 671794"/>
                <a:gd name="connsiteY2" fmla="*/ 130317 h 636285"/>
                <a:gd name="connsiteX3" fmla="*/ 525028 w 671794"/>
                <a:gd name="connsiteY3" fmla="*/ 565813 h 636285"/>
                <a:gd name="connsiteX4" fmla="*/ 65140 w 671794"/>
                <a:gd name="connsiteY4" fmla="*/ 516340 h 636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794" h="636285">
                  <a:moveTo>
                    <a:pt x="65140" y="516719"/>
                  </a:moveTo>
                  <a:cubicBezTo>
                    <a:pt x="-45021" y="373323"/>
                    <a:pt x="-12125" y="170691"/>
                    <a:pt x="138612" y="63973"/>
                  </a:cubicBezTo>
                  <a:cubicBezTo>
                    <a:pt x="289348" y="-42745"/>
                    <a:pt x="500759" y="-12795"/>
                    <a:pt x="610825" y="130317"/>
                  </a:cubicBezTo>
                  <a:cubicBezTo>
                    <a:pt x="720891" y="273429"/>
                    <a:pt x="675765" y="459190"/>
                    <a:pt x="525028" y="565813"/>
                  </a:cubicBezTo>
                  <a:cubicBezTo>
                    <a:pt x="374292" y="672436"/>
                    <a:pt x="175206" y="659736"/>
                    <a:pt x="65140" y="516340"/>
                  </a:cubicBezTo>
                </a:path>
              </a:pathLst>
            </a:custGeom>
            <a:solidFill>
              <a:schemeClr val="accent3"/>
            </a:solidFill>
            <a:ln w="9391" cap="flat">
              <a:noFill/>
              <a:prstDash val="solid"/>
              <a:miter/>
            </a:ln>
          </p:spPr>
          <p:txBody>
            <a:bodyPr rtlCol="0" anchor="ctr"/>
            <a:lstStyle/>
            <a:p>
              <a:endParaRPr lang="fr-FR"/>
            </a:p>
          </p:txBody>
        </p:sp>
        <p:sp>
          <p:nvSpPr>
            <p:cNvPr id="300" name="Freeform 303">
              <a:extLst>
                <a:ext uri="{FF2B5EF4-FFF2-40B4-BE49-F238E27FC236}">
                  <a16:creationId xmlns:a16="http://schemas.microsoft.com/office/drawing/2014/main" id="{84755AA8-E02B-4269-94D3-34593FF181D0}"/>
                </a:ext>
              </a:extLst>
            </p:cNvPr>
            <p:cNvSpPr/>
            <p:nvPr/>
          </p:nvSpPr>
          <p:spPr>
            <a:xfrm>
              <a:off x="5921678" y="3267322"/>
              <a:ext cx="333779" cy="277304"/>
            </a:xfrm>
            <a:custGeom>
              <a:avLst/>
              <a:gdLst>
                <a:gd name="connsiteX0" fmla="*/ 95161 w 333779"/>
                <a:gd name="connsiteY0" fmla="*/ 80265 h 277304"/>
                <a:gd name="connsiteX1" fmla="*/ 333780 w 333779"/>
                <a:gd name="connsiteY1" fmla="*/ 84056 h 277304"/>
                <a:gd name="connsiteX2" fmla="*/ 321550 w 333779"/>
                <a:gd name="connsiteY2" fmla="*/ 201483 h 277304"/>
                <a:gd name="connsiteX3" fmla="*/ 106063 w 333779"/>
                <a:gd name="connsiteY3" fmla="*/ 219775 h 277304"/>
                <a:gd name="connsiteX4" fmla="*/ 87956 w 333779"/>
                <a:gd name="connsiteY4" fmla="*/ 254368 h 277304"/>
                <a:gd name="connsiteX5" fmla="*/ 290360 w 333779"/>
                <a:gd name="connsiteY5" fmla="*/ 254368 h 277304"/>
                <a:gd name="connsiteX6" fmla="*/ 286757 w 333779"/>
                <a:gd name="connsiteY6" fmla="*/ 277304 h 277304"/>
                <a:gd name="connsiteX7" fmla="*/ 53353 w 333779"/>
                <a:gd name="connsiteY7" fmla="*/ 277304 h 277304"/>
                <a:gd name="connsiteX8" fmla="*/ 77148 w 333779"/>
                <a:gd name="connsiteY8" fmla="*/ 213236 h 277304"/>
                <a:gd name="connsiteX9" fmla="*/ 39227 w 333779"/>
                <a:gd name="connsiteY9" fmla="*/ 27474 h 277304"/>
                <a:gd name="connsiteX10" fmla="*/ 2444 w 333779"/>
                <a:gd name="connsiteY10" fmla="*/ 27474 h 277304"/>
                <a:gd name="connsiteX11" fmla="*/ 2444 w 333779"/>
                <a:gd name="connsiteY11" fmla="*/ 274 h 277304"/>
                <a:gd name="connsiteX12" fmla="*/ 62359 w 333779"/>
                <a:gd name="connsiteY12" fmla="*/ 2264 h 277304"/>
                <a:gd name="connsiteX13" fmla="*/ 95161 w 333779"/>
                <a:gd name="connsiteY13" fmla="*/ 80170 h 27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3779" h="277304">
                  <a:moveTo>
                    <a:pt x="95161" y="80265"/>
                  </a:moveTo>
                  <a:cubicBezTo>
                    <a:pt x="95161" y="80265"/>
                    <a:pt x="267323" y="71261"/>
                    <a:pt x="333780" y="84056"/>
                  </a:cubicBezTo>
                  <a:cubicBezTo>
                    <a:pt x="333780" y="84056"/>
                    <a:pt x="329893" y="173050"/>
                    <a:pt x="321550" y="201483"/>
                  </a:cubicBezTo>
                  <a:cubicBezTo>
                    <a:pt x="321550" y="201483"/>
                    <a:pt x="157446" y="206791"/>
                    <a:pt x="106063" y="219775"/>
                  </a:cubicBezTo>
                  <a:cubicBezTo>
                    <a:pt x="106063" y="219775"/>
                    <a:pt x="88809" y="241574"/>
                    <a:pt x="87956" y="254368"/>
                  </a:cubicBezTo>
                  <a:cubicBezTo>
                    <a:pt x="87956" y="254368"/>
                    <a:pt x="273864" y="253515"/>
                    <a:pt x="290360" y="254368"/>
                  </a:cubicBezTo>
                  <a:cubicBezTo>
                    <a:pt x="293533" y="262087"/>
                    <a:pt x="292144" y="270929"/>
                    <a:pt x="286757" y="277304"/>
                  </a:cubicBezTo>
                  <a:cubicBezTo>
                    <a:pt x="286757" y="277304"/>
                    <a:pt x="65772" y="273513"/>
                    <a:pt x="53353" y="277304"/>
                  </a:cubicBezTo>
                  <a:cubicBezTo>
                    <a:pt x="46906" y="258349"/>
                    <a:pt x="52594" y="252283"/>
                    <a:pt x="77148" y="213236"/>
                  </a:cubicBezTo>
                  <a:cubicBezTo>
                    <a:pt x="77148" y="213236"/>
                    <a:pt x="52120" y="49178"/>
                    <a:pt x="39227" y="27474"/>
                  </a:cubicBezTo>
                  <a:lnTo>
                    <a:pt x="2444" y="27474"/>
                  </a:lnTo>
                  <a:cubicBezTo>
                    <a:pt x="2444" y="27474"/>
                    <a:pt x="-3055" y="7571"/>
                    <a:pt x="2444" y="274"/>
                  </a:cubicBezTo>
                  <a:cubicBezTo>
                    <a:pt x="22438" y="-434"/>
                    <a:pt x="42456" y="231"/>
                    <a:pt x="62359" y="2264"/>
                  </a:cubicBezTo>
                  <a:cubicBezTo>
                    <a:pt x="71014" y="29134"/>
                    <a:pt x="81989" y="55201"/>
                    <a:pt x="95161" y="80170"/>
                  </a:cubicBezTo>
                </a:path>
              </a:pathLst>
            </a:custGeom>
            <a:solidFill>
              <a:srgbClr val="FFFFFF"/>
            </a:solidFill>
            <a:ln w="9391" cap="flat">
              <a:noFill/>
              <a:prstDash val="solid"/>
              <a:miter/>
            </a:ln>
          </p:spPr>
          <p:txBody>
            <a:bodyPr rtlCol="0" anchor="ctr"/>
            <a:lstStyle/>
            <a:p>
              <a:endParaRPr lang="fr-FR"/>
            </a:p>
          </p:txBody>
        </p:sp>
        <p:sp>
          <p:nvSpPr>
            <p:cNvPr id="318" name="Freeform 304">
              <a:extLst>
                <a:ext uri="{FF2B5EF4-FFF2-40B4-BE49-F238E27FC236}">
                  <a16:creationId xmlns:a16="http://schemas.microsoft.com/office/drawing/2014/main" id="{2751F63A-792F-4D7C-8E5B-19DFE97CC2E0}"/>
                </a:ext>
              </a:extLst>
            </p:cNvPr>
            <p:cNvSpPr/>
            <p:nvPr/>
          </p:nvSpPr>
          <p:spPr>
            <a:xfrm>
              <a:off x="5964384" y="3551649"/>
              <a:ext cx="53823" cy="51023"/>
            </a:xfrm>
            <a:custGeom>
              <a:avLst/>
              <a:gdLst>
                <a:gd name="connsiteX0" fmla="*/ 5339 w 53823"/>
                <a:gd name="connsiteY0" fmla="*/ 41692 h 51023"/>
                <a:gd name="connsiteX1" fmla="*/ 9642 w 53823"/>
                <a:gd name="connsiteY1" fmla="*/ 6435 h 51023"/>
                <a:gd name="connsiteX2" fmla="*/ 11216 w 53823"/>
                <a:gd name="connsiteY2" fmla="*/ 5298 h 51023"/>
                <a:gd name="connsiteX3" fmla="*/ 49138 w 53823"/>
                <a:gd name="connsiteY3" fmla="*/ 10605 h 51023"/>
                <a:gd name="connsiteX4" fmla="*/ 44140 w 53823"/>
                <a:gd name="connsiteY4" fmla="*/ 44010 h 51023"/>
                <a:gd name="connsiteX5" fmla="*/ 42217 w 53823"/>
                <a:gd name="connsiteY5" fmla="*/ 45294 h 51023"/>
                <a:gd name="connsiteX6" fmla="*/ 5528 w 53823"/>
                <a:gd name="connsiteY6" fmla="*/ 41408 h 5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823" h="51023">
                  <a:moveTo>
                    <a:pt x="5339" y="41692"/>
                  </a:moveTo>
                  <a:cubicBezTo>
                    <a:pt x="-3212" y="30768"/>
                    <a:pt x="-1285" y="14983"/>
                    <a:pt x="9642" y="6435"/>
                  </a:cubicBezTo>
                  <a:cubicBezTo>
                    <a:pt x="10152" y="6036"/>
                    <a:pt x="10677" y="5656"/>
                    <a:pt x="11216" y="5298"/>
                  </a:cubicBezTo>
                  <a:cubicBezTo>
                    <a:pt x="23214" y="-3470"/>
                    <a:pt x="40010" y="-1119"/>
                    <a:pt x="49138" y="10605"/>
                  </a:cubicBezTo>
                  <a:cubicBezTo>
                    <a:pt x="56985" y="21210"/>
                    <a:pt x="54747" y="36166"/>
                    <a:pt x="44140" y="44010"/>
                  </a:cubicBezTo>
                  <a:cubicBezTo>
                    <a:pt x="43520" y="44469"/>
                    <a:pt x="42878" y="44897"/>
                    <a:pt x="42217" y="45294"/>
                  </a:cubicBezTo>
                  <a:cubicBezTo>
                    <a:pt x="30984" y="54251"/>
                    <a:pt x="14635" y="52520"/>
                    <a:pt x="5528" y="41408"/>
                  </a:cubicBezTo>
                </a:path>
              </a:pathLst>
            </a:custGeom>
            <a:solidFill>
              <a:schemeClr val="bg1"/>
            </a:solidFill>
            <a:ln w="9391" cap="flat">
              <a:noFill/>
              <a:prstDash val="solid"/>
              <a:miter/>
            </a:ln>
          </p:spPr>
          <p:txBody>
            <a:bodyPr rtlCol="0" anchor="ctr"/>
            <a:lstStyle/>
            <a:p>
              <a:endParaRPr lang="fr-FR"/>
            </a:p>
          </p:txBody>
        </p:sp>
        <p:sp>
          <p:nvSpPr>
            <p:cNvPr id="320" name="Freeform 305">
              <a:extLst>
                <a:ext uri="{FF2B5EF4-FFF2-40B4-BE49-F238E27FC236}">
                  <a16:creationId xmlns:a16="http://schemas.microsoft.com/office/drawing/2014/main" id="{87F67597-5333-4532-8D15-0F74AB089636}"/>
                </a:ext>
              </a:extLst>
            </p:cNvPr>
            <p:cNvSpPr/>
            <p:nvPr/>
          </p:nvSpPr>
          <p:spPr>
            <a:xfrm>
              <a:off x="6165823" y="3551438"/>
              <a:ext cx="52145" cy="52307"/>
            </a:xfrm>
            <a:custGeom>
              <a:avLst/>
              <a:gdLst>
                <a:gd name="connsiteX0" fmla="*/ 1752 w 52145"/>
                <a:gd name="connsiteY0" fmla="*/ 15461 h 52307"/>
                <a:gd name="connsiteX1" fmla="*/ 34921 w 52145"/>
                <a:gd name="connsiteY1" fmla="*/ 2003 h 52307"/>
                <a:gd name="connsiteX2" fmla="*/ 35976 w 52145"/>
                <a:gd name="connsiteY2" fmla="*/ 2477 h 52307"/>
                <a:gd name="connsiteX3" fmla="*/ 50196 w 52145"/>
                <a:gd name="connsiteY3" fmla="*/ 37828 h 52307"/>
                <a:gd name="connsiteX4" fmla="*/ 18826 w 52145"/>
                <a:gd name="connsiteY4" fmla="*/ 50370 h 52307"/>
                <a:gd name="connsiteX5" fmla="*/ 16636 w 52145"/>
                <a:gd name="connsiteY5" fmla="*/ 49296 h 52307"/>
                <a:gd name="connsiteX6" fmla="*/ 1752 w 52145"/>
                <a:gd name="connsiteY6" fmla="*/ 15461 h 52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45" h="52307">
                  <a:moveTo>
                    <a:pt x="1752" y="15461"/>
                  </a:moveTo>
                  <a:cubicBezTo>
                    <a:pt x="7194" y="2588"/>
                    <a:pt x="22044" y="-3438"/>
                    <a:pt x="34921" y="2003"/>
                  </a:cubicBezTo>
                  <a:cubicBezTo>
                    <a:pt x="35277" y="2153"/>
                    <a:pt x="35628" y="2311"/>
                    <a:pt x="35976" y="2477"/>
                  </a:cubicBezTo>
                  <a:cubicBezTo>
                    <a:pt x="49368" y="8603"/>
                    <a:pt x="55617" y="24139"/>
                    <a:pt x="50196" y="37828"/>
                  </a:cubicBezTo>
                  <a:cubicBezTo>
                    <a:pt x="44998" y="49952"/>
                    <a:pt x="30953" y="55567"/>
                    <a:pt x="18826" y="50370"/>
                  </a:cubicBezTo>
                  <a:cubicBezTo>
                    <a:pt x="18078" y="50050"/>
                    <a:pt x="17347" y="49691"/>
                    <a:pt x="16636" y="49296"/>
                  </a:cubicBezTo>
                  <a:cubicBezTo>
                    <a:pt x="3228" y="44012"/>
                    <a:pt x="-3414" y="28912"/>
                    <a:pt x="1752" y="15461"/>
                  </a:cubicBezTo>
                </a:path>
              </a:pathLst>
            </a:custGeom>
            <a:solidFill>
              <a:schemeClr val="bg1"/>
            </a:solidFill>
            <a:ln w="9391" cap="flat">
              <a:noFill/>
              <a:prstDash val="solid"/>
              <a:miter/>
            </a:ln>
          </p:spPr>
          <p:txBody>
            <a:bodyPr rtlCol="0" anchor="ctr"/>
            <a:lstStyle/>
            <a:p>
              <a:endParaRPr lang="fr-FR"/>
            </a:p>
          </p:txBody>
        </p:sp>
        <p:sp>
          <p:nvSpPr>
            <p:cNvPr id="321" name="Freeform 306">
              <a:extLst>
                <a:ext uri="{FF2B5EF4-FFF2-40B4-BE49-F238E27FC236}">
                  <a16:creationId xmlns:a16="http://schemas.microsoft.com/office/drawing/2014/main" id="{68BED300-A65B-4477-B947-BFFA4CC2251F}"/>
                </a:ext>
              </a:extLst>
            </p:cNvPr>
            <p:cNvSpPr/>
            <p:nvPr/>
          </p:nvSpPr>
          <p:spPr>
            <a:xfrm>
              <a:off x="6015417" y="3376012"/>
              <a:ext cx="207618" cy="23417"/>
            </a:xfrm>
            <a:custGeom>
              <a:avLst/>
              <a:gdLst>
                <a:gd name="connsiteX0" fmla="*/ 0 w 207618"/>
                <a:gd name="connsiteY0" fmla="*/ 3135 h 23417"/>
                <a:gd name="connsiteX1" fmla="*/ 207618 w 207618"/>
                <a:gd name="connsiteY1" fmla="*/ 3135 h 23417"/>
                <a:gd name="connsiteX2" fmla="*/ 207618 w 207618"/>
                <a:gd name="connsiteY2" fmla="*/ 18394 h 23417"/>
                <a:gd name="connsiteX3" fmla="*/ 3602 w 207618"/>
                <a:gd name="connsiteY3" fmla="*/ 23417 h 23417"/>
              </a:gdLst>
              <a:ahLst/>
              <a:cxnLst>
                <a:cxn ang="0">
                  <a:pos x="connsiteX0" y="connsiteY0"/>
                </a:cxn>
                <a:cxn ang="0">
                  <a:pos x="connsiteX1" y="connsiteY1"/>
                </a:cxn>
                <a:cxn ang="0">
                  <a:pos x="connsiteX2" y="connsiteY2"/>
                </a:cxn>
                <a:cxn ang="0">
                  <a:pos x="connsiteX3" y="connsiteY3"/>
                </a:cxn>
              </a:cxnLst>
              <a:rect l="l" t="t" r="r" b="b"/>
              <a:pathLst>
                <a:path w="207618" h="23417">
                  <a:moveTo>
                    <a:pt x="0" y="3135"/>
                  </a:moveTo>
                  <a:cubicBezTo>
                    <a:pt x="69143" y="-1045"/>
                    <a:pt x="138475" y="-1045"/>
                    <a:pt x="207618" y="3135"/>
                  </a:cubicBezTo>
                  <a:lnTo>
                    <a:pt x="207618" y="18394"/>
                  </a:lnTo>
                  <a:cubicBezTo>
                    <a:pt x="207618" y="18394"/>
                    <a:pt x="12230" y="22659"/>
                    <a:pt x="3602" y="23417"/>
                  </a:cubicBezTo>
                  <a:close/>
                </a:path>
              </a:pathLst>
            </a:custGeom>
            <a:solidFill>
              <a:schemeClr val="accent3"/>
            </a:solidFill>
            <a:ln w="9391" cap="flat">
              <a:noFill/>
              <a:prstDash val="solid"/>
              <a:miter/>
            </a:ln>
          </p:spPr>
          <p:txBody>
            <a:bodyPr rtlCol="0" anchor="ctr"/>
            <a:lstStyle/>
            <a:p>
              <a:endParaRPr lang="fr-FR"/>
            </a:p>
          </p:txBody>
        </p:sp>
        <p:sp>
          <p:nvSpPr>
            <p:cNvPr id="322" name="Freeform 307">
              <a:extLst>
                <a:ext uri="{FF2B5EF4-FFF2-40B4-BE49-F238E27FC236}">
                  <a16:creationId xmlns:a16="http://schemas.microsoft.com/office/drawing/2014/main" id="{61975973-CFF8-4545-8D8F-3AB7E9BEC3E2}"/>
                </a:ext>
              </a:extLst>
            </p:cNvPr>
            <p:cNvSpPr/>
            <p:nvPr/>
          </p:nvSpPr>
          <p:spPr>
            <a:xfrm>
              <a:off x="6024044" y="3423787"/>
              <a:ext cx="193966" cy="24505"/>
            </a:xfrm>
            <a:custGeom>
              <a:avLst/>
              <a:gdLst>
                <a:gd name="connsiteX0" fmla="*/ 0 w 193966"/>
                <a:gd name="connsiteY0" fmla="*/ 4644 h 24505"/>
                <a:gd name="connsiteX1" fmla="*/ 193967 w 193966"/>
                <a:gd name="connsiteY1" fmla="*/ 0 h 24505"/>
                <a:gd name="connsiteX2" fmla="*/ 191028 w 193966"/>
                <a:gd name="connsiteY2" fmla="*/ 18955 h 24505"/>
                <a:gd name="connsiteX3" fmla="*/ 3603 w 193966"/>
                <a:gd name="connsiteY3" fmla="*/ 24263 h 24505"/>
              </a:gdLst>
              <a:ahLst/>
              <a:cxnLst>
                <a:cxn ang="0">
                  <a:pos x="connsiteX0" y="connsiteY0"/>
                </a:cxn>
                <a:cxn ang="0">
                  <a:pos x="connsiteX1" y="connsiteY1"/>
                </a:cxn>
                <a:cxn ang="0">
                  <a:pos x="connsiteX2" y="connsiteY2"/>
                </a:cxn>
                <a:cxn ang="0">
                  <a:pos x="connsiteX3" y="connsiteY3"/>
                </a:cxn>
              </a:cxnLst>
              <a:rect l="l" t="t" r="r" b="b"/>
              <a:pathLst>
                <a:path w="193966" h="24505">
                  <a:moveTo>
                    <a:pt x="0" y="4644"/>
                  </a:moveTo>
                  <a:cubicBezTo>
                    <a:pt x="88261" y="-379"/>
                    <a:pt x="163440" y="3033"/>
                    <a:pt x="193967" y="0"/>
                  </a:cubicBezTo>
                  <a:lnTo>
                    <a:pt x="191028" y="18955"/>
                  </a:lnTo>
                  <a:cubicBezTo>
                    <a:pt x="191028" y="18955"/>
                    <a:pt x="37352" y="25874"/>
                    <a:pt x="3603" y="24263"/>
                  </a:cubicBezTo>
                  <a:close/>
                </a:path>
              </a:pathLst>
            </a:custGeom>
            <a:solidFill>
              <a:schemeClr val="accent3"/>
            </a:solidFill>
            <a:ln w="9391" cap="flat">
              <a:noFill/>
              <a:prstDash val="solid"/>
              <a:miter/>
            </a:ln>
          </p:spPr>
          <p:txBody>
            <a:bodyPr rtlCol="0" anchor="ctr"/>
            <a:lstStyle/>
            <a:p>
              <a:endParaRPr lang="fr-FR"/>
            </a:p>
          </p:txBody>
        </p:sp>
      </p:grpSp>
      <p:grpSp>
        <p:nvGrpSpPr>
          <p:cNvPr id="14" name="Group 13">
            <a:extLst>
              <a:ext uri="{FF2B5EF4-FFF2-40B4-BE49-F238E27FC236}">
                <a16:creationId xmlns:a16="http://schemas.microsoft.com/office/drawing/2014/main" id="{B53319A7-4A21-4BEA-A530-92CF021B110C}"/>
              </a:ext>
              <a:ext uri="{C183D7F6-B498-43B3-948B-1728B52AA6E4}">
                <adec:decorative xmlns:adec="http://schemas.microsoft.com/office/drawing/2017/decorative" val="1"/>
              </a:ext>
            </a:extLst>
          </p:cNvPr>
          <p:cNvGrpSpPr>
            <a:grpSpLocks noChangeAspect="1"/>
          </p:cNvGrpSpPr>
          <p:nvPr/>
        </p:nvGrpSpPr>
        <p:grpSpPr>
          <a:xfrm>
            <a:off x="6302040" y="1458705"/>
            <a:ext cx="678063" cy="633600"/>
            <a:chOff x="5933883" y="1522986"/>
            <a:chExt cx="677863" cy="633413"/>
          </a:xfrm>
        </p:grpSpPr>
        <p:sp>
          <p:nvSpPr>
            <p:cNvPr id="324" name="Freeform 353">
              <a:extLst>
                <a:ext uri="{FF2B5EF4-FFF2-40B4-BE49-F238E27FC236}">
                  <a16:creationId xmlns:a16="http://schemas.microsoft.com/office/drawing/2014/main" id="{7D2A8222-BAEE-48CA-B0AA-6E1EDF1C2B3E}"/>
                </a:ext>
              </a:extLst>
            </p:cNvPr>
            <p:cNvSpPr>
              <a:spLocks/>
            </p:cNvSpPr>
            <p:nvPr/>
          </p:nvSpPr>
          <p:spPr bwMode="auto">
            <a:xfrm>
              <a:off x="5933883" y="1522986"/>
              <a:ext cx="677863" cy="633413"/>
            </a:xfrm>
            <a:custGeom>
              <a:avLst/>
              <a:gdLst>
                <a:gd name="T0" fmla="*/ 33 w 233"/>
                <a:gd name="T1" fmla="*/ 171 h 218"/>
                <a:gd name="T2" fmla="*/ 56 w 233"/>
                <a:gd name="T3" fmla="*/ 33 h 218"/>
                <a:gd name="T4" fmla="*/ 200 w 233"/>
                <a:gd name="T5" fmla="*/ 53 h 218"/>
                <a:gd name="T6" fmla="*/ 174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10"/>
                    <a:pt x="200" y="53"/>
                  </a:cubicBezTo>
                  <a:cubicBezTo>
                    <a:pt x="233" y="97"/>
                    <a:pt x="220" y="153"/>
                    <a:pt x="174" y="186"/>
                  </a:cubicBezTo>
                  <a:cubicBezTo>
                    <a:pt x="128" y="218"/>
                    <a:pt x="67" y="215"/>
                    <a:pt x="33" y="171"/>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25" name="Freeform 354">
              <a:extLst>
                <a:ext uri="{FF2B5EF4-FFF2-40B4-BE49-F238E27FC236}">
                  <a16:creationId xmlns:a16="http://schemas.microsoft.com/office/drawing/2014/main" id="{0D22C6E6-90F3-4742-96ED-951A372B9089}"/>
                </a:ext>
              </a:extLst>
            </p:cNvPr>
            <p:cNvSpPr>
              <a:spLocks/>
            </p:cNvSpPr>
            <p:nvPr/>
          </p:nvSpPr>
          <p:spPr bwMode="auto">
            <a:xfrm>
              <a:off x="6051358" y="1700786"/>
              <a:ext cx="455613" cy="293688"/>
            </a:xfrm>
            <a:custGeom>
              <a:avLst/>
              <a:gdLst>
                <a:gd name="T0" fmla="*/ 114 w 157"/>
                <a:gd name="T1" fmla="*/ 101 h 101"/>
                <a:gd name="T2" fmla="*/ 31 w 157"/>
                <a:gd name="T3" fmla="*/ 101 h 101"/>
                <a:gd name="T4" fmla="*/ 0 w 157"/>
                <a:gd name="T5" fmla="*/ 70 h 101"/>
                <a:gd name="T6" fmla="*/ 0 w 157"/>
                <a:gd name="T7" fmla="*/ 31 h 101"/>
                <a:gd name="T8" fmla="*/ 31 w 157"/>
                <a:gd name="T9" fmla="*/ 0 h 101"/>
                <a:gd name="T10" fmla="*/ 145 w 157"/>
                <a:gd name="T11" fmla="*/ 0 h 101"/>
                <a:gd name="T12" fmla="*/ 114 w 157"/>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157" h="101">
                  <a:moveTo>
                    <a:pt x="114" y="101"/>
                  </a:moveTo>
                  <a:cubicBezTo>
                    <a:pt x="31" y="101"/>
                    <a:pt x="31" y="101"/>
                    <a:pt x="31" y="101"/>
                  </a:cubicBezTo>
                  <a:cubicBezTo>
                    <a:pt x="14" y="101"/>
                    <a:pt x="0" y="87"/>
                    <a:pt x="0" y="70"/>
                  </a:cubicBezTo>
                  <a:cubicBezTo>
                    <a:pt x="0" y="31"/>
                    <a:pt x="0" y="31"/>
                    <a:pt x="0" y="31"/>
                  </a:cubicBezTo>
                  <a:cubicBezTo>
                    <a:pt x="0" y="14"/>
                    <a:pt x="14" y="0"/>
                    <a:pt x="31" y="0"/>
                  </a:cubicBezTo>
                  <a:cubicBezTo>
                    <a:pt x="31" y="0"/>
                    <a:pt x="93" y="4"/>
                    <a:pt x="145" y="0"/>
                  </a:cubicBezTo>
                  <a:cubicBezTo>
                    <a:pt x="157" y="41"/>
                    <a:pt x="157" y="98"/>
                    <a:pt x="114" y="10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13" name="Group 12">
              <a:extLst>
                <a:ext uri="{FF2B5EF4-FFF2-40B4-BE49-F238E27FC236}">
                  <a16:creationId xmlns:a16="http://schemas.microsoft.com/office/drawing/2014/main" id="{B40356BA-B437-4FDC-84E6-903121BC86BA}"/>
                </a:ext>
              </a:extLst>
            </p:cNvPr>
            <p:cNvGrpSpPr/>
            <p:nvPr/>
          </p:nvGrpSpPr>
          <p:grpSpPr>
            <a:xfrm>
              <a:off x="6140258" y="1761111"/>
              <a:ext cx="252413" cy="163513"/>
              <a:chOff x="6140258" y="1761111"/>
              <a:chExt cx="252413" cy="163513"/>
            </a:xfrm>
            <a:solidFill>
              <a:schemeClr val="accent3"/>
            </a:solidFill>
          </p:grpSpPr>
          <p:sp>
            <p:nvSpPr>
              <p:cNvPr id="326" name="Freeform 355">
                <a:extLst>
                  <a:ext uri="{FF2B5EF4-FFF2-40B4-BE49-F238E27FC236}">
                    <a16:creationId xmlns:a16="http://schemas.microsoft.com/office/drawing/2014/main" id="{66A25342-EFF2-497E-AF33-1E985125206D}"/>
                  </a:ext>
                </a:extLst>
              </p:cNvPr>
              <p:cNvSpPr>
                <a:spLocks/>
              </p:cNvSpPr>
              <p:nvPr/>
            </p:nvSpPr>
            <p:spPr bwMode="auto">
              <a:xfrm>
                <a:off x="6140258" y="1767461"/>
                <a:ext cx="0" cy="149225"/>
              </a:xfrm>
              <a:custGeom>
                <a:avLst/>
                <a:gdLst>
                  <a:gd name="T0" fmla="*/ 0 h 51"/>
                  <a:gd name="T1" fmla="*/ 51 h 51"/>
                </a:gdLst>
                <a:ahLst/>
                <a:cxnLst>
                  <a:cxn ang="0">
                    <a:pos x="0" y="T0"/>
                  </a:cxn>
                  <a:cxn ang="0">
                    <a:pos x="0" y="T1"/>
                  </a:cxn>
                </a:cxnLst>
                <a:rect l="0" t="0" r="r" b="b"/>
                <a:pathLst>
                  <a:path h="51">
                    <a:moveTo>
                      <a:pt x="0" y="0"/>
                    </a:moveTo>
                    <a:cubicBezTo>
                      <a:pt x="0" y="13"/>
                      <a:pt x="0" y="35"/>
                      <a:pt x="0" y="51"/>
                    </a:cubicBezTo>
                  </a:path>
                </a:pathLst>
              </a:custGeom>
              <a:grpFill/>
              <a:ln w="3175" cap="rnd">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27" name="Freeform 356">
                <a:extLst>
                  <a:ext uri="{FF2B5EF4-FFF2-40B4-BE49-F238E27FC236}">
                    <a16:creationId xmlns:a16="http://schemas.microsoft.com/office/drawing/2014/main" id="{266178B0-2967-4FCC-AA4C-A92B7885A7C3}"/>
                  </a:ext>
                </a:extLst>
              </p:cNvPr>
              <p:cNvSpPr>
                <a:spLocks/>
              </p:cNvSpPr>
              <p:nvPr/>
            </p:nvSpPr>
            <p:spPr bwMode="auto">
              <a:xfrm>
                <a:off x="6149783" y="1764286"/>
                <a:ext cx="11113" cy="157163"/>
              </a:xfrm>
              <a:custGeom>
                <a:avLst/>
                <a:gdLst>
                  <a:gd name="T0" fmla="*/ 0 w 4"/>
                  <a:gd name="T1" fmla="*/ 37 h 54"/>
                  <a:gd name="T2" fmla="*/ 1 w 4"/>
                  <a:gd name="T3" fmla="*/ 6 h 54"/>
                  <a:gd name="T4" fmla="*/ 1 w 4"/>
                  <a:gd name="T5" fmla="*/ 5 h 54"/>
                  <a:gd name="T6" fmla="*/ 2 w 4"/>
                  <a:gd name="T7" fmla="*/ 0 h 54"/>
                  <a:gd name="T8" fmla="*/ 4 w 4"/>
                  <a:gd name="T9" fmla="*/ 5 h 54"/>
                  <a:gd name="T10" fmla="*/ 4 w 4"/>
                  <a:gd name="T11" fmla="*/ 38 h 54"/>
                  <a:gd name="T12" fmla="*/ 4 w 4"/>
                  <a:gd name="T13" fmla="*/ 52 h 54"/>
                  <a:gd name="T14" fmla="*/ 2 w 4"/>
                  <a:gd name="T15" fmla="*/ 54 h 54"/>
                  <a:gd name="T16" fmla="*/ 0 w 4"/>
                  <a:gd name="T17" fmla="*/ 52 h 54"/>
                  <a:gd name="T18" fmla="*/ 0 w 4"/>
                  <a:gd name="T19"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4">
                    <a:moveTo>
                      <a:pt x="0" y="37"/>
                    </a:moveTo>
                    <a:cubicBezTo>
                      <a:pt x="1" y="6"/>
                      <a:pt x="1" y="6"/>
                      <a:pt x="1" y="6"/>
                    </a:cubicBezTo>
                    <a:cubicBezTo>
                      <a:pt x="1" y="6"/>
                      <a:pt x="1" y="5"/>
                      <a:pt x="1" y="5"/>
                    </a:cubicBezTo>
                    <a:cubicBezTo>
                      <a:pt x="1" y="2"/>
                      <a:pt x="1" y="1"/>
                      <a:pt x="2" y="0"/>
                    </a:cubicBezTo>
                    <a:cubicBezTo>
                      <a:pt x="2" y="0"/>
                      <a:pt x="4" y="1"/>
                      <a:pt x="4" y="5"/>
                    </a:cubicBezTo>
                    <a:cubicBezTo>
                      <a:pt x="4" y="9"/>
                      <a:pt x="4" y="38"/>
                      <a:pt x="4" y="38"/>
                    </a:cubicBezTo>
                    <a:cubicBezTo>
                      <a:pt x="4" y="52"/>
                      <a:pt x="4" y="52"/>
                      <a:pt x="4" y="52"/>
                    </a:cubicBezTo>
                    <a:cubicBezTo>
                      <a:pt x="4" y="52"/>
                      <a:pt x="4" y="54"/>
                      <a:pt x="2" y="54"/>
                    </a:cubicBezTo>
                    <a:cubicBezTo>
                      <a:pt x="1" y="54"/>
                      <a:pt x="0" y="53"/>
                      <a:pt x="0" y="52"/>
                    </a:cubicBezTo>
                    <a:cubicBezTo>
                      <a:pt x="0" y="51"/>
                      <a:pt x="0" y="37"/>
                      <a:pt x="0" y="37"/>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28" name="Freeform 357">
                <a:extLst>
                  <a:ext uri="{FF2B5EF4-FFF2-40B4-BE49-F238E27FC236}">
                    <a16:creationId xmlns:a16="http://schemas.microsoft.com/office/drawing/2014/main" id="{FB26E638-E3B4-47AA-B0FE-31ED65135B73}"/>
                  </a:ext>
                </a:extLst>
              </p:cNvPr>
              <p:cNvSpPr>
                <a:spLocks/>
              </p:cNvSpPr>
              <p:nvPr/>
            </p:nvSpPr>
            <p:spPr bwMode="auto">
              <a:xfrm>
                <a:off x="6373621" y="1767461"/>
                <a:ext cx="0" cy="149225"/>
              </a:xfrm>
              <a:custGeom>
                <a:avLst/>
                <a:gdLst>
                  <a:gd name="T0" fmla="*/ 0 h 51"/>
                  <a:gd name="T1" fmla="*/ 51 h 51"/>
                </a:gdLst>
                <a:ahLst/>
                <a:cxnLst>
                  <a:cxn ang="0">
                    <a:pos x="0" y="T0"/>
                  </a:cxn>
                  <a:cxn ang="0">
                    <a:pos x="0" y="T1"/>
                  </a:cxn>
                </a:cxnLst>
                <a:rect l="0" t="0" r="r" b="b"/>
                <a:pathLst>
                  <a:path h="51">
                    <a:moveTo>
                      <a:pt x="0" y="0"/>
                    </a:moveTo>
                    <a:cubicBezTo>
                      <a:pt x="0" y="13"/>
                      <a:pt x="0" y="35"/>
                      <a:pt x="0" y="51"/>
                    </a:cubicBezTo>
                  </a:path>
                </a:pathLst>
              </a:custGeom>
              <a:grpFill/>
              <a:ln w="3175" cap="rnd">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29" name="Freeform 358">
                <a:extLst>
                  <a:ext uri="{FF2B5EF4-FFF2-40B4-BE49-F238E27FC236}">
                    <a16:creationId xmlns:a16="http://schemas.microsoft.com/office/drawing/2014/main" id="{D2E28AD8-E0E7-467F-BF06-55CB673D6A3B}"/>
                  </a:ext>
                </a:extLst>
              </p:cNvPr>
              <p:cNvSpPr>
                <a:spLocks/>
              </p:cNvSpPr>
              <p:nvPr/>
            </p:nvSpPr>
            <p:spPr bwMode="auto">
              <a:xfrm>
                <a:off x="6384733" y="1764286"/>
                <a:ext cx="7938" cy="157163"/>
              </a:xfrm>
              <a:custGeom>
                <a:avLst/>
                <a:gdLst>
                  <a:gd name="T0" fmla="*/ 0 w 3"/>
                  <a:gd name="T1" fmla="*/ 37 h 54"/>
                  <a:gd name="T2" fmla="*/ 0 w 3"/>
                  <a:gd name="T3" fmla="*/ 6 h 54"/>
                  <a:gd name="T4" fmla="*/ 0 w 3"/>
                  <a:gd name="T5" fmla="*/ 5 h 54"/>
                  <a:gd name="T6" fmla="*/ 1 w 3"/>
                  <a:gd name="T7" fmla="*/ 0 h 54"/>
                  <a:gd name="T8" fmla="*/ 3 w 3"/>
                  <a:gd name="T9" fmla="*/ 5 h 54"/>
                  <a:gd name="T10" fmla="*/ 3 w 3"/>
                  <a:gd name="T11" fmla="*/ 38 h 54"/>
                  <a:gd name="T12" fmla="*/ 3 w 3"/>
                  <a:gd name="T13" fmla="*/ 52 h 54"/>
                  <a:gd name="T14" fmla="*/ 2 w 3"/>
                  <a:gd name="T15" fmla="*/ 54 h 54"/>
                  <a:gd name="T16" fmla="*/ 0 w 3"/>
                  <a:gd name="T17" fmla="*/ 52 h 54"/>
                  <a:gd name="T18" fmla="*/ 0 w 3"/>
                  <a:gd name="T19"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4">
                    <a:moveTo>
                      <a:pt x="0" y="37"/>
                    </a:moveTo>
                    <a:cubicBezTo>
                      <a:pt x="0" y="6"/>
                      <a:pt x="0" y="6"/>
                      <a:pt x="0" y="6"/>
                    </a:cubicBezTo>
                    <a:cubicBezTo>
                      <a:pt x="0" y="6"/>
                      <a:pt x="0" y="5"/>
                      <a:pt x="0" y="5"/>
                    </a:cubicBezTo>
                    <a:cubicBezTo>
                      <a:pt x="0" y="2"/>
                      <a:pt x="1" y="1"/>
                      <a:pt x="1" y="0"/>
                    </a:cubicBezTo>
                    <a:cubicBezTo>
                      <a:pt x="1" y="0"/>
                      <a:pt x="3" y="1"/>
                      <a:pt x="3" y="5"/>
                    </a:cubicBezTo>
                    <a:cubicBezTo>
                      <a:pt x="3" y="9"/>
                      <a:pt x="3" y="38"/>
                      <a:pt x="3" y="38"/>
                    </a:cubicBezTo>
                    <a:cubicBezTo>
                      <a:pt x="3" y="52"/>
                      <a:pt x="3" y="52"/>
                      <a:pt x="3" y="52"/>
                    </a:cubicBezTo>
                    <a:cubicBezTo>
                      <a:pt x="3" y="52"/>
                      <a:pt x="3" y="54"/>
                      <a:pt x="2" y="54"/>
                    </a:cubicBezTo>
                    <a:cubicBezTo>
                      <a:pt x="0" y="54"/>
                      <a:pt x="0" y="53"/>
                      <a:pt x="0" y="52"/>
                    </a:cubicBezTo>
                    <a:cubicBezTo>
                      <a:pt x="0" y="51"/>
                      <a:pt x="0" y="37"/>
                      <a:pt x="0" y="37"/>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30" name="Freeform 359">
                <a:extLst>
                  <a:ext uri="{FF2B5EF4-FFF2-40B4-BE49-F238E27FC236}">
                    <a16:creationId xmlns:a16="http://schemas.microsoft.com/office/drawing/2014/main" id="{6FBEA658-ADD9-4837-ADEC-C343A4B1C292}"/>
                  </a:ext>
                </a:extLst>
              </p:cNvPr>
              <p:cNvSpPr>
                <a:spLocks/>
              </p:cNvSpPr>
              <p:nvPr/>
            </p:nvSpPr>
            <p:spPr bwMode="auto">
              <a:xfrm>
                <a:off x="6187883" y="1767461"/>
                <a:ext cx="0" cy="150813"/>
              </a:xfrm>
              <a:custGeom>
                <a:avLst/>
                <a:gdLst>
                  <a:gd name="T0" fmla="*/ 0 h 52"/>
                  <a:gd name="T1" fmla="*/ 52 h 52"/>
                </a:gdLst>
                <a:ahLst/>
                <a:cxnLst>
                  <a:cxn ang="0">
                    <a:pos x="0" y="T0"/>
                  </a:cxn>
                  <a:cxn ang="0">
                    <a:pos x="0" y="T1"/>
                  </a:cxn>
                </a:cxnLst>
                <a:rect l="0" t="0" r="r" b="b"/>
                <a:pathLst>
                  <a:path h="52">
                    <a:moveTo>
                      <a:pt x="0" y="0"/>
                    </a:moveTo>
                    <a:cubicBezTo>
                      <a:pt x="0" y="12"/>
                      <a:pt x="0" y="37"/>
                      <a:pt x="0" y="52"/>
                    </a:cubicBezTo>
                  </a:path>
                </a:pathLst>
              </a:custGeom>
              <a:grpFill/>
              <a:ln w="3175" cap="rnd">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31" name="Freeform 360">
                <a:extLst>
                  <a:ext uri="{FF2B5EF4-FFF2-40B4-BE49-F238E27FC236}">
                    <a16:creationId xmlns:a16="http://schemas.microsoft.com/office/drawing/2014/main" id="{428BF025-E608-4429-A9E3-BC117C065C36}"/>
                  </a:ext>
                </a:extLst>
              </p:cNvPr>
              <p:cNvSpPr>
                <a:spLocks/>
              </p:cNvSpPr>
              <p:nvPr/>
            </p:nvSpPr>
            <p:spPr bwMode="auto">
              <a:xfrm>
                <a:off x="6216458" y="1767461"/>
                <a:ext cx="3175" cy="150813"/>
              </a:xfrm>
              <a:custGeom>
                <a:avLst/>
                <a:gdLst>
                  <a:gd name="T0" fmla="*/ 1 w 1"/>
                  <a:gd name="T1" fmla="*/ 0 h 52"/>
                  <a:gd name="T2" fmla="*/ 1 w 1"/>
                  <a:gd name="T3" fmla="*/ 52 h 52"/>
                </a:gdLst>
                <a:ahLst/>
                <a:cxnLst>
                  <a:cxn ang="0">
                    <a:pos x="T0" y="T1"/>
                  </a:cxn>
                  <a:cxn ang="0">
                    <a:pos x="T2" y="T3"/>
                  </a:cxn>
                </a:cxnLst>
                <a:rect l="0" t="0" r="r" b="b"/>
                <a:pathLst>
                  <a:path w="1" h="52">
                    <a:moveTo>
                      <a:pt x="1" y="0"/>
                    </a:moveTo>
                    <a:cubicBezTo>
                      <a:pt x="1" y="11"/>
                      <a:pt x="0" y="37"/>
                      <a:pt x="1" y="52"/>
                    </a:cubicBezTo>
                  </a:path>
                </a:pathLst>
              </a:custGeom>
              <a:grpFill/>
              <a:ln w="3175" cap="rnd">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32" name="Freeform 361">
                <a:extLst>
                  <a:ext uri="{FF2B5EF4-FFF2-40B4-BE49-F238E27FC236}">
                    <a16:creationId xmlns:a16="http://schemas.microsoft.com/office/drawing/2014/main" id="{D697ECBE-9BDC-4C56-B8DC-974DD7BF7673}"/>
                  </a:ext>
                </a:extLst>
              </p:cNvPr>
              <p:cNvSpPr>
                <a:spLocks/>
              </p:cNvSpPr>
              <p:nvPr/>
            </p:nvSpPr>
            <p:spPr bwMode="auto">
              <a:xfrm>
                <a:off x="6230746" y="1767461"/>
                <a:ext cx="0" cy="150813"/>
              </a:xfrm>
              <a:custGeom>
                <a:avLst/>
                <a:gdLst>
                  <a:gd name="T0" fmla="*/ 0 h 52"/>
                  <a:gd name="T1" fmla="*/ 52 h 52"/>
                </a:gdLst>
                <a:ahLst/>
                <a:cxnLst>
                  <a:cxn ang="0">
                    <a:pos x="0" y="T0"/>
                  </a:cxn>
                  <a:cxn ang="0">
                    <a:pos x="0" y="T1"/>
                  </a:cxn>
                </a:cxnLst>
                <a:rect l="0" t="0" r="r" b="b"/>
                <a:pathLst>
                  <a:path h="52">
                    <a:moveTo>
                      <a:pt x="0" y="0"/>
                    </a:moveTo>
                    <a:cubicBezTo>
                      <a:pt x="0" y="12"/>
                      <a:pt x="0" y="36"/>
                      <a:pt x="0" y="52"/>
                    </a:cubicBezTo>
                  </a:path>
                </a:pathLst>
              </a:custGeom>
              <a:grpFill/>
              <a:ln w="3175" cap="rnd">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33" name="Freeform 362">
                <a:extLst>
                  <a:ext uri="{FF2B5EF4-FFF2-40B4-BE49-F238E27FC236}">
                    <a16:creationId xmlns:a16="http://schemas.microsoft.com/office/drawing/2014/main" id="{27218089-DBE9-424F-AAF3-8714AE9B0452}"/>
                  </a:ext>
                </a:extLst>
              </p:cNvPr>
              <p:cNvSpPr>
                <a:spLocks/>
              </p:cNvSpPr>
              <p:nvPr/>
            </p:nvSpPr>
            <p:spPr bwMode="auto">
              <a:xfrm>
                <a:off x="6195821" y="1761111"/>
                <a:ext cx="11113" cy="163513"/>
              </a:xfrm>
              <a:custGeom>
                <a:avLst/>
                <a:gdLst>
                  <a:gd name="T0" fmla="*/ 0 w 4"/>
                  <a:gd name="T1" fmla="*/ 38 h 56"/>
                  <a:gd name="T2" fmla="*/ 0 w 4"/>
                  <a:gd name="T3" fmla="*/ 6 h 56"/>
                  <a:gd name="T4" fmla="*/ 0 w 4"/>
                  <a:gd name="T5" fmla="*/ 6 h 56"/>
                  <a:gd name="T6" fmla="*/ 2 w 4"/>
                  <a:gd name="T7" fmla="*/ 0 h 56"/>
                  <a:gd name="T8" fmla="*/ 4 w 4"/>
                  <a:gd name="T9" fmla="*/ 5 h 56"/>
                  <a:gd name="T10" fmla="*/ 4 w 4"/>
                  <a:gd name="T11" fmla="*/ 40 h 56"/>
                  <a:gd name="T12" fmla="*/ 4 w 4"/>
                  <a:gd name="T13" fmla="*/ 53 h 56"/>
                  <a:gd name="T14" fmla="*/ 2 w 4"/>
                  <a:gd name="T15" fmla="*/ 56 h 56"/>
                  <a:gd name="T16" fmla="*/ 0 w 4"/>
                  <a:gd name="T17" fmla="*/ 54 h 56"/>
                  <a:gd name="T18" fmla="*/ 0 w 4"/>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6">
                    <a:moveTo>
                      <a:pt x="0" y="38"/>
                    </a:moveTo>
                    <a:cubicBezTo>
                      <a:pt x="0" y="6"/>
                      <a:pt x="0" y="6"/>
                      <a:pt x="0" y="6"/>
                    </a:cubicBezTo>
                    <a:cubicBezTo>
                      <a:pt x="0" y="6"/>
                      <a:pt x="0" y="6"/>
                      <a:pt x="0" y="6"/>
                    </a:cubicBezTo>
                    <a:cubicBezTo>
                      <a:pt x="1" y="3"/>
                      <a:pt x="1" y="1"/>
                      <a:pt x="2" y="0"/>
                    </a:cubicBezTo>
                    <a:cubicBezTo>
                      <a:pt x="2" y="0"/>
                      <a:pt x="4" y="1"/>
                      <a:pt x="4" y="5"/>
                    </a:cubicBezTo>
                    <a:cubicBezTo>
                      <a:pt x="4" y="9"/>
                      <a:pt x="4" y="40"/>
                      <a:pt x="4" y="40"/>
                    </a:cubicBezTo>
                    <a:cubicBezTo>
                      <a:pt x="4" y="53"/>
                      <a:pt x="4" y="53"/>
                      <a:pt x="4" y="53"/>
                    </a:cubicBezTo>
                    <a:cubicBezTo>
                      <a:pt x="4" y="53"/>
                      <a:pt x="4" y="55"/>
                      <a:pt x="2" y="56"/>
                    </a:cubicBezTo>
                    <a:cubicBezTo>
                      <a:pt x="1" y="56"/>
                      <a:pt x="0" y="55"/>
                      <a:pt x="0" y="54"/>
                    </a:cubicBezTo>
                    <a:cubicBezTo>
                      <a:pt x="0" y="52"/>
                      <a:pt x="0" y="38"/>
                      <a:pt x="0" y="38"/>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34" name="Freeform 363">
                <a:extLst>
                  <a:ext uri="{FF2B5EF4-FFF2-40B4-BE49-F238E27FC236}">
                    <a16:creationId xmlns:a16="http://schemas.microsoft.com/office/drawing/2014/main" id="{2BAFB3A3-CF2F-4472-862A-8EB9C6BD03B8}"/>
                  </a:ext>
                </a:extLst>
              </p:cNvPr>
              <p:cNvSpPr>
                <a:spLocks/>
              </p:cNvSpPr>
              <p:nvPr/>
            </p:nvSpPr>
            <p:spPr bwMode="auto">
              <a:xfrm>
                <a:off x="6256146" y="1767461"/>
                <a:ext cx="3175" cy="150813"/>
              </a:xfrm>
              <a:custGeom>
                <a:avLst/>
                <a:gdLst>
                  <a:gd name="T0" fmla="*/ 0 w 1"/>
                  <a:gd name="T1" fmla="*/ 0 h 52"/>
                  <a:gd name="T2" fmla="*/ 1 w 1"/>
                  <a:gd name="T3" fmla="*/ 52 h 52"/>
                </a:gdLst>
                <a:ahLst/>
                <a:cxnLst>
                  <a:cxn ang="0">
                    <a:pos x="T0" y="T1"/>
                  </a:cxn>
                  <a:cxn ang="0">
                    <a:pos x="T2" y="T3"/>
                  </a:cxn>
                </a:cxnLst>
                <a:rect l="0" t="0" r="r" b="b"/>
                <a:pathLst>
                  <a:path w="1" h="52">
                    <a:moveTo>
                      <a:pt x="0" y="0"/>
                    </a:moveTo>
                    <a:cubicBezTo>
                      <a:pt x="1" y="12"/>
                      <a:pt x="0" y="37"/>
                      <a:pt x="1" y="52"/>
                    </a:cubicBezTo>
                  </a:path>
                </a:pathLst>
              </a:custGeom>
              <a:grpFill/>
              <a:ln w="3175" cap="rnd">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35" name="Freeform 364">
                <a:extLst>
                  <a:ext uri="{FF2B5EF4-FFF2-40B4-BE49-F238E27FC236}">
                    <a16:creationId xmlns:a16="http://schemas.microsoft.com/office/drawing/2014/main" id="{1FAE836E-B403-47E2-BE52-976F55A5EDAF}"/>
                  </a:ext>
                </a:extLst>
              </p:cNvPr>
              <p:cNvSpPr>
                <a:spLocks/>
              </p:cNvSpPr>
              <p:nvPr/>
            </p:nvSpPr>
            <p:spPr bwMode="auto">
              <a:xfrm>
                <a:off x="6289483" y="1767461"/>
                <a:ext cx="1588" cy="150813"/>
              </a:xfrm>
              <a:custGeom>
                <a:avLst/>
                <a:gdLst>
                  <a:gd name="T0" fmla="*/ 0 w 1"/>
                  <a:gd name="T1" fmla="*/ 0 h 52"/>
                  <a:gd name="T2" fmla="*/ 1 w 1"/>
                  <a:gd name="T3" fmla="*/ 52 h 52"/>
                </a:gdLst>
                <a:ahLst/>
                <a:cxnLst>
                  <a:cxn ang="0">
                    <a:pos x="T0" y="T1"/>
                  </a:cxn>
                  <a:cxn ang="0">
                    <a:pos x="T2" y="T3"/>
                  </a:cxn>
                </a:cxnLst>
                <a:rect l="0" t="0" r="r" b="b"/>
                <a:pathLst>
                  <a:path w="1" h="52">
                    <a:moveTo>
                      <a:pt x="0" y="0"/>
                    </a:moveTo>
                    <a:cubicBezTo>
                      <a:pt x="0" y="11"/>
                      <a:pt x="0" y="37"/>
                      <a:pt x="1" y="52"/>
                    </a:cubicBezTo>
                  </a:path>
                </a:pathLst>
              </a:custGeom>
              <a:grpFill/>
              <a:ln w="3175" cap="rnd">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36" name="Freeform 365">
                <a:extLst>
                  <a:ext uri="{FF2B5EF4-FFF2-40B4-BE49-F238E27FC236}">
                    <a16:creationId xmlns:a16="http://schemas.microsoft.com/office/drawing/2014/main" id="{D235939C-ADD5-44FC-A7BC-CFAAA7F650A5}"/>
                  </a:ext>
                </a:extLst>
              </p:cNvPr>
              <p:cNvSpPr>
                <a:spLocks/>
              </p:cNvSpPr>
              <p:nvPr/>
            </p:nvSpPr>
            <p:spPr bwMode="auto">
              <a:xfrm>
                <a:off x="6303771" y="1767461"/>
                <a:ext cx="0" cy="150813"/>
              </a:xfrm>
              <a:custGeom>
                <a:avLst/>
                <a:gdLst>
                  <a:gd name="T0" fmla="*/ 0 h 52"/>
                  <a:gd name="T1" fmla="*/ 52 h 52"/>
                </a:gdLst>
                <a:ahLst/>
                <a:cxnLst>
                  <a:cxn ang="0">
                    <a:pos x="0" y="T0"/>
                  </a:cxn>
                  <a:cxn ang="0">
                    <a:pos x="0" y="T1"/>
                  </a:cxn>
                </a:cxnLst>
                <a:rect l="0" t="0" r="r" b="b"/>
                <a:pathLst>
                  <a:path h="52">
                    <a:moveTo>
                      <a:pt x="0" y="0"/>
                    </a:moveTo>
                    <a:cubicBezTo>
                      <a:pt x="0" y="12"/>
                      <a:pt x="0" y="36"/>
                      <a:pt x="0" y="52"/>
                    </a:cubicBezTo>
                  </a:path>
                </a:pathLst>
              </a:custGeom>
              <a:grpFill/>
              <a:ln w="3175" cap="rnd">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37" name="Freeform 366">
                <a:extLst>
                  <a:ext uri="{FF2B5EF4-FFF2-40B4-BE49-F238E27FC236}">
                    <a16:creationId xmlns:a16="http://schemas.microsoft.com/office/drawing/2014/main" id="{811F8789-F495-46BC-90E3-6661824F6A45}"/>
                  </a:ext>
                </a:extLst>
              </p:cNvPr>
              <p:cNvSpPr>
                <a:spLocks/>
              </p:cNvSpPr>
              <p:nvPr/>
            </p:nvSpPr>
            <p:spPr bwMode="auto">
              <a:xfrm>
                <a:off x="6268846" y="1761111"/>
                <a:ext cx="11113" cy="163513"/>
              </a:xfrm>
              <a:custGeom>
                <a:avLst/>
                <a:gdLst>
                  <a:gd name="T0" fmla="*/ 0 w 4"/>
                  <a:gd name="T1" fmla="*/ 38 h 56"/>
                  <a:gd name="T2" fmla="*/ 0 w 4"/>
                  <a:gd name="T3" fmla="*/ 6 h 56"/>
                  <a:gd name="T4" fmla="*/ 0 w 4"/>
                  <a:gd name="T5" fmla="*/ 6 h 56"/>
                  <a:gd name="T6" fmla="*/ 2 w 4"/>
                  <a:gd name="T7" fmla="*/ 0 h 56"/>
                  <a:gd name="T8" fmla="*/ 3 w 4"/>
                  <a:gd name="T9" fmla="*/ 5 h 56"/>
                  <a:gd name="T10" fmla="*/ 3 w 4"/>
                  <a:gd name="T11" fmla="*/ 40 h 56"/>
                  <a:gd name="T12" fmla="*/ 4 w 4"/>
                  <a:gd name="T13" fmla="*/ 53 h 56"/>
                  <a:gd name="T14" fmla="*/ 2 w 4"/>
                  <a:gd name="T15" fmla="*/ 56 h 56"/>
                  <a:gd name="T16" fmla="*/ 0 w 4"/>
                  <a:gd name="T17" fmla="*/ 54 h 56"/>
                  <a:gd name="T18" fmla="*/ 0 w 4"/>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6">
                    <a:moveTo>
                      <a:pt x="0" y="38"/>
                    </a:moveTo>
                    <a:cubicBezTo>
                      <a:pt x="0" y="6"/>
                      <a:pt x="0" y="6"/>
                      <a:pt x="0" y="6"/>
                    </a:cubicBezTo>
                    <a:cubicBezTo>
                      <a:pt x="0" y="6"/>
                      <a:pt x="0" y="6"/>
                      <a:pt x="0" y="6"/>
                    </a:cubicBezTo>
                    <a:cubicBezTo>
                      <a:pt x="0" y="3"/>
                      <a:pt x="1" y="1"/>
                      <a:pt x="2" y="0"/>
                    </a:cubicBezTo>
                    <a:cubicBezTo>
                      <a:pt x="2" y="0"/>
                      <a:pt x="3" y="1"/>
                      <a:pt x="3" y="5"/>
                    </a:cubicBezTo>
                    <a:cubicBezTo>
                      <a:pt x="3" y="9"/>
                      <a:pt x="3" y="40"/>
                      <a:pt x="3" y="40"/>
                    </a:cubicBezTo>
                    <a:cubicBezTo>
                      <a:pt x="4" y="53"/>
                      <a:pt x="4" y="53"/>
                      <a:pt x="4" y="53"/>
                    </a:cubicBezTo>
                    <a:cubicBezTo>
                      <a:pt x="4" y="53"/>
                      <a:pt x="4" y="55"/>
                      <a:pt x="2" y="56"/>
                    </a:cubicBezTo>
                    <a:cubicBezTo>
                      <a:pt x="1" y="56"/>
                      <a:pt x="0" y="55"/>
                      <a:pt x="0" y="54"/>
                    </a:cubicBezTo>
                    <a:cubicBezTo>
                      <a:pt x="0" y="52"/>
                      <a:pt x="0" y="38"/>
                      <a:pt x="0" y="38"/>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38" name="Freeform 367">
                <a:extLst>
                  <a:ext uri="{FF2B5EF4-FFF2-40B4-BE49-F238E27FC236}">
                    <a16:creationId xmlns:a16="http://schemas.microsoft.com/office/drawing/2014/main" id="{8B7B1F44-9E14-4325-B96C-23544E712F46}"/>
                  </a:ext>
                </a:extLst>
              </p:cNvPr>
              <p:cNvSpPr>
                <a:spLocks/>
              </p:cNvSpPr>
              <p:nvPr/>
            </p:nvSpPr>
            <p:spPr bwMode="auto">
              <a:xfrm>
                <a:off x="6324408" y="1767461"/>
                <a:ext cx="0" cy="149225"/>
              </a:xfrm>
              <a:custGeom>
                <a:avLst/>
                <a:gdLst>
                  <a:gd name="T0" fmla="*/ 0 h 51"/>
                  <a:gd name="T1" fmla="*/ 51 h 51"/>
                </a:gdLst>
                <a:ahLst/>
                <a:cxnLst>
                  <a:cxn ang="0">
                    <a:pos x="0" y="T0"/>
                  </a:cxn>
                  <a:cxn ang="0">
                    <a:pos x="0" y="T1"/>
                  </a:cxn>
                </a:cxnLst>
                <a:rect l="0" t="0" r="r" b="b"/>
                <a:pathLst>
                  <a:path h="51">
                    <a:moveTo>
                      <a:pt x="0" y="0"/>
                    </a:moveTo>
                    <a:cubicBezTo>
                      <a:pt x="0" y="13"/>
                      <a:pt x="0" y="35"/>
                      <a:pt x="0" y="51"/>
                    </a:cubicBezTo>
                  </a:path>
                </a:pathLst>
              </a:custGeom>
              <a:grpFill/>
              <a:ln w="3175" cap="rnd">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39" name="Freeform 368">
                <a:extLst>
                  <a:ext uri="{FF2B5EF4-FFF2-40B4-BE49-F238E27FC236}">
                    <a16:creationId xmlns:a16="http://schemas.microsoft.com/office/drawing/2014/main" id="{AF564D07-C2DB-4159-8E2B-78EB3C2B338F}"/>
                  </a:ext>
                </a:extLst>
              </p:cNvPr>
              <p:cNvSpPr>
                <a:spLocks/>
              </p:cNvSpPr>
              <p:nvPr/>
            </p:nvSpPr>
            <p:spPr bwMode="auto">
              <a:xfrm>
                <a:off x="6332346" y="1764286"/>
                <a:ext cx="11113" cy="157163"/>
              </a:xfrm>
              <a:custGeom>
                <a:avLst/>
                <a:gdLst>
                  <a:gd name="T0" fmla="*/ 0 w 4"/>
                  <a:gd name="T1" fmla="*/ 37 h 54"/>
                  <a:gd name="T2" fmla="*/ 1 w 4"/>
                  <a:gd name="T3" fmla="*/ 6 h 54"/>
                  <a:gd name="T4" fmla="*/ 1 w 4"/>
                  <a:gd name="T5" fmla="*/ 5 h 54"/>
                  <a:gd name="T6" fmla="*/ 2 w 4"/>
                  <a:gd name="T7" fmla="*/ 0 h 54"/>
                  <a:gd name="T8" fmla="*/ 4 w 4"/>
                  <a:gd name="T9" fmla="*/ 5 h 54"/>
                  <a:gd name="T10" fmla="*/ 4 w 4"/>
                  <a:gd name="T11" fmla="*/ 38 h 54"/>
                  <a:gd name="T12" fmla="*/ 4 w 4"/>
                  <a:gd name="T13" fmla="*/ 52 h 54"/>
                  <a:gd name="T14" fmla="*/ 2 w 4"/>
                  <a:gd name="T15" fmla="*/ 54 h 54"/>
                  <a:gd name="T16" fmla="*/ 0 w 4"/>
                  <a:gd name="T17" fmla="*/ 52 h 54"/>
                  <a:gd name="T18" fmla="*/ 0 w 4"/>
                  <a:gd name="T19"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4">
                    <a:moveTo>
                      <a:pt x="0" y="37"/>
                    </a:moveTo>
                    <a:cubicBezTo>
                      <a:pt x="1" y="6"/>
                      <a:pt x="1" y="6"/>
                      <a:pt x="1" y="6"/>
                    </a:cubicBezTo>
                    <a:cubicBezTo>
                      <a:pt x="1" y="6"/>
                      <a:pt x="1" y="5"/>
                      <a:pt x="1" y="5"/>
                    </a:cubicBezTo>
                    <a:cubicBezTo>
                      <a:pt x="1" y="2"/>
                      <a:pt x="1" y="1"/>
                      <a:pt x="2" y="0"/>
                    </a:cubicBezTo>
                    <a:cubicBezTo>
                      <a:pt x="2" y="0"/>
                      <a:pt x="4" y="1"/>
                      <a:pt x="4" y="5"/>
                    </a:cubicBezTo>
                    <a:cubicBezTo>
                      <a:pt x="4" y="9"/>
                      <a:pt x="4" y="38"/>
                      <a:pt x="4" y="38"/>
                    </a:cubicBezTo>
                    <a:cubicBezTo>
                      <a:pt x="4" y="52"/>
                      <a:pt x="4" y="52"/>
                      <a:pt x="4" y="52"/>
                    </a:cubicBezTo>
                    <a:cubicBezTo>
                      <a:pt x="4" y="52"/>
                      <a:pt x="4" y="54"/>
                      <a:pt x="2" y="54"/>
                    </a:cubicBezTo>
                    <a:cubicBezTo>
                      <a:pt x="1" y="54"/>
                      <a:pt x="0" y="53"/>
                      <a:pt x="0" y="52"/>
                    </a:cubicBezTo>
                    <a:cubicBezTo>
                      <a:pt x="0" y="51"/>
                      <a:pt x="0" y="37"/>
                      <a:pt x="0" y="37"/>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40" name="Freeform 369">
                <a:extLst>
                  <a:ext uri="{FF2B5EF4-FFF2-40B4-BE49-F238E27FC236}">
                    <a16:creationId xmlns:a16="http://schemas.microsoft.com/office/drawing/2014/main" id="{D7668C82-8F6D-4A30-919A-BC4F12C04428}"/>
                  </a:ext>
                </a:extLst>
              </p:cNvPr>
              <p:cNvSpPr>
                <a:spLocks/>
              </p:cNvSpPr>
              <p:nvPr/>
            </p:nvSpPr>
            <p:spPr bwMode="auto">
              <a:xfrm>
                <a:off x="6352983" y="1767461"/>
                <a:ext cx="3175" cy="149225"/>
              </a:xfrm>
              <a:custGeom>
                <a:avLst/>
                <a:gdLst>
                  <a:gd name="T0" fmla="*/ 0 w 1"/>
                  <a:gd name="T1" fmla="*/ 0 h 51"/>
                  <a:gd name="T2" fmla="*/ 1 w 1"/>
                  <a:gd name="T3" fmla="*/ 51 h 51"/>
                </a:gdLst>
                <a:ahLst/>
                <a:cxnLst>
                  <a:cxn ang="0">
                    <a:pos x="T0" y="T1"/>
                  </a:cxn>
                  <a:cxn ang="0">
                    <a:pos x="T2" y="T3"/>
                  </a:cxn>
                </a:cxnLst>
                <a:rect l="0" t="0" r="r" b="b"/>
                <a:pathLst>
                  <a:path w="1" h="51">
                    <a:moveTo>
                      <a:pt x="0" y="0"/>
                    </a:moveTo>
                    <a:cubicBezTo>
                      <a:pt x="1" y="13"/>
                      <a:pt x="0" y="35"/>
                      <a:pt x="1" y="51"/>
                    </a:cubicBezTo>
                  </a:path>
                </a:pathLst>
              </a:custGeom>
              <a:grpFill/>
              <a:ln w="3175" cap="rnd">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grpSp>
      </p:grpSp>
      <p:grpSp>
        <p:nvGrpSpPr>
          <p:cNvPr id="341" name="Group 340">
            <a:extLst>
              <a:ext uri="{FF2B5EF4-FFF2-40B4-BE49-F238E27FC236}">
                <a16:creationId xmlns:a16="http://schemas.microsoft.com/office/drawing/2014/main" id="{A5320A80-FE7F-4607-A01E-CD6661CE5A6A}"/>
              </a:ext>
              <a:ext uri="{C183D7F6-B498-43B3-948B-1728B52AA6E4}">
                <adec:decorative xmlns:adec="http://schemas.microsoft.com/office/drawing/2017/decorative" val="1"/>
              </a:ext>
            </a:extLst>
          </p:cNvPr>
          <p:cNvGrpSpPr>
            <a:grpSpLocks noChangeAspect="1"/>
          </p:cNvGrpSpPr>
          <p:nvPr/>
        </p:nvGrpSpPr>
        <p:grpSpPr>
          <a:xfrm>
            <a:off x="339252" y="2795400"/>
            <a:ext cx="681239" cy="633600"/>
            <a:chOff x="4146551" y="2698750"/>
            <a:chExt cx="681038" cy="633413"/>
          </a:xfrm>
        </p:grpSpPr>
        <p:sp>
          <p:nvSpPr>
            <p:cNvPr id="342" name="Freeform 348">
              <a:extLst>
                <a:ext uri="{FF2B5EF4-FFF2-40B4-BE49-F238E27FC236}">
                  <a16:creationId xmlns:a16="http://schemas.microsoft.com/office/drawing/2014/main" id="{00B41E5B-7844-4C6C-9468-FD1496868831}"/>
                </a:ext>
              </a:extLst>
            </p:cNvPr>
            <p:cNvSpPr>
              <a:spLocks/>
            </p:cNvSpPr>
            <p:nvPr/>
          </p:nvSpPr>
          <p:spPr bwMode="auto">
            <a:xfrm>
              <a:off x="4146551" y="2698750"/>
              <a:ext cx="681038"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10"/>
                    <a:pt x="200" y="53"/>
                  </a:cubicBezTo>
                  <a:cubicBezTo>
                    <a:pt x="234" y="97"/>
                    <a:pt x="220" y="153"/>
                    <a:pt x="174" y="186"/>
                  </a:cubicBezTo>
                  <a:cubicBezTo>
                    <a:pt x="128" y="218"/>
                    <a:pt x="67"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43" name="Freeform 349">
              <a:extLst>
                <a:ext uri="{FF2B5EF4-FFF2-40B4-BE49-F238E27FC236}">
                  <a16:creationId xmlns:a16="http://schemas.microsoft.com/office/drawing/2014/main" id="{AAAA58C6-88AA-4C7F-904B-EB34940BE49D}"/>
                </a:ext>
              </a:extLst>
            </p:cNvPr>
            <p:cNvSpPr>
              <a:spLocks/>
            </p:cNvSpPr>
            <p:nvPr/>
          </p:nvSpPr>
          <p:spPr bwMode="auto">
            <a:xfrm>
              <a:off x="4397376" y="3009900"/>
              <a:ext cx="165100" cy="219075"/>
            </a:xfrm>
            <a:custGeom>
              <a:avLst/>
              <a:gdLst>
                <a:gd name="T0" fmla="*/ 57 w 57"/>
                <a:gd name="T1" fmla="*/ 63 h 75"/>
                <a:gd name="T2" fmla="*/ 6 w 57"/>
                <a:gd name="T3" fmla="*/ 69 h 75"/>
                <a:gd name="T4" fmla="*/ 2 w 57"/>
                <a:gd name="T5" fmla="*/ 63 h 75"/>
                <a:gd name="T6" fmla="*/ 26 w 57"/>
                <a:gd name="T7" fmla="*/ 3 h 75"/>
                <a:gd name="T8" fmla="*/ 31 w 57"/>
                <a:gd name="T9" fmla="*/ 3 h 75"/>
                <a:gd name="T10" fmla="*/ 57 w 57"/>
                <a:gd name="T11" fmla="*/ 63 h 75"/>
              </a:gdLst>
              <a:ahLst/>
              <a:cxnLst>
                <a:cxn ang="0">
                  <a:pos x="T0" y="T1"/>
                </a:cxn>
                <a:cxn ang="0">
                  <a:pos x="T2" y="T3"/>
                </a:cxn>
                <a:cxn ang="0">
                  <a:pos x="T4" y="T5"/>
                </a:cxn>
                <a:cxn ang="0">
                  <a:pos x="T6" y="T7"/>
                </a:cxn>
                <a:cxn ang="0">
                  <a:pos x="T8" y="T9"/>
                </a:cxn>
                <a:cxn ang="0">
                  <a:pos x="T10" y="T11"/>
                </a:cxn>
              </a:cxnLst>
              <a:rect l="0" t="0" r="r" b="b"/>
              <a:pathLst>
                <a:path w="57" h="75">
                  <a:moveTo>
                    <a:pt x="57" y="63"/>
                  </a:moveTo>
                  <a:cubicBezTo>
                    <a:pt x="36" y="75"/>
                    <a:pt x="28" y="63"/>
                    <a:pt x="6" y="69"/>
                  </a:cubicBezTo>
                  <a:cubicBezTo>
                    <a:pt x="0" y="70"/>
                    <a:pt x="2" y="63"/>
                    <a:pt x="2" y="63"/>
                  </a:cubicBezTo>
                  <a:cubicBezTo>
                    <a:pt x="26" y="3"/>
                    <a:pt x="26" y="3"/>
                    <a:pt x="26" y="3"/>
                  </a:cubicBezTo>
                  <a:cubicBezTo>
                    <a:pt x="27" y="0"/>
                    <a:pt x="30" y="0"/>
                    <a:pt x="31" y="3"/>
                  </a:cubicBezTo>
                  <a:cubicBezTo>
                    <a:pt x="31" y="3"/>
                    <a:pt x="43" y="44"/>
                    <a:pt x="57" y="6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44" name="Freeform 350">
              <a:extLst>
                <a:ext uri="{FF2B5EF4-FFF2-40B4-BE49-F238E27FC236}">
                  <a16:creationId xmlns:a16="http://schemas.microsoft.com/office/drawing/2014/main" id="{D349F38B-39BC-4AEC-BA24-5EA8A6A59C2D}"/>
                </a:ext>
              </a:extLst>
            </p:cNvPr>
            <p:cNvSpPr>
              <a:spLocks/>
            </p:cNvSpPr>
            <p:nvPr/>
          </p:nvSpPr>
          <p:spPr bwMode="auto">
            <a:xfrm>
              <a:off x="4356101" y="2830513"/>
              <a:ext cx="249238" cy="238125"/>
            </a:xfrm>
            <a:custGeom>
              <a:avLst/>
              <a:gdLst>
                <a:gd name="T0" fmla="*/ 22 w 86"/>
                <a:gd name="T1" fmla="*/ 80 h 82"/>
                <a:gd name="T2" fmla="*/ 0 w 86"/>
                <a:gd name="T3" fmla="*/ 43 h 82"/>
                <a:gd name="T4" fmla="*/ 43 w 86"/>
                <a:gd name="T5" fmla="*/ 0 h 82"/>
                <a:gd name="T6" fmla="*/ 86 w 86"/>
                <a:gd name="T7" fmla="*/ 43 h 82"/>
                <a:gd name="T8" fmla="*/ 61 w 86"/>
                <a:gd name="T9" fmla="*/ 82 h 82"/>
              </a:gdLst>
              <a:ahLst/>
              <a:cxnLst>
                <a:cxn ang="0">
                  <a:pos x="T0" y="T1"/>
                </a:cxn>
                <a:cxn ang="0">
                  <a:pos x="T2" y="T3"/>
                </a:cxn>
                <a:cxn ang="0">
                  <a:pos x="T4" y="T5"/>
                </a:cxn>
                <a:cxn ang="0">
                  <a:pos x="T6" y="T7"/>
                </a:cxn>
                <a:cxn ang="0">
                  <a:pos x="T8" y="T9"/>
                </a:cxn>
              </a:cxnLst>
              <a:rect l="0" t="0" r="r" b="b"/>
              <a:pathLst>
                <a:path w="86" h="82">
                  <a:moveTo>
                    <a:pt x="22" y="80"/>
                  </a:moveTo>
                  <a:cubicBezTo>
                    <a:pt x="9" y="73"/>
                    <a:pt x="0" y="59"/>
                    <a:pt x="0" y="43"/>
                  </a:cubicBezTo>
                  <a:cubicBezTo>
                    <a:pt x="0" y="19"/>
                    <a:pt x="19" y="0"/>
                    <a:pt x="43" y="0"/>
                  </a:cubicBezTo>
                  <a:cubicBezTo>
                    <a:pt x="67" y="0"/>
                    <a:pt x="86" y="19"/>
                    <a:pt x="86" y="43"/>
                  </a:cubicBezTo>
                  <a:cubicBezTo>
                    <a:pt x="86" y="60"/>
                    <a:pt x="76" y="75"/>
                    <a:pt x="61" y="82"/>
                  </a:cubicBezTo>
                </a:path>
              </a:pathLst>
            </a:custGeom>
            <a:noFill/>
            <a:ln w="17463" cap="rnd">
              <a:solidFill>
                <a:srgbClr val="FFFDFD"/>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45" name="Freeform 351">
              <a:extLst>
                <a:ext uri="{FF2B5EF4-FFF2-40B4-BE49-F238E27FC236}">
                  <a16:creationId xmlns:a16="http://schemas.microsoft.com/office/drawing/2014/main" id="{23ECC43B-4AB0-4502-A871-104FC84593D8}"/>
                </a:ext>
              </a:extLst>
            </p:cNvPr>
            <p:cNvSpPr>
              <a:spLocks/>
            </p:cNvSpPr>
            <p:nvPr/>
          </p:nvSpPr>
          <p:spPr bwMode="auto">
            <a:xfrm>
              <a:off x="4394201" y="2865438"/>
              <a:ext cx="174625" cy="165100"/>
            </a:xfrm>
            <a:custGeom>
              <a:avLst/>
              <a:gdLst>
                <a:gd name="T0" fmla="*/ 16 w 60"/>
                <a:gd name="T1" fmla="*/ 56 h 57"/>
                <a:gd name="T2" fmla="*/ 0 w 60"/>
                <a:gd name="T3" fmla="*/ 30 h 57"/>
                <a:gd name="T4" fmla="*/ 30 w 60"/>
                <a:gd name="T5" fmla="*/ 0 h 57"/>
                <a:gd name="T6" fmla="*/ 60 w 60"/>
                <a:gd name="T7" fmla="*/ 30 h 57"/>
                <a:gd name="T8" fmla="*/ 43 w 60"/>
                <a:gd name="T9" fmla="*/ 57 h 57"/>
              </a:gdLst>
              <a:ahLst/>
              <a:cxnLst>
                <a:cxn ang="0">
                  <a:pos x="T0" y="T1"/>
                </a:cxn>
                <a:cxn ang="0">
                  <a:pos x="T2" y="T3"/>
                </a:cxn>
                <a:cxn ang="0">
                  <a:pos x="T4" y="T5"/>
                </a:cxn>
                <a:cxn ang="0">
                  <a:pos x="T6" y="T7"/>
                </a:cxn>
                <a:cxn ang="0">
                  <a:pos x="T8" y="T9"/>
                </a:cxn>
              </a:cxnLst>
              <a:rect l="0" t="0" r="r" b="b"/>
              <a:pathLst>
                <a:path w="60" h="57">
                  <a:moveTo>
                    <a:pt x="16" y="56"/>
                  </a:moveTo>
                  <a:cubicBezTo>
                    <a:pt x="6" y="51"/>
                    <a:pt x="0" y="41"/>
                    <a:pt x="0" y="30"/>
                  </a:cubicBezTo>
                  <a:cubicBezTo>
                    <a:pt x="0" y="14"/>
                    <a:pt x="14" y="0"/>
                    <a:pt x="30" y="0"/>
                  </a:cubicBezTo>
                  <a:cubicBezTo>
                    <a:pt x="47" y="0"/>
                    <a:pt x="60" y="14"/>
                    <a:pt x="60" y="30"/>
                  </a:cubicBezTo>
                  <a:cubicBezTo>
                    <a:pt x="60" y="42"/>
                    <a:pt x="53" y="53"/>
                    <a:pt x="43" y="57"/>
                  </a:cubicBezTo>
                </a:path>
              </a:pathLst>
            </a:custGeom>
            <a:noFill/>
            <a:ln w="17463" cap="rnd">
              <a:solidFill>
                <a:srgbClr val="FFFDFD"/>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46" name="Freeform 352">
              <a:extLst>
                <a:ext uri="{FF2B5EF4-FFF2-40B4-BE49-F238E27FC236}">
                  <a16:creationId xmlns:a16="http://schemas.microsoft.com/office/drawing/2014/main" id="{9381526C-7151-415C-BB32-D4FDCB18F0F8}"/>
                </a:ext>
              </a:extLst>
            </p:cNvPr>
            <p:cNvSpPr>
              <a:spLocks/>
            </p:cNvSpPr>
            <p:nvPr/>
          </p:nvSpPr>
          <p:spPr bwMode="auto">
            <a:xfrm>
              <a:off x="4433888" y="2905125"/>
              <a:ext cx="93663" cy="87313"/>
            </a:xfrm>
            <a:custGeom>
              <a:avLst/>
              <a:gdLst>
                <a:gd name="T0" fmla="*/ 8 w 32"/>
                <a:gd name="T1" fmla="*/ 29 h 30"/>
                <a:gd name="T2" fmla="*/ 0 w 32"/>
                <a:gd name="T3" fmla="*/ 16 h 30"/>
                <a:gd name="T4" fmla="*/ 16 w 32"/>
                <a:gd name="T5" fmla="*/ 0 h 30"/>
                <a:gd name="T6" fmla="*/ 32 w 32"/>
                <a:gd name="T7" fmla="*/ 16 h 30"/>
                <a:gd name="T8" fmla="*/ 23 w 32"/>
                <a:gd name="T9" fmla="*/ 30 h 30"/>
              </a:gdLst>
              <a:ahLst/>
              <a:cxnLst>
                <a:cxn ang="0">
                  <a:pos x="T0" y="T1"/>
                </a:cxn>
                <a:cxn ang="0">
                  <a:pos x="T2" y="T3"/>
                </a:cxn>
                <a:cxn ang="0">
                  <a:pos x="T4" y="T5"/>
                </a:cxn>
                <a:cxn ang="0">
                  <a:pos x="T6" y="T7"/>
                </a:cxn>
                <a:cxn ang="0">
                  <a:pos x="T8" y="T9"/>
                </a:cxn>
              </a:cxnLst>
              <a:rect l="0" t="0" r="r" b="b"/>
              <a:pathLst>
                <a:path w="32" h="30">
                  <a:moveTo>
                    <a:pt x="8" y="29"/>
                  </a:moveTo>
                  <a:cubicBezTo>
                    <a:pt x="4" y="27"/>
                    <a:pt x="0" y="22"/>
                    <a:pt x="0" y="16"/>
                  </a:cubicBezTo>
                  <a:cubicBezTo>
                    <a:pt x="0" y="7"/>
                    <a:pt x="7" y="0"/>
                    <a:pt x="16" y="0"/>
                  </a:cubicBezTo>
                  <a:cubicBezTo>
                    <a:pt x="25" y="0"/>
                    <a:pt x="32" y="7"/>
                    <a:pt x="32" y="16"/>
                  </a:cubicBezTo>
                  <a:cubicBezTo>
                    <a:pt x="32" y="22"/>
                    <a:pt x="28" y="27"/>
                    <a:pt x="23" y="30"/>
                  </a:cubicBezTo>
                </a:path>
              </a:pathLst>
            </a:custGeom>
            <a:noFill/>
            <a:ln w="17463" cap="rnd">
              <a:solidFill>
                <a:srgbClr val="FFFFF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grpSp>
      <p:grpSp>
        <p:nvGrpSpPr>
          <p:cNvPr id="347" name="Group 346">
            <a:extLst>
              <a:ext uri="{FF2B5EF4-FFF2-40B4-BE49-F238E27FC236}">
                <a16:creationId xmlns:a16="http://schemas.microsoft.com/office/drawing/2014/main" id="{BD4FBAAE-21DC-4DE6-8AB2-A0AFF9FA4436}"/>
              </a:ext>
              <a:ext uri="{C183D7F6-B498-43B3-948B-1728B52AA6E4}">
                <adec:decorative xmlns:adec="http://schemas.microsoft.com/office/drawing/2017/decorative" val="1"/>
              </a:ext>
            </a:extLst>
          </p:cNvPr>
          <p:cNvGrpSpPr>
            <a:grpSpLocks noChangeAspect="1"/>
          </p:cNvGrpSpPr>
          <p:nvPr/>
        </p:nvGrpSpPr>
        <p:grpSpPr>
          <a:xfrm>
            <a:off x="4601595" y="2795400"/>
            <a:ext cx="676475" cy="633600"/>
            <a:chOff x="6462713" y="2698750"/>
            <a:chExt cx="676275" cy="633413"/>
          </a:xfrm>
        </p:grpSpPr>
        <p:sp>
          <p:nvSpPr>
            <p:cNvPr id="348" name="Freeform 139">
              <a:extLst>
                <a:ext uri="{FF2B5EF4-FFF2-40B4-BE49-F238E27FC236}">
                  <a16:creationId xmlns:a16="http://schemas.microsoft.com/office/drawing/2014/main" id="{0A5103BC-CA41-4750-9A6E-37051EC5CB8A}"/>
                </a:ext>
              </a:extLst>
            </p:cNvPr>
            <p:cNvSpPr>
              <a:spLocks/>
            </p:cNvSpPr>
            <p:nvPr/>
          </p:nvSpPr>
          <p:spPr bwMode="auto">
            <a:xfrm>
              <a:off x="6462713" y="2698750"/>
              <a:ext cx="676275" cy="633413"/>
            </a:xfrm>
            <a:custGeom>
              <a:avLst/>
              <a:gdLst>
                <a:gd name="T0" fmla="*/ 33 w 233"/>
                <a:gd name="T1" fmla="*/ 171 h 218"/>
                <a:gd name="T2" fmla="*/ 56 w 233"/>
                <a:gd name="T3" fmla="*/ 33 h 218"/>
                <a:gd name="T4" fmla="*/ 200 w 233"/>
                <a:gd name="T5" fmla="*/ 53 h 218"/>
                <a:gd name="T6" fmla="*/ 174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10"/>
                    <a:pt x="200" y="53"/>
                  </a:cubicBezTo>
                  <a:cubicBezTo>
                    <a:pt x="233" y="97"/>
                    <a:pt x="219" y="153"/>
                    <a:pt x="174" y="186"/>
                  </a:cubicBezTo>
                  <a:cubicBezTo>
                    <a:pt x="128" y="218"/>
                    <a:pt x="67" y="215"/>
                    <a:pt x="33"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49" name="Freeform 140">
              <a:extLst>
                <a:ext uri="{FF2B5EF4-FFF2-40B4-BE49-F238E27FC236}">
                  <a16:creationId xmlns:a16="http://schemas.microsoft.com/office/drawing/2014/main" id="{7ACCB52A-6592-475C-964C-7500683EB39F}"/>
                </a:ext>
              </a:extLst>
            </p:cNvPr>
            <p:cNvSpPr>
              <a:spLocks/>
            </p:cNvSpPr>
            <p:nvPr/>
          </p:nvSpPr>
          <p:spPr bwMode="auto">
            <a:xfrm>
              <a:off x="6697663" y="2838450"/>
              <a:ext cx="203200" cy="363538"/>
            </a:xfrm>
            <a:custGeom>
              <a:avLst/>
              <a:gdLst>
                <a:gd name="T0" fmla="*/ 49 w 70"/>
                <a:gd name="T1" fmla="*/ 1 h 125"/>
                <a:gd name="T2" fmla="*/ 19 w 70"/>
                <a:gd name="T3" fmla="*/ 1 h 125"/>
                <a:gd name="T4" fmla="*/ 0 w 70"/>
                <a:gd name="T5" fmla="*/ 24 h 125"/>
                <a:gd name="T6" fmla="*/ 0 w 70"/>
                <a:gd name="T7" fmla="*/ 34 h 125"/>
                <a:gd name="T8" fmla="*/ 2 w 70"/>
                <a:gd name="T9" fmla="*/ 122 h 125"/>
                <a:gd name="T10" fmla="*/ 50 w 70"/>
                <a:gd name="T11" fmla="*/ 124 h 125"/>
                <a:gd name="T12" fmla="*/ 70 w 70"/>
                <a:gd name="T13" fmla="*/ 102 h 125"/>
                <a:gd name="T14" fmla="*/ 70 w 70"/>
                <a:gd name="T15" fmla="*/ 19 h 125"/>
                <a:gd name="T16" fmla="*/ 49 w 70"/>
                <a:gd name="T17"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5">
                  <a:moveTo>
                    <a:pt x="49" y="1"/>
                  </a:moveTo>
                  <a:cubicBezTo>
                    <a:pt x="38" y="0"/>
                    <a:pt x="28" y="1"/>
                    <a:pt x="19" y="1"/>
                  </a:cubicBezTo>
                  <a:cubicBezTo>
                    <a:pt x="4" y="3"/>
                    <a:pt x="0" y="9"/>
                    <a:pt x="0" y="24"/>
                  </a:cubicBezTo>
                  <a:cubicBezTo>
                    <a:pt x="0" y="34"/>
                    <a:pt x="0" y="34"/>
                    <a:pt x="0" y="34"/>
                  </a:cubicBezTo>
                  <a:cubicBezTo>
                    <a:pt x="1" y="48"/>
                    <a:pt x="3" y="105"/>
                    <a:pt x="2" y="122"/>
                  </a:cubicBezTo>
                  <a:cubicBezTo>
                    <a:pt x="6" y="123"/>
                    <a:pt x="34" y="125"/>
                    <a:pt x="50" y="124"/>
                  </a:cubicBezTo>
                  <a:cubicBezTo>
                    <a:pt x="64" y="123"/>
                    <a:pt x="70" y="120"/>
                    <a:pt x="70" y="102"/>
                  </a:cubicBezTo>
                  <a:cubicBezTo>
                    <a:pt x="70" y="19"/>
                    <a:pt x="70" y="19"/>
                    <a:pt x="70" y="19"/>
                  </a:cubicBezTo>
                  <a:cubicBezTo>
                    <a:pt x="70" y="4"/>
                    <a:pt x="65" y="1"/>
                    <a:pt x="49"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50" name="Freeform 141">
              <a:extLst>
                <a:ext uri="{FF2B5EF4-FFF2-40B4-BE49-F238E27FC236}">
                  <a16:creationId xmlns:a16="http://schemas.microsoft.com/office/drawing/2014/main" id="{BF2DC993-348B-4A84-8A8A-F6E15C0D39AC}"/>
                </a:ext>
              </a:extLst>
            </p:cNvPr>
            <p:cNvSpPr>
              <a:spLocks/>
            </p:cNvSpPr>
            <p:nvPr/>
          </p:nvSpPr>
          <p:spPr bwMode="auto">
            <a:xfrm>
              <a:off x="6715126" y="2873375"/>
              <a:ext cx="168275" cy="252413"/>
            </a:xfrm>
            <a:custGeom>
              <a:avLst/>
              <a:gdLst>
                <a:gd name="T0" fmla="*/ 57 w 58"/>
                <a:gd name="T1" fmla="*/ 87 h 87"/>
                <a:gd name="T2" fmla="*/ 2 w 58"/>
                <a:gd name="T3" fmla="*/ 85 h 87"/>
                <a:gd name="T4" fmla="*/ 1 w 58"/>
                <a:gd name="T5" fmla="*/ 2 h 87"/>
                <a:gd name="T6" fmla="*/ 57 w 58"/>
                <a:gd name="T7" fmla="*/ 2 h 87"/>
                <a:gd name="T8" fmla="*/ 57 w 58"/>
                <a:gd name="T9" fmla="*/ 87 h 87"/>
              </a:gdLst>
              <a:ahLst/>
              <a:cxnLst>
                <a:cxn ang="0">
                  <a:pos x="T0" y="T1"/>
                </a:cxn>
                <a:cxn ang="0">
                  <a:pos x="T2" y="T3"/>
                </a:cxn>
                <a:cxn ang="0">
                  <a:pos x="T4" y="T5"/>
                </a:cxn>
                <a:cxn ang="0">
                  <a:pos x="T6" y="T7"/>
                </a:cxn>
                <a:cxn ang="0">
                  <a:pos x="T8" y="T9"/>
                </a:cxn>
              </a:cxnLst>
              <a:rect l="0" t="0" r="r" b="b"/>
              <a:pathLst>
                <a:path w="58" h="87">
                  <a:moveTo>
                    <a:pt x="57" y="87"/>
                  </a:moveTo>
                  <a:cubicBezTo>
                    <a:pt x="2" y="85"/>
                    <a:pt x="2" y="85"/>
                    <a:pt x="2" y="85"/>
                  </a:cubicBezTo>
                  <a:cubicBezTo>
                    <a:pt x="2" y="85"/>
                    <a:pt x="0" y="31"/>
                    <a:pt x="1" y="2"/>
                  </a:cubicBezTo>
                  <a:cubicBezTo>
                    <a:pt x="18" y="0"/>
                    <a:pt x="41" y="0"/>
                    <a:pt x="57" y="2"/>
                  </a:cubicBezTo>
                  <a:cubicBezTo>
                    <a:pt x="58" y="41"/>
                    <a:pt x="57" y="87"/>
                    <a:pt x="57" y="87"/>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51" name="Freeform 142">
              <a:extLst>
                <a:ext uri="{FF2B5EF4-FFF2-40B4-BE49-F238E27FC236}">
                  <a16:creationId xmlns:a16="http://schemas.microsoft.com/office/drawing/2014/main" id="{46D774C5-D20E-404C-8CDB-E7F37ACFD634}"/>
                </a:ext>
              </a:extLst>
            </p:cNvPr>
            <p:cNvSpPr>
              <a:spLocks/>
            </p:cNvSpPr>
            <p:nvPr/>
          </p:nvSpPr>
          <p:spPr bwMode="auto">
            <a:xfrm>
              <a:off x="6781801" y="3141663"/>
              <a:ext cx="34925" cy="36513"/>
            </a:xfrm>
            <a:custGeom>
              <a:avLst/>
              <a:gdLst>
                <a:gd name="T0" fmla="*/ 6 w 12"/>
                <a:gd name="T1" fmla="*/ 13 h 13"/>
                <a:gd name="T2" fmla="*/ 12 w 12"/>
                <a:gd name="T3" fmla="*/ 6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10" y="12"/>
                    <a:pt x="12" y="9"/>
                    <a:pt x="12" y="6"/>
                  </a:cubicBezTo>
                  <a:cubicBezTo>
                    <a:pt x="12" y="3"/>
                    <a:pt x="9" y="0"/>
                    <a:pt x="6" y="0"/>
                  </a:cubicBezTo>
                  <a:cubicBezTo>
                    <a:pt x="3" y="1"/>
                    <a:pt x="0" y="4"/>
                    <a:pt x="0" y="7"/>
                  </a:cubicBezTo>
                  <a:cubicBezTo>
                    <a:pt x="0" y="10"/>
                    <a:pt x="3" y="13"/>
                    <a:pt x="6" y="13"/>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2" name="Group 1">
            <a:extLst>
              <a:ext uri="{FF2B5EF4-FFF2-40B4-BE49-F238E27FC236}">
                <a16:creationId xmlns:a16="http://schemas.microsoft.com/office/drawing/2014/main" id="{548CCE47-DE92-4105-9E7C-91809480638A}"/>
              </a:ext>
              <a:ext uri="{C183D7F6-B498-43B3-948B-1728B52AA6E4}">
                <adec:decorative xmlns:adec="http://schemas.microsoft.com/office/drawing/2017/decorative" val="1"/>
              </a:ext>
            </a:extLst>
          </p:cNvPr>
          <p:cNvGrpSpPr>
            <a:grpSpLocks noChangeAspect="1"/>
          </p:cNvGrpSpPr>
          <p:nvPr/>
        </p:nvGrpSpPr>
        <p:grpSpPr>
          <a:xfrm>
            <a:off x="6301425" y="2795400"/>
            <a:ext cx="672438" cy="633600"/>
            <a:chOff x="9744243" y="2771728"/>
            <a:chExt cx="764134" cy="720000"/>
          </a:xfrm>
        </p:grpSpPr>
        <p:sp>
          <p:nvSpPr>
            <p:cNvPr id="366" name="Freeform 62">
              <a:extLst>
                <a:ext uri="{FF2B5EF4-FFF2-40B4-BE49-F238E27FC236}">
                  <a16:creationId xmlns:a16="http://schemas.microsoft.com/office/drawing/2014/main" id="{5A6DBB64-0D5B-4109-B9C1-88E7364AFCBF}"/>
                </a:ext>
              </a:extLst>
            </p:cNvPr>
            <p:cNvSpPr>
              <a:spLocks/>
            </p:cNvSpPr>
            <p:nvPr/>
          </p:nvSpPr>
          <p:spPr bwMode="auto">
            <a:xfrm>
              <a:off x="9744243" y="2771728"/>
              <a:ext cx="764134" cy="720000"/>
            </a:xfrm>
            <a:custGeom>
              <a:avLst/>
              <a:gdLst>
                <a:gd name="T0" fmla="*/ 14 w 256"/>
                <a:gd name="T1" fmla="*/ 147 h 241"/>
                <a:gd name="T2" fmla="*/ 102 w 256"/>
                <a:gd name="T3" fmla="*/ 13 h 241"/>
                <a:gd name="T4" fmla="*/ 242 w 256"/>
                <a:gd name="T5" fmla="*/ 102 h 241"/>
                <a:gd name="T6" fmla="*/ 153 w 256"/>
                <a:gd name="T7" fmla="*/ 228 h 241"/>
                <a:gd name="T8" fmla="*/ 14 w 256"/>
                <a:gd name="T9" fmla="*/ 147 h 241"/>
              </a:gdLst>
              <a:ahLst/>
              <a:cxnLst>
                <a:cxn ang="0">
                  <a:pos x="T0" y="T1"/>
                </a:cxn>
                <a:cxn ang="0">
                  <a:pos x="T2" y="T3"/>
                </a:cxn>
                <a:cxn ang="0">
                  <a:pos x="T4" y="T5"/>
                </a:cxn>
                <a:cxn ang="0">
                  <a:pos x="T6" y="T7"/>
                </a:cxn>
                <a:cxn ang="0">
                  <a:pos x="T8" y="T9"/>
                </a:cxn>
              </a:cxnLst>
              <a:rect l="0" t="0" r="r" b="b"/>
              <a:pathLst>
                <a:path w="256" h="241">
                  <a:moveTo>
                    <a:pt x="14" y="147"/>
                  </a:moveTo>
                  <a:cubicBezTo>
                    <a:pt x="0" y="85"/>
                    <a:pt x="40" y="25"/>
                    <a:pt x="102" y="13"/>
                  </a:cubicBezTo>
                  <a:cubicBezTo>
                    <a:pt x="165" y="0"/>
                    <a:pt x="228" y="40"/>
                    <a:pt x="242" y="102"/>
                  </a:cubicBezTo>
                  <a:cubicBezTo>
                    <a:pt x="256" y="163"/>
                    <a:pt x="216" y="216"/>
                    <a:pt x="153" y="228"/>
                  </a:cubicBezTo>
                  <a:cubicBezTo>
                    <a:pt x="90" y="241"/>
                    <a:pt x="29" y="208"/>
                    <a:pt x="14" y="14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79" name="Groupe 811">
              <a:extLst>
                <a:ext uri="{FF2B5EF4-FFF2-40B4-BE49-F238E27FC236}">
                  <a16:creationId xmlns:a16="http://schemas.microsoft.com/office/drawing/2014/main" id="{DF271602-01F4-46A9-BF45-D2DF34208AF4}"/>
                </a:ext>
              </a:extLst>
            </p:cNvPr>
            <p:cNvGrpSpPr/>
            <p:nvPr/>
          </p:nvGrpSpPr>
          <p:grpSpPr>
            <a:xfrm>
              <a:off x="9935907" y="2959609"/>
              <a:ext cx="422418" cy="340456"/>
              <a:chOff x="8474075" y="908050"/>
              <a:chExt cx="531813" cy="428625"/>
            </a:xfrm>
            <a:solidFill>
              <a:schemeClr val="bg1"/>
            </a:solidFill>
          </p:grpSpPr>
          <p:sp>
            <p:nvSpPr>
              <p:cNvPr id="380" name="Freeform 63">
                <a:extLst>
                  <a:ext uri="{FF2B5EF4-FFF2-40B4-BE49-F238E27FC236}">
                    <a16:creationId xmlns:a16="http://schemas.microsoft.com/office/drawing/2014/main" id="{5115E8E3-ABFA-4B98-A2A5-D4BFA9FDA4C3}"/>
                  </a:ext>
                </a:extLst>
              </p:cNvPr>
              <p:cNvSpPr>
                <a:spLocks/>
              </p:cNvSpPr>
              <p:nvPr/>
            </p:nvSpPr>
            <p:spPr bwMode="auto">
              <a:xfrm>
                <a:off x="8834438" y="1122363"/>
                <a:ext cx="88900" cy="90487"/>
              </a:xfrm>
              <a:custGeom>
                <a:avLst/>
                <a:gdLst>
                  <a:gd name="T0" fmla="*/ 0 w 24"/>
                  <a:gd name="T1" fmla="*/ 24 h 24"/>
                  <a:gd name="T2" fmla="*/ 24 w 24"/>
                  <a:gd name="T3" fmla="*/ 20 h 24"/>
                  <a:gd name="T4" fmla="*/ 24 w 24"/>
                  <a:gd name="T5" fmla="*/ 14 h 24"/>
                  <a:gd name="T6" fmla="*/ 24 w 24"/>
                  <a:gd name="T7" fmla="*/ 11 h 24"/>
                  <a:gd name="T8" fmla="*/ 24 w 24"/>
                  <a:gd name="T9" fmla="*/ 0 h 24"/>
                  <a:gd name="T10" fmla="*/ 0 w 24"/>
                  <a:gd name="T11" fmla="*/ 24 h 24"/>
                </a:gdLst>
                <a:ahLst/>
                <a:cxnLst>
                  <a:cxn ang="0">
                    <a:pos x="T0" y="T1"/>
                  </a:cxn>
                  <a:cxn ang="0">
                    <a:pos x="T2" y="T3"/>
                  </a:cxn>
                  <a:cxn ang="0">
                    <a:pos x="T4" y="T5"/>
                  </a:cxn>
                  <a:cxn ang="0">
                    <a:pos x="T6" y="T7"/>
                  </a:cxn>
                  <a:cxn ang="0">
                    <a:pos x="T8" y="T9"/>
                  </a:cxn>
                  <a:cxn ang="0">
                    <a:pos x="T10" y="T11"/>
                  </a:cxn>
                </a:cxnLst>
                <a:rect l="0" t="0" r="r" b="b"/>
                <a:pathLst>
                  <a:path w="24" h="24">
                    <a:moveTo>
                      <a:pt x="0" y="24"/>
                    </a:moveTo>
                    <a:cubicBezTo>
                      <a:pt x="6" y="23"/>
                      <a:pt x="15" y="21"/>
                      <a:pt x="24" y="20"/>
                    </a:cubicBezTo>
                    <a:cubicBezTo>
                      <a:pt x="24" y="18"/>
                      <a:pt x="24" y="16"/>
                      <a:pt x="24" y="14"/>
                    </a:cubicBezTo>
                    <a:cubicBezTo>
                      <a:pt x="24" y="13"/>
                      <a:pt x="24" y="12"/>
                      <a:pt x="24" y="11"/>
                    </a:cubicBezTo>
                    <a:cubicBezTo>
                      <a:pt x="24" y="0"/>
                      <a:pt x="24" y="0"/>
                      <a:pt x="24" y="0"/>
                    </a:cubicBezTo>
                    <a:cubicBezTo>
                      <a:pt x="20" y="10"/>
                      <a:pt x="11" y="18"/>
                      <a:pt x="0"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64">
                <a:extLst>
                  <a:ext uri="{FF2B5EF4-FFF2-40B4-BE49-F238E27FC236}">
                    <a16:creationId xmlns:a16="http://schemas.microsoft.com/office/drawing/2014/main" id="{A7943892-C838-4D0D-A626-2A95C094D4E3}"/>
                  </a:ext>
                </a:extLst>
              </p:cNvPr>
              <p:cNvSpPr>
                <a:spLocks noEditPoints="1"/>
              </p:cNvSpPr>
              <p:nvPr/>
            </p:nvSpPr>
            <p:spPr bwMode="auto">
              <a:xfrm>
                <a:off x="8474075" y="908050"/>
                <a:ext cx="449263" cy="327025"/>
              </a:xfrm>
              <a:custGeom>
                <a:avLst/>
                <a:gdLst>
                  <a:gd name="T0" fmla="*/ 78 w 120"/>
                  <a:gd name="T1" fmla="*/ 20 h 87"/>
                  <a:gd name="T2" fmla="*/ 60 w 120"/>
                  <a:gd name="T3" fmla="*/ 32 h 87"/>
                  <a:gd name="T4" fmla="*/ 43 w 120"/>
                  <a:gd name="T5" fmla="*/ 20 h 87"/>
                  <a:gd name="T6" fmla="*/ 60 w 120"/>
                  <a:gd name="T7" fmla="*/ 7 h 87"/>
                  <a:gd name="T8" fmla="*/ 78 w 120"/>
                  <a:gd name="T9" fmla="*/ 20 h 87"/>
                  <a:gd name="T10" fmla="*/ 56 w 120"/>
                  <a:gd name="T11" fmla="*/ 43 h 87"/>
                  <a:gd name="T12" fmla="*/ 60 w 120"/>
                  <a:gd name="T13" fmla="*/ 40 h 87"/>
                  <a:gd name="T14" fmla="*/ 65 w 120"/>
                  <a:gd name="T15" fmla="*/ 43 h 87"/>
                  <a:gd name="T16" fmla="*/ 60 w 120"/>
                  <a:gd name="T17" fmla="*/ 47 h 87"/>
                  <a:gd name="T18" fmla="*/ 56 w 120"/>
                  <a:gd name="T19" fmla="*/ 43 h 87"/>
                  <a:gd name="T20" fmla="*/ 43 w 120"/>
                  <a:gd name="T21" fmla="*/ 67 h 87"/>
                  <a:gd name="T22" fmla="*/ 60 w 120"/>
                  <a:gd name="T23" fmla="*/ 54 h 87"/>
                  <a:gd name="T24" fmla="*/ 78 w 120"/>
                  <a:gd name="T25" fmla="*/ 67 h 87"/>
                  <a:gd name="T26" fmla="*/ 60 w 120"/>
                  <a:gd name="T27" fmla="*/ 80 h 87"/>
                  <a:gd name="T28" fmla="*/ 43 w 120"/>
                  <a:gd name="T29" fmla="*/ 67 h 87"/>
                  <a:gd name="T30" fmla="*/ 110 w 120"/>
                  <a:gd name="T31" fmla="*/ 43 h 87"/>
                  <a:gd name="T32" fmla="*/ 93 w 120"/>
                  <a:gd name="T33" fmla="*/ 56 h 87"/>
                  <a:gd name="T34" fmla="*/ 75 w 120"/>
                  <a:gd name="T35" fmla="*/ 43 h 87"/>
                  <a:gd name="T36" fmla="*/ 93 w 120"/>
                  <a:gd name="T37" fmla="*/ 31 h 87"/>
                  <a:gd name="T38" fmla="*/ 110 w 120"/>
                  <a:gd name="T39" fmla="*/ 43 h 87"/>
                  <a:gd name="T40" fmla="*/ 10 w 120"/>
                  <a:gd name="T41" fmla="*/ 43 h 87"/>
                  <a:gd name="T42" fmla="*/ 28 w 120"/>
                  <a:gd name="T43" fmla="*/ 31 h 87"/>
                  <a:gd name="T44" fmla="*/ 45 w 120"/>
                  <a:gd name="T45" fmla="*/ 43 h 87"/>
                  <a:gd name="T46" fmla="*/ 28 w 120"/>
                  <a:gd name="T47" fmla="*/ 56 h 87"/>
                  <a:gd name="T48" fmla="*/ 10 w 120"/>
                  <a:gd name="T49" fmla="*/ 43 h 87"/>
                  <a:gd name="T50" fmla="*/ 60 w 120"/>
                  <a:gd name="T51" fmla="*/ 87 h 87"/>
                  <a:gd name="T52" fmla="*/ 120 w 120"/>
                  <a:gd name="T53" fmla="*/ 43 h 87"/>
                  <a:gd name="T54" fmla="*/ 60 w 120"/>
                  <a:gd name="T55" fmla="*/ 0 h 87"/>
                  <a:gd name="T56" fmla="*/ 0 w 120"/>
                  <a:gd name="T57" fmla="*/ 43 h 87"/>
                  <a:gd name="T58" fmla="*/ 60 w 120"/>
                  <a:gd name="T5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87">
                    <a:moveTo>
                      <a:pt x="78" y="20"/>
                    </a:moveTo>
                    <a:cubicBezTo>
                      <a:pt x="78" y="27"/>
                      <a:pt x="70" y="32"/>
                      <a:pt x="60" y="32"/>
                    </a:cubicBezTo>
                    <a:cubicBezTo>
                      <a:pt x="51" y="32"/>
                      <a:pt x="43" y="27"/>
                      <a:pt x="43" y="20"/>
                    </a:cubicBezTo>
                    <a:cubicBezTo>
                      <a:pt x="43" y="13"/>
                      <a:pt x="51" y="7"/>
                      <a:pt x="60" y="7"/>
                    </a:cubicBezTo>
                    <a:cubicBezTo>
                      <a:pt x="70" y="7"/>
                      <a:pt x="78" y="13"/>
                      <a:pt x="78" y="20"/>
                    </a:cubicBezTo>
                    <a:moveTo>
                      <a:pt x="56" y="43"/>
                    </a:moveTo>
                    <a:cubicBezTo>
                      <a:pt x="56" y="42"/>
                      <a:pt x="58" y="40"/>
                      <a:pt x="60" y="40"/>
                    </a:cubicBezTo>
                    <a:cubicBezTo>
                      <a:pt x="63" y="40"/>
                      <a:pt x="65" y="42"/>
                      <a:pt x="65" y="43"/>
                    </a:cubicBezTo>
                    <a:cubicBezTo>
                      <a:pt x="65" y="45"/>
                      <a:pt x="63" y="47"/>
                      <a:pt x="60" y="47"/>
                    </a:cubicBezTo>
                    <a:cubicBezTo>
                      <a:pt x="58" y="47"/>
                      <a:pt x="56" y="45"/>
                      <a:pt x="56" y="43"/>
                    </a:cubicBezTo>
                    <a:moveTo>
                      <a:pt x="43" y="67"/>
                    </a:moveTo>
                    <a:cubicBezTo>
                      <a:pt x="43" y="60"/>
                      <a:pt x="51" y="54"/>
                      <a:pt x="60" y="54"/>
                    </a:cubicBezTo>
                    <a:cubicBezTo>
                      <a:pt x="70" y="54"/>
                      <a:pt x="78" y="60"/>
                      <a:pt x="78" y="67"/>
                    </a:cubicBezTo>
                    <a:cubicBezTo>
                      <a:pt x="78" y="74"/>
                      <a:pt x="70" y="80"/>
                      <a:pt x="60" y="80"/>
                    </a:cubicBezTo>
                    <a:cubicBezTo>
                      <a:pt x="51" y="80"/>
                      <a:pt x="43" y="74"/>
                      <a:pt x="43" y="67"/>
                    </a:cubicBezTo>
                    <a:moveTo>
                      <a:pt x="110" y="43"/>
                    </a:moveTo>
                    <a:cubicBezTo>
                      <a:pt x="110" y="50"/>
                      <a:pt x="103" y="56"/>
                      <a:pt x="93" y="56"/>
                    </a:cubicBezTo>
                    <a:cubicBezTo>
                      <a:pt x="83" y="56"/>
                      <a:pt x="75" y="50"/>
                      <a:pt x="75" y="43"/>
                    </a:cubicBezTo>
                    <a:cubicBezTo>
                      <a:pt x="75" y="36"/>
                      <a:pt x="83" y="31"/>
                      <a:pt x="93" y="31"/>
                    </a:cubicBezTo>
                    <a:cubicBezTo>
                      <a:pt x="103" y="31"/>
                      <a:pt x="110" y="36"/>
                      <a:pt x="110" y="43"/>
                    </a:cubicBezTo>
                    <a:moveTo>
                      <a:pt x="10" y="43"/>
                    </a:moveTo>
                    <a:cubicBezTo>
                      <a:pt x="10" y="36"/>
                      <a:pt x="18" y="31"/>
                      <a:pt x="28" y="31"/>
                    </a:cubicBezTo>
                    <a:cubicBezTo>
                      <a:pt x="37" y="31"/>
                      <a:pt x="45" y="36"/>
                      <a:pt x="45" y="43"/>
                    </a:cubicBezTo>
                    <a:cubicBezTo>
                      <a:pt x="45" y="50"/>
                      <a:pt x="37" y="56"/>
                      <a:pt x="28" y="56"/>
                    </a:cubicBezTo>
                    <a:cubicBezTo>
                      <a:pt x="18" y="56"/>
                      <a:pt x="10" y="50"/>
                      <a:pt x="10" y="43"/>
                    </a:cubicBezTo>
                    <a:moveTo>
                      <a:pt x="60" y="87"/>
                    </a:moveTo>
                    <a:cubicBezTo>
                      <a:pt x="94" y="87"/>
                      <a:pt x="120" y="67"/>
                      <a:pt x="120" y="43"/>
                    </a:cubicBezTo>
                    <a:cubicBezTo>
                      <a:pt x="120" y="19"/>
                      <a:pt x="94" y="0"/>
                      <a:pt x="60" y="0"/>
                    </a:cubicBezTo>
                    <a:cubicBezTo>
                      <a:pt x="27" y="0"/>
                      <a:pt x="0" y="19"/>
                      <a:pt x="0" y="43"/>
                    </a:cubicBezTo>
                    <a:cubicBezTo>
                      <a:pt x="0" y="67"/>
                      <a:pt x="27" y="87"/>
                      <a:pt x="60" y="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65">
                <a:extLst>
                  <a:ext uri="{FF2B5EF4-FFF2-40B4-BE49-F238E27FC236}">
                    <a16:creationId xmlns:a16="http://schemas.microsoft.com/office/drawing/2014/main" id="{3D03851C-D77D-4368-893A-4A848D079ED9}"/>
                  </a:ext>
                </a:extLst>
              </p:cNvPr>
              <p:cNvSpPr>
                <a:spLocks/>
              </p:cNvSpPr>
              <p:nvPr/>
            </p:nvSpPr>
            <p:spPr bwMode="auto">
              <a:xfrm>
                <a:off x="8474075" y="1122363"/>
                <a:ext cx="531813" cy="214312"/>
              </a:xfrm>
              <a:custGeom>
                <a:avLst/>
                <a:gdLst>
                  <a:gd name="T0" fmla="*/ 124 w 142"/>
                  <a:gd name="T1" fmla="*/ 21 h 57"/>
                  <a:gd name="T2" fmla="*/ 79 w 142"/>
                  <a:gd name="T3" fmla="*/ 30 h 57"/>
                  <a:gd name="T4" fmla="*/ 60 w 142"/>
                  <a:gd name="T5" fmla="*/ 32 h 57"/>
                  <a:gd name="T6" fmla="*/ 0 w 142"/>
                  <a:gd name="T7" fmla="*/ 0 h 57"/>
                  <a:gd name="T8" fmla="*/ 0 w 142"/>
                  <a:gd name="T9" fmla="*/ 12 h 57"/>
                  <a:gd name="T10" fmla="*/ 0 w 142"/>
                  <a:gd name="T11" fmla="*/ 14 h 57"/>
                  <a:gd name="T12" fmla="*/ 60 w 142"/>
                  <a:gd name="T13" fmla="*/ 57 h 57"/>
                  <a:gd name="T14" fmla="*/ 90 w 142"/>
                  <a:gd name="T15" fmla="*/ 51 h 57"/>
                  <a:gd name="T16" fmla="*/ 142 w 142"/>
                  <a:gd name="T17" fmla="*/ 47 h 57"/>
                  <a:gd name="T18" fmla="*/ 142 w 142"/>
                  <a:gd name="T19" fmla="*/ 22 h 57"/>
                  <a:gd name="T20" fmla="*/ 124 w 142"/>
                  <a:gd name="T21" fmla="*/ 2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57">
                    <a:moveTo>
                      <a:pt x="124" y="21"/>
                    </a:moveTo>
                    <a:cubicBezTo>
                      <a:pt x="108" y="23"/>
                      <a:pt x="87" y="28"/>
                      <a:pt x="79" y="30"/>
                    </a:cubicBezTo>
                    <a:cubicBezTo>
                      <a:pt x="73" y="32"/>
                      <a:pt x="67" y="32"/>
                      <a:pt x="60" y="32"/>
                    </a:cubicBezTo>
                    <a:cubicBezTo>
                      <a:pt x="32" y="32"/>
                      <a:pt x="8" y="19"/>
                      <a:pt x="0" y="0"/>
                    </a:cubicBezTo>
                    <a:cubicBezTo>
                      <a:pt x="0" y="12"/>
                      <a:pt x="0" y="12"/>
                      <a:pt x="0" y="12"/>
                    </a:cubicBezTo>
                    <a:cubicBezTo>
                      <a:pt x="0" y="12"/>
                      <a:pt x="0" y="13"/>
                      <a:pt x="0" y="14"/>
                    </a:cubicBezTo>
                    <a:cubicBezTo>
                      <a:pt x="0" y="38"/>
                      <a:pt x="27" y="57"/>
                      <a:pt x="60" y="57"/>
                    </a:cubicBezTo>
                    <a:cubicBezTo>
                      <a:pt x="71" y="57"/>
                      <a:pt x="81" y="55"/>
                      <a:pt x="90" y="51"/>
                    </a:cubicBezTo>
                    <a:cubicBezTo>
                      <a:pt x="123" y="43"/>
                      <a:pt x="142" y="47"/>
                      <a:pt x="142" y="47"/>
                    </a:cubicBezTo>
                    <a:cubicBezTo>
                      <a:pt x="142" y="22"/>
                      <a:pt x="142" y="22"/>
                      <a:pt x="142" y="22"/>
                    </a:cubicBezTo>
                    <a:cubicBezTo>
                      <a:pt x="137" y="21"/>
                      <a:pt x="131" y="21"/>
                      <a:pt x="124"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2" name="Title 11">
            <a:extLst>
              <a:ext uri="{FF2B5EF4-FFF2-40B4-BE49-F238E27FC236}">
                <a16:creationId xmlns:a16="http://schemas.microsoft.com/office/drawing/2014/main" id="{3923C3B0-AB50-4E01-8B21-9C50B1E16AEF}"/>
              </a:ext>
              <a:ext uri="{C183D7F6-B498-43B3-948B-1728B52AA6E4}">
                <adec:decorative xmlns:adec="http://schemas.microsoft.com/office/drawing/2017/decorative" val="1"/>
              </a:ext>
            </a:extLst>
          </p:cNvPr>
          <p:cNvSpPr>
            <a:spLocks noGrp="1"/>
          </p:cNvSpPr>
          <p:nvPr>
            <p:ph type="title"/>
          </p:nvPr>
        </p:nvSpPr>
        <p:spPr>
          <a:xfrm>
            <a:off x="404813" y="0"/>
            <a:ext cx="10947772" cy="360000"/>
          </a:xfrm>
        </p:spPr>
        <p:txBody>
          <a:bodyPr/>
          <a:lstStyle/>
          <a:p>
            <a:r>
              <a:rPr lang="en-US" sz="1400">
                <a:solidFill>
                  <a:schemeClr val="accent1"/>
                </a:solidFill>
              </a:rPr>
              <a:t>Icons 4/5</a:t>
            </a:r>
          </a:p>
        </p:txBody>
      </p:sp>
      <p:grpSp>
        <p:nvGrpSpPr>
          <p:cNvPr id="388" name="Group 387">
            <a:extLst>
              <a:ext uri="{FF2B5EF4-FFF2-40B4-BE49-F238E27FC236}">
                <a16:creationId xmlns:a16="http://schemas.microsoft.com/office/drawing/2014/main" id="{2B4F8ADF-F3F2-4A3B-A948-3D0C0DF4F35D}"/>
              </a:ext>
              <a:ext uri="{C183D7F6-B498-43B3-948B-1728B52AA6E4}">
                <adec:decorative xmlns:adec="http://schemas.microsoft.com/office/drawing/2017/decorative" val="1"/>
              </a:ext>
            </a:extLst>
          </p:cNvPr>
          <p:cNvGrpSpPr>
            <a:grpSpLocks noChangeAspect="1"/>
          </p:cNvGrpSpPr>
          <p:nvPr/>
        </p:nvGrpSpPr>
        <p:grpSpPr>
          <a:xfrm>
            <a:off x="7148767" y="2795400"/>
            <a:ext cx="672804" cy="633600"/>
            <a:chOff x="1390011" y="2046875"/>
            <a:chExt cx="913245" cy="860030"/>
          </a:xfrm>
        </p:grpSpPr>
        <p:sp>
          <p:nvSpPr>
            <p:cNvPr id="389" name="Freeform 124">
              <a:extLst>
                <a:ext uri="{FF2B5EF4-FFF2-40B4-BE49-F238E27FC236}">
                  <a16:creationId xmlns:a16="http://schemas.microsoft.com/office/drawing/2014/main" id="{DD0E1D06-B9E1-4EC3-AC28-CE62EB86CA13}"/>
                </a:ext>
              </a:extLst>
            </p:cNvPr>
            <p:cNvSpPr>
              <a:spLocks/>
            </p:cNvSpPr>
            <p:nvPr/>
          </p:nvSpPr>
          <p:spPr bwMode="auto">
            <a:xfrm>
              <a:off x="1390011" y="2046875"/>
              <a:ext cx="913245" cy="860030"/>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90" name="Group 213">
              <a:extLst>
                <a:ext uri="{FF2B5EF4-FFF2-40B4-BE49-F238E27FC236}">
                  <a16:creationId xmlns:a16="http://schemas.microsoft.com/office/drawing/2014/main" id="{ABD04705-6E60-4144-97B5-193370952FBB}"/>
                </a:ext>
              </a:extLst>
            </p:cNvPr>
            <p:cNvGrpSpPr/>
            <p:nvPr/>
          </p:nvGrpSpPr>
          <p:grpSpPr>
            <a:xfrm>
              <a:off x="1677844" y="2245357"/>
              <a:ext cx="321015" cy="458040"/>
              <a:chOff x="5306707" y="2088545"/>
              <a:chExt cx="321015" cy="458040"/>
            </a:xfrm>
            <a:solidFill>
              <a:schemeClr val="bg1"/>
            </a:solidFill>
          </p:grpSpPr>
          <p:sp>
            <p:nvSpPr>
              <p:cNvPr id="391" name="Freeform 28">
                <a:extLst>
                  <a:ext uri="{FF2B5EF4-FFF2-40B4-BE49-F238E27FC236}">
                    <a16:creationId xmlns:a16="http://schemas.microsoft.com/office/drawing/2014/main" id="{E2B99385-3DA3-49A6-9F46-6C3C176C7A42}"/>
                  </a:ext>
                </a:extLst>
              </p:cNvPr>
              <p:cNvSpPr>
                <a:spLocks noEditPoints="1"/>
              </p:cNvSpPr>
              <p:nvPr/>
            </p:nvSpPr>
            <p:spPr bwMode="auto">
              <a:xfrm>
                <a:off x="5306707" y="2088545"/>
                <a:ext cx="217066" cy="212774"/>
              </a:xfrm>
              <a:custGeom>
                <a:avLst/>
                <a:gdLst>
                  <a:gd name="T0" fmla="*/ 141 w 244"/>
                  <a:gd name="T1" fmla="*/ 221 h 232"/>
                  <a:gd name="T2" fmla="*/ 141 w 244"/>
                  <a:gd name="T3" fmla="*/ 220 h 232"/>
                  <a:gd name="T4" fmla="*/ 222 w 244"/>
                  <a:gd name="T5" fmla="*/ 174 h 232"/>
                  <a:gd name="T6" fmla="*/ 221 w 244"/>
                  <a:gd name="T7" fmla="*/ 81 h 232"/>
                  <a:gd name="T8" fmla="*/ 221 w 244"/>
                  <a:gd name="T9" fmla="*/ 81 h 232"/>
                  <a:gd name="T10" fmla="*/ 105 w 244"/>
                  <a:gd name="T11" fmla="*/ 14 h 232"/>
                  <a:gd name="T12" fmla="*/ 105 w 244"/>
                  <a:gd name="T13" fmla="*/ 14 h 232"/>
                  <a:gd name="T14" fmla="*/ 22 w 244"/>
                  <a:gd name="T15" fmla="*/ 59 h 232"/>
                  <a:gd name="T16" fmla="*/ 24 w 244"/>
                  <a:gd name="T17" fmla="*/ 153 h 232"/>
                  <a:gd name="T18" fmla="*/ 24 w 244"/>
                  <a:gd name="T19" fmla="*/ 153 h 232"/>
                  <a:gd name="T20" fmla="*/ 141 w 244"/>
                  <a:gd name="T21" fmla="*/ 221 h 232"/>
                  <a:gd name="T22" fmla="*/ 36 w 244"/>
                  <a:gd name="T23" fmla="*/ 69 h 232"/>
                  <a:gd name="T24" fmla="*/ 90 w 244"/>
                  <a:gd name="T25" fmla="*/ 40 h 232"/>
                  <a:gd name="T26" fmla="*/ 92 w 244"/>
                  <a:gd name="T27" fmla="*/ 101 h 232"/>
                  <a:gd name="T28" fmla="*/ 38 w 244"/>
                  <a:gd name="T29" fmla="*/ 130 h 232"/>
                  <a:gd name="T30" fmla="*/ 36 w 244"/>
                  <a:gd name="T31" fmla="*/ 6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4" h="232">
                    <a:moveTo>
                      <a:pt x="141" y="221"/>
                    </a:moveTo>
                    <a:cubicBezTo>
                      <a:pt x="141" y="220"/>
                      <a:pt x="141" y="220"/>
                      <a:pt x="141" y="220"/>
                    </a:cubicBezTo>
                    <a:cubicBezTo>
                      <a:pt x="165" y="232"/>
                      <a:pt x="201" y="212"/>
                      <a:pt x="222" y="174"/>
                    </a:cubicBezTo>
                    <a:cubicBezTo>
                      <a:pt x="244" y="137"/>
                      <a:pt x="243" y="96"/>
                      <a:pt x="221" y="81"/>
                    </a:cubicBezTo>
                    <a:cubicBezTo>
                      <a:pt x="221" y="81"/>
                      <a:pt x="221" y="81"/>
                      <a:pt x="221" y="81"/>
                    </a:cubicBezTo>
                    <a:cubicBezTo>
                      <a:pt x="105" y="14"/>
                      <a:pt x="105" y="14"/>
                      <a:pt x="105" y="14"/>
                    </a:cubicBezTo>
                    <a:cubicBezTo>
                      <a:pt x="105" y="14"/>
                      <a:pt x="105" y="14"/>
                      <a:pt x="105" y="14"/>
                    </a:cubicBezTo>
                    <a:cubicBezTo>
                      <a:pt x="81" y="0"/>
                      <a:pt x="44" y="21"/>
                      <a:pt x="22" y="59"/>
                    </a:cubicBezTo>
                    <a:cubicBezTo>
                      <a:pt x="0" y="97"/>
                      <a:pt x="1" y="139"/>
                      <a:pt x="24" y="153"/>
                    </a:cubicBezTo>
                    <a:cubicBezTo>
                      <a:pt x="24" y="153"/>
                      <a:pt x="24" y="153"/>
                      <a:pt x="24" y="153"/>
                    </a:cubicBezTo>
                    <a:lnTo>
                      <a:pt x="141" y="221"/>
                    </a:lnTo>
                    <a:close/>
                    <a:moveTo>
                      <a:pt x="36" y="69"/>
                    </a:moveTo>
                    <a:cubicBezTo>
                      <a:pt x="50" y="44"/>
                      <a:pt x="75" y="31"/>
                      <a:pt x="90" y="40"/>
                    </a:cubicBezTo>
                    <a:cubicBezTo>
                      <a:pt x="105" y="49"/>
                      <a:pt x="106" y="76"/>
                      <a:pt x="92" y="101"/>
                    </a:cubicBezTo>
                    <a:cubicBezTo>
                      <a:pt x="77" y="126"/>
                      <a:pt x="53" y="139"/>
                      <a:pt x="38" y="130"/>
                    </a:cubicBezTo>
                    <a:cubicBezTo>
                      <a:pt x="22" y="122"/>
                      <a:pt x="22" y="94"/>
                      <a:pt x="3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92" name="Freeform 29">
                <a:extLst>
                  <a:ext uri="{FF2B5EF4-FFF2-40B4-BE49-F238E27FC236}">
                    <a16:creationId xmlns:a16="http://schemas.microsoft.com/office/drawing/2014/main" id="{7004AE33-3285-4754-A131-C3B8A6DFF3A9}"/>
                  </a:ext>
                </a:extLst>
              </p:cNvPr>
              <p:cNvSpPr>
                <a:spLocks/>
              </p:cNvSpPr>
              <p:nvPr/>
            </p:nvSpPr>
            <p:spPr bwMode="auto">
              <a:xfrm>
                <a:off x="5490787" y="2213274"/>
                <a:ext cx="99404" cy="114248"/>
              </a:xfrm>
              <a:custGeom>
                <a:avLst/>
                <a:gdLst>
                  <a:gd name="T0" fmla="*/ 98 w 112"/>
                  <a:gd name="T1" fmla="*/ 27 h 125"/>
                  <a:gd name="T2" fmla="*/ 98 w 112"/>
                  <a:gd name="T3" fmla="*/ 27 h 125"/>
                  <a:gd name="T4" fmla="*/ 51 w 112"/>
                  <a:gd name="T5" fmla="*/ 0 h 125"/>
                  <a:gd name="T6" fmla="*/ 31 w 112"/>
                  <a:gd name="T7" fmla="*/ 52 h 125"/>
                  <a:gd name="T8" fmla="*/ 0 w 112"/>
                  <a:gd name="T9" fmla="*/ 91 h 125"/>
                  <a:gd name="T10" fmla="*/ 45 w 112"/>
                  <a:gd name="T11" fmla="*/ 117 h 125"/>
                  <a:gd name="T12" fmla="*/ 45 w 112"/>
                  <a:gd name="T13" fmla="*/ 117 h 125"/>
                  <a:gd name="T14" fmla="*/ 98 w 112"/>
                  <a:gd name="T15" fmla="*/ 87 h 125"/>
                  <a:gd name="T16" fmla="*/ 98 w 112"/>
                  <a:gd name="T17" fmla="*/ 2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25">
                    <a:moveTo>
                      <a:pt x="98" y="27"/>
                    </a:moveTo>
                    <a:cubicBezTo>
                      <a:pt x="98" y="27"/>
                      <a:pt x="98" y="27"/>
                      <a:pt x="98" y="27"/>
                    </a:cubicBezTo>
                    <a:cubicBezTo>
                      <a:pt x="51" y="0"/>
                      <a:pt x="51" y="0"/>
                      <a:pt x="51" y="0"/>
                    </a:cubicBezTo>
                    <a:cubicBezTo>
                      <a:pt x="48" y="17"/>
                      <a:pt x="41" y="35"/>
                      <a:pt x="31" y="52"/>
                    </a:cubicBezTo>
                    <a:cubicBezTo>
                      <a:pt x="22" y="68"/>
                      <a:pt x="12" y="81"/>
                      <a:pt x="0" y="91"/>
                    </a:cubicBezTo>
                    <a:cubicBezTo>
                      <a:pt x="45" y="117"/>
                      <a:pt x="45" y="117"/>
                      <a:pt x="45" y="117"/>
                    </a:cubicBezTo>
                    <a:cubicBezTo>
                      <a:pt x="45" y="117"/>
                      <a:pt x="45" y="117"/>
                      <a:pt x="45" y="117"/>
                    </a:cubicBezTo>
                    <a:cubicBezTo>
                      <a:pt x="61" y="125"/>
                      <a:pt x="84" y="112"/>
                      <a:pt x="98" y="87"/>
                    </a:cubicBezTo>
                    <a:cubicBezTo>
                      <a:pt x="112" y="63"/>
                      <a:pt x="112" y="36"/>
                      <a:pt x="98"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93" name="Freeform 30">
                <a:extLst>
                  <a:ext uri="{FF2B5EF4-FFF2-40B4-BE49-F238E27FC236}">
                    <a16:creationId xmlns:a16="http://schemas.microsoft.com/office/drawing/2014/main" id="{803AB198-DC52-4D5C-A216-CAC4554479A9}"/>
                  </a:ext>
                </a:extLst>
              </p:cNvPr>
              <p:cNvSpPr>
                <a:spLocks/>
              </p:cNvSpPr>
              <p:nvPr/>
            </p:nvSpPr>
            <p:spPr bwMode="auto">
              <a:xfrm>
                <a:off x="5569905" y="2270922"/>
                <a:ext cx="57817" cy="70226"/>
              </a:xfrm>
              <a:custGeom>
                <a:avLst/>
                <a:gdLst>
                  <a:gd name="T0" fmla="*/ 55 w 65"/>
                  <a:gd name="T1" fmla="*/ 12 h 77"/>
                  <a:gd name="T2" fmla="*/ 55 w 65"/>
                  <a:gd name="T3" fmla="*/ 12 h 77"/>
                  <a:gd name="T4" fmla="*/ 36 w 65"/>
                  <a:gd name="T5" fmla="*/ 0 h 77"/>
                  <a:gd name="T6" fmla="*/ 23 w 65"/>
                  <a:gd name="T7" fmla="*/ 32 h 77"/>
                  <a:gd name="T8" fmla="*/ 0 w 65"/>
                  <a:gd name="T9" fmla="*/ 60 h 77"/>
                  <a:gd name="T10" fmla="*/ 21 w 65"/>
                  <a:gd name="T11" fmla="*/ 72 h 77"/>
                  <a:gd name="T12" fmla="*/ 21 w 65"/>
                  <a:gd name="T13" fmla="*/ 72 h 77"/>
                  <a:gd name="T14" fmla="*/ 56 w 65"/>
                  <a:gd name="T15" fmla="*/ 52 h 77"/>
                  <a:gd name="T16" fmla="*/ 55 w 65"/>
                  <a:gd name="T17" fmla="*/ 1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7">
                    <a:moveTo>
                      <a:pt x="55" y="12"/>
                    </a:moveTo>
                    <a:cubicBezTo>
                      <a:pt x="55" y="12"/>
                      <a:pt x="55" y="12"/>
                      <a:pt x="55" y="12"/>
                    </a:cubicBezTo>
                    <a:cubicBezTo>
                      <a:pt x="36" y="0"/>
                      <a:pt x="36" y="0"/>
                      <a:pt x="36" y="0"/>
                    </a:cubicBezTo>
                    <a:cubicBezTo>
                      <a:pt x="34" y="11"/>
                      <a:pt x="29" y="21"/>
                      <a:pt x="23" y="32"/>
                    </a:cubicBezTo>
                    <a:cubicBezTo>
                      <a:pt x="17" y="43"/>
                      <a:pt x="9" y="53"/>
                      <a:pt x="0" y="60"/>
                    </a:cubicBezTo>
                    <a:cubicBezTo>
                      <a:pt x="21" y="72"/>
                      <a:pt x="21" y="72"/>
                      <a:pt x="21" y="72"/>
                    </a:cubicBezTo>
                    <a:cubicBezTo>
                      <a:pt x="21" y="72"/>
                      <a:pt x="21" y="72"/>
                      <a:pt x="21" y="72"/>
                    </a:cubicBezTo>
                    <a:cubicBezTo>
                      <a:pt x="31" y="77"/>
                      <a:pt x="46" y="68"/>
                      <a:pt x="56" y="52"/>
                    </a:cubicBezTo>
                    <a:cubicBezTo>
                      <a:pt x="65" y="36"/>
                      <a:pt x="65" y="18"/>
                      <a:pt x="5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94" name="Freeform 31">
                <a:extLst>
                  <a:ext uri="{FF2B5EF4-FFF2-40B4-BE49-F238E27FC236}">
                    <a16:creationId xmlns:a16="http://schemas.microsoft.com/office/drawing/2014/main" id="{53209D45-C70B-479C-BD50-5ACF5988004A}"/>
                  </a:ext>
                </a:extLst>
              </p:cNvPr>
              <p:cNvSpPr>
                <a:spLocks/>
              </p:cNvSpPr>
              <p:nvPr/>
            </p:nvSpPr>
            <p:spPr bwMode="auto">
              <a:xfrm>
                <a:off x="5386312" y="2310752"/>
                <a:ext cx="169393" cy="235833"/>
              </a:xfrm>
              <a:custGeom>
                <a:avLst/>
                <a:gdLst>
                  <a:gd name="T0" fmla="*/ 127 w 191"/>
                  <a:gd name="T1" fmla="*/ 65 h 257"/>
                  <a:gd name="T2" fmla="*/ 136 w 191"/>
                  <a:gd name="T3" fmla="*/ 40 h 257"/>
                  <a:gd name="T4" fmla="*/ 95 w 191"/>
                  <a:gd name="T5" fmla="*/ 0 h 257"/>
                  <a:gd name="T6" fmla="*/ 55 w 191"/>
                  <a:gd name="T7" fmla="*/ 40 h 257"/>
                  <a:gd name="T8" fmla="*/ 63 w 191"/>
                  <a:gd name="T9" fmla="*/ 65 h 257"/>
                  <a:gd name="T10" fmla="*/ 1 w 191"/>
                  <a:gd name="T11" fmla="*/ 239 h 257"/>
                  <a:gd name="T12" fmla="*/ 7 w 191"/>
                  <a:gd name="T13" fmla="*/ 251 h 257"/>
                  <a:gd name="T14" fmla="*/ 20 w 191"/>
                  <a:gd name="T15" fmla="*/ 255 h 257"/>
                  <a:gd name="T16" fmla="*/ 32 w 191"/>
                  <a:gd name="T17" fmla="*/ 250 h 257"/>
                  <a:gd name="T18" fmla="*/ 79 w 191"/>
                  <a:gd name="T19" fmla="*/ 117 h 257"/>
                  <a:gd name="T20" fmla="*/ 79 w 191"/>
                  <a:gd name="T21" fmla="*/ 247 h 257"/>
                  <a:gd name="T22" fmla="*/ 88 w 191"/>
                  <a:gd name="T23" fmla="*/ 256 h 257"/>
                  <a:gd name="T24" fmla="*/ 103 w 191"/>
                  <a:gd name="T25" fmla="*/ 256 h 257"/>
                  <a:gd name="T26" fmla="*/ 112 w 191"/>
                  <a:gd name="T27" fmla="*/ 247 h 257"/>
                  <a:gd name="T28" fmla="*/ 112 w 191"/>
                  <a:gd name="T29" fmla="*/ 118 h 257"/>
                  <a:gd name="T30" fmla="*/ 159 w 191"/>
                  <a:gd name="T31" fmla="*/ 250 h 257"/>
                  <a:gd name="T32" fmla="*/ 170 w 191"/>
                  <a:gd name="T33" fmla="*/ 255 h 257"/>
                  <a:gd name="T34" fmla="*/ 184 w 191"/>
                  <a:gd name="T35" fmla="*/ 251 h 257"/>
                  <a:gd name="T36" fmla="*/ 189 w 191"/>
                  <a:gd name="T37" fmla="*/ 239 h 257"/>
                  <a:gd name="T38" fmla="*/ 127 w 191"/>
                  <a:gd name="T39" fmla="*/ 6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1" h="257">
                    <a:moveTo>
                      <a:pt x="127" y="65"/>
                    </a:moveTo>
                    <a:cubicBezTo>
                      <a:pt x="132" y="58"/>
                      <a:pt x="136" y="50"/>
                      <a:pt x="136" y="40"/>
                    </a:cubicBezTo>
                    <a:cubicBezTo>
                      <a:pt x="136" y="18"/>
                      <a:pt x="118" y="0"/>
                      <a:pt x="95" y="0"/>
                    </a:cubicBezTo>
                    <a:cubicBezTo>
                      <a:pt x="73" y="0"/>
                      <a:pt x="55" y="18"/>
                      <a:pt x="55" y="40"/>
                    </a:cubicBezTo>
                    <a:cubicBezTo>
                      <a:pt x="55" y="50"/>
                      <a:pt x="58" y="58"/>
                      <a:pt x="63" y="65"/>
                    </a:cubicBezTo>
                    <a:cubicBezTo>
                      <a:pt x="1" y="239"/>
                      <a:pt x="1" y="239"/>
                      <a:pt x="1" y="239"/>
                    </a:cubicBezTo>
                    <a:cubicBezTo>
                      <a:pt x="0" y="244"/>
                      <a:pt x="2" y="249"/>
                      <a:pt x="7" y="251"/>
                    </a:cubicBezTo>
                    <a:cubicBezTo>
                      <a:pt x="20" y="255"/>
                      <a:pt x="20" y="255"/>
                      <a:pt x="20" y="255"/>
                    </a:cubicBezTo>
                    <a:cubicBezTo>
                      <a:pt x="25" y="257"/>
                      <a:pt x="30" y="255"/>
                      <a:pt x="32" y="250"/>
                    </a:cubicBezTo>
                    <a:cubicBezTo>
                      <a:pt x="79" y="117"/>
                      <a:pt x="79" y="117"/>
                      <a:pt x="79" y="117"/>
                    </a:cubicBezTo>
                    <a:cubicBezTo>
                      <a:pt x="79" y="247"/>
                      <a:pt x="79" y="247"/>
                      <a:pt x="79" y="247"/>
                    </a:cubicBezTo>
                    <a:cubicBezTo>
                      <a:pt x="79" y="252"/>
                      <a:pt x="83" y="256"/>
                      <a:pt x="88" y="256"/>
                    </a:cubicBezTo>
                    <a:cubicBezTo>
                      <a:pt x="103" y="256"/>
                      <a:pt x="103" y="256"/>
                      <a:pt x="103" y="256"/>
                    </a:cubicBezTo>
                    <a:cubicBezTo>
                      <a:pt x="108" y="256"/>
                      <a:pt x="112" y="252"/>
                      <a:pt x="112" y="247"/>
                    </a:cubicBezTo>
                    <a:cubicBezTo>
                      <a:pt x="112" y="118"/>
                      <a:pt x="112" y="118"/>
                      <a:pt x="112" y="118"/>
                    </a:cubicBezTo>
                    <a:cubicBezTo>
                      <a:pt x="159" y="250"/>
                      <a:pt x="159" y="250"/>
                      <a:pt x="159" y="250"/>
                    </a:cubicBezTo>
                    <a:cubicBezTo>
                      <a:pt x="160" y="255"/>
                      <a:pt x="165" y="257"/>
                      <a:pt x="170" y="255"/>
                    </a:cubicBezTo>
                    <a:cubicBezTo>
                      <a:pt x="184" y="251"/>
                      <a:pt x="184" y="251"/>
                      <a:pt x="184" y="251"/>
                    </a:cubicBezTo>
                    <a:cubicBezTo>
                      <a:pt x="188" y="249"/>
                      <a:pt x="191" y="244"/>
                      <a:pt x="189" y="239"/>
                    </a:cubicBezTo>
                    <a:lnTo>
                      <a:pt x="12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16" name="Graphic 14">
            <a:extLst>
              <a:ext uri="{FF2B5EF4-FFF2-40B4-BE49-F238E27FC236}">
                <a16:creationId xmlns:a16="http://schemas.microsoft.com/office/drawing/2014/main" id="{41730D1A-6DA6-46E2-82D9-157F9D6CBA52}"/>
              </a:ext>
              <a:ext uri="{C183D7F6-B498-43B3-948B-1728B52AA6E4}">
                <adec:decorative xmlns:adec="http://schemas.microsoft.com/office/drawing/2017/decorative" val="1"/>
              </a:ext>
            </a:extLst>
          </p:cNvPr>
          <p:cNvGrpSpPr>
            <a:grpSpLocks noChangeAspect="1"/>
          </p:cNvGrpSpPr>
          <p:nvPr/>
        </p:nvGrpSpPr>
        <p:grpSpPr>
          <a:xfrm>
            <a:off x="1183924" y="1458706"/>
            <a:ext cx="664258" cy="633600"/>
            <a:chOff x="1185861" y="1512053"/>
            <a:chExt cx="619125" cy="590550"/>
          </a:xfrm>
        </p:grpSpPr>
        <p:sp>
          <p:nvSpPr>
            <p:cNvPr id="17" name="Freeform: Shape 16">
              <a:extLst>
                <a:ext uri="{FF2B5EF4-FFF2-40B4-BE49-F238E27FC236}">
                  <a16:creationId xmlns:a16="http://schemas.microsoft.com/office/drawing/2014/main" id="{A958FA97-8494-4A35-B0B9-FAC0E62323FC}"/>
                </a:ext>
              </a:extLst>
            </p:cNvPr>
            <p:cNvSpPr/>
            <p:nvPr/>
          </p:nvSpPr>
          <p:spPr>
            <a:xfrm>
              <a:off x="1185908" y="1511991"/>
              <a:ext cx="622104" cy="590612"/>
            </a:xfrm>
            <a:custGeom>
              <a:avLst/>
              <a:gdLst>
                <a:gd name="connsiteX0" fmla="*/ 60244 w 622104"/>
                <a:gd name="connsiteY0" fmla="*/ 478829 h 590612"/>
                <a:gd name="connsiteX1" fmla="*/ 115022 w 622104"/>
                <a:gd name="connsiteY1" fmla="*/ 67709 h 590612"/>
                <a:gd name="connsiteX2" fmla="*/ 127491 w 622104"/>
                <a:gd name="connsiteY2" fmla="*/ 58681 h 590612"/>
                <a:gd name="connsiteX3" fmla="*/ 564403 w 622104"/>
                <a:gd name="connsiteY3" fmla="*/ 120022 h 590612"/>
                <a:gd name="connsiteX4" fmla="*/ 484964 w 622104"/>
                <a:gd name="connsiteY4" fmla="*/ 524835 h 590612"/>
                <a:gd name="connsiteX5" fmla="*/ 60244 w 622104"/>
                <a:gd name="connsiteY5" fmla="*/ 478829 h 59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104" h="590612">
                  <a:moveTo>
                    <a:pt x="60244" y="478829"/>
                  </a:moveTo>
                  <a:cubicBezTo>
                    <a:pt x="-38157" y="350175"/>
                    <a:pt x="-13632" y="166110"/>
                    <a:pt x="115022" y="67709"/>
                  </a:cubicBezTo>
                  <a:cubicBezTo>
                    <a:pt x="119099" y="64591"/>
                    <a:pt x="123257" y="61581"/>
                    <a:pt x="127491" y="58681"/>
                  </a:cubicBezTo>
                  <a:cubicBezTo>
                    <a:pt x="267985" y="-39522"/>
                    <a:pt x="463628" y="-11899"/>
                    <a:pt x="564403" y="120022"/>
                  </a:cubicBezTo>
                  <a:cubicBezTo>
                    <a:pt x="668320" y="254991"/>
                    <a:pt x="625553" y="426727"/>
                    <a:pt x="484964" y="524835"/>
                  </a:cubicBezTo>
                  <a:cubicBezTo>
                    <a:pt x="347518" y="622942"/>
                    <a:pt x="161114" y="613798"/>
                    <a:pt x="60244" y="478829"/>
                  </a:cubicBezTo>
                </a:path>
              </a:pathLst>
            </a:custGeom>
            <a:solidFill>
              <a:schemeClr val="accent3"/>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6F204114-1F38-48DD-A996-5161201AB9B5}"/>
                </a:ext>
              </a:extLst>
            </p:cNvPr>
            <p:cNvSpPr/>
            <p:nvPr/>
          </p:nvSpPr>
          <p:spPr>
            <a:xfrm>
              <a:off x="1482467" y="1630018"/>
              <a:ext cx="127827" cy="156449"/>
            </a:xfrm>
            <a:custGeom>
              <a:avLst/>
              <a:gdLst>
                <a:gd name="connsiteX0" fmla="*/ 35052 w 127827"/>
                <a:gd name="connsiteY0" fmla="*/ 6852 h 156449"/>
                <a:gd name="connsiteX1" fmla="*/ -95 w 127827"/>
                <a:gd name="connsiteY1" fmla="*/ 131344 h 156449"/>
                <a:gd name="connsiteX2" fmla="*/ 2855 w 127827"/>
                <a:gd name="connsiteY2" fmla="*/ 134487 h 156449"/>
                <a:gd name="connsiteX3" fmla="*/ 3048 w 127827"/>
                <a:gd name="connsiteY3" fmla="*/ 134487 h 156449"/>
                <a:gd name="connsiteX4" fmla="*/ 92583 w 127827"/>
                <a:gd name="connsiteY4" fmla="*/ 156299 h 156449"/>
                <a:gd name="connsiteX5" fmla="*/ 127731 w 127827"/>
                <a:gd name="connsiteY5" fmla="*/ 25521 h 156449"/>
                <a:gd name="connsiteX6" fmla="*/ 35052 w 127827"/>
                <a:gd name="connsiteY6" fmla="*/ 6852 h 15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827" h="156449">
                  <a:moveTo>
                    <a:pt x="35052" y="6852"/>
                  </a:moveTo>
                  <a:lnTo>
                    <a:pt x="-95" y="131344"/>
                  </a:lnTo>
                  <a:cubicBezTo>
                    <a:pt x="-149" y="133026"/>
                    <a:pt x="1172" y="134434"/>
                    <a:pt x="2855" y="134487"/>
                  </a:cubicBezTo>
                  <a:cubicBezTo>
                    <a:pt x="2919" y="134489"/>
                    <a:pt x="2984" y="134489"/>
                    <a:pt x="3048" y="134487"/>
                  </a:cubicBezTo>
                  <a:lnTo>
                    <a:pt x="92583" y="156299"/>
                  </a:lnTo>
                  <a:lnTo>
                    <a:pt x="127731" y="25521"/>
                  </a:lnTo>
                  <a:cubicBezTo>
                    <a:pt x="124492" y="31808"/>
                    <a:pt x="41434" y="-18008"/>
                    <a:pt x="35052" y="6852"/>
                  </a:cubicBezTo>
                  <a:close/>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5C0EE7B-A2C9-48F1-9F7A-283117ACC4E5}"/>
                </a:ext>
              </a:extLst>
            </p:cNvPr>
            <p:cNvSpPr/>
            <p:nvPr/>
          </p:nvSpPr>
          <p:spPr>
            <a:xfrm>
              <a:off x="1418026" y="1638640"/>
              <a:ext cx="110639" cy="159448"/>
            </a:xfrm>
            <a:custGeom>
              <a:avLst/>
              <a:gdLst>
                <a:gd name="connsiteX0" fmla="*/ 148 w 110639"/>
                <a:gd name="connsiteY0" fmla="*/ 25853 h 159448"/>
                <a:gd name="connsiteX1" fmla="*/ 26246 w 110639"/>
                <a:gd name="connsiteY1" fmla="*/ 156060 h 159448"/>
                <a:gd name="connsiteX2" fmla="*/ 29199 w 110639"/>
                <a:gd name="connsiteY2" fmla="*/ 159298 h 159448"/>
                <a:gd name="connsiteX3" fmla="*/ 110542 w 110639"/>
                <a:gd name="connsiteY3" fmla="*/ 136534 h 159448"/>
                <a:gd name="connsiteX4" fmla="*/ 84349 w 110639"/>
                <a:gd name="connsiteY4" fmla="*/ -150 h 159448"/>
                <a:gd name="connsiteX5" fmla="*/ 148 w 110639"/>
                <a:gd name="connsiteY5" fmla="*/ 25853 h 15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639" h="159448">
                  <a:moveTo>
                    <a:pt x="148" y="25853"/>
                  </a:moveTo>
                  <a:lnTo>
                    <a:pt x="26246" y="156060"/>
                  </a:lnTo>
                  <a:cubicBezTo>
                    <a:pt x="26246" y="156060"/>
                    <a:pt x="26246" y="159298"/>
                    <a:pt x="29199" y="159298"/>
                  </a:cubicBezTo>
                  <a:lnTo>
                    <a:pt x="110542" y="136534"/>
                  </a:lnTo>
                  <a:lnTo>
                    <a:pt x="84349" y="-150"/>
                  </a:lnTo>
                  <a:cubicBezTo>
                    <a:pt x="84634" y="6327"/>
                    <a:pt x="-5377" y="-3198"/>
                    <a:pt x="148" y="25853"/>
                  </a:cubicBezTo>
                  <a:close/>
                </a:path>
              </a:pathLst>
            </a:custGeom>
            <a:solidFill>
              <a:srgbClr val="FFFFFF"/>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2BA4A62D-BFA8-4033-BCA7-4765636A3E41}"/>
                </a:ext>
              </a:extLst>
            </p:cNvPr>
            <p:cNvSpPr/>
            <p:nvPr/>
          </p:nvSpPr>
          <p:spPr>
            <a:xfrm>
              <a:off x="1401030" y="1925914"/>
              <a:ext cx="69818" cy="58219"/>
            </a:xfrm>
            <a:custGeom>
              <a:avLst/>
              <a:gdLst>
                <a:gd name="connsiteX0" fmla="*/ 34860 w 69818"/>
                <a:gd name="connsiteY0" fmla="*/ 40522 h 58219"/>
                <a:gd name="connsiteX1" fmla="*/ 20858 w 69818"/>
                <a:gd name="connsiteY1" fmla="*/ 28901 h 58219"/>
                <a:gd name="connsiteX2" fmla="*/ 34860 w 69818"/>
                <a:gd name="connsiteY2" fmla="*/ 14423 h 58219"/>
                <a:gd name="connsiteX3" fmla="*/ 52291 w 69818"/>
                <a:gd name="connsiteY3" fmla="*/ 28901 h 58219"/>
                <a:gd name="connsiteX4" fmla="*/ 34860 w 69818"/>
                <a:gd name="connsiteY4" fmla="*/ 40522 h 58219"/>
                <a:gd name="connsiteX5" fmla="*/ 34860 w 69818"/>
                <a:gd name="connsiteY5" fmla="*/ -150 h 58219"/>
                <a:gd name="connsiteX6" fmla="*/ -97 w 69818"/>
                <a:gd name="connsiteY6" fmla="*/ 28901 h 58219"/>
                <a:gd name="connsiteX7" fmla="*/ 34860 w 69818"/>
                <a:gd name="connsiteY7" fmla="*/ 57953 h 58219"/>
                <a:gd name="connsiteX8" fmla="*/ 69722 w 69818"/>
                <a:gd name="connsiteY8" fmla="*/ 28901 h 58219"/>
                <a:gd name="connsiteX9" fmla="*/ 34860 w 69818"/>
                <a:gd name="connsiteY9" fmla="*/ -150 h 58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818" h="58219">
                  <a:moveTo>
                    <a:pt x="34860" y="40522"/>
                  </a:moveTo>
                  <a:cubicBezTo>
                    <a:pt x="27955" y="40663"/>
                    <a:pt x="21992" y="35714"/>
                    <a:pt x="20858" y="28901"/>
                  </a:cubicBezTo>
                  <a:cubicBezTo>
                    <a:pt x="20752" y="21047"/>
                    <a:pt x="27006" y="14580"/>
                    <a:pt x="34860" y="14423"/>
                  </a:cubicBezTo>
                  <a:cubicBezTo>
                    <a:pt x="45242" y="14423"/>
                    <a:pt x="52291" y="20233"/>
                    <a:pt x="52291" y="28901"/>
                  </a:cubicBezTo>
                  <a:cubicBezTo>
                    <a:pt x="52291" y="34712"/>
                    <a:pt x="45719" y="40522"/>
                    <a:pt x="34860" y="40522"/>
                  </a:cubicBezTo>
                  <a:close/>
                  <a:moveTo>
                    <a:pt x="34860" y="-150"/>
                  </a:moveTo>
                  <a:cubicBezTo>
                    <a:pt x="17429" y="-150"/>
                    <a:pt x="-97" y="11470"/>
                    <a:pt x="-97" y="28901"/>
                  </a:cubicBezTo>
                  <a:cubicBezTo>
                    <a:pt x="-97" y="43474"/>
                    <a:pt x="17429" y="57953"/>
                    <a:pt x="34860" y="57953"/>
                  </a:cubicBezTo>
                  <a:cubicBezTo>
                    <a:pt x="52474" y="59443"/>
                    <a:pt x="68012" y="46495"/>
                    <a:pt x="69722" y="28901"/>
                  </a:cubicBezTo>
                  <a:cubicBezTo>
                    <a:pt x="69722" y="11470"/>
                    <a:pt x="55720" y="-150"/>
                    <a:pt x="34860" y="-150"/>
                  </a:cubicBezTo>
                  <a:close/>
                </a:path>
              </a:pathLst>
            </a:custGeom>
            <a:solidFill>
              <a:srgbClr val="FFFFFF"/>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974E540-E3F3-417B-9D66-CB8A6C4A46DB}"/>
                </a:ext>
              </a:extLst>
            </p:cNvPr>
            <p:cNvSpPr/>
            <p:nvPr/>
          </p:nvSpPr>
          <p:spPr>
            <a:xfrm>
              <a:off x="1552192" y="1925888"/>
              <a:ext cx="57676" cy="58128"/>
            </a:xfrm>
            <a:custGeom>
              <a:avLst/>
              <a:gdLst>
                <a:gd name="connsiteX0" fmla="*/ 28955 w 57676"/>
                <a:gd name="connsiteY0" fmla="*/ 40548 h 58128"/>
                <a:gd name="connsiteX1" fmla="*/ 17334 w 57676"/>
                <a:gd name="connsiteY1" fmla="*/ 28927 h 58128"/>
                <a:gd name="connsiteX2" fmla="*/ 28955 w 57676"/>
                <a:gd name="connsiteY2" fmla="*/ 14449 h 58128"/>
                <a:gd name="connsiteX3" fmla="*/ 43433 w 57676"/>
                <a:gd name="connsiteY3" fmla="*/ 27358 h 58128"/>
                <a:gd name="connsiteX4" fmla="*/ 43433 w 57676"/>
                <a:gd name="connsiteY4" fmla="*/ 28927 h 58128"/>
                <a:gd name="connsiteX5" fmla="*/ 28955 w 57676"/>
                <a:gd name="connsiteY5" fmla="*/ 40548 h 58128"/>
                <a:gd name="connsiteX6" fmla="*/ 28955 w 57676"/>
                <a:gd name="connsiteY6" fmla="*/ -124 h 58128"/>
                <a:gd name="connsiteX7" fmla="*/ -97 w 57676"/>
                <a:gd name="connsiteY7" fmla="*/ 28927 h 58128"/>
                <a:gd name="connsiteX8" fmla="*/ 28955 w 57676"/>
                <a:gd name="connsiteY8" fmla="*/ 57978 h 58128"/>
                <a:gd name="connsiteX9" fmla="*/ 57530 w 57676"/>
                <a:gd name="connsiteY9" fmla="*/ 28927 h 58128"/>
                <a:gd name="connsiteX10" fmla="*/ 31792 w 57676"/>
                <a:gd name="connsiteY10" fmla="*/ -101 h 58128"/>
                <a:gd name="connsiteX11" fmla="*/ 28955 w 57676"/>
                <a:gd name="connsiteY11" fmla="*/ -124 h 5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676" h="58128">
                  <a:moveTo>
                    <a:pt x="28955" y="40548"/>
                  </a:moveTo>
                  <a:cubicBezTo>
                    <a:pt x="22717" y="40132"/>
                    <a:pt x="17750" y="35165"/>
                    <a:pt x="17334" y="28927"/>
                  </a:cubicBezTo>
                  <a:cubicBezTo>
                    <a:pt x="16609" y="21739"/>
                    <a:pt x="21780" y="15296"/>
                    <a:pt x="28955" y="14449"/>
                  </a:cubicBezTo>
                  <a:cubicBezTo>
                    <a:pt x="36517" y="14016"/>
                    <a:pt x="42999" y="19795"/>
                    <a:pt x="43433" y="27358"/>
                  </a:cubicBezTo>
                  <a:cubicBezTo>
                    <a:pt x="43463" y="27881"/>
                    <a:pt x="43463" y="28404"/>
                    <a:pt x="43433" y="28927"/>
                  </a:cubicBezTo>
                  <a:cubicBezTo>
                    <a:pt x="42586" y="36102"/>
                    <a:pt x="36143" y="41273"/>
                    <a:pt x="28955" y="40548"/>
                  </a:cubicBezTo>
                  <a:close/>
                  <a:moveTo>
                    <a:pt x="28955" y="-124"/>
                  </a:moveTo>
                  <a:cubicBezTo>
                    <a:pt x="12910" y="-124"/>
                    <a:pt x="-97" y="12882"/>
                    <a:pt x="-97" y="28927"/>
                  </a:cubicBezTo>
                  <a:cubicBezTo>
                    <a:pt x="922" y="44530"/>
                    <a:pt x="13352" y="56960"/>
                    <a:pt x="28955" y="57978"/>
                  </a:cubicBezTo>
                  <a:cubicBezTo>
                    <a:pt x="44813" y="57718"/>
                    <a:pt x="57532" y="44787"/>
                    <a:pt x="57530" y="28927"/>
                  </a:cubicBezTo>
                  <a:cubicBezTo>
                    <a:pt x="58438" y="13804"/>
                    <a:pt x="46915" y="808"/>
                    <a:pt x="31792" y="-101"/>
                  </a:cubicBezTo>
                  <a:cubicBezTo>
                    <a:pt x="30847" y="-157"/>
                    <a:pt x="29900" y="-165"/>
                    <a:pt x="28955" y="-124"/>
                  </a:cubicBezTo>
                  <a:close/>
                </a:path>
              </a:pathLst>
            </a:custGeom>
            <a:solidFill>
              <a:srgbClr val="FFFFFF"/>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987D611-19EE-4B8D-AF82-70EBA39B4A11}"/>
                </a:ext>
              </a:extLst>
            </p:cNvPr>
            <p:cNvSpPr/>
            <p:nvPr/>
          </p:nvSpPr>
          <p:spPr>
            <a:xfrm>
              <a:off x="1342928" y="1682360"/>
              <a:ext cx="302228" cy="220789"/>
            </a:xfrm>
            <a:custGeom>
              <a:avLst/>
              <a:gdLst>
                <a:gd name="connsiteX0" fmla="*/ 302132 w 302228"/>
                <a:gd name="connsiteY0" fmla="*/ 29282 h 220789"/>
                <a:gd name="connsiteX1" fmla="*/ 63435 w 302228"/>
                <a:gd name="connsiteY1" fmla="*/ 29282 h 220789"/>
                <a:gd name="connsiteX2" fmla="*/ 51338 w 302228"/>
                <a:gd name="connsiteY2" fmla="*/ -150 h 220789"/>
                <a:gd name="connsiteX3" fmla="*/ 12000 w 302228"/>
                <a:gd name="connsiteY3" fmla="*/ -150 h 220789"/>
                <a:gd name="connsiteX4" fmla="*/ -97 w 302228"/>
                <a:gd name="connsiteY4" fmla="*/ 11566 h 220789"/>
                <a:gd name="connsiteX5" fmla="*/ -97 w 302228"/>
                <a:gd name="connsiteY5" fmla="*/ 29282 h 220789"/>
                <a:gd name="connsiteX6" fmla="*/ 21049 w 302228"/>
                <a:gd name="connsiteY6" fmla="*/ 29282 h 220789"/>
                <a:gd name="connsiteX7" fmla="*/ 36194 w 302228"/>
                <a:gd name="connsiteY7" fmla="*/ 38140 h 220789"/>
                <a:gd name="connsiteX8" fmla="*/ 81533 w 302228"/>
                <a:gd name="connsiteY8" fmla="*/ 132343 h 220789"/>
                <a:gd name="connsiteX9" fmla="*/ 81533 w 302228"/>
                <a:gd name="connsiteY9" fmla="*/ 149964 h 220789"/>
                <a:gd name="connsiteX10" fmla="*/ 63435 w 302228"/>
                <a:gd name="connsiteY10" fmla="*/ 176443 h 220789"/>
                <a:gd name="connsiteX11" fmla="*/ 60387 w 302228"/>
                <a:gd name="connsiteY11" fmla="*/ 191207 h 220789"/>
                <a:gd name="connsiteX12" fmla="*/ 90581 w 302228"/>
                <a:gd name="connsiteY12" fmla="*/ 220639 h 220789"/>
                <a:gd name="connsiteX13" fmla="*/ 265746 w 302228"/>
                <a:gd name="connsiteY13" fmla="*/ 220639 h 220789"/>
                <a:gd name="connsiteX14" fmla="*/ 271842 w 302228"/>
                <a:gd name="connsiteY14" fmla="*/ 214734 h 220789"/>
                <a:gd name="connsiteX15" fmla="*/ 271842 w 302228"/>
                <a:gd name="connsiteY15" fmla="*/ 197113 h 220789"/>
                <a:gd name="connsiteX16" fmla="*/ 265746 w 302228"/>
                <a:gd name="connsiteY16" fmla="*/ 191207 h 220789"/>
                <a:gd name="connsiteX17" fmla="*/ 96677 w 302228"/>
                <a:gd name="connsiteY17" fmla="*/ 191207 h 220789"/>
                <a:gd name="connsiteX18" fmla="*/ 93629 w 302228"/>
                <a:gd name="connsiteY18" fmla="*/ 188254 h 220789"/>
                <a:gd name="connsiteX19" fmla="*/ 93629 w 302228"/>
                <a:gd name="connsiteY19" fmla="*/ 185302 h 220789"/>
                <a:gd name="connsiteX20" fmla="*/ 102678 w 302228"/>
                <a:gd name="connsiteY20" fmla="*/ 167680 h 220789"/>
                <a:gd name="connsiteX21" fmla="*/ 114775 w 302228"/>
                <a:gd name="connsiteY21" fmla="*/ 161775 h 220789"/>
                <a:gd name="connsiteX22" fmla="*/ 238600 w 302228"/>
                <a:gd name="connsiteY22" fmla="*/ 161775 h 220789"/>
                <a:gd name="connsiteX23" fmla="*/ 302132 w 302228"/>
                <a:gd name="connsiteY23" fmla="*/ 29282 h 2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2228" h="220789">
                  <a:moveTo>
                    <a:pt x="302132" y="29282"/>
                  </a:moveTo>
                  <a:lnTo>
                    <a:pt x="63435" y="29282"/>
                  </a:lnTo>
                  <a:lnTo>
                    <a:pt x="51338" y="-150"/>
                  </a:lnTo>
                  <a:lnTo>
                    <a:pt x="12000" y="-150"/>
                  </a:lnTo>
                  <a:cubicBezTo>
                    <a:pt x="5616" y="204"/>
                    <a:pt x="462" y="5196"/>
                    <a:pt x="-97" y="11566"/>
                  </a:cubicBezTo>
                  <a:lnTo>
                    <a:pt x="-97" y="29282"/>
                  </a:lnTo>
                  <a:lnTo>
                    <a:pt x="21049" y="29282"/>
                  </a:lnTo>
                  <a:cubicBezTo>
                    <a:pt x="27368" y="29124"/>
                    <a:pt x="33234" y="32555"/>
                    <a:pt x="36194" y="38140"/>
                  </a:cubicBezTo>
                  <a:lnTo>
                    <a:pt x="81533" y="132343"/>
                  </a:lnTo>
                  <a:cubicBezTo>
                    <a:pt x="84585" y="137820"/>
                    <a:pt x="84585" y="144487"/>
                    <a:pt x="81533" y="149964"/>
                  </a:cubicBezTo>
                  <a:lnTo>
                    <a:pt x="63435" y="176443"/>
                  </a:lnTo>
                  <a:cubicBezTo>
                    <a:pt x="62122" y="181298"/>
                    <a:pt x="61104" y="186229"/>
                    <a:pt x="60387" y="191207"/>
                  </a:cubicBezTo>
                  <a:cubicBezTo>
                    <a:pt x="61733" y="207161"/>
                    <a:pt x="74598" y="219701"/>
                    <a:pt x="90581" y="220639"/>
                  </a:cubicBezTo>
                  <a:lnTo>
                    <a:pt x="265746" y="220639"/>
                  </a:lnTo>
                  <a:cubicBezTo>
                    <a:pt x="268965" y="220462"/>
                    <a:pt x="271563" y="217945"/>
                    <a:pt x="271842" y="214734"/>
                  </a:cubicBezTo>
                  <a:lnTo>
                    <a:pt x="271842" y="197113"/>
                  </a:lnTo>
                  <a:cubicBezTo>
                    <a:pt x="271563" y="193902"/>
                    <a:pt x="268965" y="191385"/>
                    <a:pt x="265746" y="191207"/>
                  </a:cubicBezTo>
                  <a:lnTo>
                    <a:pt x="96677" y="191207"/>
                  </a:lnTo>
                  <a:lnTo>
                    <a:pt x="93629" y="188254"/>
                  </a:lnTo>
                  <a:lnTo>
                    <a:pt x="93629" y="185302"/>
                  </a:lnTo>
                  <a:lnTo>
                    <a:pt x="102678" y="167680"/>
                  </a:lnTo>
                  <a:cubicBezTo>
                    <a:pt x="106036" y="164557"/>
                    <a:pt x="110247" y="162502"/>
                    <a:pt x="114775" y="161775"/>
                  </a:cubicBezTo>
                  <a:lnTo>
                    <a:pt x="238600" y="161775"/>
                  </a:lnTo>
                  <a:cubicBezTo>
                    <a:pt x="296036" y="164251"/>
                    <a:pt x="299084" y="34712"/>
                    <a:pt x="302132" y="29282"/>
                  </a:cubicBezTo>
                  <a:close/>
                </a:path>
              </a:pathLst>
            </a:custGeom>
            <a:solidFill>
              <a:srgbClr val="FFFFFF"/>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A0A4317-4E55-4DDD-A355-F7AD86A592FB}"/>
                </a:ext>
              </a:extLst>
            </p:cNvPr>
            <p:cNvSpPr/>
            <p:nvPr/>
          </p:nvSpPr>
          <p:spPr>
            <a:xfrm>
              <a:off x="1338451" y="1677121"/>
              <a:ext cx="314801" cy="230314"/>
            </a:xfrm>
            <a:custGeom>
              <a:avLst/>
              <a:gdLst>
                <a:gd name="connsiteX0" fmla="*/ 270223 w 314801"/>
                <a:gd name="connsiteY0" fmla="*/ 230164 h 230314"/>
                <a:gd name="connsiteX1" fmla="*/ 94963 w 314801"/>
                <a:gd name="connsiteY1" fmla="*/ 230164 h 230314"/>
                <a:gd name="connsiteX2" fmla="*/ 60006 w 314801"/>
                <a:gd name="connsiteY2" fmla="*/ 195970 h 230314"/>
                <a:gd name="connsiteX3" fmla="*/ 62102 w 314801"/>
                <a:gd name="connsiteY3" fmla="*/ 184825 h 230314"/>
                <a:gd name="connsiteX4" fmla="*/ 63054 w 314801"/>
                <a:gd name="connsiteY4" fmla="*/ 181206 h 230314"/>
                <a:gd name="connsiteX5" fmla="*/ 63054 w 314801"/>
                <a:gd name="connsiteY5" fmla="*/ 179872 h 230314"/>
                <a:gd name="connsiteX6" fmla="*/ 63816 w 314801"/>
                <a:gd name="connsiteY6" fmla="*/ 178539 h 230314"/>
                <a:gd name="connsiteX7" fmla="*/ 82009 w 314801"/>
                <a:gd name="connsiteY7" fmla="*/ 152059 h 230314"/>
                <a:gd name="connsiteX8" fmla="*/ 82009 w 314801"/>
                <a:gd name="connsiteY8" fmla="*/ 139201 h 230314"/>
                <a:gd name="connsiteX9" fmla="*/ 36670 w 314801"/>
                <a:gd name="connsiteY9" fmla="*/ 44903 h 230314"/>
                <a:gd name="connsiteX10" fmla="*/ 25811 w 314801"/>
                <a:gd name="connsiteY10" fmla="*/ 38807 h 230314"/>
                <a:gd name="connsiteX11" fmla="*/ -97 w 314801"/>
                <a:gd name="connsiteY11" fmla="*/ 38807 h 230314"/>
                <a:gd name="connsiteX12" fmla="*/ -97 w 314801"/>
                <a:gd name="connsiteY12" fmla="*/ 16328 h 230314"/>
                <a:gd name="connsiteX13" fmla="*/ 16763 w 314801"/>
                <a:gd name="connsiteY13" fmla="*/ -150 h 230314"/>
                <a:gd name="connsiteX14" fmla="*/ 59244 w 314801"/>
                <a:gd name="connsiteY14" fmla="*/ -150 h 230314"/>
                <a:gd name="connsiteX15" fmla="*/ 71341 w 314801"/>
                <a:gd name="connsiteY15" fmla="*/ 29282 h 230314"/>
                <a:gd name="connsiteX16" fmla="*/ 314705 w 314801"/>
                <a:gd name="connsiteY16" fmla="*/ 29282 h 230314"/>
                <a:gd name="connsiteX17" fmla="*/ 311276 w 314801"/>
                <a:gd name="connsiteY17" fmla="*/ 35950 h 230314"/>
                <a:gd name="connsiteX18" fmla="*/ 309847 w 314801"/>
                <a:gd name="connsiteY18" fmla="*/ 46808 h 230314"/>
                <a:gd name="connsiteX19" fmla="*/ 243172 w 314801"/>
                <a:gd name="connsiteY19" fmla="*/ 171300 h 230314"/>
                <a:gd name="connsiteX20" fmla="*/ 119347 w 314801"/>
                <a:gd name="connsiteY20" fmla="*/ 171300 h 230314"/>
                <a:gd name="connsiteX21" fmla="*/ 111060 w 314801"/>
                <a:gd name="connsiteY21" fmla="*/ 175300 h 230314"/>
                <a:gd name="connsiteX22" fmla="*/ 103059 w 314801"/>
                <a:gd name="connsiteY22" fmla="*/ 191112 h 230314"/>
                <a:gd name="connsiteX23" fmla="*/ 270223 w 314801"/>
                <a:gd name="connsiteY23" fmla="*/ 191112 h 230314"/>
                <a:gd name="connsiteX24" fmla="*/ 281081 w 314801"/>
                <a:gd name="connsiteY24" fmla="*/ 201780 h 230314"/>
                <a:gd name="connsiteX25" fmla="*/ 281081 w 314801"/>
                <a:gd name="connsiteY25" fmla="*/ 219401 h 230314"/>
                <a:gd name="connsiteX26" fmla="*/ 270223 w 314801"/>
                <a:gd name="connsiteY26" fmla="*/ 230165 h 230314"/>
                <a:gd name="connsiteX27" fmla="*/ 72389 w 314801"/>
                <a:gd name="connsiteY27" fmla="*/ 182539 h 230314"/>
                <a:gd name="connsiteX28" fmla="*/ 71246 w 314801"/>
                <a:gd name="connsiteY28" fmla="*/ 187207 h 230314"/>
                <a:gd name="connsiteX29" fmla="*/ 69531 w 314801"/>
                <a:gd name="connsiteY29" fmla="*/ 195589 h 230314"/>
                <a:gd name="connsiteX30" fmla="*/ 94963 w 314801"/>
                <a:gd name="connsiteY30" fmla="*/ 220258 h 230314"/>
                <a:gd name="connsiteX31" fmla="*/ 270223 w 314801"/>
                <a:gd name="connsiteY31" fmla="*/ 220258 h 230314"/>
                <a:gd name="connsiteX32" fmla="*/ 271556 w 314801"/>
                <a:gd name="connsiteY32" fmla="*/ 219116 h 230314"/>
                <a:gd name="connsiteX33" fmla="*/ 271556 w 314801"/>
                <a:gd name="connsiteY33" fmla="*/ 201494 h 230314"/>
                <a:gd name="connsiteX34" fmla="*/ 270223 w 314801"/>
                <a:gd name="connsiteY34" fmla="*/ 200351 h 230314"/>
                <a:gd name="connsiteX35" fmla="*/ 98773 w 314801"/>
                <a:gd name="connsiteY35" fmla="*/ 200351 h 230314"/>
                <a:gd name="connsiteX36" fmla="*/ 92963 w 314801"/>
                <a:gd name="connsiteY36" fmla="*/ 194636 h 230314"/>
                <a:gd name="connsiteX37" fmla="*/ 92963 w 314801"/>
                <a:gd name="connsiteY37" fmla="*/ 188540 h 230314"/>
                <a:gd name="connsiteX38" fmla="*/ 103440 w 314801"/>
                <a:gd name="connsiteY38" fmla="*/ 168633 h 230314"/>
                <a:gd name="connsiteX39" fmla="*/ 118871 w 314801"/>
                <a:gd name="connsiteY39" fmla="*/ 161394 h 230314"/>
                <a:gd name="connsiteX40" fmla="*/ 242696 w 314801"/>
                <a:gd name="connsiteY40" fmla="*/ 161394 h 230314"/>
                <a:gd name="connsiteX41" fmla="*/ 299846 w 314801"/>
                <a:gd name="connsiteY41" fmla="*/ 45379 h 230314"/>
                <a:gd name="connsiteX42" fmla="*/ 300703 w 314801"/>
                <a:gd name="connsiteY42" fmla="*/ 38426 h 230314"/>
                <a:gd name="connsiteX43" fmla="*/ 64483 w 314801"/>
                <a:gd name="connsiteY43" fmla="*/ 38426 h 230314"/>
                <a:gd name="connsiteX44" fmla="*/ 52386 w 314801"/>
                <a:gd name="connsiteY44" fmla="*/ 8994 h 230314"/>
                <a:gd name="connsiteX45" fmla="*/ 16286 w 314801"/>
                <a:gd name="connsiteY45" fmla="*/ 8994 h 230314"/>
                <a:gd name="connsiteX46" fmla="*/ 8952 w 314801"/>
                <a:gd name="connsiteY46" fmla="*/ 15947 h 230314"/>
                <a:gd name="connsiteX47" fmla="*/ 8952 w 314801"/>
                <a:gd name="connsiteY47" fmla="*/ 28901 h 230314"/>
                <a:gd name="connsiteX48" fmla="*/ 25335 w 314801"/>
                <a:gd name="connsiteY48" fmla="*/ 28901 h 230314"/>
                <a:gd name="connsiteX49" fmla="*/ 44385 w 314801"/>
                <a:gd name="connsiteY49" fmla="*/ 40331 h 230314"/>
                <a:gd name="connsiteX50" fmla="*/ 89724 w 314801"/>
                <a:gd name="connsiteY50" fmla="*/ 134629 h 230314"/>
                <a:gd name="connsiteX51" fmla="*/ 89724 w 314801"/>
                <a:gd name="connsiteY51" fmla="*/ 156536 h 2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14801" h="230314">
                  <a:moveTo>
                    <a:pt x="270223" y="230164"/>
                  </a:moveTo>
                  <a:lnTo>
                    <a:pt x="94963" y="230164"/>
                  </a:lnTo>
                  <a:cubicBezTo>
                    <a:pt x="76357" y="229206"/>
                    <a:pt x="61374" y="214550"/>
                    <a:pt x="60006" y="195970"/>
                  </a:cubicBezTo>
                  <a:cubicBezTo>
                    <a:pt x="60145" y="192171"/>
                    <a:pt x="60851" y="188415"/>
                    <a:pt x="62102" y="184825"/>
                  </a:cubicBezTo>
                  <a:cubicBezTo>
                    <a:pt x="62102" y="183587"/>
                    <a:pt x="62959" y="181778"/>
                    <a:pt x="63054" y="181206"/>
                  </a:cubicBezTo>
                  <a:lnTo>
                    <a:pt x="63054" y="179872"/>
                  </a:lnTo>
                  <a:lnTo>
                    <a:pt x="63816" y="178539"/>
                  </a:lnTo>
                  <a:lnTo>
                    <a:pt x="82009" y="152059"/>
                  </a:lnTo>
                  <a:cubicBezTo>
                    <a:pt x="84194" y="148052"/>
                    <a:pt x="84194" y="143208"/>
                    <a:pt x="82009" y="139201"/>
                  </a:cubicBezTo>
                  <a:lnTo>
                    <a:pt x="36670" y="44903"/>
                  </a:lnTo>
                  <a:cubicBezTo>
                    <a:pt x="34519" y="40957"/>
                    <a:pt x="30301" y="38588"/>
                    <a:pt x="25811" y="38807"/>
                  </a:cubicBezTo>
                  <a:lnTo>
                    <a:pt x="-97" y="38807"/>
                  </a:lnTo>
                  <a:lnTo>
                    <a:pt x="-97" y="16328"/>
                  </a:lnTo>
                  <a:cubicBezTo>
                    <a:pt x="437" y="7312"/>
                    <a:pt x="7736" y="178"/>
                    <a:pt x="16763" y="-150"/>
                  </a:cubicBezTo>
                  <a:lnTo>
                    <a:pt x="59244" y="-150"/>
                  </a:lnTo>
                  <a:lnTo>
                    <a:pt x="71341" y="29282"/>
                  </a:lnTo>
                  <a:lnTo>
                    <a:pt x="314705" y="29282"/>
                  </a:lnTo>
                  <a:lnTo>
                    <a:pt x="311276" y="35950"/>
                  </a:lnTo>
                  <a:cubicBezTo>
                    <a:pt x="311276" y="37283"/>
                    <a:pt x="310323" y="42141"/>
                    <a:pt x="309847" y="46808"/>
                  </a:cubicBezTo>
                  <a:cubicBezTo>
                    <a:pt x="305846" y="81574"/>
                    <a:pt x="295559" y="174062"/>
                    <a:pt x="243172" y="171300"/>
                  </a:cubicBezTo>
                  <a:lnTo>
                    <a:pt x="119347" y="171300"/>
                  </a:lnTo>
                  <a:cubicBezTo>
                    <a:pt x="116317" y="171988"/>
                    <a:pt x="113483" y="173356"/>
                    <a:pt x="111060" y="175300"/>
                  </a:cubicBezTo>
                  <a:lnTo>
                    <a:pt x="103059" y="191112"/>
                  </a:lnTo>
                  <a:lnTo>
                    <a:pt x="270223" y="191112"/>
                  </a:lnTo>
                  <a:cubicBezTo>
                    <a:pt x="276085" y="191257"/>
                    <a:pt x="280833" y="195921"/>
                    <a:pt x="281081" y="201780"/>
                  </a:cubicBezTo>
                  <a:lnTo>
                    <a:pt x="281081" y="219401"/>
                  </a:lnTo>
                  <a:cubicBezTo>
                    <a:pt x="280882" y="225298"/>
                    <a:pt x="276121" y="230017"/>
                    <a:pt x="270223" y="230165"/>
                  </a:cubicBezTo>
                  <a:close/>
                  <a:moveTo>
                    <a:pt x="72389" y="182539"/>
                  </a:moveTo>
                  <a:cubicBezTo>
                    <a:pt x="72110" y="184119"/>
                    <a:pt x="71728" y="185678"/>
                    <a:pt x="71246" y="187207"/>
                  </a:cubicBezTo>
                  <a:cubicBezTo>
                    <a:pt x="70257" y="189899"/>
                    <a:pt x="69679" y="192725"/>
                    <a:pt x="69531" y="195589"/>
                  </a:cubicBezTo>
                  <a:cubicBezTo>
                    <a:pt x="70886" y="208900"/>
                    <a:pt x="81617" y="219309"/>
                    <a:pt x="94963" y="220258"/>
                  </a:cubicBezTo>
                  <a:lnTo>
                    <a:pt x="270223" y="220258"/>
                  </a:lnTo>
                  <a:cubicBezTo>
                    <a:pt x="270820" y="220103"/>
                    <a:pt x="271312" y="219682"/>
                    <a:pt x="271556" y="219116"/>
                  </a:cubicBezTo>
                  <a:lnTo>
                    <a:pt x="271556" y="201494"/>
                  </a:lnTo>
                  <a:cubicBezTo>
                    <a:pt x="271312" y="200928"/>
                    <a:pt x="270820" y="200506"/>
                    <a:pt x="270223" y="200351"/>
                  </a:cubicBezTo>
                  <a:lnTo>
                    <a:pt x="98773" y="200351"/>
                  </a:lnTo>
                  <a:lnTo>
                    <a:pt x="92963" y="194636"/>
                  </a:lnTo>
                  <a:lnTo>
                    <a:pt x="92963" y="188540"/>
                  </a:lnTo>
                  <a:lnTo>
                    <a:pt x="103440" y="168633"/>
                  </a:lnTo>
                  <a:cubicBezTo>
                    <a:pt x="107692" y="164654"/>
                    <a:pt x="113093" y="162120"/>
                    <a:pt x="118871" y="161394"/>
                  </a:cubicBezTo>
                  <a:lnTo>
                    <a:pt x="242696" y="161394"/>
                  </a:lnTo>
                  <a:cubicBezTo>
                    <a:pt x="285939" y="163489"/>
                    <a:pt x="295940" y="77669"/>
                    <a:pt x="299846" y="45379"/>
                  </a:cubicBezTo>
                  <a:cubicBezTo>
                    <a:pt x="299846" y="42427"/>
                    <a:pt x="300512" y="40236"/>
                    <a:pt x="300703" y="38426"/>
                  </a:cubicBezTo>
                  <a:lnTo>
                    <a:pt x="64483" y="38426"/>
                  </a:lnTo>
                  <a:lnTo>
                    <a:pt x="52386" y="8994"/>
                  </a:lnTo>
                  <a:lnTo>
                    <a:pt x="16286" y="8994"/>
                  </a:lnTo>
                  <a:cubicBezTo>
                    <a:pt x="12518" y="9314"/>
                    <a:pt x="9473" y="12201"/>
                    <a:pt x="8952" y="15947"/>
                  </a:cubicBezTo>
                  <a:lnTo>
                    <a:pt x="8952" y="28901"/>
                  </a:lnTo>
                  <a:lnTo>
                    <a:pt x="25335" y="28901"/>
                  </a:lnTo>
                  <a:cubicBezTo>
                    <a:pt x="33312" y="28887"/>
                    <a:pt x="40644" y="33286"/>
                    <a:pt x="44385" y="40331"/>
                  </a:cubicBezTo>
                  <a:lnTo>
                    <a:pt x="89724" y="134629"/>
                  </a:lnTo>
                  <a:cubicBezTo>
                    <a:pt x="93487" y="141446"/>
                    <a:pt x="93487" y="149718"/>
                    <a:pt x="89724" y="156536"/>
                  </a:cubicBezTo>
                  <a:close/>
                </a:path>
              </a:pathLst>
            </a:custGeom>
            <a:solidFill>
              <a:srgbClr val="272936"/>
            </a:solidFill>
            <a:ln w="9525" cap="flat">
              <a:noFill/>
              <a:prstDash val="solid"/>
              <a:miter/>
            </a:ln>
          </p:spPr>
          <p:txBody>
            <a:bodyPr rtlCol="0" anchor="ctr"/>
            <a:lstStyle/>
            <a:p>
              <a:endParaRPr lang="en-US"/>
            </a:p>
          </p:txBody>
        </p:sp>
      </p:grpSp>
      <p:grpSp>
        <p:nvGrpSpPr>
          <p:cNvPr id="26" name="Graphic 24">
            <a:extLst>
              <a:ext uri="{FF2B5EF4-FFF2-40B4-BE49-F238E27FC236}">
                <a16:creationId xmlns:a16="http://schemas.microsoft.com/office/drawing/2014/main" id="{A6AE7CDF-6F5B-49F2-8E4C-D1E781B2094F}"/>
              </a:ext>
              <a:ext uri="{C183D7F6-B498-43B3-948B-1728B52AA6E4}">
                <adec:decorative xmlns:adec="http://schemas.microsoft.com/office/drawing/2017/decorative" val="1"/>
              </a:ext>
            </a:extLst>
          </p:cNvPr>
          <p:cNvGrpSpPr/>
          <p:nvPr/>
        </p:nvGrpSpPr>
        <p:grpSpPr>
          <a:xfrm>
            <a:off x="515565" y="5639777"/>
            <a:ext cx="323851" cy="409640"/>
            <a:chOff x="503260" y="5639776"/>
            <a:chExt cx="1885582" cy="2385079"/>
          </a:xfrm>
        </p:grpSpPr>
        <p:sp>
          <p:nvSpPr>
            <p:cNvPr id="27" name="Freeform: Shape 26">
              <a:extLst>
                <a:ext uri="{FF2B5EF4-FFF2-40B4-BE49-F238E27FC236}">
                  <a16:creationId xmlns:a16="http://schemas.microsoft.com/office/drawing/2014/main" id="{4D64355D-20D3-4A4C-9A55-92BC5619CDEF}"/>
                </a:ext>
              </a:extLst>
            </p:cNvPr>
            <p:cNvSpPr/>
            <p:nvPr/>
          </p:nvSpPr>
          <p:spPr>
            <a:xfrm>
              <a:off x="642685" y="7605464"/>
              <a:ext cx="1538692" cy="140211"/>
            </a:xfrm>
            <a:custGeom>
              <a:avLst/>
              <a:gdLst>
                <a:gd name="connsiteX0" fmla="*/ -115 w 1538692"/>
                <a:gd name="connsiteY0" fmla="*/ 139456 h 140211"/>
                <a:gd name="connsiteX1" fmla="*/ 1371268 w 1538692"/>
                <a:gd name="connsiteY1" fmla="*/ 139456 h 140211"/>
                <a:gd name="connsiteX2" fmla="*/ 1538578 w 1538692"/>
                <a:gd name="connsiteY2" fmla="*/ -527 h 140211"/>
                <a:gd name="connsiteX3" fmla="*/ -115 w 1538692"/>
                <a:gd name="connsiteY3" fmla="*/ -527 h 140211"/>
              </a:gdLst>
              <a:ahLst/>
              <a:cxnLst>
                <a:cxn ang="0">
                  <a:pos x="connsiteX0" y="connsiteY0"/>
                </a:cxn>
                <a:cxn ang="0">
                  <a:pos x="connsiteX1" y="connsiteY1"/>
                </a:cxn>
                <a:cxn ang="0">
                  <a:pos x="connsiteX2" y="connsiteY2"/>
                </a:cxn>
                <a:cxn ang="0">
                  <a:pos x="connsiteX3" y="connsiteY3"/>
                </a:cxn>
              </a:cxnLst>
              <a:rect l="l" t="t" r="r" b="b"/>
              <a:pathLst>
                <a:path w="1538692" h="140211">
                  <a:moveTo>
                    <a:pt x="-115" y="139456"/>
                  </a:moveTo>
                  <a:lnTo>
                    <a:pt x="1371268" y="139456"/>
                  </a:lnTo>
                  <a:cubicBezTo>
                    <a:pt x="1455124" y="143909"/>
                    <a:pt x="1528162" y="82798"/>
                    <a:pt x="1538578" y="-527"/>
                  </a:cubicBezTo>
                  <a:lnTo>
                    <a:pt x="-115" y="-527"/>
                  </a:lnTo>
                  <a:close/>
                </a:path>
              </a:pathLst>
            </a:custGeom>
            <a:solidFill>
              <a:srgbClr val="FFFFFF"/>
            </a:solidFill>
            <a:ln w="55749"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FB1327D-19BC-42FC-A332-91C85C595A9A}"/>
                </a:ext>
              </a:extLst>
            </p:cNvPr>
            <p:cNvSpPr/>
            <p:nvPr/>
          </p:nvSpPr>
          <p:spPr>
            <a:xfrm>
              <a:off x="503260" y="7815160"/>
              <a:ext cx="1883350" cy="209695"/>
            </a:xfrm>
            <a:custGeom>
              <a:avLst/>
              <a:gdLst>
                <a:gd name="connsiteX0" fmla="*/ -115 w 1883350"/>
                <a:gd name="connsiteY0" fmla="*/ -527 h 209695"/>
                <a:gd name="connsiteX1" fmla="*/ -115 w 1883350"/>
                <a:gd name="connsiteY1" fmla="*/ 209169 h 209695"/>
                <a:gd name="connsiteX2" fmla="*/ 1728753 w 1883350"/>
                <a:gd name="connsiteY2" fmla="*/ 209169 h 209695"/>
                <a:gd name="connsiteX3" fmla="*/ 1883235 w 1883350"/>
                <a:gd name="connsiteY3" fmla="*/ -527 h 209695"/>
              </a:gdLst>
              <a:ahLst/>
              <a:cxnLst>
                <a:cxn ang="0">
                  <a:pos x="connsiteX0" y="connsiteY0"/>
                </a:cxn>
                <a:cxn ang="0">
                  <a:pos x="connsiteX1" y="connsiteY1"/>
                </a:cxn>
                <a:cxn ang="0">
                  <a:pos x="connsiteX2" y="connsiteY2"/>
                </a:cxn>
                <a:cxn ang="0">
                  <a:pos x="connsiteX3" y="connsiteY3"/>
                </a:cxn>
              </a:cxnLst>
              <a:rect l="l" t="t" r="r" b="b"/>
              <a:pathLst>
                <a:path w="1883350" h="209695">
                  <a:moveTo>
                    <a:pt x="-115" y="-527"/>
                  </a:moveTo>
                  <a:lnTo>
                    <a:pt x="-115" y="209169"/>
                  </a:lnTo>
                  <a:lnTo>
                    <a:pt x="1728753" y="209169"/>
                  </a:lnTo>
                  <a:cubicBezTo>
                    <a:pt x="1821889" y="209169"/>
                    <a:pt x="1883235" y="113801"/>
                    <a:pt x="1883235" y="-527"/>
                  </a:cubicBezTo>
                  <a:close/>
                </a:path>
              </a:pathLst>
            </a:custGeom>
            <a:solidFill>
              <a:srgbClr val="FFFFFF"/>
            </a:solidFill>
            <a:ln w="55749"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264181F-A8D6-42CF-B701-080D4636346C}"/>
                </a:ext>
              </a:extLst>
            </p:cNvPr>
            <p:cNvSpPr/>
            <p:nvPr/>
          </p:nvSpPr>
          <p:spPr>
            <a:xfrm>
              <a:off x="712398" y="6477996"/>
              <a:ext cx="1467317" cy="139983"/>
            </a:xfrm>
            <a:custGeom>
              <a:avLst/>
              <a:gdLst>
                <a:gd name="connsiteX0" fmla="*/ 1467192 w 1467317"/>
                <a:gd name="connsiteY0" fmla="*/ -523 h 139983"/>
                <a:gd name="connsiteX1" fmla="*/ -115 w 1467317"/>
                <a:gd name="connsiteY1" fmla="*/ -523 h 139983"/>
                <a:gd name="connsiteX2" fmla="*/ -115 w 1467317"/>
                <a:gd name="connsiteY2" fmla="*/ 139456 h 139983"/>
                <a:gd name="connsiteX3" fmla="*/ 1329440 w 1467317"/>
                <a:gd name="connsiteY3" fmla="*/ 139456 h 139983"/>
                <a:gd name="connsiteX4" fmla="*/ 1467202 w 1467317"/>
                <a:gd name="connsiteY4" fmla="*/ 600 h 139983"/>
                <a:gd name="connsiteX5" fmla="*/ 1467192 w 1467317"/>
                <a:gd name="connsiteY5" fmla="*/ -527 h 139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7317" h="139983">
                  <a:moveTo>
                    <a:pt x="1467192" y="-523"/>
                  </a:moveTo>
                  <a:lnTo>
                    <a:pt x="-115" y="-523"/>
                  </a:lnTo>
                  <a:lnTo>
                    <a:pt x="-115" y="139456"/>
                  </a:lnTo>
                  <a:lnTo>
                    <a:pt x="1329440" y="139456"/>
                  </a:lnTo>
                  <a:cubicBezTo>
                    <a:pt x="1405826" y="139153"/>
                    <a:pt x="1467504" y="76988"/>
                    <a:pt x="1467202" y="600"/>
                  </a:cubicBezTo>
                  <a:cubicBezTo>
                    <a:pt x="1467200" y="226"/>
                    <a:pt x="1467197" y="-152"/>
                    <a:pt x="1467192" y="-527"/>
                  </a:cubicBezTo>
                  <a:close/>
                </a:path>
              </a:pathLst>
            </a:custGeom>
            <a:solidFill>
              <a:srgbClr val="FFFFFF"/>
            </a:solidFill>
            <a:ln w="55749"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CD6551C3-331B-4F00-8F09-06FE7E711DF8}"/>
                </a:ext>
              </a:extLst>
            </p:cNvPr>
            <p:cNvSpPr/>
            <p:nvPr/>
          </p:nvSpPr>
          <p:spPr>
            <a:xfrm>
              <a:off x="851469" y="6757404"/>
              <a:ext cx="211013" cy="698798"/>
            </a:xfrm>
            <a:custGeom>
              <a:avLst/>
              <a:gdLst>
                <a:gd name="connsiteX0" fmla="*/ 210491 w 211013"/>
                <a:gd name="connsiteY0" fmla="*/ 698272 h 698798"/>
                <a:gd name="connsiteX1" fmla="*/ 210491 w 211013"/>
                <a:gd name="connsiteY1" fmla="*/ 130535 h 698798"/>
                <a:gd name="connsiteX2" fmla="*/ 99176 w 211013"/>
                <a:gd name="connsiteY2" fmla="*/ -506 h 698798"/>
                <a:gd name="connsiteX3" fmla="*/ 98951 w 211013"/>
                <a:gd name="connsiteY3" fmla="*/ -523 h 698798"/>
                <a:gd name="connsiteX4" fmla="*/ 238 w 211013"/>
                <a:gd name="connsiteY4" fmla="*/ -527 h 698798"/>
                <a:gd name="connsiteX5" fmla="*/ 238 w 211013"/>
                <a:gd name="connsiteY5" fmla="*/ 537655 h 698798"/>
                <a:gd name="connsiteX6" fmla="*/ 135759 w 211013"/>
                <a:gd name="connsiteY6" fmla="*/ 698272 h 69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013" h="698798">
                  <a:moveTo>
                    <a:pt x="210491" y="698272"/>
                  </a:moveTo>
                  <a:lnTo>
                    <a:pt x="210491" y="130535"/>
                  </a:lnTo>
                  <a:cubicBezTo>
                    <a:pt x="215938" y="63610"/>
                    <a:pt x="166101" y="4940"/>
                    <a:pt x="99176" y="-506"/>
                  </a:cubicBezTo>
                  <a:cubicBezTo>
                    <a:pt x="99101" y="-513"/>
                    <a:pt x="99026" y="-520"/>
                    <a:pt x="98951" y="-523"/>
                  </a:cubicBezTo>
                  <a:lnTo>
                    <a:pt x="238" y="-527"/>
                  </a:lnTo>
                  <a:lnTo>
                    <a:pt x="238" y="537655"/>
                  </a:lnTo>
                  <a:cubicBezTo>
                    <a:pt x="-5292" y="618978"/>
                    <a:pt x="54664" y="690038"/>
                    <a:pt x="135759" y="698272"/>
                  </a:cubicBezTo>
                  <a:close/>
                </a:path>
              </a:pathLst>
            </a:custGeom>
            <a:solidFill>
              <a:srgbClr val="FFFFFF"/>
            </a:solidFill>
            <a:ln w="55749"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04ED09CA-2EF2-4AFD-B473-E8E85B382D9E}"/>
                </a:ext>
              </a:extLst>
            </p:cNvPr>
            <p:cNvSpPr/>
            <p:nvPr/>
          </p:nvSpPr>
          <p:spPr>
            <a:xfrm>
              <a:off x="1271770" y="6757406"/>
              <a:ext cx="279407" cy="698239"/>
            </a:xfrm>
            <a:custGeom>
              <a:avLst/>
              <a:gdLst>
                <a:gd name="connsiteX0" fmla="*/ 0 w 279407"/>
                <a:gd name="connsiteY0" fmla="*/ 0 h 698239"/>
                <a:gd name="connsiteX1" fmla="*/ 279407 w 279407"/>
                <a:gd name="connsiteY1" fmla="*/ 0 h 698239"/>
                <a:gd name="connsiteX2" fmla="*/ 279407 w 279407"/>
                <a:gd name="connsiteY2" fmla="*/ 698240 h 698239"/>
                <a:gd name="connsiteX3" fmla="*/ 0 w 279407"/>
                <a:gd name="connsiteY3" fmla="*/ 698240 h 698239"/>
              </a:gdLst>
              <a:ahLst/>
              <a:cxnLst>
                <a:cxn ang="0">
                  <a:pos x="connsiteX0" y="connsiteY0"/>
                </a:cxn>
                <a:cxn ang="0">
                  <a:pos x="connsiteX1" y="connsiteY1"/>
                </a:cxn>
                <a:cxn ang="0">
                  <a:pos x="connsiteX2" y="connsiteY2"/>
                </a:cxn>
                <a:cxn ang="0">
                  <a:pos x="connsiteX3" y="connsiteY3"/>
                </a:cxn>
              </a:cxnLst>
              <a:rect l="l" t="t" r="r" b="b"/>
              <a:pathLst>
                <a:path w="279407" h="698239">
                  <a:moveTo>
                    <a:pt x="0" y="0"/>
                  </a:moveTo>
                  <a:lnTo>
                    <a:pt x="279407" y="0"/>
                  </a:lnTo>
                  <a:lnTo>
                    <a:pt x="279407" y="698240"/>
                  </a:lnTo>
                  <a:lnTo>
                    <a:pt x="0" y="698240"/>
                  </a:lnTo>
                  <a:close/>
                </a:path>
              </a:pathLst>
            </a:custGeom>
            <a:solidFill>
              <a:srgbClr val="FFFFFF"/>
            </a:solidFill>
            <a:ln w="55749"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5CF916D6-AE9C-4161-AB60-042FF918DF11}"/>
                </a:ext>
              </a:extLst>
            </p:cNvPr>
            <p:cNvSpPr/>
            <p:nvPr/>
          </p:nvSpPr>
          <p:spPr>
            <a:xfrm>
              <a:off x="1757526" y="6757064"/>
              <a:ext cx="282195" cy="700533"/>
            </a:xfrm>
            <a:custGeom>
              <a:avLst/>
              <a:gdLst>
                <a:gd name="connsiteX0" fmla="*/ 282080 w 282195"/>
                <a:gd name="connsiteY0" fmla="*/ 553054 h 700533"/>
                <a:gd name="connsiteX1" fmla="*/ 282080 w 282195"/>
                <a:gd name="connsiteY1" fmla="*/ -186 h 700533"/>
                <a:gd name="connsiteX2" fmla="*/ 114771 w 282195"/>
                <a:gd name="connsiteY2" fmla="*/ -186 h 700533"/>
                <a:gd name="connsiteX3" fmla="*/ 140 w 282195"/>
                <a:gd name="connsiteY3" fmla="*/ 97554 h 700533"/>
                <a:gd name="connsiteX4" fmla="*/ -115 w 282195"/>
                <a:gd name="connsiteY4" fmla="*/ 101874 h 700533"/>
                <a:gd name="connsiteX5" fmla="*/ -115 w 282195"/>
                <a:gd name="connsiteY5" fmla="*/ 698613 h 700533"/>
                <a:gd name="connsiteX6" fmla="*/ 114771 w 282195"/>
                <a:gd name="connsiteY6" fmla="*/ 698613 h 700533"/>
                <a:gd name="connsiteX7" fmla="*/ 280705 w 282195"/>
                <a:gd name="connsiteY7" fmla="*/ 572834 h 700533"/>
                <a:gd name="connsiteX8" fmla="*/ 282080 w 282195"/>
                <a:gd name="connsiteY8" fmla="*/ 553054 h 700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195" h="700533">
                  <a:moveTo>
                    <a:pt x="282080" y="553054"/>
                  </a:moveTo>
                  <a:lnTo>
                    <a:pt x="282080" y="-186"/>
                  </a:lnTo>
                  <a:lnTo>
                    <a:pt x="114771" y="-186"/>
                  </a:lnTo>
                  <a:cubicBezTo>
                    <a:pt x="56126" y="-4849"/>
                    <a:pt x="4804" y="38908"/>
                    <a:pt x="140" y="97554"/>
                  </a:cubicBezTo>
                  <a:cubicBezTo>
                    <a:pt x="26" y="98991"/>
                    <a:pt x="-59" y="100431"/>
                    <a:pt x="-115" y="101874"/>
                  </a:cubicBezTo>
                  <a:lnTo>
                    <a:pt x="-115" y="698613"/>
                  </a:lnTo>
                  <a:lnTo>
                    <a:pt x="114771" y="698613"/>
                  </a:lnTo>
                  <a:cubicBezTo>
                    <a:pt x="195325" y="709703"/>
                    <a:pt x="269617" y="653388"/>
                    <a:pt x="280705" y="572834"/>
                  </a:cubicBezTo>
                  <a:cubicBezTo>
                    <a:pt x="281607" y="566278"/>
                    <a:pt x="282067" y="559671"/>
                    <a:pt x="282080" y="553054"/>
                  </a:cubicBezTo>
                  <a:close/>
                </a:path>
              </a:pathLst>
            </a:custGeom>
            <a:solidFill>
              <a:srgbClr val="FFFFFF"/>
            </a:solidFill>
            <a:ln w="55749"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7114DBFF-B9D8-4AF4-996D-91AD98E601EB}"/>
                </a:ext>
              </a:extLst>
            </p:cNvPr>
            <p:cNvSpPr/>
            <p:nvPr/>
          </p:nvSpPr>
          <p:spPr>
            <a:xfrm>
              <a:off x="503260" y="5639776"/>
              <a:ext cx="1885582" cy="766884"/>
            </a:xfrm>
            <a:custGeom>
              <a:avLst/>
              <a:gdLst>
                <a:gd name="connsiteX0" fmla="*/ 1885467 w 1885582"/>
                <a:gd name="connsiteY0" fmla="*/ 647520 h 766884"/>
                <a:gd name="connsiteX1" fmla="*/ 942954 w 1885582"/>
                <a:gd name="connsiteY1" fmla="*/ -527 h 766884"/>
                <a:gd name="connsiteX2" fmla="*/ 14942 w 1885582"/>
                <a:gd name="connsiteY2" fmla="*/ 630789 h 766884"/>
                <a:gd name="connsiteX3" fmla="*/ -115 w 1885582"/>
                <a:gd name="connsiteY3" fmla="*/ 660904 h 766884"/>
                <a:gd name="connsiteX4" fmla="*/ -115 w 1885582"/>
                <a:gd name="connsiteY4" fmla="*/ 766310 h 766884"/>
                <a:gd name="connsiteX5" fmla="*/ 1762215 w 1885582"/>
                <a:gd name="connsiteY5" fmla="*/ 766310 h 766884"/>
                <a:gd name="connsiteX6" fmla="*/ 1885424 w 1885582"/>
                <a:gd name="connsiteY6" fmla="*/ 649804 h 766884"/>
                <a:gd name="connsiteX7" fmla="*/ 1885466 w 1885582"/>
                <a:gd name="connsiteY7" fmla="*/ 647520 h 76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5582" h="766884">
                  <a:moveTo>
                    <a:pt x="1885467" y="647520"/>
                  </a:moveTo>
                  <a:lnTo>
                    <a:pt x="942954" y="-527"/>
                  </a:lnTo>
                  <a:lnTo>
                    <a:pt x="14942" y="630789"/>
                  </a:lnTo>
                  <a:cubicBezTo>
                    <a:pt x="-115" y="630789"/>
                    <a:pt x="-115" y="645848"/>
                    <a:pt x="-115" y="660904"/>
                  </a:cubicBezTo>
                  <a:lnTo>
                    <a:pt x="-115" y="766310"/>
                  </a:lnTo>
                  <a:lnTo>
                    <a:pt x="1762215" y="766310"/>
                  </a:lnTo>
                  <a:cubicBezTo>
                    <a:pt x="1828411" y="768162"/>
                    <a:pt x="1883573" y="716000"/>
                    <a:pt x="1885424" y="649804"/>
                  </a:cubicBezTo>
                  <a:cubicBezTo>
                    <a:pt x="1885445" y="649045"/>
                    <a:pt x="1885459" y="648282"/>
                    <a:pt x="1885466" y="647520"/>
                  </a:cubicBezTo>
                  <a:close/>
                </a:path>
              </a:pathLst>
            </a:custGeom>
            <a:solidFill>
              <a:srgbClr val="FFFFFF"/>
            </a:solidFill>
            <a:ln w="55749"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0A116D0-1B0E-4072-917B-4A1DDDDE0907}"/>
                </a:ext>
              </a:extLst>
            </p:cNvPr>
            <p:cNvSpPr/>
            <p:nvPr/>
          </p:nvSpPr>
          <p:spPr>
            <a:xfrm>
              <a:off x="922093" y="6827118"/>
              <a:ext cx="69712" cy="558814"/>
            </a:xfrm>
            <a:custGeom>
              <a:avLst/>
              <a:gdLst>
                <a:gd name="connsiteX0" fmla="*/ 0 w 69712"/>
                <a:gd name="connsiteY0" fmla="*/ 0 h 558814"/>
                <a:gd name="connsiteX1" fmla="*/ 69712 w 69712"/>
                <a:gd name="connsiteY1" fmla="*/ 0 h 558814"/>
                <a:gd name="connsiteX2" fmla="*/ 69712 w 69712"/>
                <a:gd name="connsiteY2" fmla="*/ 558815 h 558814"/>
                <a:gd name="connsiteX3" fmla="*/ 0 w 69712"/>
                <a:gd name="connsiteY3" fmla="*/ 558815 h 558814"/>
              </a:gdLst>
              <a:ahLst/>
              <a:cxnLst>
                <a:cxn ang="0">
                  <a:pos x="connsiteX0" y="connsiteY0"/>
                </a:cxn>
                <a:cxn ang="0">
                  <a:pos x="connsiteX1" y="connsiteY1"/>
                </a:cxn>
                <a:cxn ang="0">
                  <a:pos x="connsiteX2" y="connsiteY2"/>
                </a:cxn>
                <a:cxn ang="0">
                  <a:pos x="connsiteX3" y="connsiteY3"/>
                </a:cxn>
              </a:cxnLst>
              <a:rect l="l" t="t" r="r" b="b"/>
              <a:pathLst>
                <a:path w="69712" h="558814">
                  <a:moveTo>
                    <a:pt x="0" y="0"/>
                  </a:moveTo>
                  <a:lnTo>
                    <a:pt x="69712" y="0"/>
                  </a:lnTo>
                  <a:lnTo>
                    <a:pt x="69712" y="558815"/>
                  </a:lnTo>
                  <a:lnTo>
                    <a:pt x="0" y="558815"/>
                  </a:lnTo>
                  <a:close/>
                </a:path>
              </a:pathLst>
            </a:custGeom>
            <a:solidFill>
              <a:schemeClr val="accent1"/>
            </a:solidFill>
            <a:ln w="55749"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756AFD82-4120-408C-9FD6-E05C5EC81531}"/>
                </a:ext>
              </a:extLst>
            </p:cNvPr>
            <p:cNvSpPr/>
            <p:nvPr/>
          </p:nvSpPr>
          <p:spPr>
            <a:xfrm>
              <a:off x="1341483" y="6827118"/>
              <a:ext cx="69712" cy="558814"/>
            </a:xfrm>
            <a:custGeom>
              <a:avLst/>
              <a:gdLst>
                <a:gd name="connsiteX0" fmla="*/ 0 w 69712"/>
                <a:gd name="connsiteY0" fmla="*/ 0 h 558814"/>
                <a:gd name="connsiteX1" fmla="*/ 69712 w 69712"/>
                <a:gd name="connsiteY1" fmla="*/ 0 h 558814"/>
                <a:gd name="connsiteX2" fmla="*/ 69712 w 69712"/>
                <a:gd name="connsiteY2" fmla="*/ 558815 h 558814"/>
                <a:gd name="connsiteX3" fmla="*/ 0 w 69712"/>
                <a:gd name="connsiteY3" fmla="*/ 558815 h 558814"/>
              </a:gdLst>
              <a:ahLst/>
              <a:cxnLst>
                <a:cxn ang="0">
                  <a:pos x="connsiteX0" y="connsiteY0"/>
                </a:cxn>
                <a:cxn ang="0">
                  <a:pos x="connsiteX1" y="connsiteY1"/>
                </a:cxn>
                <a:cxn ang="0">
                  <a:pos x="connsiteX2" y="connsiteY2"/>
                </a:cxn>
                <a:cxn ang="0">
                  <a:pos x="connsiteX3" y="connsiteY3"/>
                </a:cxn>
              </a:cxnLst>
              <a:rect l="l" t="t" r="r" b="b"/>
              <a:pathLst>
                <a:path w="69712" h="558814">
                  <a:moveTo>
                    <a:pt x="0" y="0"/>
                  </a:moveTo>
                  <a:lnTo>
                    <a:pt x="69712" y="0"/>
                  </a:lnTo>
                  <a:lnTo>
                    <a:pt x="69712" y="558815"/>
                  </a:lnTo>
                  <a:lnTo>
                    <a:pt x="0" y="558815"/>
                  </a:lnTo>
                  <a:close/>
                </a:path>
              </a:pathLst>
            </a:custGeom>
            <a:solidFill>
              <a:schemeClr val="accent1"/>
            </a:solidFill>
            <a:ln w="55749"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244D68FF-A232-4C73-ADDA-BA4ADE809034}"/>
                </a:ext>
              </a:extLst>
            </p:cNvPr>
            <p:cNvSpPr/>
            <p:nvPr/>
          </p:nvSpPr>
          <p:spPr>
            <a:xfrm>
              <a:off x="1830585" y="6827118"/>
              <a:ext cx="69712" cy="558814"/>
            </a:xfrm>
            <a:custGeom>
              <a:avLst/>
              <a:gdLst>
                <a:gd name="connsiteX0" fmla="*/ 0 w 69712"/>
                <a:gd name="connsiteY0" fmla="*/ 0 h 558814"/>
                <a:gd name="connsiteX1" fmla="*/ 69712 w 69712"/>
                <a:gd name="connsiteY1" fmla="*/ 0 h 558814"/>
                <a:gd name="connsiteX2" fmla="*/ 69712 w 69712"/>
                <a:gd name="connsiteY2" fmla="*/ 558815 h 558814"/>
                <a:gd name="connsiteX3" fmla="*/ 0 w 69712"/>
                <a:gd name="connsiteY3" fmla="*/ 558815 h 558814"/>
              </a:gdLst>
              <a:ahLst/>
              <a:cxnLst>
                <a:cxn ang="0">
                  <a:pos x="connsiteX0" y="connsiteY0"/>
                </a:cxn>
                <a:cxn ang="0">
                  <a:pos x="connsiteX1" y="connsiteY1"/>
                </a:cxn>
                <a:cxn ang="0">
                  <a:pos x="connsiteX2" y="connsiteY2"/>
                </a:cxn>
                <a:cxn ang="0">
                  <a:pos x="connsiteX3" y="connsiteY3"/>
                </a:cxn>
              </a:cxnLst>
              <a:rect l="l" t="t" r="r" b="b"/>
              <a:pathLst>
                <a:path w="69712" h="558814">
                  <a:moveTo>
                    <a:pt x="0" y="0"/>
                  </a:moveTo>
                  <a:lnTo>
                    <a:pt x="69712" y="0"/>
                  </a:lnTo>
                  <a:lnTo>
                    <a:pt x="69712" y="558815"/>
                  </a:lnTo>
                  <a:lnTo>
                    <a:pt x="0" y="558815"/>
                  </a:lnTo>
                  <a:close/>
                </a:path>
              </a:pathLst>
            </a:custGeom>
            <a:solidFill>
              <a:schemeClr val="accent1"/>
            </a:solidFill>
            <a:ln w="55749" cap="flat">
              <a:noFill/>
              <a:prstDash val="solid"/>
              <a:miter/>
            </a:ln>
          </p:spPr>
          <p:txBody>
            <a:bodyPr rtlCol="0" anchor="ctr"/>
            <a:lstStyle/>
            <a:p>
              <a:endParaRPr lang="en-US"/>
            </a:p>
          </p:txBody>
        </p:sp>
      </p:grpSp>
      <p:sp>
        <p:nvSpPr>
          <p:cNvPr id="223" name="Rectangle 222">
            <a:extLst>
              <a:ext uri="{FF2B5EF4-FFF2-40B4-BE49-F238E27FC236}">
                <a16:creationId xmlns:a16="http://schemas.microsoft.com/office/drawing/2014/main" id="{53D9AFFA-ABAA-4844-8C1C-267ED3640A84}"/>
              </a:ext>
              <a:ext uri="{C183D7F6-B498-43B3-948B-1728B52AA6E4}">
                <adec:decorative xmlns:adec="http://schemas.microsoft.com/office/drawing/2017/decorative" val="1"/>
              </a:ext>
            </a:extLst>
          </p:cNvPr>
          <p:cNvSpPr/>
          <p:nvPr/>
        </p:nvSpPr>
        <p:spPr>
          <a:xfrm>
            <a:off x="404813" y="504000"/>
            <a:ext cx="1325684"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SECTORS</a:t>
            </a:r>
          </a:p>
        </p:txBody>
      </p:sp>
    </p:spTree>
    <p:extLst>
      <p:ext uri="{BB962C8B-B14F-4D97-AF65-F5344CB8AC3E}">
        <p14:creationId xmlns:p14="http://schemas.microsoft.com/office/powerpoint/2010/main" val="37560829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6" name="Groupe 295">
            <a:extLst>
              <a:ext uri="{FF2B5EF4-FFF2-40B4-BE49-F238E27FC236}">
                <a16:creationId xmlns:a16="http://schemas.microsoft.com/office/drawing/2014/main" id="{481C96C1-FB20-4837-BB29-B6AF795A0A4B}"/>
              </a:ext>
              <a:ext uri="{C183D7F6-B498-43B3-948B-1728B52AA6E4}">
                <adec:decorative xmlns:adec="http://schemas.microsoft.com/office/drawing/2017/decorative" val="1"/>
              </a:ext>
            </a:extLst>
          </p:cNvPr>
          <p:cNvGrpSpPr>
            <a:grpSpLocks noChangeAspect="1"/>
          </p:cNvGrpSpPr>
          <p:nvPr/>
        </p:nvGrpSpPr>
        <p:grpSpPr>
          <a:xfrm>
            <a:off x="4176208" y="2451438"/>
            <a:ext cx="677736" cy="633600"/>
            <a:chOff x="6584950" y="3248025"/>
            <a:chExt cx="1096962" cy="1025525"/>
          </a:xfrm>
        </p:grpSpPr>
        <p:sp>
          <p:nvSpPr>
            <p:cNvPr id="297" name="Freeform 287">
              <a:extLst>
                <a:ext uri="{FF2B5EF4-FFF2-40B4-BE49-F238E27FC236}">
                  <a16:creationId xmlns:a16="http://schemas.microsoft.com/office/drawing/2014/main" id="{F8A66736-9D16-43D5-AE01-4CBFA33827E3}"/>
                </a:ext>
              </a:extLst>
            </p:cNvPr>
            <p:cNvSpPr>
              <a:spLocks/>
            </p:cNvSpPr>
            <p:nvPr/>
          </p:nvSpPr>
          <p:spPr bwMode="auto">
            <a:xfrm>
              <a:off x="6584950" y="3248025"/>
              <a:ext cx="1096962" cy="1025525"/>
            </a:xfrm>
            <a:custGeom>
              <a:avLst/>
              <a:gdLst>
                <a:gd name="T0" fmla="*/ 41 w 292"/>
                <a:gd name="T1" fmla="*/ 214 h 273"/>
                <a:gd name="T2" fmla="*/ 70 w 292"/>
                <a:gd name="T3" fmla="*/ 40 h 273"/>
                <a:gd name="T4" fmla="*/ 251 w 292"/>
                <a:gd name="T5" fmla="*/ 65 h 273"/>
                <a:gd name="T6" fmla="*/ 218 w 292"/>
                <a:gd name="T7" fmla="*/ 231 h 273"/>
                <a:gd name="T8" fmla="*/ 41 w 292"/>
                <a:gd name="T9" fmla="*/ 214 h 273"/>
              </a:gdLst>
              <a:ahLst/>
              <a:cxnLst>
                <a:cxn ang="0">
                  <a:pos x="T0" y="T1"/>
                </a:cxn>
                <a:cxn ang="0">
                  <a:pos x="T2" y="T3"/>
                </a:cxn>
                <a:cxn ang="0">
                  <a:pos x="T4" y="T5"/>
                </a:cxn>
                <a:cxn ang="0">
                  <a:pos x="T6" y="T7"/>
                </a:cxn>
                <a:cxn ang="0">
                  <a:pos x="T8" y="T9"/>
                </a:cxn>
              </a:cxnLst>
              <a:rect l="0" t="0" r="r" b="b"/>
              <a:pathLst>
                <a:path w="292" h="273">
                  <a:moveTo>
                    <a:pt x="41" y="214"/>
                  </a:moveTo>
                  <a:cubicBezTo>
                    <a:pt x="0" y="158"/>
                    <a:pt x="13" y="82"/>
                    <a:pt x="70" y="40"/>
                  </a:cubicBezTo>
                  <a:cubicBezTo>
                    <a:pt x="127" y="0"/>
                    <a:pt x="208" y="11"/>
                    <a:pt x="251" y="65"/>
                  </a:cubicBezTo>
                  <a:cubicBezTo>
                    <a:pt x="292" y="121"/>
                    <a:pt x="274" y="191"/>
                    <a:pt x="218" y="231"/>
                  </a:cubicBezTo>
                  <a:cubicBezTo>
                    <a:pt x="160" y="273"/>
                    <a:pt x="84" y="268"/>
                    <a:pt x="41" y="214"/>
                  </a:cubicBezTo>
                </a:path>
              </a:pathLst>
            </a:cu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8" name="Groupe 297">
              <a:extLst>
                <a:ext uri="{FF2B5EF4-FFF2-40B4-BE49-F238E27FC236}">
                  <a16:creationId xmlns:a16="http://schemas.microsoft.com/office/drawing/2014/main" id="{68210534-0A67-4DE0-89DE-1AF1E0B7E6A0}"/>
                </a:ext>
              </a:extLst>
            </p:cNvPr>
            <p:cNvGrpSpPr/>
            <p:nvPr/>
          </p:nvGrpSpPr>
          <p:grpSpPr>
            <a:xfrm>
              <a:off x="6843712" y="3457575"/>
              <a:ext cx="571500" cy="612775"/>
              <a:chOff x="6843712" y="3457575"/>
              <a:chExt cx="571500" cy="612775"/>
            </a:xfrm>
          </p:grpSpPr>
          <p:sp>
            <p:nvSpPr>
              <p:cNvPr id="299" name="Freeform 288">
                <a:extLst>
                  <a:ext uri="{FF2B5EF4-FFF2-40B4-BE49-F238E27FC236}">
                    <a16:creationId xmlns:a16="http://schemas.microsoft.com/office/drawing/2014/main" id="{5F091788-A4B2-43BA-8762-2E21B29D7872}"/>
                  </a:ext>
                </a:extLst>
              </p:cNvPr>
              <p:cNvSpPr>
                <a:spLocks/>
              </p:cNvSpPr>
              <p:nvPr/>
            </p:nvSpPr>
            <p:spPr bwMode="auto">
              <a:xfrm>
                <a:off x="6896100" y="3957637"/>
                <a:ext cx="390525" cy="112713"/>
              </a:xfrm>
              <a:custGeom>
                <a:avLst/>
                <a:gdLst>
                  <a:gd name="T0" fmla="*/ 7 w 104"/>
                  <a:gd name="T1" fmla="*/ 0 h 30"/>
                  <a:gd name="T2" fmla="*/ 97 w 104"/>
                  <a:gd name="T3" fmla="*/ 0 h 30"/>
                  <a:gd name="T4" fmla="*/ 104 w 104"/>
                  <a:gd name="T5" fmla="*/ 7 h 30"/>
                  <a:gd name="T6" fmla="*/ 81 w 104"/>
                  <a:gd name="T7" fmla="*/ 30 h 30"/>
                  <a:gd name="T8" fmla="*/ 0 w 104"/>
                  <a:gd name="T9" fmla="*/ 30 h 30"/>
                  <a:gd name="T10" fmla="*/ 1 w 104"/>
                  <a:gd name="T11" fmla="*/ 26 h 30"/>
                  <a:gd name="T12" fmla="*/ 0 w 104"/>
                  <a:gd name="T13" fmla="*/ 18 h 30"/>
                  <a:gd name="T14" fmla="*/ 0 w 104"/>
                  <a:gd name="T15" fmla="*/ 11 h 30"/>
                  <a:gd name="T16" fmla="*/ 0 w 104"/>
                  <a:gd name="T17" fmla="*/ 7 h 30"/>
                  <a:gd name="T18" fmla="*/ 7 w 104"/>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0">
                    <a:moveTo>
                      <a:pt x="7" y="0"/>
                    </a:moveTo>
                    <a:cubicBezTo>
                      <a:pt x="97" y="0"/>
                      <a:pt x="97" y="0"/>
                      <a:pt x="97" y="0"/>
                    </a:cubicBezTo>
                    <a:cubicBezTo>
                      <a:pt x="101" y="0"/>
                      <a:pt x="104" y="3"/>
                      <a:pt x="104" y="7"/>
                    </a:cubicBezTo>
                    <a:cubicBezTo>
                      <a:pt x="104" y="20"/>
                      <a:pt x="94" y="30"/>
                      <a:pt x="81" y="30"/>
                    </a:cubicBezTo>
                    <a:cubicBezTo>
                      <a:pt x="0" y="30"/>
                      <a:pt x="0" y="30"/>
                      <a:pt x="0" y="30"/>
                    </a:cubicBezTo>
                    <a:cubicBezTo>
                      <a:pt x="0" y="29"/>
                      <a:pt x="1" y="27"/>
                      <a:pt x="1" y="26"/>
                    </a:cubicBezTo>
                    <a:cubicBezTo>
                      <a:pt x="1" y="23"/>
                      <a:pt x="0" y="21"/>
                      <a:pt x="0" y="18"/>
                    </a:cubicBezTo>
                    <a:cubicBezTo>
                      <a:pt x="0" y="16"/>
                      <a:pt x="0" y="14"/>
                      <a:pt x="0" y="11"/>
                    </a:cubicBezTo>
                    <a:cubicBezTo>
                      <a:pt x="0" y="7"/>
                      <a:pt x="0" y="7"/>
                      <a:pt x="0" y="7"/>
                    </a:cubicBezTo>
                    <a:cubicBezTo>
                      <a:pt x="0" y="3"/>
                      <a:pt x="4"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89">
                <a:extLst>
                  <a:ext uri="{FF2B5EF4-FFF2-40B4-BE49-F238E27FC236}">
                    <a16:creationId xmlns:a16="http://schemas.microsoft.com/office/drawing/2014/main" id="{199E4A29-04AD-436F-856B-07053C52E162}"/>
                  </a:ext>
                </a:extLst>
              </p:cNvPr>
              <p:cNvSpPr>
                <a:spLocks/>
              </p:cNvSpPr>
              <p:nvPr/>
            </p:nvSpPr>
            <p:spPr bwMode="auto">
              <a:xfrm>
                <a:off x="7058025" y="3457575"/>
                <a:ext cx="338137" cy="252413"/>
              </a:xfrm>
              <a:custGeom>
                <a:avLst/>
                <a:gdLst>
                  <a:gd name="T0" fmla="*/ 33 w 90"/>
                  <a:gd name="T1" fmla="*/ 14 h 67"/>
                  <a:gd name="T2" fmla="*/ 46 w 90"/>
                  <a:gd name="T3" fmla="*/ 14 h 67"/>
                  <a:gd name="T4" fmla="*/ 61 w 90"/>
                  <a:gd name="T5" fmla="*/ 0 h 67"/>
                  <a:gd name="T6" fmla="*/ 90 w 90"/>
                  <a:gd name="T7" fmla="*/ 13 h 67"/>
                  <a:gd name="T8" fmla="*/ 89 w 90"/>
                  <a:gd name="T9" fmla="*/ 16 h 67"/>
                  <a:gd name="T10" fmla="*/ 82 w 90"/>
                  <a:gd name="T11" fmla="*/ 16 h 67"/>
                  <a:gd name="T12" fmla="*/ 63 w 90"/>
                  <a:gd name="T13" fmla="*/ 12 h 67"/>
                  <a:gd name="T14" fmla="*/ 54 w 90"/>
                  <a:gd name="T15" fmla="*/ 21 h 67"/>
                  <a:gd name="T16" fmla="*/ 54 w 90"/>
                  <a:gd name="T17" fmla="*/ 46 h 67"/>
                  <a:gd name="T18" fmla="*/ 63 w 90"/>
                  <a:gd name="T19" fmla="*/ 55 h 67"/>
                  <a:gd name="T20" fmla="*/ 82 w 90"/>
                  <a:gd name="T21" fmla="*/ 51 h 67"/>
                  <a:gd name="T22" fmla="*/ 89 w 90"/>
                  <a:gd name="T23" fmla="*/ 51 h 67"/>
                  <a:gd name="T24" fmla="*/ 90 w 90"/>
                  <a:gd name="T25" fmla="*/ 54 h 67"/>
                  <a:gd name="T26" fmla="*/ 61 w 90"/>
                  <a:gd name="T27" fmla="*/ 67 h 67"/>
                  <a:gd name="T28" fmla="*/ 46 w 90"/>
                  <a:gd name="T29" fmla="*/ 53 h 67"/>
                  <a:gd name="T30" fmla="*/ 33 w 90"/>
                  <a:gd name="T31" fmla="*/ 53 h 67"/>
                  <a:gd name="T32" fmla="*/ 30 w 90"/>
                  <a:gd name="T33" fmla="*/ 50 h 67"/>
                  <a:gd name="T34" fmla="*/ 29 w 90"/>
                  <a:gd name="T35" fmla="*/ 47 h 67"/>
                  <a:gd name="T36" fmla="*/ 0 w 90"/>
                  <a:gd name="T37" fmla="*/ 47 h 67"/>
                  <a:gd name="T38" fmla="*/ 3 w 90"/>
                  <a:gd name="T39" fmla="*/ 33 h 67"/>
                  <a:gd name="T40" fmla="*/ 0 w 90"/>
                  <a:gd name="T41" fmla="*/ 20 h 67"/>
                  <a:gd name="T42" fmla="*/ 29 w 90"/>
                  <a:gd name="T43" fmla="*/ 20 h 67"/>
                  <a:gd name="T44" fmla="*/ 30 w 90"/>
                  <a:gd name="T45" fmla="*/ 17 h 67"/>
                  <a:gd name="T46" fmla="*/ 33 w 90"/>
                  <a:gd name="T47"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67">
                    <a:moveTo>
                      <a:pt x="33" y="14"/>
                    </a:moveTo>
                    <a:cubicBezTo>
                      <a:pt x="46" y="14"/>
                      <a:pt x="46" y="14"/>
                      <a:pt x="46" y="14"/>
                    </a:cubicBezTo>
                    <a:cubicBezTo>
                      <a:pt x="61" y="0"/>
                      <a:pt x="61" y="0"/>
                      <a:pt x="61" y="0"/>
                    </a:cubicBezTo>
                    <a:cubicBezTo>
                      <a:pt x="90" y="13"/>
                      <a:pt x="90" y="13"/>
                      <a:pt x="90" y="13"/>
                    </a:cubicBezTo>
                    <a:cubicBezTo>
                      <a:pt x="89" y="16"/>
                      <a:pt x="89" y="16"/>
                      <a:pt x="89" y="16"/>
                    </a:cubicBezTo>
                    <a:cubicBezTo>
                      <a:pt x="82" y="16"/>
                      <a:pt x="82" y="16"/>
                      <a:pt x="82" y="16"/>
                    </a:cubicBezTo>
                    <a:cubicBezTo>
                      <a:pt x="63" y="12"/>
                      <a:pt x="63" y="12"/>
                      <a:pt x="63" y="12"/>
                    </a:cubicBezTo>
                    <a:cubicBezTo>
                      <a:pt x="54" y="21"/>
                      <a:pt x="54" y="21"/>
                      <a:pt x="54" y="21"/>
                    </a:cubicBezTo>
                    <a:cubicBezTo>
                      <a:pt x="54" y="46"/>
                      <a:pt x="54" y="46"/>
                      <a:pt x="54" y="46"/>
                    </a:cubicBezTo>
                    <a:cubicBezTo>
                      <a:pt x="63" y="55"/>
                      <a:pt x="63" y="55"/>
                      <a:pt x="63" y="55"/>
                    </a:cubicBezTo>
                    <a:cubicBezTo>
                      <a:pt x="82" y="51"/>
                      <a:pt x="82" y="51"/>
                      <a:pt x="82" y="51"/>
                    </a:cubicBezTo>
                    <a:cubicBezTo>
                      <a:pt x="89" y="51"/>
                      <a:pt x="89" y="51"/>
                      <a:pt x="89" y="51"/>
                    </a:cubicBezTo>
                    <a:cubicBezTo>
                      <a:pt x="90" y="54"/>
                      <a:pt x="90" y="54"/>
                      <a:pt x="90" y="54"/>
                    </a:cubicBezTo>
                    <a:cubicBezTo>
                      <a:pt x="61" y="67"/>
                      <a:pt x="61" y="67"/>
                      <a:pt x="61" y="67"/>
                    </a:cubicBezTo>
                    <a:cubicBezTo>
                      <a:pt x="46" y="53"/>
                      <a:pt x="46" y="53"/>
                      <a:pt x="46" y="53"/>
                    </a:cubicBezTo>
                    <a:cubicBezTo>
                      <a:pt x="33" y="53"/>
                      <a:pt x="33" y="53"/>
                      <a:pt x="33" y="53"/>
                    </a:cubicBezTo>
                    <a:cubicBezTo>
                      <a:pt x="31" y="53"/>
                      <a:pt x="30" y="51"/>
                      <a:pt x="30" y="50"/>
                    </a:cubicBezTo>
                    <a:cubicBezTo>
                      <a:pt x="29" y="47"/>
                      <a:pt x="29" y="47"/>
                      <a:pt x="29" y="47"/>
                    </a:cubicBezTo>
                    <a:cubicBezTo>
                      <a:pt x="0" y="47"/>
                      <a:pt x="0" y="47"/>
                      <a:pt x="0" y="47"/>
                    </a:cubicBezTo>
                    <a:cubicBezTo>
                      <a:pt x="2" y="43"/>
                      <a:pt x="3" y="38"/>
                      <a:pt x="3" y="33"/>
                    </a:cubicBezTo>
                    <a:cubicBezTo>
                      <a:pt x="3" y="28"/>
                      <a:pt x="2" y="24"/>
                      <a:pt x="0" y="20"/>
                    </a:cubicBezTo>
                    <a:cubicBezTo>
                      <a:pt x="29" y="20"/>
                      <a:pt x="29" y="20"/>
                      <a:pt x="29" y="20"/>
                    </a:cubicBezTo>
                    <a:cubicBezTo>
                      <a:pt x="30" y="17"/>
                      <a:pt x="30" y="17"/>
                      <a:pt x="30" y="17"/>
                    </a:cubicBezTo>
                    <a:cubicBezTo>
                      <a:pt x="30" y="15"/>
                      <a:pt x="31" y="14"/>
                      <a:pt x="33"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290">
                <a:extLst>
                  <a:ext uri="{FF2B5EF4-FFF2-40B4-BE49-F238E27FC236}">
                    <a16:creationId xmlns:a16="http://schemas.microsoft.com/office/drawing/2014/main" id="{D8269836-1865-4A16-B22B-BA7AEC1D2BE2}"/>
                  </a:ext>
                </a:extLst>
              </p:cNvPr>
              <p:cNvSpPr>
                <a:spLocks/>
              </p:cNvSpPr>
              <p:nvPr/>
            </p:nvSpPr>
            <p:spPr bwMode="auto">
              <a:xfrm>
                <a:off x="7321550" y="3536950"/>
                <a:ext cx="93662" cy="93663"/>
              </a:xfrm>
              <a:custGeom>
                <a:avLst/>
                <a:gdLst>
                  <a:gd name="T0" fmla="*/ 0 w 59"/>
                  <a:gd name="T1" fmla="*/ 0 h 59"/>
                  <a:gd name="T2" fmla="*/ 0 w 59"/>
                  <a:gd name="T3" fmla="*/ 59 h 59"/>
                  <a:gd name="T4" fmla="*/ 59 w 59"/>
                  <a:gd name="T5" fmla="*/ 59 h 59"/>
                  <a:gd name="T6" fmla="*/ 59 w 59"/>
                  <a:gd name="T7" fmla="*/ 0 h 59"/>
                  <a:gd name="T8" fmla="*/ 0 w 59"/>
                  <a:gd name="T9" fmla="*/ 0 h 59"/>
                  <a:gd name="T10" fmla="*/ 0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0" y="0"/>
                    </a:moveTo>
                    <a:lnTo>
                      <a:pt x="0" y="59"/>
                    </a:lnTo>
                    <a:lnTo>
                      <a:pt x="59" y="59"/>
                    </a:lnTo>
                    <a:lnTo>
                      <a:pt x="59" y="0"/>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291">
                <a:extLst>
                  <a:ext uri="{FF2B5EF4-FFF2-40B4-BE49-F238E27FC236}">
                    <a16:creationId xmlns:a16="http://schemas.microsoft.com/office/drawing/2014/main" id="{9CB5DDB9-84A6-49BA-AAC2-8F328F0D0D0C}"/>
                  </a:ext>
                </a:extLst>
              </p:cNvPr>
              <p:cNvSpPr>
                <a:spLocks noChangeArrowheads="1"/>
              </p:cNvSpPr>
              <p:nvPr/>
            </p:nvSpPr>
            <p:spPr bwMode="auto">
              <a:xfrm>
                <a:off x="6843712" y="3481387"/>
                <a:ext cx="211137" cy="20637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292">
                <a:extLst>
                  <a:ext uri="{FF2B5EF4-FFF2-40B4-BE49-F238E27FC236}">
                    <a16:creationId xmlns:a16="http://schemas.microsoft.com/office/drawing/2014/main" id="{411B160F-313C-419E-B927-C4800D3A7D71}"/>
                  </a:ext>
                </a:extLst>
              </p:cNvPr>
              <p:cNvSpPr>
                <a:spLocks/>
              </p:cNvSpPr>
              <p:nvPr/>
            </p:nvSpPr>
            <p:spPr bwMode="auto">
              <a:xfrm>
                <a:off x="6915150" y="3649662"/>
                <a:ext cx="269875" cy="288925"/>
              </a:xfrm>
              <a:custGeom>
                <a:avLst/>
                <a:gdLst>
                  <a:gd name="T0" fmla="*/ 19 w 72"/>
                  <a:gd name="T1" fmla="*/ 77 h 77"/>
                  <a:gd name="T2" fmla="*/ 72 w 72"/>
                  <a:gd name="T3" fmla="*/ 77 h 77"/>
                  <a:gd name="T4" fmla="*/ 36 w 72"/>
                  <a:gd name="T5" fmla="*/ 0 h 77"/>
                  <a:gd name="T6" fmla="*/ 9 w 72"/>
                  <a:gd name="T7" fmla="*/ 14 h 77"/>
                  <a:gd name="T8" fmla="*/ 0 w 72"/>
                  <a:gd name="T9" fmla="*/ 13 h 77"/>
                  <a:gd name="T10" fmla="*/ 19 w 72"/>
                  <a:gd name="T11" fmla="*/ 77 h 77"/>
                </a:gdLst>
                <a:ahLst/>
                <a:cxnLst>
                  <a:cxn ang="0">
                    <a:pos x="T0" y="T1"/>
                  </a:cxn>
                  <a:cxn ang="0">
                    <a:pos x="T2" y="T3"/>
                  </a:cxn>
                  <a:cxn ang="0">
                    <a:pos x="T4" y="T5"/>
                  </a:cxn>
                  <a:cxn ang="0">
                    <a:pos x="T6" y="T7"/>
                  </a:cxn>
                  <a:cxn ang="0">
                    <a:pos x="T8" y="T9"/>
                  </a:cxn>
                  <a:cxn ang="0">
                    <a:pos x="T10" y="T11"/>
                  </a:cxn>
                </a:cxnLst>
                <a:rect l="0" t="0" r="r" b="b"/>
                <a:pathLst>
                  <a:path w="72" h="77">
                    <a:moveTo>
                      <a:pt x="19" y="77"/>
                    </a:moveTo>
                    <a:cubicBezTo>
                      <a:pt x="72" y="77"/>
                      <a:pt x="72" y="77"/>
                      <a:pt x="72" y="77"/>
                    </a:cubicBezTo>
                    <a:cubicBezTo>
                      <a:pt x="36" y="0"/>
                      <a:pt x="36" y="0"/>
                      <a:pt x="36" y="0"/>
                    </a:cubicBezTo>
                    <a:cubicBezTo>
                      <a:pt x="30" y="9"/>
                      <a:pt x="20" y="14"/>
                      <a:pt x="9" y="14"/>
                    </a:cubicBezTo>
                    <a:cubicBezTo>
                      <a:pt x="6" y="14"/>
                      <a:pt x="3" y="14"/>
                      <a:pt x="0" y="13"/>
                    </a:cubicBezTo>
                    <a:cubicBezTo>
                      <a:pt x="19" y="77"/>
                      <a:pt x="19" y="77"/>
                      <a:pt x="19" y="7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Oval 293">
                <a:extLst>
                  <a:ext uri="{FF2B5EF4-FFF2-40B4-BE49-F238E27FC236}">
                    <a16:creationId xmlns:a16="http://schemas.microsoft.com/office/drawing/2014/main" id="{3D14D4FE-4B78-4C5D-AD58-F7D094F76E04}"/>
                  </a:ext>
                </a:extLst>
              </p:cNvPr>
              <p:cNvSpPr>
                <a:spLocks noChangeArrowheads="1"/>
              </p:cNvSpPr>
              <p:nvPr/>
            </p:nvSpPr>
            <p:spPr bwMode="auto">
              <a:xfrm>
                <a:off x="6896100" y="3533775"/>
                <a:ext cx="106362" cy="10160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5" name="Group 94">
            <a:extLst>
              <a:ext uri="{FF2B5EF4-FFF2-40B4-BE49-F238E27FC236}">
                <a16:creationId xmlns:a16="http://schemas.microsoft.com/office/drawing/2014/main" id="{620A0AAC-B468-4DD5-B25C-9F7F0D011E31}"/>
              </a:ext>
              <a:ext uri="{C183D7F6-B498-43B3-948B-1728B52AA6E4}">
                <adec:decorative xmlns:adec="http://schemas.microsoft.com/office/drawing/2017/decorative" val="1"/>
              </a:ext>
            </a:extLst>
          </p:cNvPr>
          <p:cNvGrpSpPr/>
          <p:nvPr/>
        </p:nvGrpSpPr>
        <p:grpSpPr>
          <a:xfrm>
            <a:off x="1293678" y="1229161"/>
            <a:ext cx="676475" cy="633600"/>
            <a:chOff x="1293678" y="1115088"/>
            <a:chExt cx="676475" cy="633600"/>
          </a:xfrm>
        </p:grpSpPr>
        <p:sp>
          <p:nvSpPr>
            <p:cNvPr id="356" name="Freeform 174">
              <a:extLst>
                <a:ext uri="{FF2B5EF4-FFF2-40B4-BE49-F238E27FC236}">
                  <a16:creationId xmlns:a16="http://schemas.microsoft.com/office/drawing/2014/main" id="{CF46CE68-BBCA-40FE-9C81-ED4556726727}"/>
                </a:ext>
              </a:extLst>
            </p:cNvPr>
            <p:cNvSpPr>
              <a:spLocks/>
            </p:cNvSpPr>
            <p:nvPr/>
          </p:nvSpPr>
          <p:spPr bwMode="auto">
            <a:xfrm>
              <a:off x="1293678" y="1115088"/>
              <a:ext cx="676475" cy="633600"/>
            </a:xfrm>
            <a:custGeom>
              <a:avLst/>
              <a:gdLst>
                <a:gd name="T0" fmla="*/ 33 w 233"/>
                <a:gd name="T1" fmla="*/ 171 h 218"/>
                <a:gd name="T2" fmla="*/ 56 w 233"/>
                <a:gd name="T3" fmla="*/ 33 h 218"/>
                <a:gd name="T4" fmla="*/ 200 w 233"/>
                <a:gd name="T5" fmla="*/ 53 h 218"/>
                <a:gd name="T6" fmla="*/ 173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10"/>
                    <a:pt x="200" y="53"/>
                  </a:cubicBezTo>
                  <a:cubicBezTo>
                    <a:pt x="233" y="97"/>
                    <a:pt x="219" y="153"/>
                    <a:pt x="173" y="186"/>
                  </a:cubicBezTo>
                  <a:cubicBezTo>
                    <a:pt x="128" y="218"/>
                    <a:pt x="67" y="215"/>
                    <a:pt x="33"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694" name="Groupe 693">
              <a:extLst>
                <a:ext uri="{FF2B5EF4-FFF2-40B4-BE49-F238E27FC236}">
                  <a16:creationId xmlns:a16="http://schemas.microsoft.com/office/drawing/2014/main" id="{D1D131A4-9957-415A-97AD-8CEA4BE9116C}"/>
                </a:ext>
              </a:extLst>
            </p:cNvPr>
            <p:cNvGrpSpPr>
              <a:grpSpLocks noChangeAspect="1"/>
            </p:cNvGrpSpPr>
            <p:nvPr/>
          </p:nvGrpSpPr>
          <p:grpSpPr>
            <a:xfrm>
              <a:off x="1435898" y="1257688"/>
              <a:ext cx="373348" cy="339297"/>
              <a:chOff x="7740651" y="1963738"/>
              <a:chExt cx="487363" cy="442913"/>
            </a:xfrm>
            <a:solidFill>
              <a:schemeClr val="bg1"/>
            </a:solidFill>
          </p:grpSpPr>
          <p:sp>
            <p:nvSpPr>
              <p:cNvPr id="695" name="Freeform 148">
                <a:extLst>
                  <a:ext uri="{FF2B5EF4-FFF2-40B4-BE49-F238E27FC236}">
                    <a16:creationId xmlns:a16="http://schemas.microsoft.com/office/drawing/2014/main" id="{D3B6DFB7-F6CC-4167-8028-695C0C01EBDA}"/>
                  </a:ext>
                </a:extLst>
              </p:cNvPr>
              <p:cNvSpPr>
                <a:spLocks/>
              </p:cNvSpPr>
              <p:nvPr/>
            </p:nvSpPr>
            <p:spPr bwMode="auto">
              <a:xfrm>
                <a:off x="8024813" y="2220913"/>
                <a:ext cx="161925" cy="158750"/>
              </a:xfrm>
              <a:custGeom>
                <a:avLst/>
                <a:gdLst>
                  <a:gd name="T0" fmla="*/ 45 w 48"/>
                  <a:gd name="T1" fmla="*/ 41 h 47"/>
                  <a:gd name="T2" fmla="*/ 25 w 48"/>
                  <a:gd name="T3" fmla="*/ 41 h 47"/>
                  <a:gd name="T4" fmla="*/ 13 w 48"/>
                  <a:gd name="T5" fmla="*/ 29 h 47"/>
                  <a:gd name="T6" fmla="*/ 13 w 48"/>
                  <a:gd name="T7" fmla="*/ 19 h 47"/>
                  <a:gd name="T8" fmla="*/ 19 w 48"/>
                  <a:gd name="T9" fmla="*/ 19 h 47"/>
                  <a:gd name="T10" fmla="*/ 10 w 48"/>
                  <a:gd name="T11" fmla="*/ 0 h 47"/>
                  <a:gd name="T12" fmla="*/ 0 w 48"/>
                  <a:gd name="T13" fmla="*/ 19 h 47"/>
                  <a:gd name="T14" fmla="*/ 6 w 48"/>
                  <a:gd name="T15" fmla="*/ 19 h 47"/>
                  <a:gd name="T16" fmla="*/ 6 w 48"/>
                  <a:gd name="T17" fmla="*/ 29 h 47"/>
                  <a:gd name="T18" fmla="*/ 25 w 48"/>
                  <a:gd name="T19" fmla="*/ 47 h 47"/>
                  <a:gd name="T20" fmla="*/ 45 w 48"/>
                  <a:gd name="T21" fmla="*/ 47 h 47"/>
                  <a:gd name="T22" fmla="*/ 48 w 48"/>
                  <a:gd name="T23" fmla="*/ 44 h 47"/>
                  <a:gd name="T24" fmla="*/ 45 w 48"/>
                  <a:gd name="T25"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7">
                    <a:moveTo>
                      <a:pt x="45" y="41"/>
                    </a:moveTo>
                    <a:cubicBezTo>
                      <a:pt x="25" y="41"/>
                      <a:pt x="25" y="41"/>
                      <a:pt x="25" y="41"/>
                    </a:cubicBezTo>
                    <a:cubicBezTo>
                      <a:pt x="18" y="41"/>
                      <a:pt x="13" y="36"/>
                      <a:pt x="13" y="29"/>
                    </a:cubicBezTo>
                    <a:cubicBezTo>
                      <a:pt x="13" y="19"/>
                      <a:pt x="13" y="19"/>
                      <a:pt x="13" y="19"/>
                    </a:cubicBezTo>
                    <a:cubicBezTo>
                      <a:pt x="19" y="19"/>
                      <a:pt x="19" y="19"/>
                      <a:pt x="19" y="19"/>
                    </a:cubicBezTo>
                    <a:cubicBezTo>
                      <a:pt x="10" y="0"/>
                      <a:pt x="10" y="0"/>
                      <a:pt x="10" y="0"/>
                    </a:cubicBezTo>
                    <a:cubicBezTo>
                      <a:pt x="0" y="19"/>
                      <a:pt x="0" y="19"/>
                      <a:pt x="0" y="19"/>
                    </a:cubicBezTo>
                    <a:cubicBezTo>
                      <a:pt x="6" y="19"/>
                      <a:pt x="6" y="19"/>
                      <a:pt x="6" y="19"/>
                    </a:cubicBezTo>
                    <a:cubicBezTo>
                      <a:pt x="6" y="29"/>
                      <a:pt x="6" y="29"/>
                      <a:pt x="6" y="29"/>
                    </a:cubicBezTo>
                    <a:cubicBezTo>
                      <a:pt x="6" y="39"/>
                      <a:pt x="15" y="47"/>
                      <a:pt x="25" y="47"/>
                    </a:cubicBezTo>
                    <a:cubicBezTo>
                      <a:pt x="45" y="47"/>
                      <a:pt x="45" y="47"/>
                      <a:pt x="45" y="47"/>
                    </a:cubicBezTo>
                    <a:cubicBezTo>
                      <a:pt x="47" y="47"/>
                      <a:pt x="48" y="46"/>
                      <a:pt x="48" y="44"/>
                    </a:cubicBezTo>
                    <a:cubicBezTo>
                      <a:pt x="48" y="43"/>
                      <a:pt x="47" y="41"/>
                      <a:pt x="4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49">
                <a:extLst>
                  <a:ext uri="{FF2B5EF4-FFF2-40B4-BE49-F238E27FC236}">
                    <a16:creationId xmlns:a16="http://schemas.microsoft.com/office/drawing/2014/main" id="{3CBC40C8-4CE1-4DEF-8998-D6CE42E68BDE}"/>
                  </a:ext>
                </a:extLst>
              </p:cNvPr>
              <p:cNvSpPr>
                <a:spLocks/>
              </p:cNvSpPr>
              <p:nvPr/>
            </p:nvSpPr>
            <p:spPr bwMode="auto">
              <a:xfrm>
                <a:off x="7764463" y="2220913"/>
                <a:ext cx="161925" cy="158750"/>
              </a:xfrm>
              <a:custGeom>
                <a:avLst/>
                <a:gdLst>
                  <a:gd name="T0" fmla="*/ 29 w 48"/>
                  <a:gd name="T1" fmla="*/ 19 h 47"/>
                  <a:gd name="T2" fmla="*/ 36 w 48"/>
                  <a:gd name="T3" fmla="*/ 19 h 47"/>
                  <a:gd name="T4" fmla="*/ 36 w 48"/>
                  <a:gd name="T5" fmla="*/ 29 h 47"/>
                  <a:gd name="T6" fmla="*/ 23 w 48"/>
                  <a:gd name="T7" fmla="*/ 41 h 47"/>
                  <a:gd name="T8" fmla="*/ 3 w 48"/>
                  <a:gd name="T9" fmla="*/ 41 h 47"/>
                  <a:gd name="T10" fmla="*/ 0 w 48"/>
                  <a:gd name="T11" fmla="*/ 44 h 47"/>
                  <a:gd name="T12" fmla="*/ 3 w 48"/>
                  <a:gd name="T13" fmla="*/ 47 h 47"/>
                  <a:gd name="T14" fmla="*/ 23 w 48"/>
                  <a:gd name="T15" fmla="*/ 47 h 47"/>
                  <a:gd name="T16" fmla="*/ 42 w 48"/>
                  <a:gd name="T17" fmla="*/ 29 h 47"/>
                  <a:gd name="T18" fmla="*/ 42 w 48"/>
                  <a:gd name="T19" fmla="*/ 19 h 47"/>
                  <a:gd name="T20" fmla="*/ 48 w 48"/>
                  <a:gd name="T21" fmla="*/ 19 h 47"/>
                  <a:gd name="T22" fmla="*/ 39 w 48"/>
                  <a:gd name="T23" fmla="*/ 0 h 47"/>
                  <a:gd name="T24" fmla="*/ 29 w 48"/>
                  <a:gd name="T25" fmla="*/ 19 h 47"/>
                  <a:gd name="T26" fmla="*/ 29 w 48"/>
                  <a:gd name="T2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7">
                    <a:moveTo>
                      <a:pt x="29" y="19"/>
                    </a:moveTo>
                    <a:cubicBezTo>
                      <a:pt x="36" y="19"/>
                      <a:pt x="36" y="19"/>
                      <a:pt x="36" y="19"/>
                    </a:cubicBezTo>
                    <a:cubicBezTo>
                      <a:pt x="36" y="29"/>
                      <a:pt x="36" y="29"/>
                      <a:pt x="36" y="29"/>
                    </a:cubicBezTo>
                    <a:cubicBezTo>
                      <a:pt x="36" y="36"/>
                      <a:pt x="30" y="41"/>
                      <a:pt x="23" y="41"/>
                    </a:cubicBezTo>
                    <a:cubicBezTo>
                      <a:pt x="3" y="41"/>
                      <a:pt x="3" y="41"/>
                      <a:pt x="3" y="41"/>
                    </a:cubicBezTo>
                    <a:cubicBezTo>
                      <a:pt x="2" y="41"/>
                      <a:pt x="0" y="43"/>
                      <a:pt x="0" y="44"/>
                    </a:cubicBezTo>
                    <a:cubicBezTo>
                      <a:pt x="0" y="46"/>
                      <a:pt x="2" y="47"/>
                      <a:pt x="3" y="47"/>
                    </a:cubicBezTo>
                    <a:cubicBezTo>
                      <a:pt x="23" y="47"/>
                      <a:pt x="23" y="47"/>
                      <a:pt x="23" y="47"/>
                    </a:cubicBezTo>
                    <a:cubicBezTo>
                      <a:pt x="33" y="47"/>
                      <a:pt x="42" y="39"/>
                      <a:pt x="42" y="29"/>
                    </a:cubicBezTo>
                    <a:cubicBezTo>
                      <a:pt x="42" y="19"/>
                      <a:pt x="42" y="19"/>
                      <a:pt x="42" y="19"/>
                    </a:cubicBezTo>
                    <a:cubicBezTo>
                      <a:pt x="48" y="19"/>
                      <a:pt x="48" y="19"/>
                      <a:pt x="48" y="19"/>
                    </a:cubicBezTo>
                    <a:cubicBezTo>
                      <a:pt x="39" y="0"/>
                      <a:pt x="39" y="0"/>
                      <a:pt x="39" y="0"/>
                    </a:cubicBezTo>
                    <a:cubicBezTo>
                      <a:pt x="29" y="19"/>
                      <a:pt x="29" y="19"/>
                      <a:pt x="29" y="19"/>
                    </a:cubicBezTo>
                    <a:cubicBezTo>
                      <a:pt x="29" y="19"/>
                      <a:pt x="29" y="19"/>
                      <a:pt x="2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50">
                <a:extLst>
                  <a:ext uri="{FF2B5EF4-FFF2-40B4-BE49-F238E27FC236}">
                    <a16:creationId xmlns:a16="http://schemas.microsoft.com/office/drawing/2014/main" id="{A0777EBD-E640-45E7-AAE0-94DDEBDEEFFF}"/>
                  </a:ext>
                </a:extLst>
              </p:cNvPr>
              <p:cNvSpPr>
                <a:spLocks/>
              </p:cNvSpPr>
              <p:nvPr/>
            </p:nvSpPr>
            <p:spPr bwMode="auto">
              <a:xfrm>
                <a:off x="7943851" y="2220913"/>
                <a:ext cx="63500" cy="185738"/>
              </a:xfrm>
              <a:custGeom>
                <a:avLst/>
                <a:gdLst>
                  <a:gd name="T0" fmla="*/ 0 w 19"/>
                  <a:gd name="T1" fmla="*/ 19 h 55"/>
                  <a:gd name="T2" fmla="*/ 7 w 19"/>
                  <a:gd name="T3" fmla="*/ 19 h 55"/>
                  <a:gd name="T4" fmla="*/ 7 w 19"/>
                  <a:gd name="T5" fmla="*/ 52 h 55"/>
                  <a:gd name="T6" fmla="*/ 10 w 19"/>
                  <a:gd name="T7" fmla="*/ 55 h 55"/>
                  <a:gd name="T8" fmla="*/ 13 w 19"/>
                  <a:gd name="T9" fmla="*/ 52 h 55"/>
                  <a:gd name="T10" fmla="*/ 13 w 19"/>
                  <a:gd name="T11" fmla="*/ 19 h 55"/>
                  <a:gd name="T12" fmla="*/ 19 w 19"/>
                  <a:gd name="T13" fmla="*/ 19 h 55"/>
                  <a:gd name="T14" fmla="*/ 10 w 19"/>
                  <a:gd name="T15" fmla="*/ 0 h 55"/>
                  <a:gd name="T16" fmla="*/ 0 w 19"/>
                  <a:gd name="T17" fmla="*/ 19 h 55"/>
                  <a:gd name="T18" fmla="*/ 0 w 19"/>
                  <a:gd name="T1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55">
                    <a:moveTo>
                      <a:pt x="0" y="19"/>
                    </a:moveTo>
                    <a:cubicBezTo>
                      <a:pt x="7" y="19"/>
                      <a:pt x="7" y="19"/>
                      <a:pt x="7" y="19"/>
                    </a:cubicBezTo>
                    <a:cubicBezTo>
                      <a:pt x="7" y="52"/>
                      <a:pt x="7" y="52"/>
                      <a:pt x="7" y="52"/>
                    </a:cubicBezTo>
                    <a:cubicBezTo>
                      <a:pt x="7" y="54"/>
                      <a:pt x="8" y="55"/>
                      <a:pt x="10" y="55"/>
                    </a:cubicBezTo>
                    <a:cubicBezTo>
                      <a:pt x="11" y="55"/>
                      <a:pt x="13" y="54"/>
                      <a:pt x="13" y="52"/>
                    </a:cubicBezTo>
                    <a:cubicBezTo>
                      <a:pt x="13" y="19"/>
                      <a:pt x="13" y="19"/>
                      <a:pt x="13" y="19"/>
                    </a:cubicBezTo>
                    <a:cubicBezTo>
                      <a:pt x="19" y="19"/>
                      <a:pt x="19" y="19"/>
                      <a:pt x="19" y="19"/>
                    </a:cubicBezTo>
                    <a:cubicBezTo>
                      <a:pt x="10" y="0"/>
                      <a:pt x="10" y="0"/>
                      <a:pt x="10" y="0"/>
                    </a:cubicBezTo>
                    <a:cubicBezTo>
                      <a:pt x="0" y="19"/>
                      <a:pt x="0" y="19"/>
                      <a:pt x="0" y="19"/>
                    </a:cubicBezTo>
                    <a:cubicBezTo>
                      <a:pt x="0" y="19"/>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51">
                <a:extLst>
                  <a:ext uri="{FF2B5EF4-FFF2-40B4-BE49-F238E27FC236}">
                    <a16:creationId xmlns:a16="http://schemas.microsoft.com/office/drawing/2014/main" id="{72649389-922E-4B4C-B625-54709EDC6F4E}"/>
                  </a:ext>
                </a:extLst>
              </p:cNvPr>
              <p:cNvSpPr>
                <a:spLocks/>
              </p:cNvSpPr>
              <p:nvPr/>
            </p:nvSpPr>
            <p:spPr bwMode="auto">
              <a:xfrm>
                <a:off x="7740651" y="1963738"/>
                <a:ext cx="487363" cy="301625"/>
              </a:xfrm>
              <a:custGeom>
                <a:avLst/>
                <a:gdLst>
                  <a:gd name="T0" fmla="*/ 123 w 144"/>
                  <a:gd name="T1" fmla="*/ 35 h 89"/>
                  <a:gd name="T2" fmla="*/ 85 w 144"/>
                  <a:gd name="T3" fmla="*/ 0 h 89"/>
                  <a:gd name="T4" fmla="*/ 51 w 144"/>
                  <a:gd name="T5" fmla="*/ 19 h 89"/>
                  <a:gd name="T6" fmla="*/ 42 w 144"/>
                  <a:gd name="T7" fmla="*/ 17 h 89"/>
                  <a:gd name="T8" fmla="*/ 22 w 144"/>
                  <a:gd name="T9" fmla="*/ 35 h 89"/>
                  <a:gd name="T10" fmla="*/ 0 w 144"/>
                  <a:gd name="T11" fmla="*/ 62 h 89"/>
                  <a:gd name="T12" fmla="*/ 29 w 144"/>
                  <a:gd name="T13" fmla="*/ 89 h 89"/>
                  <a:gd name="T14" fmla="*/ 36 w 144"/>
                  <a:gd name="T15" fmla="*/ 89 h 89"/>
                  <a:gd name="T16" fmla="*/ 46 w 144"/>
                  <a:gd name="T17" fmla="*/ 69 h 89"/>
                  <a:gd name="T18" fmla="*/ 56 w 144"/>
                  <a:gd name="T19" fmla="*/ 89 h 89"/>
                  <a:gd name="T20" fmla="*/ 60 w 144"/>
                  <a:gd name="T21" fmla="*/ 89 h 89"/>
                  <a:gd name="T22" fmla="*/ 70 w 144"/>
                  <a:gd name="T23" fmla="*/ 69 h 89"/>
                  <a:gd name="T24" fmla="*/ 80 w 144"/>
                  <a:gd name="T25" fmla="*/ 89 h 89"/>
                  <a:gd name="T26" fmla="*/ 84 w 144"/>
                  <a:gd name="T27" fmla="*/ 89 h 89"/>
                  <a:gd name="T28" fmla="*/ 94 w 144"/>
                  <a:gd name="T29" fmla="*/ 69 h 89"/>
                  <a:gd name="T30" fmla="*/ 104 w 144"/>
                  <a:gd name="T31" fmla="*/ 89 h 89"/>
                  <a:gd name="T32" fmla="*/ 115 w 144"/>
                  <a:gd name="T33" fmla="*/ 89 h 89"/>
                  <a:gd name="T34" fmla="*/ 144 w 144"/>
                  <a:gd name="T35" fmla="*/ 62 h 89"/>
                  <a:gd name="T36" fmla="*/ 123 w 144"/>
                  <a:gd name="T37" fmla="*/ 3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89">
                    <a:moveTo>
                      <a:pt x="123" y="35"/>
                    </a:moveTo>
                    <a:cubicBezTo>
                      <a:pt x="123" y="16"/>
                      <a:pt x="106" y="0"/>
                      <a:pt x="85" y="0"/>
                    </a:cubicBezTo>
                    <a:cubicBezTo>
                      <a:pt x="71" y="0"/>
                      <a:pt x="57" y="7"/>
                      <a:pt x="51" y="19"/>
                    </a:cubicBezTo>
                    <a:cubicBezTo>
                      <a:pt x="48" y="18"/>
                      <a:pt x="45" y="17"/>
                      <a:pt x="42" y="17"/>
                    </a:cubicBezTo>
                    <a:cubicBezTo>
                      <a:pt x="32" y="17"/>
                      <a:pt x="23" y="25"/>
                      <a:pt x="22" y="35"/>
                    </a:cubicBezTo>
                    <a:cubicBezTo>
                      <a:pt x="9" y="38"/>
                      <a:pt x="0" y="49"/>
                      <a:pt x="0" y="62"/>
                    </a:cubicBezTo>
                    <a:cubicBezTo>
                      <a:pt x="0" y="77"/>
                      <a:pt x="13" y="89"/>
                      <a:pt x="29" y="89"/>
                    </a:cubicBezTo>
                    <a:cubicBezTo>
                      <a:pt x="36" y="89"/>
                      <a:pt x="36" y="89"/>
                      <a:pt x="36" y="89"/>
                    </a:cubicBezTo>
                    <a:cubicBezTo>
                      <a:pt x="46" y="69"/>
                      <a:pt x="46" y="69"/>
                      <a:pt x="46" y="69"/>
                    </a:cubicBezTo>
                    <a:cubicBezTo>
                      <a:pt x="56" y="89"/>
                      <a:pt x="56" y="89"/>
                      <a:pt x="56" y="89"/>
                    </a:cubicBezTo>
                    <a:cubicBezTo>
                      <a:pt x="60" y="89"/>
                      <a:pt x="60" y="89"/>
                      <a:pt x="60" y="89"/>
                    </a:cubicBezTo>
                    <a:cubicBezTo>
                      <a:pt x="70" y="69"/>
                      <a:pt x="70" y="69"/>
                      <a:pt x="70" y="69"/>
                    </a:cubicBezTo>
                    <a:cubicBezTo>
                      <a:pt x="80" y="89"/>
                      <a:pt x="80" y="89"/>
                      <a:pt x="80" y="89"/>
                    </a:cubicBezTo>
                    <a:cubicBezTo>
                      <a:pt x="84" y="89"/>
                      <a:pt x="84" y="89"/>
                      <a:pt x="84" y="89"/>
                    </a:cubicBezTo>
                    <a:cubicBezTo>
                      <a:pt x="94" y="69"/>
                      <a:pt x="94" y="69"/>
                      <a:pt x="94" y="69"/>
                    </a:cubicBezTo>
                    <a:cubicBezTo>
                      <a:pt x="104" y="89"/>
                      <a:pt x="104" y="89"/>
                      <a:pt x="104" y="89"/>
                    </a:cubicBezTo>
                    <a:cubicBezTo>
                      <a:pt x="115" y="89"/>
                      <a:pt x="115" y="89"/>
                      <a:pt x="115" y="89"/>
                    </a:cubicBezTo>
                    <a:cubicBezTo>
                      <a:pt x="131" y="89"/>
                      <a:pt x="144" y="77"/>
                      <a:pt x="144" y="62"/>
                    </a:cubicBezTo>
                    <a:cubicBezTo>
                      <a:pt x="144" y="49"/>
                      <a:pt x="135" y="39"/>
                      <a:pt x="12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1" name="Group 20">
            <a:extLst>
              <a:ext uri="{FF2B5EF4-FFF2-40B4-BE49-F238E27FC236}">
                <a16:creationId xmlns:a16="http://schemas.microsoft.com/office/drawing/2014/main" id="{FA96091C-273E-4351-8C77-48CD95914DB4}"/>
              </a:ext>
              <a:ext uri="{C183D7F6-B498-43B3-948B-1728B52AA6E4}">
                <adec:decorative xmlns:adec="http://schemas.microsoft.com/office/drawing/2017/decorative" val="1"/>
              </a:ext>
            </a:extLst>
          </p:cNvPr>
          <p:cNvGrpSpPr>
            <a:grpSpLocks noChangeAspect="1"/>
          </p:cNvGrpSpPr>
          <p:nvPr/>
        </p:nvGrpSpPr>
        <p:grpSpPr>
          <a:xfrm>
            <a:off x="3179612" y="2451438"/>
            <a:ext cx="673673" cy="633600"/>
            <a:chOff x="7004023" y="2546904"/>
            <a:chExt cx="765538" cy="720000"/>
          </a:xfrm>
        </p:grpSpPr>
        <p:sp>
          <p:nvSpPr>
            <p:cNvPr id="700" name="Freeform 415">
              <a:extLst>
                <a:ext uri="{FF2B5EF4-FFF2-40B4-BE49-F238E27FC236}">
                  <a16:creationId xmlns:a16="http://schemas.microsoft.com/office/drawing/2014/main" id="{FACF9DD1-C7E2-40F4-A9B0-A47120246FCF}"/>
                </a:ext>
              </a:extLst>
            </p:cNvPr>
            <p:cNvSpPr>
              <a:spLocks/>
            </p:cNvSpPr>
            <p:nvPr/>
          </p:nvSpPr>
          <p:spPr bwMode="auto">
            <a:xfrm>
              <a:off x="7004023" y="2546904"/>
              <a:ext cx="765538" cy="720000"/>
            </a:xfrm>
            <a:custGeom>
              <a:avLst/>
              <a:gdLst>
                <a:gd name="T0" fmla="*/ 37 w 263"/>
                <a:gd name="T1" fmla="*/ 194 h 247"/>
                <a:gd name="T2" fmla="*/ 64 w 263"/>
                <a:gd name="T3" fmla="*/ 37 h 247"/>
                <a:gd name="T4" fmla="*/ 226 w 263"/>
                <a:gd name="T5" fmla="*/ 60 h 247"/>
                <a:gd name="T6" fmla="*/ 196 w 263"/>
                <a:gd name="T7" fmla="*/ 210 h 247"/>
                <a:gd name="T8" fmla="*/ 37 w 263"/>
                <a:gd name="T9" fmla="*/ 194 h 247"/>
              </a:gdLst>
              <a:ahLst/>
              <a:cxnLst>
                <a:cxn ang="0">
                  <a:pos x="T0" y="T1"/>
                </a:cxn>
                <a:cxn ang="0">
                  <a:pos x="T2" y="T3"/>
                </a:cxn>
                <a:cxn ang="0">
                  <a:pos x="T4" y="T5"/>
                </a:cxn>
                <a:cxn ang="0">
                  <a:pos x="T6" y="T7"/>
                </a:cxn>
                <a:cxn ang="0">
                  <a:pos x="T8" y="T9"/>
                </a:cxn>
              </a:cxnLst>
              <a:rect l="0" t="0" r="r" b="b"/>
              <a:pathLst>
                <a:path w="263" h="247">
                  <a:moveTo>
                    <a:pt x="37" y="194"/>
                  </a:moveTo>
                  <a:cubicBezTo>
                    <a:pt x="0" y="144"/>
                    <a:pt x="12" y="74"/>
                    <a:pt x="64" y="37"/>
                  </a:cubicBezTo>
                  <a:cubicBezTo>
                    <a:pt x="115" y="0"/>
                    <a:pt x="187" y="11"/>
                    <a:pt x="226" y="60"/>
                  </a:cubicBezTo>
                  <a:cubicBezTo>
                    <a:pt x="263" y="110"/>
                    <a:pt x="247" y="174"/>
                    <a:pt x="196" y="210"/>
                  </a:cubicBezTo>
                  <a:cubicBezTo>
                    <a:pt x="144" y="247"/>
                    <a:pt x="76" y="243"/>
                    <a:pt x="37" y="194"/>
                  </a:cubicBezTo>
                </a:path>
              </a:pathLst>
            </a:custGeom>
            <a:solidFill>
              <a:srgbClr val="0572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 name="Group 19">
              <a:extLst>
                <a:ext uri="{FF2B5EF4-FFF2-40B4-BE49-F238E27FC236}">
                  <a16:creationId xmlns:a16="http://schemas.microsoft.com/office/drawing/2014/main" id="{A9B6473B-1917-4C07-9E09-EEEA586F17C3}"/>
                </a:ext>
              </a:extLst>
            </p:cNvPr>
            <p:cNvGrpSpPr>
              <a:grpSpLocks noChangeAspect="1"/>
            </p:cNvGrpSpPr>
            <p:nvPr/>
          </p:nvGrpSpPr>
          <p:grpSpPr>
            <a:xfrm>
              <a:off x="7225561" y="2756134"/>
              <a:ext cx="297617" cy="360000"/>
              <a:chOff x="7225561" y="2756135"/>
              <a:chExt cx="281846" cy="340923"/>
            </a:xfrm>
          </p:grpSpPr>
          <p:sp>
            <p:nvSpPr>
              <p:cNvPr id="702" name="Freeform 416">
                <a:extLst>
                  <a:ext uri="{FF2B5EF4-FFF2-40B4-BE49-F238E27FC236}">
                    <a16:creationId xmlns:a16="http://schemas.microsoft.com/office/drawing/2014/main" id="{00903581-3524-4F04-B1A9-CF8C652863A9}"/>
                  </a:ext>
                </a:extLst>
              </p:cNvPr>
              <p:cNvSpPr>
                <a:spLocks/>
              </p:cNvSpPr>
              <p:nvPr/>
            </p:nvSpPr>
            <p:spPr bwMode="auto">
              <a:xfrm>
                <a:off x="7315407" y="2864443"/>
                <a:ext cx="163692" cy="232615"/>
              </a:xfrm>
              <a:custGeom>
                <a:avLst/>
                <a:gdLst>
                  <a:gd name="T0" fmla="*/ 116 w 133"/>
                  <a:gd name="T1" fmla="*/ 173 h 189"/>
                  <a:gd name="T2" fmla="*/ 92 w 133"/>
                  <a:gd name="T3" fmla="*/ 187 h 189"/>
                  <a:gd name="T4" fmla="*/ 81 w 133"/>
                  <a:gd name="T5" fmla="*/ 189 h 189"/>
                  <a:gd name="T6" fmla="*/ 62 w 133"/>
                  <a:gd name="T7" fmla="*/ 187 h 189"/>
                  <a:gd name="T8" fmla="*/ 57 w 133"/>
                  <a:gd name="T9" fmla="*/ 187 h 189"/>
                  <a:gd name="T10" fmla="*/ 45 w 133"/>
                  <a:gd name="T11" fmla="*/ 180 h 189"/>
                  <a:gd name="T12" fmla="*/ 38 w 133"/>
                  <a:gd name="T13" fmla="*/ 173 h 189"/>
                  <a:gd name="T14" fmla="*/ 29 w 133"/>
                  <a:gd name="T15" fmla="*/ 161 h 189"/>
                  <a:gd name="T16" fmla="*/ 19 w 133"/>
                  <a:gd name="T17" fmla="*/ 144 h 189"/>
                  <a:gd name="T18" fmla="*/ 10 w 133"/>
                  <a:gd name="T19" fmla="*/ 123 h 189"/>
                  <a:gd name="T20" fmla="*/ 10 w 133"/>
                  <a:gd name="T21" fmla="*/ 123 h 189"/>
                  <a:gd name="T22" fmla="*/ 5 w 133"/>
                  <a:gd name="T23" fmla="*/ 109 h 189"/>
                  <a:gd name="T24" fmla="*/ 3 w 133"/>
                  <a:gd name="T25" fmla="*/ 102 h 189"/>
                  <a:gd name="T26" fmla="*/ 0 w 133"/>
                  <a:gd name="T27" fmla="*/ 78 h 189"/>
                  <a:gd name="T28" fmla="*/ 3 w 133"/>
                  <a:gd name="T29" fmla="*/ 73 h 189"/>
                  <a:gd name="T30" fmla="*/ 5 w 133"/>
                  <a:gd name="T31" fmla="*/ 73 h 189"/>
                  <a:gd name="T32" fmla="*/ 14 w 133"/>
                  <a:gd name="T33" fmla="*/ 78 h 189"/>
                  <a:gd name="T34" fmla="*/ 17 w 133"/>
                  <a:gd name="T35" fmla="*/ 83 h 189"/>
                  <a:gd name="T36" fmla="*/ 21 w 133"/>
                  <a:gd name="T37" fmla="*/ 90 h 189"/>
                  <a:gd name="T38" fmla="*/ 31 w 133"/>
                  <a:gd name="T39" fmla="*/ 116 h 189"/>
                  <a:gd name="T40" fmla="*/ 31 w 133"/>
                  <a:gd name="T41" fmla="*/ 73 h 189"/>
                  <a:gd name="T42" fmla="*/ 31 w 133"/>
                  <a:gd name="T43" fmla="*/ 50 h 189"/>
                  <a:gd name="T44" fmla="*/ 31 w 133"/>
                  <a:gd name="T45" fmla="*/ 21 h 189"/>
                  <a:gd name="T46" fmla="*/ 31 w 133"/>
                  <a:gd name="T47" fmla="*/ 12 h 189"/>
                  <a:gd name="T48" fmla="*/ 31 w 133"/>
                  <a:gd name="T49" fmla="*/ 12 h 189"/>
                  <a:gd name="T50" fmla="*/ 33 w 133"/>
                  <a:gd name="T51" fmla="*/ 7 h 189"/>
                  <a:gd name="T52" fmla="*/ 43 w 133"/>
                  <a:gd name="T53" fmla="*/ 0 h 189"/>
                  <a:gd name="T54" fmla="*/ 45 w 133"/>
                  <a:gd name="T55" fmla="*/ 0 h 189"/>
                  <a:gd name="T56" fmla="*/ 52 w 133"/>
                  <a:gd name="T57" fmla="*/ 5 h 189"/>
                  <a:gd name="T58" fmla="*/ 55 w 133"/>
                  <a:gd name="T59" fmla="*/ 12 h 189"/>
                  <a:gd name="T60" fmla="*/ 55 w 133"/>
                  <a:gd name="T61" fmla="*/ 42 h 189"/>
                  <a:gd name="T62" fmla="*/ 55 w 133"/>
                  <a:gd name="T63" fmla="*/ 59 h 189"/>
                  <a:gd name="T64" fmla="*/ 55 w 133"/>
                  <a:gd name="T65" fmla="*/ 64 h 189"/>
                  <a:gd name="T66" fmla="*/ 59 w 133"/>
                  <a:gd name="T67" fmla="*/ 66 h 189"/>
                  <a:gd name="T68" fmla="*/ 66 w 133"/>
                  <a:gd name="T69" fmla="*/ 61 h 189"/>
                  <a:gd name="T70" fmla="*/ 73 w 133"/>
                  <a:gd name="T71" fmla="*/ 61 h 189"/>
                  <a:gd name="T72" fmla="*/ 78 w 133"/>
                  <a:gd name="T73" fmla="*/ 66 h 189"/>
                  <a:gd name="T74" fmla="*/ 88 w 133"/>
                  <a:gd name="T75" fmla="*/ 76 h 189"/>
                  <a:gd name="T76" fmla="*/ 97 w 133"/>
                  <a:gd name="T77" fmla="*/ 71 h 189"/>
                  <a:gd name="T78" fmla="*/ 99 w 133"/>
                  <a:gd name="T79" fmla="*/ 73 h 189"/>
                  <a:gd name="T80" fmla="*/ 107 w 133"/>
                  <a:gd name="T81" fmla="*/ 78 h 189"/>
                  <a:gd name="T82" fmla="*/ 114 w 133"/>
                  <a:gd name="T83" fmla="*/ 87 h 189"/>
                  <a:gd name="T84" fmla="*/ 121 w 133"/>
                  <a:gd name="T85" fmla="*/ 85 h 189"/>
                  <a:gd name="T86" fmla="*/ 125 w 133"/>
                  <a:gd name="T87" fmla="*/ 85 h 189"/>
                  <a:gd name="T88" fmla="*/ 130 w 133"/>
                  <a:gd name="T89" fmla="*/ 92 h 189"/>
                  <a:gd name="T90" fmla="*/ 130 w 133"/>
                  <a:gd name="T91" fmla="*/ 95 h 189"/>
                  <a:gd name="T92" fmla="*/ 130 w 133"/>
                  <a:gd name="T93" fmla="*/ 97 h 189"/>
                  <a:gd name="T94" fmla="*/ 133 w 133"/>
                  <a:gd name="T95" fmla="*/ 123 h 189"/>
                  <a:gd name="T96" fmla="*/ 130 w 133"/>
                  <a:gd name="T97" fmla="*/ 1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 h="189">
                    <a:moveTo>
                      <a:pt x="125" y="158"/>
                    </a:moveTo>
                    <a:lnTo>
                      <a:pt x="116" y="173"/>
                    </a:lnTo>
                    <a:lnTo>
                      <a:pt x="102" y="185"/>
                    </a:lnTo>
                    <a:lnTo>
                      <a:pt x="92" y="187"/>
                    </a:lnTo>
                    <a:lnTo>
                      <a:pt x="95" y="187"/>
                    </a:lnTo>
                    <a:lnTo>
                      <a:pt x="81" y="189"/>
                    </a:lnTo>
                    <a:lnTo>
                      <a:pt x="81" y="187"/>
                    </a:lnTo>
                    <a:lnTo>
                      <a:pt x="62" y="187"/>
                    </a:lnTo>
                    <a:lnTo>
                      <a:pt x="62" y="189"/>
                    </a:lnTo>
                    <a:lnTo>
                      <a:pt x="57" y="187"/>
                    </a:lnTo>
                    <a:lnTo>
                      <a:pt x="52" y="185"/>
                    </a:lnTo>
                    <a:lnTo>
                      <a:pt x="45" y="180"/>
                    </a:lnTo>
                    <a:lnTo>
                      <a:pt x="45" y="180"/>
                    </a:lnTo>
                    <a:lnTo>
                      <a:pt x="38" y="173"/>
                    </a:lnTo>
                    <a:lnTo>
                      <a:pt x="38" y="173"/>
                    </a:lnTo>
                    <a:lnTo>
                      <a:pt x="29" y="161"/>
                    </a:lnTo>
                    <a:lnTo>
                      <a:pt x="29" y="161"/>
                    </a:lnTo>
                    <a:lnTo>
                      <a:pt x="19" y="144"/>
                    </a:lnTo>
                    <a:lnTo>
                      <a:pt x="19" y="144"/>
                    </a:lnTo>
                    <a:lnTo>
                      <a:pt x="10" y="123"/>
                    </a:lnTo>
                    <a:lnTo>
                      <a:pt x="10" y="121"/>
                    </a:lnTo>
                    <a:lnTo>
                      <a:pt x="10" y="123"/>
                    </a:lnTo>
                    <a:lnTo>
                      <a:pt x="7" y="116"/>
                    </a:lnTo>
                    <a:lnTo>
                      <a:pt x="5" y="109"/>
                    </a:lnTo>
                    <a:lnTo>
                      <a:pt x="3" y="102"/>
                    </a:lnTo>
                    <a:lnTo>
                      <a:pt x="3" y="102"/>
                    </a:lnTo>
                    <a:lnTo>
                      <a:pt x="0" y="85"/>
                    </a:lnTo>
                    <a:lnTo>
                      <a:pt x="0" y="78"/>
                    </a:lnTo>
                    <a:lnTo>
                      <a:pt x="3" y="76"/>
                    </a:lnTo>
                    <a:lnTo>
                      <a:pt x="3" y="73"/>
                    </a:lnTo>
                    <a:lnTo>
                      <a:pt x="3" y="73"/>
                    </a:lnTo>
                    <a:lnTo>
                      <a:pt x="5" y="73"/>
                    </a:lnTo>
                    <a:lnTo>
                      <a:pt x="10" y="76"/>
                    </a:lnTo>
                    <a:lnTo>
                      <a:pt x="14" y="78"/>
                    </a:lnTo>
                    <a:lnTo>
                      <a:pt x="12" y="76"/>
                    </a:lnTo>
                    <a:lnTo>
                      <a:pt x="17" y="83"/>
                    </a:lnTo>
                    <a:lnTo>
                      <a:pt x="17" y="83"/>
                    </a:lnTo>
                    <a:lnTo>
                      <a:pt x="21" y="90"/>
                    </a:lnTo>
                    <a:lnTo>
                      <a:pt x="21" y="90"/>
                    </a:lnTo>
                    <a:lnTo>
                      <a:pt x="31" y="116"/>
                    </a:lnTo>
                    <a:lnTo>
                      <a:pt x="31" y="87"/>
                    </a:lnTo>
                    <a:lnTo>
                      <a:pt x="31" y="73"/>
                    </a:lnTo>
                    <a:lnTo>
                      <a:pt x="31" y="61"/>
                    </a:lnTo>
                    <a:lnTo>
                      <a:pt x="31" y="50"/>
                    </a:lnTo>
                    <a:lnTo>
                      <a:pt x="31" y="33"/>
                    </a:lnTo>
                    <a:lnTo>
                      <a:pt x="31" y="21"/>
                    </a:lnTo>
                    <a:lnTo>
                      <a:pt x="31" y="16"/>
                    </a:lnTo>
                    <a:lnTo>
                      <a:pt x="31" y="12"/>
                    </a:lnTo>
                    <a:lnTo>
                      <a:pt x="31" y="12"/>
                    </a:lnTo>
                    <a:lnTo>
                      <a:pt x="31" y="12"/>
                    </a:lnTo>
                    <a:lnTo>
                      <a:pt x="31" y="9"/>
                    </a:lnTo>
                    <a:lnTo>
                      <a:pt x="33" y="7"/>
                    </a:lnTo>
                    <a:lnTo>
                      <a:pt x="36" y="2"/>
                    </a:lnTo>
                    <a:lnTo>
                      <a:pt x="43" y="0"/>
                    </a:lnTo>
                    <a:lnTo>
                      <a:pt x="45" y="0"/>
                    </a:lnTo>
                    <a:lnTo>
                      <a:pt x="45" y="0"/>
                    </a:lnTo>
                    <a:lnTo>
                      <a:pt x="50" y="2"/>
                    </a:lnTo>
                    <a:lnTo>
                      <a:pt x="52" y="5"/>
                    </a:lnTo>
                    <a:lnTo>
                      <a:pt x="55" y="12"/>
                    </a:lnTo>
                    <a:lnTo>
                      <a:pt x="55" y="12"/>
                    </a:lnTo>
                    <a:lnTo>
                      <a:pt x="55" y="31"/>
                    </a:lnTo>
                    <a:lnTo>
                      <a:pt x="55" y="42"/>
                    </a:lnTo>
                    <a:lnTo>
                      <a:pt x="55" y="52"/>
                    </a:lnTo>
                    <a:lnTo>
                      <a:pt x="55" y="59"/>
                    </a:lnTo>
                    <a:lnTo>
                      <a:pt x="55" y="61"/>
                    </a:lnTo>
                    <a:lnTo>
                      <a:pt x="55" y="64"/>
                    </a:lnTo>
                    <a:lnTo>
                      <a:pt x="55" y="71"/>
                    </a:lnTo>
                    <a:lnTo>
                      <a:pt x="59" y="66"/>
                    </a:lnTo>
                    <a:lnTo>
                      <a:pt x="62" y="64"/>
                    </a:lnTo>
                    <a:lnTo>
                      <a:pt x="66" y="61"/>
                    </a:lnTo>
                    <a:lnTo>
                      <a:pt x="71" y="61"/>
                    </a:lnTo>
                    <a:lnTo>
                      <a:pt x="73" y="61"/>
                    </a:lnTo>
                    <a:lnTo>
                      <a:pt x="78" y="66"/>
                    </a:lnTo>
                    <a:lnTo>
                      <a:pt x="78" y="66"/>
                    </a:lnTo>
                    <a:lnTo>
                      <a:pt x="83" y="78"/>
                    </a:lnTo>
                    <a:lnTo>
                      <a:pt x="88" y="76"/>
                    </a:lnTo>
                    <a:lnTo>
                      <a:pt x="90" y="73"/>
                    </a:lnTo>
                    <a:lnTo>
                      <a:pt x="97" y="71"/>
                    </a:lnTo>
                    <a:lnTo>
                      <a:pt x="99" y="73"/>
                    </a:lnTo>
                    <a:lnTo>
                      <a:pt x="99" y="73"/>
                    </a:lnTo>
                    <a:lnTo>
                      <a:pt x="104" y="73"/>
                    </a:lnTo>
                    <a:lnTo>
                      <a:pt x="107" y="78"/>
                    </a:lnTo>
                    <a:lnTo>
                      <a:pt x="109" y="90"/>
                    </a:lnTo>
                    <a:lnTo>
                      <a:pt x="114" y="87"/>
                    </a:lnTo>
                    <a:lnTo>
                      <a:pt x="121" y="85"/>
                    </a:lnTo>
                    <a:lnTo>
                      <a:pt x="121" y="85"/>
                    </a:lnTo>
                    <a:lnTo>
                      <a:pt x="123" y="85"/>
                    </a:lnTo>
                    <a:lnTo>
                      <a:pt x="125" y="85"/>
                    </a:lnTo>
                    <a:lnTo>
                      <a:pt x="128" y="87"/>
                    </a:lnTo>
                    <a:lnTo>
                      <a:pt x="130" y="92"/>
                    </a:lnTo>
                    <a:lnTo>
                      <a:pt x="130" y="92"/>
                    </a:lnTo>
                    <a:lnTo>
                      <a:pt x="130" y="95"/>
                    </a:lnTo>
                    <a:lnTo>
                      <a:pt x="130" y="92"/>
                    </a:lnTo>
                    <a:lnTo>
                      <a:pt x="130" y="97"/>
                    </a:lnTo>
                    <a:lnTo>
                      <a:pt x="133" y="106"/>
                    </a:lnTo>
                    <a:lnTo>
                      <a:pt x="133" y="123"/>
                    </a:lnTo>
                    <a:lnTo>
                      <a:pt x="130" y="142"/>
                    </a:lnTo>
                    <a:lnTo>
                      <a:pt x="130" y="140"/>
                    </a:lnTo>
                    <a:lnTo>
                      <a:pt x="125" y="1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 name="Group 11">
                <a:extLst>
                  <a:ext uri="{FF2B5EF4-FFF2-40B4-BE49-F238E27FC236}">
                    <a16:creationId xmlns:a16="http://schemas.microsoft.com/office/drawing/2014/main" id="{1B50FEDB-65E3-4AED-A41F-09DBAAA5B6B9}"/>
                  </a:ext>
                </a:extLst>
              </p:cNvPr>
              <p:cNvGrpSpPr/>
              <p:nvPr/>
            </p:nvGrpSpPr>
            <p:grpSpPr>
              <a:xfrm>
                <a:off x="7225561" y="2756135"/>
                <a:ext cx="281846" cy="151385"/>
                <a:chOff x="7225561" y="2756135"/>
                <a:chExt cx="281846" cy="151385"/>
              </a:xfrm>
            </p:grpSpPr>
            <p:sp>
              <p:nvSpPr>
                <p:cNvPr id="703" name="Freeform 417">
                  <a:extLst>
                    <a:ext uri="{FF2B5EF4-FFF2-40B4-BE49-F238E27FC236}">
                      <a16:creationId xmlns:a16="http://schemas.microsoft.com/office/drawing/2014/main" id="{D1AE99F2-63F4-44D6-A5D5-A2BA5E219A01}"/>
                    </a:ext>
                  </a:extLst>
                </p:cNvPr>
                <p:cNvSpPr>
                  <a:spLocks/>
                </p:cNvSpPr>
                <p:nvPr/>
              </p:nvSpPr>
              <p:spPr bwMode="auto">
                <a:xfrm>
                  <a:off x="7394176" y="2834904"/>
                  <a:ext cx="25846" cy="55385"/>
                </a:xfrm>
                <a:custGeom>
                  <a:avLst/>
                  <a:gdLst>
                    <a:gd name="T0" fmla="*/ 6 w 9"/>
                    <a:gd name="T1" fmla="*/ 19 h 19"/>
                    <a:gd name="T2" fmla="*/ 9 w 9"/>
                    <a:gd name="T3" fmla="*/ 10 h 19"/>
                    <a:gd name="T4" fmla="*/ 0 w 9"/>
                    <a:gd name="T5" fmla="*/ 0 h 19"/>
                  </a:gdLst>
                  <a:ahLst/>
                  <a:cxnLst>
                    <a:cxn ang="0">
                      <a:pos x="T0" y="T1"/>
                    </a:cxn>
                    <a:cxn ang="0">
                      <a:pos x="T2" y="T3"/>
                    </a:cxn>
                    <a:cxn ang="0">
                      <a:pos x="T4" y="T5"/>
                    </a:cxn>
                  </a:cxnLst>
                  <a:rect l="0" t="0" r="r" b="b"/>
                  <a:pathLst>
                    <a:path w="9" h="19">
                      <a:moveTo>
                        <a:pt x="6" y="19"/>
                      </a:moveTo>
                      <a:cubicBezTo>
                        <a:pt x="8" y="16"/>
                        <a:pt x="9" y="13"/>
                        <a:pt x="9" y="10"/>
                      </a:cubicBezTo>
                      <a:cubicBezTo>
                        <a:pt x="8" y="5"/>
                        <a:pt x="4" y="1"/>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4" name="Freeform 418">
                  <a:extLst>
                    <a:ext uri="{FF2B5EF4-FFF2-40B4-BE49-F238E27FC236}">
                      <a16:creationId xmlns:a16="http://schemas.microsoft.com/office/drawing/2014/main" id="{FB0EEFE7-D7A5-430F-B188-CCAD772405FA}"/>
                    </a:ext>
                  </a:extLst>
                </p:cNvPr>
                <p:cNvSpPr>
                  <a:spLocks/>
                </p:cNvSpPr>
                <p:nvPr/>
              </p:nvSpPr>
              <p:spPr bwMode="auto">
                <a:xfrm>
                  <a:off x="7411407" y="2796750"/>
                  <a:ext cx="52923" cy="102154"/>
                </a:xfrm>
                <a:custGeom>
                  <a:avLst/>
                  <a:gdLst>
                    <a:gd name="T0" fmla="*/ 0 w 18"/>
                    <a:gd name="T1" fmla="*/ 0 h 35"/>
                    <a:gd name="T2" fmla="*/ 17 w 18"/>
                    <a:gd name="T3" fmla="*/ 20 h 35"/>
                    <a:gd name="T4" fmla="*/ 15 w 18"/>
                    <a:gd name="T5" fmla="*/ 35 h 35"/>
                  </a:gdLst>
                  <a:ahLst/>
                  <a:cxnLst>
                    <a:cxn ang="0">
                      <a:pos x="T0" y="T1"/>
                    </a:cxn>
                    <a:cxn ang="0">
                      <a:pos x="T2" y="T3"/>
                    </a:cxn>
                    <a:cxn ang="0">
                      <a:pos x="T4" y="T5"/>
                    </a:cxn>
                  </a:cxnLst>
                  <a:rect l="0" t="0" r="r" b="b"/>
                  <a:pathLst>
                    <a:path w="18" h="35">
                      <a:moveTo>
                        <a:pt x="0" y="0"/>
                      </a:moveTo>
                      <a:cubicBezTo>
                        <a:pt x="9" y="3"/>
                        <a:pt x="16" y="10"/>
                        <a:pt x="17" y="20"/>
                      </a:cubicBezTo>
                      <a:cubicBezTo>
                        <a:pt x="18" y="25"/>
                        <a:pt x="17" y="31"/>
                        <a:pt x="15" y="35"/>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5" name="Freeform 419">
                  <a:extLst>
                    <a:ext uri="{FF2B5EF4-FFF2-40B4-BE49-F238E27FC236}">
                      <a16:creationId xmlns:a16="http://schemas.microsoft.com/office/drawing/2014/main" id="{4C2CED15-9F70-433D-9FFE-6AC45AB5366A}"/>
                    </a:ext>
                  </a:extLst>
                </p:cNvPr>
                <p:cNvSpPr>
                  <a:spLocks/>
                </p:cNvSpPr>
                <p:nvPr/>
              </p:nvSpPr>
              <p:spPr bwMode="auto">
                <a:xfrm>
                  <a:off x="7428638" y="2756135"/>
                  <a:ext cx="78769" cy="151385"/>
                </a:xfrm>
                <a:custGeom>
                  <a:avLst/>
                  <a:gdLst>
                    <a:gd name="T0" fmla="*/ 24 w 27"/>
                    <a:gd name="T1" fmla="*/ 52 h 52"/>
                    <a:gd name="T2" fmla="*/ 26 w 27"/>
                    <a:gd name="T3" fmla="*/ 31 h 52"/>
                    <a:gd name="T4" fmla="*/ 0 w 27"/>
                    <a:gd name="T5" fmla="*/ 0 h 52"/>
                  </a:gdLst>
                  <a:ahLst/>
                  <a:cxnLst>
                    <a:cxn ang="0">
                      <a:pos x="T0" y="T1"/>
                    </a:cxn>
                    <a:cxn ang="0">
                      <a:pos x="T2" y="T3"/>
                    </a:cxn>
                    <a:cxn ang="0">
                      <a:pos x="T4" y="T5"/>
                    </a:cxn>
                  </a:cxnLst>
                  <a:rect l="0" t="0" r="r" b="b"/>
                  <a:pathLst>
                    <a:path w="27" h="52">
                      <a:moveTo>
                        <a:pt x="24" y="52"/>
                      </a:moveTo>
                      <a:cubicBezTo>
                        <a:pt x="26" y="46"/>
                        <a:pt x="27" y="39"/>
                        <a:pt x="26" y="31"/>
                      </a:cubicBezTo>
                      <a:cubicBezTo>
                        <a:pt x="23" y="17"/>
                        <a:pt x="13" y="5"/>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6" name="Freeform 420">
                  <a:extLst>
                    <a:ext uri="{FF2B5EF4-FFF2-40B4-BE49-F238E27FC236}">
                      <a16:creationId xmlns:a16="http://schemas.microsoft.com/office/drawing/2014/main" id="{F68198C2-46A0-4C5B-A256-455F26E8D447}"/>
                    </a:ext>
                  </a:extLst>
                </p:cNvPr>
                <p:cNvSpPr>
                  <a:spLocks/>
                </p:cNvSpPr>
                <p:nvPr/>
              </p:nvSpPr>
              <p:spPr bwMode="auto">
                <a:xfrm>
                  <a:off x="7312946" y="2834904"/>
                  <a:ext cx="25846" cy="55385"/>
                </a:xfrm>
                <a:custGeom>
                  <a:avLst/>
                  <a:gdLst>
                    <a:gd name="T0" fmla="*/ 3 w 9"/>
                    <a:gd name="T1" fmla="*/ 19 h 19"/>
                    <a:gd name="T2" fmla="*/ 1 w 9"/>
                    <a:gd name="T3" fmla="*/ 10 h 19"/>
                    <a:gd name="T4" fmla="*/ 9 w 9"/>
                    <a:gd name="T5" fmla="*/ 0 h 19"/>
                  </a:gdLst>
                  <a:ahLst/>
                  <a:cxnLst>
                    <a:cxn ang="0">
                      <a:pos x="T0" y="T1"/>
                    </a:cxn>
                    <a:cxn ang="0">
                      <a:pos x="T2" y="T3"/>
                    </a:cxn>
                    <a:cxn ang="0">
                      <a:pos x="T4" y="T5"/>
                    </a:cxn>
                  </a:cxnLst>
                  <a:rect l="0" t="0" r="r" b="b"/>
                  <a:pathLst>
                    <a:path w="9" h="19">
                      <a:moveTo>
                        <a:pt x="3" y="19"/>
                      </a:moveTo>
                      <a:cubicBezTo>
                        <a:pt x="1" y="16"/>
                        <a:pt x="0" y="13"/>
                        <a:pt x="1" y="10"/>
                      </a:cubicBezTo>
                      <a:cubicBezTo>
                        <a:pt x="2" y="5"/>
                        <a:pt x="5" y="1"/>
                        <a:pt x="9"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7" name="Freeform 421">
                  <a:extLst>
                    <a:ext uri="{FF2B5EF4-FFF2-40B4-BE49-F238E27FC236}">
                      <a16:creationId xmlns:a16="http://schemas.microsoft.com/office/drawing/2014/main" id="{08F844A0-A889-40C6-8835-8F296F33D4E9}"/>
                    </a:ext>
                  </a:extLst>
                </p:cNvPr>
                <p:cNvSpPr>
                  <a:spLocks/>
                </p:cNvSpPr>
                <p:nvPr/>
              </p:nvSpPr>
              <p:spPr bwMode="auto">
                <a:xfrm>
                  <a:off x="7268638" y="2796750"/>
                  <a:ext cx="55384" cy="102154"/>
                </a:xfrm>
                <a:custGeom>
                  <a:avLst/>
                  <a:gdLst>
                    <a:gd name="T0" fmla="*/ 19 w 19"/>
                    <a:gd name="T1" fmla="*/ 0 h 35"/>
                    <a:gd name="T2" fmla="*/ 1 w 19"/>
                    <a:gd name="T3" fmla="*/ 20 h 35"/>
                    <a:gd name="T4" fmla="*/ 3 w 19"/>
                    <a:gd name="T5" fmla="*/ 35 h 35"/>
                  </a:gdLst>
                  <a:ahLst/>
                  <a:cxnLst>
                    <a:cxn ang="0">
                      <a:pos x="T0" y="T1"/>
                    </a:cxn>
                    <a:cxn ang="0">
                      <a:pos x="T2" y="T3"/>
                    </a:cxn>
                    <a:cxn ang="0">
                      <a:pos x="T4" y="T5"/>
                    </a:cxn>
                  </a:cxnLst>
                  <a:rect l="0" t="0" r="r" b="b"/>
                  <a:pathLst>
                    <a:path w="19" h="35">
                      <a:moveTo>
                        <a:pt x="19" y="0"/>
                      </a:moveTo>
                      <a:cubicBezTo>
                        <a:pt x="10" y="3"/>
                        <a:pt x="3" y="10"/>
                        <a:pt x="1" y="20"/>
                      </a:cubicBezTo>
                      <a:cubicBezTo>
                        <a:pt x="0" y="25"/>
                        <a:pt x="1" y="31"/>
                        <a:pt x="3" y="35"/>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8" name="Freeform 422">
                  <a:extLst>
                    <a:ext uri="{FF2B5EF4-FFF2-40B4-BE49-F238E27FC236}">
                      <a16:creationId xmlns:a16="http://schemas.microsoft.com/office/drawing/2014/main" id="{4EC86394-7315-48F4-AFE6-A830690999B4}"/>
                    </a:ext>
                  </a:extLst>
                </p:cNvPr>
                <p:cNvSpPr>
                  <a:spLocks/>
                </p:cNvSpPr>
                <p:nvPr/>
              </p:nvSpPr>
              <p:spPr bwMode="auto">
                <a:xfrm>
                  <a:off x="7225561" y="2756135"/>
                  <a:ext cx="81231" cy="151385"/>
                </a:xfrm>
                <a:custGeom>
                  <a:avLst/>
                  <a:gdLst>
                    <a:gd name="T0" fmla="*/ 4 w 28"/>
                    <a:gd name="T1" fmla="*/ 52 h 52"/>
                    <a:gd name="T2" fmla="*/ 2 w 28"/>
                    <a:gd name="T3" fmla="*/ 31 h 52"/>
                    <a:gd name="T4" fmla="*/ 28 w 28"/>
                    <a:gd name="T5" fmla="*/ 0 h 52"/>
                  </a:gdLst>
                  <a:ahLst/>
                  <a:cxnLst>
                    <a:cxn ang="0">
                      <a:pos x="T0" y="T1"/>
                    </a:cxn>
                    <a:cxn ang="0">
                      <a:pos x="T2" y="T3"/>
                    </a:cxn>
                    <a:cxn ang="0">
                      <a:pos x="T4" y="T5"/>
                    </a:cxn>
                  </a:cxnLst>
                  <a:rect l="0" t="0" r="r" b="b"/>
                  <a:pathLst>
                    <a:path w="28" h="52">
                      <a:moveTo>
                        <a:pt x="4" y="52"/>
                      </a:moveTo>
                      <a:cubicBezTo>
                        <a:pt x="1" y="46"/>
                        <a:pt x="0" y="39"/>
                        <a:pt x="2" y="31"/>
                      </a:cubicBezTo>
                      <a:cubicBezTo>
                        <a:pt x="4" y="17"/>
                        <a:pt x="14" y="5"/>
                        <a:pt x="28"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317" name="Rectangle 237">
            <a:extLst>
              <a:ext uri="{FF2B5EF4-FFF2-40B4-BE49-F238E27FC236}">
                <a16:creationId xmlns:a16="http://schemas.microsoft.com/office/drawing/2014/main" id="{A66093FC-9E0F-4A53-9176-269BBC66CFD4}"/>
              </a:ext>
              <a:ext uri="{C183D7F6-B498-43B3-948B-1728B52AA6E4}">
                <adec:decorative xmlns:adec="http://schemas.microsoft.com/office/drawing/2017/decorative" val="1"/>
              </a:ext>
            </a:extLst>
          </p:cNvPr>
          <p:cNvSpPr>
            <a:spLocks noChangeAspect="1" noChangeArrowheads="1"/>
          </p:cNvSpPr>
          <p:nvPr/>
        </p:nvSpPr>
        <p:spPr bwMode="auto">
          <a:xfrm>
            <a:off x="2235909" y="3177231"/>
            <a:ext cx="7566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Smart Watch</a:t>
            </a:r>
            <a:endParaRPr kumimoji="0" lang="fr-FR" altLang="fr-FR" sz="900" b="0" i="0" u="none" strike="noStrike" cap="none" normalizeH="0" baseline="0">
              <a:ln>
                <a:noFill/>
              </a:ln>
              <a:solidFill>
                <a:schemeClr val="tx1"/>
              </a:solidFill>
              <a:effectLst/>
              <a:latin typeface="+mj-lt"/>
            </a:endParaRPr>
          </a:p>
        </p:txBody>
      </p:sp>
      <p:sp>
        <p:nvSpPr>
          <p:cNvPr id="710" name="Rectangle 66">
            <a:extLst>
              <a:ext uri="{FF2B5EF4-FFF2-40B4-BE49-F238E27FC236}">
                <a16:creationId xmlns:a16="http://schemas.microsoft.com/office/drawing/2014/main" id="{B505F9D7-B503-4A4A-A2F7-26D4B637001B}"/>
              </a:ext>
              <a:ext uri="{C183D7F6-B498-43B3-948B-1728B52AA6E4}">
                <adec:decorative xmlns:adec="http://schemas.microsoft.com/office/drawing/2017/decorative" val="1"/>
              </a:ext>
            </a:extLst>
          </p:cNvPr>
          <p:cNvSpPr>
            <a:spLocks noChangeAspect="1" noChangeArrowheads="1"/>
          </p:cNvSpPr>
          <p:nvPr/>
        </p:nvSpPr>
        <p:spPr bwMode="auto">
          <a:xfrm>
            <a:off x="3463804" y="3177231"/>
            <a:ext cx="37029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111211"/>
                </a:solidFill>
                <a:effectLst/>
                <a:latin typeface="+mj-lt"/>
              </a:rPr>
              <a:t>Digital</a:t>
            </a:r>
            <a:endParaRPr kumimoji="0" lang="fr-FR" altLang="fr-FR" sz="900" b="0" i="0" u="none" strike="noStrike" cap="none" normalizeH="0" baseline="0">
              <a:ln>
                <a:noFill/>
              </a:ln>
              <a:solidFill>
                <a:schemeClr val="tx1"/>
              </a:solidFill>
              <a:effectLst/>
              <a:latin typeface="+mj-lt"/>
            </a:endParaRPr>
          </a:p>
        </p:txBody>
      </p:sp>
      <p:sp>
        <p:nvSpPr>
          <p:cNvPr id="556" name="TextBox 896">
            <a:extLst>
              <a:ext uri="{FF2B5EF4-FFF2-40B4-BE49-F238E27FC236}">
                <a16:creationId xmlns:a16="http://schemas.microsoft.com/office/drawing/2014/main" id="{21AF1B86-29A2-4EB3-85A9-5CBA494E810C}"/>
              </a:ext>
              <a:ext uri="{C183D7F6-B498-43B3-948B-1728B52AA6E4}">
                <adec:decorative xmlns:adec="http://schemas.microsoft.com/office/drawing/2017/decorative" val="1"/>
              </a:ext>
            </a:extLst>
          </p:cNvPr>
          <p:cNvSpPr txBox="1"/>
          <p:nvPr/>
        </p:nvSpPr>
        <p:spPr>
          <a:xfrm>
            <a:off x="114779" y="3071156"/>
            <a:ext cx="970137" cy="230832"/>
          </a:xfrm>
          <a:prstGeom prst="rect">
            <a:avLst/>
          </a:prstGeom>
          <a:noFill/>
        </p:spPr>
        <p:txBody>
          <a:bodyPr wrap="none" rtlCol="0">
            <a:spAutoFit/>
          </a:bodyPr>
          <a:lstStyle/>
          <a:p>
            <a:pPr algn="ctr"/>
            <a:r>
              <a:rPr lang="en-GB" sz="900">
                <a:solidFill>
                  <a:schemeClr val="bg2">
                    <a:lumMod val="25000"/>
                  </a:schemeClr>
                </a:solidFill>
              </a:rPr>
              <a:t>Virtual reality</a:t>
            </a:r>
          </a:p>
        </p:txBody>
      </p:sp>
      <p:grpSp>
        <p:nvGrpSpPr>
          <p:cNvPr id="93" name="Group 92">
            <a:extLst>
              <a:ext uri="{FF2B5EF4-FFF2-40B4-BE49-F238E27FC236}">
                <a16:creationId xmlns:a16="http://schemas.microsoft.com/office/drawing/2014/main" id="{1D86D07D-BBB0-4613-A90F-D359458738D3}"/>
              </a:ext>
              <a:ext uri="{C183D7F6-B498-43B3-948B-1728B52AA6E4}">
                <adec:decorative xmlns:adec="http://schemas.microsoft.com/office/drawing/2017/decorative" val="1"/>
              </a:ext>
            </a:extLst>
          </p:cNvPr>
          <p:cNvGrpSpPr>
            <a:grpSpLocks noChangeAspect="1"/>
          </p:cNvGrpSpPr>
          <p:nvPr/>
        </p:nvGrpSpPr>
        <p:grpSpPr>
          <a:xfrm>
            <a:off x="3321731" y="1229161"/>
            <a:ext cx="676738" cy="633600"/>
            <a:chOff x="3321731" y="1122703"/>
            <a:chExt cx="769021" cy="720000"/>
          </a:xfrm>
        </p:grpSpPr>
        <p:sp>
          <p:nvSpPr>
            <p:cNvPr id="552" name="Freeform 89">
              <a:extLst>
                <a:ext uri="{FF2B5EF4-FFF2-40B4-BE49-F238E27FC236}">
                  <a16:creationId xmlns:a16="http://schemas.microsoft.com/office/drawing/2014/main" id="{58133F5C-5519-4D70-97C9-D51B82A1C0F4}"/>
                </a:ext>
              </a:extLst>
            </p:cNvPr>
            <p:cNvSpPr>
              <a:spLocks noChangeAspect="1"/>
            </p:cNvSpPr>
            <p:nvPr/>
          </p:nvSpPr>
          <p:spPr bwMode="auto">
            <a:xfrm>
              <a:off x="3321731" y="1122703"/>
              <a:ext cx="769021" cy="720000"/>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2"/>
            </a:solidFill>
            <a:ln>
              <a:solidFill>
                <a:schemeClr val="accent2"/>
              </a:solid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58" name="Group 793">
              <a:extLst>
                <a:ext uri="{FF2B5EF4-FFF2-40B4-BE49-F238E27FC236}">
                  <a16:creationId xmlns:a16="http://schemas.microsoft.com/office/drawing/2014/main" id="{059D0573-0213-464B-859E-CBA1558560CA}"/>
                </a:ext>
              </a:extLst>
            </p:cNvPr>
            <p:cNvGrpSpPr>
              <a:grpSpLocks noChangeAspect="1"/>
            </p:cNvGrpSpPr>
            <p:nvPr/>
          </p:nvGrpSpPr>
          <p:grpSpPr>
            <a:xfrm>
              <a:off x="3442152" y="1300966"/>
              <a:ext cx="537643" cy="381741"/>
              <a:chOff x="1760885" y="3463660"/>
              <a:chExt cx="676498" cy="472750"/>
            </a:xfrm>
            <a:solidFill>
              <a:schemeClr val="bg1"/>
            </a:solidFill>
          </p:grpSpPr>
          <p:sp>
            <p:nvSpPr>
              <p:cNvPr id="562" name="Freeform 32">
                <a:extLst>
                  <a:ext uri="{FF2B5EF4-FFF2-40B4-BE49-F238E27FC236}">
                    <a16:creationId xmlns:a16="http://schemas.microsoft.com/office/drawing/2014/main" id="{1C090CBD-ECBE-4F28-8A05-10678AB3B82B}"/>
                  </a:ext>
                </a:extLst>
              </p:cNvPr>
              <p:cNvSpPr>
                <a:spLocks/>
              </p:cNvSpPr>
              <p:nvPr/>
            </p:nvSpPr>
            <p:spPr bwMode="auto">
              <a:xfrm>
                <a:off x="1864757" y="3463660"/>
                <a:ext cx="475413" cy="334254"/>
              </a:xfrm>
              <a:custGeom>
                <a:avLst/>
                <a:gdLst>
                  <a:gd name="T0" fmla="*/ 14 w 151"/>
                  <a:gd name="T1" fmla="*/ 23 h 106"/>
                  <a:gd name="T2" fmla="*/ 23 w 151"/>
                  <a:gd name="T3" fmla="*/ 14 h 106"/>
                  <a:gd name="T4" fmla="*/ 127 w 151"/>
                  <a:gd name="T5" fmla="*/ 14 h 106"/>
                  <a:gd name="T6" fmla="*/ 137 w 151"/>
                  <a:gd name="T7" fmla="*/ 23 h 106"/>
                  <a:gd name="T8" fmla="*/ 137 w 151"/>
                  <a:gd name="T9" fmla="*/ 54 h 106"/>
                  <a:gd name="T10" fmla="*/ 151 w 151"/>
                  <a:gd name="T11" fmla="*/ 54 h 106"/>
                  <a:gd name="T12" fmla="*/ 151 w 151"/>
                  <a:gd name="T13" fmla="*/ 11 h 106"/>
                  <a:gd name="T14" fmla="*/ 139 w 151"/>
                  <a:gd name="T15" fmla="*/ 0 h 106"/>
                  <a:gd name="T16" fmla="*/ 11 w 151"/>
                  <a:gd name="T17" fmla="*/ 0 h 106"/>
                  <a:gd name="T18" fmla="*/ 0 w 151"/>
                  <a:gd name="T19" fmla="*/ 11 h 106"/>
                  <a:gd name="T20" fmla="*/ 0 w 151"/>
                  <a:gd name="T21" fmla="*/ 106 h 106"/>
                  <a:gd name="T22" fmla="*/ 14 w 151"/>
                  <a:gd name="T23" fmla="*/ 106 h 106"/>
                  <a:gd name="T24" fmla="*/ 14 w 151"/>
                  <a:gd name="T25" fmla="*/ 2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106">
                    <a:moveTo>
                      <a:pt x="14" y="23"/>
                    </a:moveTo>
                    <a:cubicBezTo>
                      <a:pt x="14" y="18"/>
                      <a:pt x="18" y="14"/>
                      <a:pt x="23" y="14"/>
                    </a:cubicBezTo>
                    <a:cubicBezTo>
                      <a:pt x="127" y="14"/>
                      <a:pt x="127" y="14"/>
                      <a:pt x="127" y="14"/>
                    </a:cubicBezTo>
                    <a:cubicBezTo>
                      <a:pt x="133" y="14"/>
                      <a:pt x="137" y="18"/>
                      <a:pt x="137" y="23"/>
                    </a:cubicBezTo>
                    <a:cubicBezTo>
                      <a:pt x="137" y="54"/>
                      <a:pt x="137" y="54"/>
                      <a:pt x="137" y="54"/>
                    </a:cubicBezTo>
                    <a:cubicBezTo>
                      <a:pt x="151" y="54"/>
                      <a:pt x="151" y="54"/>
                      <a:pt x="151" y="54"/>
                    </a:cubicBezTo>
                    <a:cubicBezTo>
                      <a:pt x="151" y="11"/>
                      <a:pt x="151" y="11"/>
                      <a:pt x="151" y="11"/>
                    </a:cubicBezTo>
                    <a:cubicBezTo>
                      <a:pt x="151" y="5"/>
                      <a:pt x="145" y="0"/>
                      <a:pt x="139" y="0"/>
                    </a:cubicBezTo>
                    <a:cubicBezTo>
                      <a:pt x="11" y="0"/>
                      <a:pt x="11" y="0"/>
                      <a:pt x="11" y="0"/>
                    </a:cubicBezTo>
                    <a:cubicBezTo>
                      <a:pt x="5" y="0"/>
                      <a:pt x="0" y="5"/>
                      <a:pt x="0" y="11"/>
                    </a:cubicBezTo>
                    <a:cubicBezTo>
                      <a:pt x="0" y="106"/>
                      <a:pt x="0" y="106"/>
                      <a:pt x="0" y="106"/>
                    </a:cubicBezTo>
                    <a:cubicBezTo>
                      <a:pt x="14" y="106"/>
                      <a:pt x="14" y="106"/>
                      <a:pt x="14" y="106"/>
                    </a:cubicBezTo>
                    <a:lnTo>
                      <a:pt x="14" y="23"/>
                    </a:lnTo>
                    <a:close/>
                  </a:path>
                </a:pathLst>
              </a:custGeom>
              <a:grpFill/>
              <a:ln>
                <a:solidFill>
                  <a:schemeClr val="accent2"/>
                </a:solidFill>
              </a:ln>
            </p:spPr>
            <p:txBody>
              <a:bodyPr vert="horz" wrap="square" lIns="91440" tIns="45720" rIns="91440" bIns="45720" numCol="1" anchor="t" anchorCtr="0" compatLnSpc="1">
                <a:prstTxWarp prst="textNoShape">
                  <a:avLst/>
                </a:prstTxWarp>
              </a:bodyPr>
              <a:lstStyle/>
              <a:p>
                <a:endParaRPr lang="en-IE"/>
              </a:p>
            </p:txBody>
          </p:sp>
          <p:sp>
            <p:nvSpPr>
              <p:cNvPr id="563" name="Freeform 33">
                <a:extLst>
                  <a:ext uri="{FF2B5EF4-FFF2-40B4-BE49-F238E27FC236}">
                    <a16:creationId xmlns:a16="http://schemas.microsoft.com/office/drawing/2014/main" id="{FEE05860-8678-4F1B-8E0C-50624C19B87F}"/>
                  </a:ext>
                </a:extLst>
              </p:cNvPr>
              <p:cNvSpPr>
                <a:spLocks/>
              </p:cNvSpPr>
              <p:nvPr/>
            </p:nvSpPr>
            <p:spPr bwMode="auto">
              <a:xfrm>
                <a:off x="1864757" y="3646102"/>
                <a:ext cx="475413" cy="290308"/>
              </a:xfrm>
              <a:custGeom>
                <a:avLst/>
                <a:gdLst>
                  <a:gd name="T0" fmla="*/ 137 w 151"/>
                  <a:gd name="T1" fmla="*/ 0 h 92"/>
                  <a:gd name="T2" fmla="*/ 137 w 151"/>
                  <a:gd name="T3" fmla="*/ 69 h 92"/>
                  <a:gd name="T4" fmla="*/ 127 w 151"/>
                  <a:gd name="T5" fmla="*/ 78 h 92"/>
                  <a:gd name="T6" fmla="*/ 23 w 151"/>
                  <a:gd name="T7" fmla="*/ 78 h 92"/>
                  <a:gd name="T8" fmla="*/ 14 w 151"/>
                  <a:gd name="T9" fmla="*/ 69 h 92"/>
                  <a:gd name="T10" fmla="*/ 14 w 151"/>
                  <a:gd name="T11" fmla="*/ 54 h 92"/>
                  <a:gd name="T12" fmla="*/ 14 w 151"/>
                  <a:gd name="T13" fmla="*/ 53 h 92"/>
                  <a:gd name="T14" fmla="*/ 0 w 151"/>
                  <a:gd name="T15" fmla="*/ 53 h 92"/>
                  <a:gd name="T16" fmla="*/ 0 w 151"/>
                  <a:gd name="T17" fmla="*/ 55 h 92"/>
                  <a:gd name="T18" fmla="*/ 0 w 151"/>
                  <a:gd name="T19" fmla="*/ 81 h 92"/>
                  <a:gd name="T20" fmla="*/ 11 w 151"/>
                  <a:gd name="T21" fmla="*/ 92 h 92"/>
                  <a:gd name="T22" fmla="*/ 139 w 151"/>
                  <a:gd name="T23" fmla="*/ 92 h 92"/>
                  <a:gd name="T24" fmla="*/ 151 w 151"/>
                  <a:gd name="T25" fmla="*/ 81 h 92"/>
                  <a:gd name="T26" fmla="*/ 151 w 151"/>
                  <a:gd name="T27" fmla="*/ 0 h 92"/>
                  <a:gd name="T28" fmla="*/ 137 w 151"/>
                  <a:gd name="T2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 h="92">
                    <a:moveTo>
                      <a:pt x="137" y="0"/>
                    </a:moveTo>
                    <a:cubicBezTo>
                      <a:pt x="137" y="69"/>
                      <a:pt x="137" y="69"/>
                      <a:pt x="137" y="69"/>
                    </a:cubicBezTo>
                    <a:cubicBezTo>
                      <a:pt x="137" y="74"/>
                      <a:pt x="133" y="78"/>
                      <a:pt x="127" y="78"/>
                    </a:cubicBezTo>
                    <a:cubicBezTo>
                      <a:pt x="23" y="78"/>
                      <a:pt x="23" y="78"/>
                      <a:pt x="23" y="78"/>
                    </a:cubicBezTo>
                    <a:cubicBezTo>
                      <a:pt x="18" y="78"/>
                      <a:pt x="14" y="74"/>
                      <a:pt x="14" y="69"/>
                    </a:cubicBezTo>
                    <a:cubicBezTo>
                      <a:pt x="14" y="54"/>
                      <a:pt x="14" y="54"/>
                      <a:pt x="14" y="54"/>
                    </a:cubicBezTo>
                    <a:cubicBezTo>
                      <a:pt x="14" y="53"/>
                      <a:pt x="14" y="53"/>
                      <a:pt x="14" y="53"/>
                    </a:cubicBezTo>
                    <a:cubicBezTo>
                      <a:pt x="0" y="53"/>
                      <a:pt x="0" y="53"/>
                      <a:pt x="0" y="53"/>
                    </a:cubicBezTo>
                    <a:cubicBezTo>
                      <a:pt x="0" y="55"/>
                      <a:pt x="0" y="55"/>
                      <a:pt x="0" y="55"/>
                    </a:cubicBezTo>
                    <a:cubicBezTo>
                      <a:pt x="0" y="81"/>
                      <a:pt x="0" y="81"/>
                      <a:pt x="0" y="81"/>
                    </a:cubicBezTo>
                    <a:cubicBezTo>
                      <a:pt x="0" y="87"/>
                      <a:pt x="5" y="92"/>
                      <a:pt x="11" y="92"/>
                    </a:cubicBezTo>
                    <a:cubicBezTo>
                      <a:pt x="139" y="92"/>
                      <a:pt x="139" y="92"/>
                      <a:pt x="139" y="92"/>
                    </a:cubicBezTo>
                    <a:cubicBezTo>
                      <a:pt x="145" y="92"/>
                      <a:pt x="151" y="87"/>
                      <a:pt x="151" y="81"/>
                    </a:cubicBezTo>
                    <a:cubicBezTo>
                      <a:pt x="151" y="0"/>
                      <a:pt x="151" y="0"/>
                      <a:pt x="151" y="0"/>
                    </a:cubicBezTo>
                    <a:lnTo>
                      <a:pt x="137" y="0"/>
                    </a:lnTo>
                    <a:close/>
                  </a:path>
                </a:pathLst>
              </a:custGeom>
              <a:grpFill/>
              <a:ln>
                <a:solidFill>
                  <a:schemeClr val="accent2"/>
                </a:solidFill>
              </a:ln>
            </p:spPr>
            <p:txBody>
              <a:bodyPr vert="horz" wrap="square" lIns="91440" tIns="45720" rIns="91440" bIns="45720" numCol="1" anchor="t" anchorCtr="0" compatLnSpc="1">
                <a:prstTxWarp prst="textNoShape">
                  <a:avLst/>
                </a:prstTxWarp>
              </a:bodyPr>
              <a:lstStyle/>
              <a:p>
                <a:endParaRPr lang="en-IE"/>
              </a:p>
            </p:txBody>
          </p:sp>
          <p:sp>
            <p:nvSpPr>
              <p:cNvPr id="564" name="Freeform 34">
                <a:extLst>
                  <a:ext uri="{FF2B5EF4-FFF2-40B4-BE49-F238E27FC236}">
                    <a16:creationId xmlns:a16="http://schemas.microsoft.com/office/drawing/2014/main" id="{57FFDBFE-2E87-43CF-96FD-1932EB56B911}"/>
                  </a:ext>
                </a:extLst>
              </p:cNvPr>
              <p:cNvSpPr>
                <a:spLocks/>
              </p:cNvSpPr>
              <p:nvPr/>
            </p:nvSpPr>
            <p:spPr bwMode="auto">
              <a:xfrm>
                <a:off x="2167050" y="3595498"/>
                <a:ext cx="270333" cy="119852"/>
              </a:xfrm>
              <a:custGeom>
                <a:avLst/>
                <a:gdLst>
                  <a:gd name="T0" fmla="*/ 86 w 86"/>
                  <a:gd name="T1" fmla="*/ 38 h 38"/>
                  <a:gd name="T2" fmla="*/ 86 w 86"/>
                  <a:gd name="T3" fmla="*/ 34 h 38"/>
                  <a:gd name="T4" fmla="*/ 73 w 86"/>
                  <a:gd name="T5" fmla="*/ 21 h 38"/>
                  <a:gd name="T6" fmla="*/ 69 w 86"/>
                  <a:gd name="T7" fmla="*/ 22 h 38"/>
                  <a:gd name="T8" fmla="*/ 44 w 86"/>
                  <a:gd name="T9" fmla="*/ 0 h 38"/>
                  <a:gd name="T10" fmla="*/ 20 w 86"/>
                  <a:gd name="T11" fmla="*/ 19 h 38"/>
                  <a:gd name="T12" fmla="*/ 16 w 86"/>
                  <a:gd name="T13" fmla="*/ 18 h 38"/>
                  <a:gd name="T14" fmla="*/ 0 w 86"/>
                  <a:gd name="T15" fmla="*/ 34 h 38"/>
                  <a:gd name="T16" fmla="*/ 0 w 86"/>
                  <a:gd name="T17" fmla="*/ 38 h 38"/>
                  <a:gd name="T18" fmla="*/ 86 w 86"/>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38">
                    <a:moveTo>
                      <a:pt x="86" y="38"/>
                    </a:moveTo>
                    <a:cubicBezTo>
                      <a:pt x="86" y="37"/>
                      <a:pt x="86" y="36"/>
                      <a:pt x="86" y="34"/>
                    </a:cubicBezTo>
                    <a:cubicBezTo>
                      <a:pt x="86" y="27"/>
                      <a:pt x="80" y="21"/>
                      <a:pt x="73" y="21"/>
                    </a:cubicBezTo>
                    <a:cubicBezTo>
                      <a:pt x="72" y="21"/>
                      <a:pt x="70" y="22"/>
                      <a:pt x="69" y="22"/>
                    </a:cubicBezTo>
                    <a:cubicBezTo>
                      <a:pt x="67" y="10"/>
                      <a:pt x="57" y="0"/>
                      <a:pt x="44" y="0"/>
                    </a:cubicBezTo>
                    <a:cubicBezTo>
                      <a:pt x="32" y="0"/>
                      <a:pt x="23" y="8"/>
                      <a:pt x="20" y="19"/>
                    </a:cubicBezTo>
                    <a:cubicBezTo>
                      <a:pt x="18" y="18"/>
                      <a:pt x="17" y="18"/>
                      <a:pt x="16" y="18"/>
                    </a:cubicBezTo>
                    <a:cubicBezTo>
                      <a:pt x="7" y="18"/>
                      <a:pt x="0" y="25"/>
                      <a:pt x="0" y="34"/>
                    </a:cubicBezTo>
                    <a:cubicBezTo>
                      <a:pt x="0" y="36"/>
                      <a:pt x="0" y="37"/>
                      <a:pt x="0" y="38"/>
                    </a:cubicBezTo>
                    <a:lnTo>
                      <a:pt x="86" y="38"/>
                    </a:lnTo>
                    <a:close/>
                  </a:path>
                </a:pathLst>
              </a:custGeom>
              <a:grpFill/>
              <a:ln>
                <a:solidFill>
                  <a:schemeClr val="accent2"/>
                </a:solidFill>
              </a:ln>
            </p:spPr>
            <p:txBody>
              <a:bodyPr vert="horz" wrap="square" lIns="91440" tIns="45720" rIns="91440" bIns="45720" numCol="1" anchor="t" anchorCtr="0" compatLnSpc="1">
                <a:prstTxWarp prst="textNoShape">
                  <a:avLst/>
                </a:prstTxWarp>
              </a:bodyPr>
              <a:lstStyle/>
              <a:p>
                <a:endParaRPr lang="en-IE"/>
              </a:p>
            </p:txBody>
          </p:sp>
          <p:sp>
            <p:nvSpPr>
              <p:cNvPr id="565" name="Freeform 35">
                <a:extLst>
                  <a:ext uri="{FF2B5EF4-FFF2-40B4-BE49-F238E27FC236}">
                    <a16:creationId xmlns:a16="http://schemas.microsoft.com/office/drawing/2014/main" id="{22B43918-9D4C-421C-AB68-3EE3DE64DBA3}"/>
                  </a:ext>
                </a:extLst>
              </p:cNvPr>
              <p:cNvSpPr>
                <a:spLocks/>
              </p:cNvSpPr>
              <p:nvPr/>
            </p:nvSpPr>
            <p:spPr bwMode="auto">
              <a:xfrm>
                <a:off x="1760885" y="3646102"/>
                <a:ext cx="447447" cy="195759"/>
              </a:xfrm>
              <a:custGeom>
                <a:avLst/>
                <a:gdLst>
                  <a:gd name="T0" fmla="*/ 141 w 142"/>
                  <a:gd name="T1" fmla="*/ 62 h 62"/>
                  <a:gd name="T2" fmla="*/ 142 w 142"/>
                  <a:gd name="T3" fmla="*/ 56 h 62"/>
                  <a:gd name="T4" fmla="*/ 121 w 142"/>
                  <a:gd name="T5" fmla="*/ 35 h 62"/>
                  <a:gd name="T6" fmla="*/ 114 w 142"/>
                  <a:gd name="T7" fmla="*/ 36 h 62"/>
                  <a:gd name="T8" fmla="*/ 73 w 142"/>
                  <a:gd name="T9" fmla="*/ 0 h 62"/>
                  <a:gd name="T10" fmla="*/ 33 w 142"/>
                  <a:gd name="T11" fmla="*/ 30 h 62"/>
                  <a:gd name="T12" fmla="*/ 27 w 142"/>
                  <a:gd name="T13" fmla="*/ 30 h 62"/>
                  <a:gd name="T14" fmla="*/ 0 w 142"/>
                  <a:gd name="T15" fmla="*/ 56 h 62"/>
                  <a:gd name="T16" fmla="*/ 0 w 142"/>
                  <a:gd name="T17" fmla="*/ 62 h 62"/>
                  <a:gd name="T18" fmla="*/ 141 w 14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62">
                    <a:moveTo>
                      <a:pt x="141" y="62"/>
                    </a:moveTo>
                    <a:cubicBezTo>
                      <a:pt x="142" y="60"/>
                      <a:pt x="142" y="58"/>
                      <a:pt x="142" y="56"/>
                    </a:cubicBezTo>
                    <a:cubicBezTo>
                      <a:pt x="142" y="44"/>
                      <a:pt x="132" y="35"/>
                      <a:pt x="121" y="35"/>
                    </a:cubicBezTo>
                    <a:cubicBezTo>
                      <a:pt x="118" y="35"/>
                      <a:pt x="116" y="35"/>
                      <a:pt x="114" y="36"/>
                    </a:cubicBezTo>
                    <a:cubicBezTo>
                      <a:pt x="111" y="16"/>
                      <a:pt x="93" y="0"/>
                      <a:pt x="73" y="0"/>
                    </a:cubicBezTo>
                    <a:cubicBezTo>
                      <a:pt x="54" y="0"/>
                      <a:pt x="38" y="13"/>
                      <a:pt x="33" y="30"/>
                    </a:cubicBezTo>
                    <a:cubicBezTo>
                      <a:pt x="31" y="30"/>
                      <a:pt x="29" y="30"/>
                      <a:pt x="27" y="30"/>
                    </a:cubicBezTo>
                    <a:cubicBezTo>
                      <a:pt x="12" y="30"/>
                      <a:pt x="0" y="41"/>
                      <a:pt x="0" y="56"/>
                    </a:cubicBezTo>
                    <a:cubicBezTo>
                      <a:pt x="0" y="58"/>
                      <a:pt x="0" y="60"/>
                      <a:pt x="0" y="62"/>
                    </a:cubicBezTo>
                    <a:lnTo>
                      <a:pt x="141" y="62"/>
                    </a:lnTo>
                    <a:close/>
                  </a:path>
                </a:pathLst>
              </a:custGeom>
              <a:grpFill/>
              <a:ln>
                <a:solidFill>
                  <a:schemeClr val="accent2"/>
                </a:solidFill>
              </a:ln>
            </p:spPr>
            <p:txBody>
              <a:bodyPr vert="horz" wrap="square" lIns="91440" tIns="45720" rIns="91440" bIns="45720" numCol="1" anchor="t" anchorCtr="0" compatLnSpc="1">
                <a:prstTxWarp prst="textNoShape">
                  <a:avLst/>
                </a:prstTxWarp>
              </a:bodyPr>
              <a:lstStyle/>
              <a:p>
                <a:endParaRPr lang="en-IE"/>
              </a:p>
            </p:txBody>
          </p:sp>
        </p:grpSp>
      </p:grpSp>
      <p:sp>
        <p:nvSpPr>
          <p:cNvPr id="551" name="Rectangle 159">
            <a:extLst>
              <a:ext uri="{FF2B5EF4-FFF2-40B4-BE49-F238E27FC236}">
                <a16:creationId xmlns:a16="http://schemas.microsoft.com/office/drawing/2014/main" id="{296D6A06-58BD-42A8-A6E5-74E3EF2715B0}"/>
              </a:ext>
              <a:ext uri="{C183D7F6-B498-43B3-948B-1728B52AA6E4}">
                <adec:decorative xmlns:adec="http://schemas.microsoft.com/office/drawing/2017/decorative" val="1"/>
              </a:ext>
            </a:extLst>
          </p:cNvPr>
          <p:cNvSpPr>
            <a:spLocks noChangeAspect="1" noChangeArrowheads="1"/>
          </p:cNvSpPr>
          <p:nvPr/>
        </p:nvSpPr>
        <p:spPr bwMode="auto">
          <a:xfrm>
            <a:off x="4211422" y="3209220"/>
            <a:ext cx="63959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a:solidFill>
                  <a:srgbClr val="000000"/>
                </a:solidFill>
                <a:latin typeface="+mj-lt"/>
              </a:rPr>
              <a:t>Automation</a:t>
            </a:r>
            <a:endParaRPr kumimoji="0" lang="fr-FR" altLang="fr-FR" sz="900" b="0" i="0" u="none" strike="noStrike" cap="none" normalizeH="0" baseline="0">
              <a:ln>
                <a:noFill/>
              </a:ln>
              <a:solidFill>
                <a:schemeClr val="tx1"/>
              </a:solidFill>
              <a:effectLst/>
              <a:latin typeface="+mj-lt"/>
            </a:endParaRPr>
          </a:p>
        </p:txBody>
      </p:sp>
      <p:sp>
        <p:nvSpPr>
          <p:cNvPr id="634" name="Rectangle 253">
            <a:extLst>
              <a:ext uri="{FF2B5EF4-FFF2-40B4-BE49-F238E27FC236}">
                <a16:creationId xmlns:a16="http://schemas.microsoft.com/office/drawing/2014/main" id="{A50115A0-149A-40BA-B068-DE1049B0075A}"/>
              </a:ext>
              <a:ext uri="{C183D7F6-B498-43B3-948B-1728B52AA6E4}">
                <adec:decorative xmlns:adec="http://schemas.microsoft.com/office/drawing/2017/decorative" val="1"/>
              </a:ext>
            </a:extLst>
          </p:cNvPr>
          <p:cNvSpPr>
            <a:spLocks noChangeArrowheads="1"/>
          </p:cNvSpPr>
          <p:nvPr/>
        </p:nvSpPr>
        <p:spPr bwMode="auto">
          <a:xfrm>
            <a:off x="4282382" y="2144772"/>
            <a:ext cx="11525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Smartphone, Tablet</a:t>
            </a:r>
            <a:endParaRPr kumimoji="0" lang="fr-FR" altLang="fr-FR" sz="900" b="0" i="0" u="none" strike="noStrike" cap="none" normalizeH="0" baseline="0">
              <a:ln>
                <a:noFill/>
              </a:ln>
              <a:solidFill>
                <a:schemeClr val="tx1"/>
              </a:solidFill>
              <a:effectLst/>
              <a:latin typeface="+mj-lt"/>
            </a:endParaRPr>
          </a:p>
        </p:txBody>
      </p:sp>
      <p:sp>
        <p:nvSpPr>
          <p:cNvPr id="573" name="TextBox 794">
            <a:extLst>
              <a:ext uri="{FF2B5EF4-FFF2-40B4-BE49-F238E27FC236}">
                <a16:creationId xmlns:a16="http://schemas.microsoft.com/office/drawing/2014/main" id="{85BA5207-D7EC-4835-BDB9-A49D2CEFBBA6}"/>
              </a:ext>
              <a:ext uri="{C183D7F6-B498-43B3-948B-1728B52AA6E4}">
                <adec:decorative xmlns:adec="http://schemas.microsoft.com/office/drawing/2017/decorative" val="1"/>
              </a:ext>
            </a:extLst>
          </p:cNvPr>
          <p:cNvSpPr txBox="1"/>
          <p:nvPr/>
        </p:nvSpPr>
        <p:spPr>
          <a:xfrm>
            <a:off x="2274089" y="1881231"/>
            <a:ext cx="821059" cy="369332"/>
          </a:xfrm>
          <a:prstGeom prst="rect">
            <a:avLst/>
          </a:prstGeom>
          <a:noFill/>
        </p:spPr>
        <p:txBody>
          <a:bodyPr wrap="none" rtlCol="0">
            <a:spAutoFit/>
          </a:bodyPr>
          <a:lstStyle/>
          <a:p>
            <a:pPr algn="ctr"/>
            <a:r>
              <a:rPr lang="en-US" sz="900">
                <a:solidFill>
                  <a:schemeClr val="bg2">
                    <a:lumMod val="25000"/>
                  </a:schemeClr>
                </a:solidFill>
              </a:rPr>
              <a:t>Cloud</a:t>
            </a:r>
          </a:p>
          <a:p>
            <a:pPr algn="ctr"/>
            <a:r>
              <a:rPr lang="en-US" sz="900">
                <a:solidFill>
                  <a:schemeClr val="bg2">
                    <a:lumMod val="25000"/>
                  </a:schemeClr>
                </a:solidFill>
              </a:rPr>
              <a:t>technology</a:t>
            </a:r>
            <a:endParaRPr lang="en-GB" sz="900">
              <a:solidFill>
                <a:schemeClr val="bg2">
                  <a:lumMod val="25000"/>
                </a:schemeClr>
              </a:solidFill>
            </a:endParaRPr>
          </a:p>
        </p:txBody>
      </p:sp>
      <p:grpSp>
        <p:nvGrpSpPr>
          <p:cNvPr id="559" name="Graphic 117">
            <a:extLst>
              <a:ext uri="{FF2B5EF4-FFF2-40B4-BE49-F238E27FC236}">
                <a16:creationId xmlns:a16="http://schemas.microsoft.com/office/drawing/2014/main" id="{A1FA8353-46F3-4A68-9EB9-85BFD3D929D6}"/>
              </a:ext>
              <a:ext uri="{C183D7F6-B498-43B3-948B-1728B52AA6E4}">
                <adec:decorative xmlns:adec="http://schemas.microsoft.com/office/drawing/2017/decorative" val="1"/>
              </a:ext>
            </a:extLst>
          </p:cNvPr>
          <p:cNvGrpSpPr>
            <a:grpSpLocks noChangeAspect="1"/>
          </p:cNvGrpSpPr>
          <p:nvPr/>
        </p:nvGrpSpPr>
        <p:grpSpPr>
          <a:xfrm>
            <a:off x="1194457" y="2451438"/>
            <a:ext cx="665280" cy="633600"/>
            <a:chOff x="5759436" y="3092580"/>
            <a:chExt cx="671881" cy="671852"/>
          </a:xfrm>
        </p:grpSpPr>
        <p:sp>
          <p:nvSpPr>
            <p:cNvPr id="560" name="Freeform 153">
              <a:extLst>
                <a:ext uri="{FF2B5EF4-FFF2-40B4-BE49-F238E27FC236}">
                  <a16:creationId xmlns:a16="http://schemas.microsoft.com/office/drawing/2014/main" id="{AA3BC04B-193B-4C62-ACC3-F43B9013EE73}"/>
                </a:ext>
              </a:extLst>
            </p:cNvPr>
            <p:cNvSpPr/>
            <p:nvPr/>
          </p:nvSpPr>
          <p:spPr>
            <a:xfrm>
              <a:off x="5759436" y="3092580"/>
              <a:ext cx="671881" cy="671852"/>
            </a:xfrm>
            <a:custGeom>
              <a:avLst/>
              <a:gdLst>
                <a:gd name="connsiteX0" fmla="*/ 671882 w 671881"/>
                <a:gd name="connsiteY0" fmla="*/ 336040 h 671852"/>
                <a:gd name="connsiteX1" fmla="*/ 459618 w 671881"/>
                <a:gd name="connsiteY1" fmla="*/ 648226 h 671852"/>
                <a:gd name="connsiteX2" fmla="*/ 80407 w 671881"/>
                <a:gd name="connsiteY2" fmla="*/ 554371 h 671852"/>
                <a:gd name="connsiteX3" fmla="*/ 52724 w 671881"/>
                <a:gd name="connsiteY3" fmla="*/ 154967 h 671852"/>
                <a:gd name="connsiteX4" fmla="*/ 414492 w 671881"/>
                <a:gd name="connsiteY4" fmla="*/ 9350 h 671852"/>
                <a:gd name="connsiteX5" fmla="*/ 671882 w 671881"/>
                <a:gd name="connsiteY5" fmla="*/ 336040 h 67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881" h="671852">
                  <a:moveTo>
                    <a:pt x="671882" y="336040"/>
                  </a:moveTo>
                  <a:cubicBezTo>
                    <a:pt x="671882" y="471039"/>
                    <a:pt x="584094" y="597412"/>
                    <a:pt x="459618" y="648226"/>
                  </a:cubicBezTo>
                  <a:cubicBezTo>
                    <a:pt x="328127" y="701979"/>
                    <a:pt x="172745" y="661214"/>
                    <a:pt x="80407" y="554371"/>
                  </a:cubicBezTo>
                  <a:cubicBezTo>
                    <a:pt x="-15496" y="441748"/>
                    <a:pt x="-26725" y="279743"/>
                    <a:pt x="52724" y="154967"/>
                  </a:cubicBezTo>
                  <a:cubicBezTo>
                    <a:pt x="129325" y="37790"/>
                    <a:pt x="277312" y="-24969"/>
                    <a:pt x="414492" y="9350"/>
                  </a:cubicBezTo>
                  <a:cubicBezTo>
                    <a:pt x="561152" y="45754"/>
                    <a:pt x="671882" y="184545"/>
                    <a:pt x="671882" y="336040"/>
                  </a:cubicBezTo>
                  <a:close/>
                </a:path>
              </a:pathLst>
            </a:custGeom>
            <a:solidFill>
              <a:schemeClr val="accent1"/>
            </a:solidFill>
            <a:ln w="9391" cap="flat">
              <a:noFill/>
              <a:prstDash val="solid"/>
              <a:miter/>
            </a:ln>
          </p:spPr>
          <p:txBody>
            <a:bodyPr rtlCol="0" anchor="ctr"/>
            <a:lstStyle/>
            <a:p>
              <a:endParaRPr lang="fr-FR"/>
            </a:p>
          </p:txBody>
        </p:sp>
        <p:sp>
          <p:nvSpPr>
            <p:cNvPr id="561" name="Freeform 154">
              <a:extLst>
                <a:ext uri="{FF2B5EF4-FFF2-40B4-BE49-F238E27FC236}">
                  <a16:creationId xmlns:a16="http://schemas.microsoft.com/office/drawing/2014/main" id="{F51DB5BC-D947-4392-93C4-AB9B5C201AAD}"/>
                </a:ext>
              </a:extLst>
            </p:cNvPr>
            <p:cNvSpPr/>
            <p:nvPr/>
          </p:nvSpPr>
          <p:spPr>
            <a:xfrm>
              <a:off x="6029638" y="3373824"/>
              <a:ext cx="41997" cy="25126"/>
            </a:xfrm>
            <a:custGeom>
              <a:avLst/>
              <a:gdLst>
                <a:gd name="connsiteX0" fmla="*/ 0 w 41997"/>
                <a:gd name="connsiteY0" fmla="*/ 25123 h 25126"/>
                <a:gd name="connsiteX1" fmla="*/ 0 w 41997"/>
                <a:gd name="connsiteY1" fmla="*/ 25123 h 25126"/>
                <a:gd name="connsiteX2" fmla="*/ 41998 w 41997"/>
                <a:gd name="connsiteY2" fmla="*/ 0 h 25126"/>
                <a:gd name="connsiteX3" fmla="*/ 41998 w 41997"/>
                <a:gd name="connsiteY3" fmla="*/ 0 h 25126"/>
                <a:gd name="connsiteX4" fmla="*/ 0 w 41997"/>
                <a:gd name="connsiteY4" fmla="*/ 25123 h 25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97" h="25126">
                  <a:moveTo>
                    <a:pt x="0" y="25123"/>
                  </a:moveTo>
                  <a:lnTo>
                    <a:pt x="0" y="25123"/>
                  </a:lnTo>
                  <a:cubicBezTo>
                    <a:pt x="14600" y="25123"/>
                    <a:pt x="27682" y="10334"/>
                    <a:pt x="41998" y="0"/>
                  </a:cubicBezTo>
                  <a:lnTo>
                    <a:pt x="41998" y="0"/>
                  </a:lnTo>
                  <a:cubicBezTo>
                    <a:pt x="27682" y="10428"/>
                    <a:pt x="14220" y="25407"/>
                    <a:pt x="0" y="25123"/>
                  </a:cubicBezTo>
                  <a:close/>
                </a:path>
              </a:pathLst>
            </a:custGeom>
            <a:noFill/>
            <a:ln w="9391" cap="flat">
              <a:noFill/>
              <a:prstDash val="solid"/>
              <a:miter/>
            </a:ln>
          </p:spPr>
          <p:txBody>
            <a:bodyPr rtlCol="0" anchor="ctr"/>
            <a:lstStyle/>
            <a:p>
              <a:endParaRPr lang="fr-FR"/>
            </a:p>
          </p:txBody>
        </p:sp>
        <p:sp>
          <p:nvSpPr>
            <p:cNvPr id="574" name="Freeform 155">
              <a:extLst>
                <a:ext uri="{FF2B5EF4-FFF2-40B4-BE49-F238E27FC236}">
                  <a16:creationId xmlns:a16="http://schemas.microsoft.com/office/drawing/2014/main" id="{94C4D876-E287-4360-9A5F-81A53990C57B}"/>
                </a:ext>
              </a:extLst>
            </p:cNvPr>
            <p:cNvSpPr/>
            <p:nvPr/>
          </p:nvSpPr>
          <p:spPr>
            <a:xfrm>
              <a:off x="6026319" y="3372402"/>
              <a:ext cx="233214" cy="101723"/>
            </a:xfrm>
            <a:custGeom>
              <a:avLst/>
              <a:gdLst>
                <a:gd name="connsiteX0" fmla="*/ 3318 w 233214"/>
                <a:gd name="connsiteY0" fmla="*/ 26640 h 101723"/>
                <a:gd name="connsiteX1" fmla="*/ 3318 w 233214"/>
                <a:gd name="connsiteY1" fmla="*/ 26640 h 101723"/>
                <a:gd name="connsiteX2" fmla="*/ 0 w 233214"/>
                <a:gd name="connsiteY2" fmla="*/ 40102 h 101723"/>
                <a:gd name="connsiteX3" fmla="*/ 2939 w 233214"/>
                <a:gd name="connsiteY3" fmla="*/ 46359 h 101723"/>
                <a:gd name="connsiteX4" fmla="*/ 91674 w 233214"/>
                <a:gd name="connsiteY4" fmla="*/ 65319 h 101723"/>
                <a:gd name="connsiteX5" fmla="*/ 154055 w 233214"/>
                <a:gd name="connsiteY5" fmla="*/ 101723 h 101723"/>
                <a:gd name="connsiteX6" fmla="*/ 233215 w 233214"/>
                <a:gd name="connsiteY6" fmla="*/ 49961 h 101723"/>
                <a:gd name="connsiteX7" fmla="*/ 166853 w 233214"/>
                <a:gd name="connsiteY7" fmla="*/ 14789 h 101723"/>
                <a:gd name="connsiteX8" fmla="*/ 78497 w 233214"/>
                <a:gd name="connsiteY8" fmla="*/ 4456 h 101723"/>
                <a:gd name="connsiteX9" fmla="*/ 65793 w 233214"/>
                <a:gd name="connsiteY9" fmla="*/ 0 h 101723"/>
                <a:gd name="connsiteX10" fmla="*/ 45411 w 233214"/>
                <a:gd name="connsiteY10" fmla="*/ 1422 h 101723"/>
                <a:gd name="connsiteX11" fmla="*/ 45411 w 233214"/>
                <a:gd name="connsiteY11" fmla="*/ 1422 h 101723"/>
                <a:gd name="connsiteX12" fmla="*/ 3318 w 233214"/>
                <a:gd name="connsiteY12" fmla="*/ 26640 h 101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214" h="101723">
                  <a:moveTo>
                    <a:pt x="3318" y="26640"/>
                  </a:moveTo>
                  <a:lnTo>
                    <a:pt x="3318" y="26640"/>
                  </a:lnTo>
                  <a:lnTo>
                    <a:pt x="0" y="40102"/>
                  </a:lnTo>
                  <a:cubicBezTo>
                    <a:pt x="1801" y="40765"/>
                    <a:pt x="3128" y="42187"/>
                    <a:pt x="2939" y="46359"/>
                  </a:cubicBezTo>
                  <a:cubicBezTo>
                    <a:pt x="21899" y="55839"/>
                    <a:pt x="54606" y="61148"/>
                    <a:pt x="91674" y="65319"/>
                  </a:cubicBezTo>
                  <a:cubicBezTo>
                    <a:pt x="124950" y="67500"/>
                    <a:pt x="155287" y="71861"/>
                    <a:pt x="154055" y="101723"/>
                  </a:cubicBezTo>
                  <a:cubicBezTo>
                    <a:pt x="169223" y="88925"/>
                    <a:pt x="197095" y="88830"/>
                    <a:pt x="233215" y="49961"/>
                  </a:cubicBezTo>
                  <a:cubicBezTo>
                    <a:pt x="213887" y="33593"/>
                    <a:pt x="191249" y="21595"/>
                    <a:pt x="166853" y="14789"/>
                  </a:cubicBezTo>
                  <a:cubicBezTo>
                    <a:pt x="138570" y="4669"/>
                    <a:pt x="108351" y="1135"/>
                    <a:pt x="78497" y="4456"/>
                  </a:cubicBezTo>
                  <a:cubicBezTo>
                    <a:pt x="72145" y="5119"/>
                    <a:pt x="67310" y="4456"/>
                    <a:pt x="65793" y="0"/>
                  </a:cubicBezTo>
                  <a:cubicBezTo>
                    <a:pt x="58114" y="1043"/>
                    <a:pt x="47591" y="0"/>
                    <a:pt x="45411" y="1422"/>
                  </a:cubicBezTo>
                  <a:lnTo>
                    <a:pt x="45411" y="1422"/>
                  </a:lnTo>
                  <a:cubicBezTo>
                    <a:pt x="31001" y="11850"/>
                    <a:pt x="17539" y="26924"/>
                    <a:pt x="3318" y="26640"/>
                  </a:cubicBezTo>
                  <a:close/>
                </a:path>
              </a:pathLst>
            </a:custGeom>
            <a:noFill/>
            <a:ln w="9391" cap="flat">
              <a:noFill/>
              <a:prstDash val="solid"/>
              <a:miter/>
            </a:ln>
          </p:spPr>
          <p:txBody>
            <a:bodyPr rtlCol="0" anchor="ctr"/>
            <a:lstStyle/>
            <a:p>
              <a:endParaRPr lang="fr-FR"/>
            </a:p>
          </p:txBody>
        </p:sp>
        <p:sp>
          <p:nvSpPr>
            <p:cNvPr id="575" name="Freeform 156">
              <a:extLst>
                <a:ext uri="{FF2B5EF4-FFF2-40B4-BE49-F238E27FC236}">
                  <a16:creationId xmlns:a16="http://schemas.microsoft.com/office/drawing/2014/main" id="{1A087C91-E2E9-4D46-A2F7-7F0BCBB2D87B}"/>
                </a:ext>
              </a:extLst>
            </p:cNvPr>
            <p:cNvSpPr/>
            <p:nvPr/>
          </p:nvSpPr>
          <p:spPr>
            <a:xfrm>
              <a:off x="6141031" y="3255510"/>
              <a:ext cx="9480" cy="9480"/>
            </a:xfrm>
            <a:custGeom>
              <a:avLst/>
              <a:gdLst>
                <a:gd name="connsiteX0" fmla="*/ 0 w 9480"/>
                <a:gd name="connsiteY0" fmla="*/ 0 h 9480"/>
                <a:gd name="connsiteX1" fmla="*/ 0 w 9480"/>
                <a:gd name="connsiteY1" fmla="*/ 0 h 9480"/>
                <a:gd name="connsiteX2" fmla="*/ 0 w 9480"/>
                <a:gd name="connsiteY2" fmla="*/ 0 h 9480"/>
                <a:gd name="connsiteX3" fmla="*/ 0 w 9480"/>
                <a:gd name="connsiteY3" fmla="*/ 0 h 9480"/>
              </a:gdLst>
              <a:ahLst/>
              <a:cxnLst>
                <a:cxn ang="0">
                  <a:pos x="connsiteX0" y="connsiteY0"/>
                </a:cxn>
                <a:cxn ang="0">
                  <a:pos x="connsiteX1" y="connsiteY1"/>
                </a:cxn>
                <a:cxn ang="0">
                  <a:pos x="connsiteX2" y="connsiteY2"/>
                </a:cxn>
                <a:cxn ang="0">
                  <a:pos x="connsiteX3" y="connsiteY3"/>
                </a:cxn>
              </a:cxnLst>
              <a:rect l="l" t="t" r="r" b="b"/>
              <a:pathLst>
                <a:path w="9480" h="9480">
                  <a:moveTo>
                    <a:pt x="0" y="0"/>
                  </a:moveTo>
                  <a:lnTo>
                    <a:pt x="0" y="0"/>
                  </a:lnTo>
                  <a:lnTo>
                    <a:pt x="0" y="0"/>
                  </a:lnTo>
                  <a:lnTo>
                    <a:pt x="0" y="0"/>
                  </a:lnTo>
                  <a:close/>
                </a:path>
              </a:pathLst>
            </a:custGeom>
            <a:noFill/>
            <a:ln w="9391" cap="flat">
              <a:noFill/>
              <a:prstDash val="solid"/>
              <a:miter/>
            </a:ln>
          </p:spPr>
          <p:txBody>
            <a:bodyPr rtlCol="0" anchor="ctr"/>
            <a:lstStyle/>
            <a:p>
              <a:endParaRPr lang="fr-FR"/>
            </a:p>
          </p:txBody>
        </p:sp>
        <p:sp>
          <p:nvSpPr>
            <p:cNvPr id="579" name="Freeform 157">
              <a:extLst>
                <a:ext uri="{FF2B5EF4-FFF2-40B4-BE49-F238E27FC236}">
                  <a16:creationId xmlns:a16="http://schemas.microsoft.com/office/drawing/2014/main" id="{02260595-ABDD-47BE-8F40-442832DF7C85}"/>
                </a:ext>
              </a:extLst>
            </p:cNvPr>
            <p:cNvSpPr/>
            <p:nvPr/>
          </p:nvSpPr>
          <p:spPr>
            <a:xfrm>
              <a:off x="5996083" y="3380460"/>
              <a:ext cx="6535" cy="20667"/>
            </a:xfrm>
            <a:custGeom>
              <a:avLst/>
              <a:gdLst>
                <a:gd name="connsiteX0" fmla="*/ 2554 w 6535"/>
                <a:gd name="connsiteY0" fmla="*/ 0 h 20667"/>
                <a:gd name="connsiteX1" fmla="*/ 2554 w 6535"/>
                <a:gd name="connsiteY1" fmla="*/ 20667 h 20667"/>
                <a:gd name="connsiteX2" fmla="*/ 6535 w 6535"/>
                <a:gd name="connsiteY2" fmla="*/ 5878 h 20667"/>
                <a:gd name="connsiteX3" fmla="*/ 2554 w 6535"/>
                <a:gd name="connsiteY3" fmla="*/ 284 h 20667"/>
              </a:gdLst>
              <a:ahLst/>
              <a:cxnLst>
                <a:cxn ang="0">
                  <a:pos x="connsiteX0" y="connsiteY0"/>
                </a:cxn>
                <a:cxn ang="0">
                  <a:pos x="connsiteX1" y="connsiteY1"/>
                </a:cxn>
                <a:cxn ang="0">
                  <a:pos x="connsiteX2" y="connsiteY2"/>
                </a:cxn>
                <a:cxn ang="0">
                  <a:pos x="connsiteX3" y="connsiteY3"/>
                </a:cxn>
              </a:cxnLst>
              <a:rect l="l" t="t" r="r" b="b"/>
              <a:pathLst>
                <a:path w="6535" h="20667">
                  <a:moveTo>
                    <a:pt x="2554" y="0"/>
                  </a:moveTo>
                  <a:cubicBezTo>
                    <a:pt x="942" y="4077"/>
                    <a:pt x="-2281" y="15548"/>
                    <a:pt x="2554" y="20667"/>
                  </a:cubicBezTo>
                  <a:lnTo>
                    <a:pt x="6535" y="5878"/>
                  </a:lnTo>
                  <a:cubicBezTo>
                    <a:pt x="4734" y="4401"/>
                    <a:pt x="3359" y="2470"/>
                    <a:pt x="2554" y="284"/>
                  </a:cubicBezTo>
                  <a:close/>
                </a:path>
              </a:pathLst>
            </a:custGeom>
            <a:noFill/>
            <a:ln w="9391" cap="flat">
              <a:noFill/>
              <a:prstDash val="solid"/>
              <a:miter/>
            </a:ln>
          </p:spPr>
          <p:txBody>
            <a:bodyPr rtlCol="0" anchor="ctr"/>
            <a:lstStyle/>
            <a:p>
              <a:endParaRPr lang="fr-FR"/>
            </a:p>
          </p:txBody>
        </p:sp>
        <p:sp>
          <p:nvSpPr>
            <p:cNvPr id="580" name="Freeform 158">
              <a:extLst>
                <a:ext uri="{FF2B5EF4-FFF2-40B4-BE49-F238E27FC236}">
                  <a16:creationId xmlns:a16="http://schemas.microsoft.com/office/drawing/2014/main" id="{8D6B965C-A3D2-4E27-88D3-D1323055AFBC}"/>
                </a:ext>
              </a:extLst>
            </p:cNvPr>
            <p:cNvSpPr/>
            <p:nvPr/>
          </p:nvSpPr>
          <p:spPr>
            <a:xfrm>
              <a:off x="6054191" y="3269731"/>
              <a:ext cx="758" cy="663"/>
            </a:xfrm>
            <a:custGeom>
              <a:avLst/>
              <a:gdLst>
                <a:gd name="connsiteX0" fmla="*/ 758 w 758"/>
                <a:gd name="connsiteY0" fmla="*/ 0 h 663"/>
                <a:gd name="connsiteX1" fmla="*/ 0 w 758"/>
                <a:gd name="connsiteY1" fmla="*/ 664 h 663"/>
                <a:gd name="connsiteX2" fmla="*/ 664 w 758"/>
                <a:gd name="connsiteY2" fmla="*/ 190 h 663"/>
              </a:gdLst>
              <a:ahLst/>
              <a:cxnLst>
                <a:cxn ang="0">
                  <a:pos x="connsiteX0" y="connsiteY0"/>
                </a:cxn>
                <a:cxn ang="0">
                  <a:pos x="connsiteX1" y="connsiteY1"/>
                </a:cxn>
                <a:cxn ang="0">
                  <a:pos x="connsiteX2" y="connsiteY2"/>
                </a:cxn>
              </a:cxnLst>
              <a:rect l="l" t="t" r="r" b="b"/>
              <a:pathLst>
                <a:path w="758" h="663">
                  <a:moveTo>
                    <a:pt x="758" y="0"/>
                  </a:moveTo>
                  <a:lnTo>
                    <a:pt x="0" y="664"/>
                  </a:lnTo>
                  <a:lnTo>
                    <a:pt x="664" y="190"/>
                  </a:lnTo>
                  <a:close/>
                </a:path>
              </a:pathLst>
            </a:custGeom>
            <a:noFill/>
            <a:ln w="9391" cap="flat">
              <a:noFill/>
              <a:prstDash val="solid"/>
              <a:miter/>
            </a:ln>
          </p:spPr>
          <p:txBody>
            <a:bodyPr rtlCol="0" anchor="ctr"/>
            <a:lstStyle/>
            <a:p>
              <a:endParaRPr lang="fr-FR"/>
            </a:p>
          </p:txBody>
        </p:sp>
        <p:sp>
          <p:nvSpPr>
            <p:cNvPr id="581" name="Freeform 159">
              <a:extLst>
                <a:ext uri="{FF2B5EF4-FFF2-40B4-BE49-F238E27FC236}">
                  <a16:creationId xmlns:a16="http://schemas.microsoft.com/office/drawing/2014/main" id="{64603FC0-5C17-42E7-BD61-1AD7BE248BD9}"/>
                </a:ext>
              </a:extLst>
            </p:cNvPr>
            <p:cNvSpPr/>
            <p:nvPr/>
          </p:nvSpPr>
          <p:spPr>
            <a:xfrm>
              <a:off x="6087941" y="3312582"/>
              <a:ext cx="2938" cy="8532"/>
            </a:xfrm>
            <a:custGeom>
              <a:avLst/>
              <a:gdLst>
                <a:gd name="connsiteX0" fmla="*/ 0 w 2938"/>
                <a:gd name="connsiteY0" fmla="*/ 0 h 8532"/>
                <a:gd name="connsiteX1" fmla="*/ 0 w 2938"/>
                <a:gd name="connsiteY1" fmla="*/ 0 h 8532"/>
                <a:gd name="connsiteX2" fmla="*/ 2939 w 2938"/>
                <a:gd name="connsiteY2" fmla="*/ 8532 h 8532"/>
                <a:gd name="connsiteX3" fmla="*/ 2939 w 2938"/>
                <a:gd name="connsiteY3" fmla="*/ 8532 h 8532"/>
                <a:gd name="connsiteX4" fmla="*/ 0 w 2938"/>
                <a:gd name="connsiteY4" fmla="*/ 0 h 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 h="8532">
                  <a:moveTo>
                    <a:pt x="0" y="0"/>
                  </a:moveTo>
                  <a:lnTo>
                    <a:pt x="0" y="0"/>
                  </a:lnTo>
                  <a:cubicBezTo>
                    <a:pt x="79" y="3079"/>
                    <a:pt x="1105" y="6058"/>
                    <a:pt x="2939" y="8532"/>
                  </a:cubicBezTo>
                  <a:lnTo>
                    <a:pt x="2939" y="8532"/>
                  </a:lnTo>
                  <a:cubicBezTo>
                    <a:pt x="1776" y="5755"/>
                    <a:pt x="794" y="2905"/>
                    <a:pt x="0" y="0"/>
                  </a:cubicBezTo>
                  <a:close/>
                </a:path>
              </a:pathLst>
            </a:custGeom>
            <a:noFill/>
            <a:ln w="9391" cap="flat">
              <a:noFill/>
              <a:prstDash val="solid"/>
              <a:miter/>
            </a:ln>
          </p:spPr>
          <p:txBody>
            <a:bodyPr rtlCol="0" anchor="ctr"/>
            <a:lstStyle/>
            <a:p>
              <a:endParaRPr lang="fr-FR"/>
            </a:p>
          </p:txBody>
        </p:sp>
        <p:sp>
          <p:nvSpPr>
            <p:cNvPr id="582" name="Freeform 160">
              <a:extLst>
                <a:ext uri="{FF2B5EF4-FFF2-40B4-BE49-F238E27FC236}">
                  <a16:creationId xmlns:a16="http://schemas.microsoft.com/office/drawing/2014/main" id="{4CA1213D-FD38-4B2C-B960-AB6B4828C5B0}"/>
                </a:ext>
              </a:extLst>
            </p:cNvPr>
            <p:cNvSpPr/>
            <p:nvPr/>
          </p:nvSpPr>
          <p:spPr>
            <a:xfrm>
              <a:off x="5998637" y="3380460"/>
              <a:ext cx="3981" cy="5593"/>
            </a:xfrm>
            <a:custGeom>
              <a:avLst/>
              <a:gdLst>
                <a:gd name="connsiteX0" fmla="*/ 0 w 3981"/>
                <a:gd name="connsiteY0" fmla="*/ 0 h 5593"/>
                <a:gd name="connsiteX1" fmla="*/ 0 w 3981"/>
                <a:gd name="connsiteY1" fmla="*/ 0 h 5593"/>
                <a:gd name="connsiteX2" fmla="*/ 3982 w 3981"/>
                <a:gd name="connsiteY2" fmla="*/ 5593 h 5593"/>
                <a:gd name="connsiteX3" fmla="*/ 3982 w 3981"/>
                <a:gd name="connsiteY3" fmla="*/ 5593 h 5593"/>
                <a:gd name="connsiteX4" fmla="*/ 0 w 3981"/>
                <a:gd name="connsiteY4" fmla="*/ 0 h 5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 h="5593">
                  <a:moveTo>
                    <a:pt x="0" y="0"/>
                  </a:moveTo>
                  <a:lnTo>
                    <a:pt x="0" y="0"/>
                  </a:lnTo>
                  <a:cubicBezTo>
                    <a:pt x="806" y="2186"/>
                    <a:pt x="2180" y="4117"/>
                    <a:pt x="3982" y="5593"/>
                  </a:cubicBezTo>
                  <a:lnTo>
                    <a:pt x="3982" y="5593"/>
                  </a:lnTo>
                  <a:cubicBezTo>
                    <a:pt x="2197" y="4101"/>
                    <a:pt x="825" y="2175"/>
                    <a:pt x="0" y="0"/>
                  </a:cubicBezTo>
                  <a:close/>
                </a:path>
              </a:pathLst>
            </a:custGeom>
            <a:noFill/>
            <a:ln w="9391" cap="flat">
              <a:noFill/>
              <a:prstDash val="solid"/>
              <a:miter/>
            </a:ln>
          </p:spPr>
          <p:txBody>
            <a:bodyPr rtlCol="0" anchor="ctr"/>
            <a:lstStyle/>
            <a:p>
              <a:endParaRPr lang="fr-FR"/>
            </a:p>
          </p:txBody>
        </p:sp>
        <p:sp>
          <p:nvSpPr>
            <p:cNvPr id="583" name="Freeform 161">
              <a:extLst>
                <a:ext uri="{FF2B5EF4-FFF2-40B4-BE49-F238E27FC236}">
                  <a16:creationId xmlns:a16="http://schemas.microsoft.com/office/drawing/2014/main" id="{5365E87A-87D5-495F-96C8-D6A119EF9470}"/>
                </a:ext>
              </a:extLst>
            </p:cNvPr>
            <p:cNvSpPr/>
            <p:nvPr/>
          </p:nvSpPr>
          <p:spPr>
            <a:xfrm>
              <a:off x="6088359" y="3252170"/>
              <a:ext cx="123205" cy="71882"/>
            </a:xfrm>
            <a:custGeom>
              <a:avLst/>
              <a:gdLst>
                <a:gd name="connsiteX0" fmla="*/ 2900 w 123205"/>
                <a:gd name="connsiteY0" fmla="*/ 68943 h 71882"/>
                <a:gd name="connsiteX1" fmla="*/ 30488 w 123205"/>
                <a:gd name="connsiteY1" fmla="*/ 65246 h 71882"/>
                <a:gd name="connsiteX2" fmla="*/ 31341 w 123205"/>
                <a:gd name="connsiteY2" fmla="*/ 65246 h 71882"/>
                <a:gd name="connsiteX3" fmla="*/ 44045 w 123205"/>
                <a:gd name="connsiteY3" fmla="*/ 64298 h 71882"/>
                <a:gd name="connsiteX4" fmla="*/ 46510 w 123205"/>
                <a:gd name="connsiteY4" fmla="*/ 64298 h 71882"/>
                <a:gd name="connsiteX5" fmla="*/ 53620 w 123205"/>
                <a:gd name="connsiteY5" fmla="*/ 64298 h 71882"/>
                <a:gd name="connsiteX6" fmla="*/ 61015 w 123205"/>
                <a:gd name="connsiteY6" fmla="*/ 64298 h 71882"/>
                <a:gd name="connsiteX7" fmla="*/ 69926 w 123205"/>
                <a:gd name="connsiteY7" fmla="*/ 64298 h 71882"/>
                <a:gd name="connsiteX8" fmla="*/ 106615 w 123205"/>
                <a:gd name="connsiteY8" fmla="*/ 69038 h 71882"/>
                <a:gd name="connsiteX9" fmla="*/ 119413 w 123205"/>
                <a:gd name="connsiteY9" fmla="*/ 71882 h 71882"/>
                <a:gd name="connsiteX10" fmla="*/ 123205 w 123205"/>
                <a:gd name="connsiteY10" fmla="*/ 63634 h 71882"/>
                <a:gd name="connsiteX11" fmla="*/ 123205 w 123205"/>
                <a:gd name="connsiteY11" fmla="*/ 40977 h 71882"/>
                <a:gd name="connsiteX12" fmla="*/ 66323 w 123205"/>
                <a:gd name="connsiteY12" fmla="*/ 117 h 71882"/>
                <a:gd name="connsiteX13" fmla="*/ 54568 w 123205"/>
                <a:gd name="connsiteY13" fmla="*/ 3055 h 71882"/>
                <a:gd name="connsiteX14" fmla="*/ 53809 w 123205"/>
                <a:gd name="connsiteY14" fmla="*/ 3055 h 71882"/>
                <a:gd name="connsiteX15" fmla="*/ 35513 w 123205"/>
                <a:gd name="connsiteY15" fmla="*/ 16612 h 71882"/>
                <a:gd name="connsiteX16" fmla="*/ 2521 w 123205"/>
                <a:gd name="connsiteY16" fmla="*/ 47613 h 71882"/>
                <a:gd name="connsiteX17" fmla="*/ 720 w 123205"/>
                <a:gd name="connsiteY17" fmla="*/ 59937 h 71882"/>
                <a:gd name="connsiteX18" fmla="*/ 720 w 123205"/>
                <a:gd name="connsiteY18" fmla="*/ 59937 h 71882"/>
                <a:gd name="connsiteX19" fmla="*/ 2900 w 123205"/>
                <a:gd name="connsiteY19" fmla="*/ 68943 h 7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205" h="71882">
                  <a:moveTo>
                    <a:pt x="2900" y="68943"/>
                  </a:moveTo>
                  <a:cubicBezTo>
                    <a:pt x="7451" y="68090"/>
                    <a:pt x="17595" y="66479"/>
                    <a:pt x="30488" y="65246"/>
                  </a:cubicBezTo>
                  <a:lnTo>
                    <a:pt x="31341" y="65246"/>
                  </a:lnTo>
                  <a:lnTo>
                    <a:pt x="44045" y="64298"/>
                  </a:lnTo>
                  <a:lnTo>
                    <a:pt x="46510" y="64298"/>
                  </a:lnTo>
                  <a:lnTo>
                    <a:pt x="53620" y="64298"/>
                  </a:lnTo>
                  <a:lnTo>
                    <a:pt x="61015" y="64298"/>
                  </a:lnTo>
                  <a:lnTo>
                    <a:pt x="69926" y="64298"/>
                  </a:lnTo>
                  <a:cubicBezTo>
                    <a:pt x="82260" y="64920"/>
                    <a:pt x="94527" y="66505"/>
                    <a:pt x="106615" y="69038"/>
                  </a:cubicBezTo>
                  <a:cubicBezTo>
                    <a:pt x="111165" y="69891"/>
                    <a:pt x="115526" y="70840"/>
                    <a:pt x="119413" y="71882"/>
                  </a:cubicBezTo>
                  <a:cubicBezTo>
                    <a:pt x="119413" y="68185"/>
                    <a:pt x="119982" y="64962"/>
                    <a:pt x="123205" y="63634"/>
                  </a:cubicBezTo>
                  <a:lnTo>
                    <a:pt x="123205" y="40977"/>
                  </a:lnTo>
                  <a:cubicBezTo>
                    <a:pt x="120456" y="13673"/>
                    <a:pt x="79406" y="-1495"/>
                    <a:pt x="66323" y="117"/>
                  </a:cubicBezTo>
                  <a:cubicBezTo>
                    <a:pt x="66323" y="1065"/>
                    <a:pt x="63290" y="2013"/>
                    <a:pt x="54568" y="3055"/>
                  </a:cubicBezTo>
                  <a:lnTo>
                    <a:pt x="53809" y="3055"/>
                  </a:lnTo>
                  <a:cubicBezTo>
                    <a:pt x="55137" y="9786"/>
                    <a:pt x="46225" y="10261"/>
                    <a:pt x="35513" y="16612"/>
                  </a:cubicBezTo>
                  <a:cubicBezTo>
                    <a:pt x="22020" y="23920"/>
                    <a:pt x="10653" y="34601"/>
                    <a:pt x="2521" y="47613"/>
                  </a:cubicBezTo>
                  <a:cubicBezTo>
                    <a:pt x="-13" y="51198"/>
                    <a:pt x="-682" y="55777"/>
                    <a:pt x="720" y="59937"/>
                  </a:cubicBezTo>
                  <a:lnTo>
                    <a:pt x="720" y="59937"/>
                  </a:lnTo>
                  <a:cubicBezTo>
                    <a:pt x="1246" y="62984"/>
                    <a:pt x="1974" y="65993"/>
                    <a:pt x="2900" y="68943"/>
                  </a:cubicBezTo>
                  <a:close/>
                </a:path>
              </a:pathLst>
            </a:custGeom>
            <a:noFill/>
            <a:ln w="9391" cap="flat">
              <a:noFill/>
              <a:prstDash val="solid"/>
              <a:miter/>
            </a:ln>
          </p:spPr>
          <p:txBody>
            <a:bodyPr rtlCol="0" anchor="ctr"/>
            <a:lstStyle/>
            <a:p>
              <a:endParaRPr lang="fr-FR"/>
            </a:p>
          </p:txBody>
        </p:sp>
        <p:sp>
          <p:nvSpPr>
            <p:cNvPr id="584" name="Freeform 162">
              <a:extLst>
                <a:ext uri="{FF2B5EF4-FFF2-40B4-BE49-F238E27FC236}">
                  <a16:creationId xmlns:a16="http://schemas.microsoft.com/office/drawing/2014/main" id="{F5307081-84DF-4534-8D5F-AAC7750395F1}"/>
                </a:ext>
              </a:extLst>
            </p:cNvPr>
            <p:cNvSpPr/>
            <p:nvPr/>
          </p:nvSpPr>
          <p:spPr>
            <a:xfrm>
              <a:off x="6071825" y="3357803"/>
              <a:ext cx="20382" cy="16021"/>
            </a:xfrm>
            <a:custGeom>
              <a:avLst/>
              <a:gdLst>
                <a:gd name="connsiteX0" fmla="*/ 20383 w 20382"/>
                <a:gd name="connsiteY0" fmla="*/ 14600 h 16021"/>
                <a:gd name="connsiteX1" fmla="*/ 0 w 20382"/>
                <a:gd name="connsiteY1" fmla="*/ 16022 h 16021"/>
                <a:gd name="connsiteX2" fmla="*/ 17159 w 20382"/>
                <a:gd name="connsiteY2" fmla="*/ 0 h 16021"/>
                <a:gd name="connsiteX3" fmla="*/ 20383 w 20382"/>
                <a:gd name="connsiteY3" fmla="*/ 14505 h 16021"/>
              </a:gdLst>
              <a:ahLst/>
              <a:cxnLst>
                <a:cxn ang="0">
                  <a:pos x="connsiteX0" y="connsiteY0"/>
                </a:cxn>
                <a:cxn ang="0">
                  <a:pos x="connsiteX1" y="connsiteY1"/>
                </a:cxn>
                <a:cxn ang="0">
                  <a:pos x="connsiteX2" y="connsiteY2"/>
                </a:cxn>
                <a:cxn ang="0">
                  <a:pos x="connsiteX3" y="connsiteY3"/>
                </a:cxn>
              </a:cxnLst>
              <a:rect l="l" t="t" r="r" b="b"/>
              <a:pathLst>
                <a:path w="20382" h="16021">
                  <a:moveTo>
                    <a:pt x="20383" y="14600"/>
                  </a:moveTo>
                  <a:cubicBezTo>
                    <a:pt x="12609" y="15642"/>
                    <a:pt x="2180" y="14600"/>
                    <a:pt x="0" y="16022"/>
                  </a:cubicBezTo>
                  <a:cubicBezTo>
                    <a:pt x="6257" y="10334"/>
                    <a:pt x="12040" y="4930"/>
                    <a:pt x="17159" y="0"/>
                  </a:cubicBezTo>
                  <a:cubicBezTo>
                    <a:pt x="17230" y="5005"/>
                    <a:pt x="18328" y="9941"/>
                    <a:pt x="20383" y="14505"/>
                  </a:cubicBezTo>
                  <a:close/>
                </a:path>
              </a:pathLst>
            </a:custGeom>
            <a:solidFill>
              <a:schemeClr val="accent1">
                <a:lumMod val="20000"/>
                <a:lumOff val="80000"/>
              </a:schemeClr>
            </a:solidFill>
            <a:ln w="9391" cap="flat">
              <a:noFill/>
              <a:prstDash val="solid"/>
              <a:miter/>
            </a:ln>
          </p:spPr>
          <p:txBody>
            <a:bodyPr rtlCol="0" anchor="ctr"/>
            <a:lstStyle/>
            <a:p>
              <a:endParaRPr lang="fr-FR"/>
            </a:p>
          </p:txBody>
        </p:sp>
        <p:sp>
          <p:nvSpPr>
            <p:cNvPr id="585" name="Freeform 163">
              <a:extLst>
                <a:ext uri="{FF2B5EF4-FFF2-40B4-BE49-F238E27FC236}">
                  <a16:creationId xmlns:a16="http://schemas.microsoft.com/office/drawing/2014/main" id="{729E3183-101C-483D-9B80-CCB4175672EC}"/>
                </a:ext>
              </a:extLst>
            </p:cNvPr>
            <p:cNvSpPr/>
            <p:nvPr/>
          </p:nvSpPr>
          <p:spPr>
            <a:xfrm>
              <a:off x="6256501" y="3419898"/>
              <a:ext cx="3033" cy="2749"/>
            </a:xfrm>
            <a:custGeom>
              <a:avLst/>
              <a:gdLst>
                <a:gd name="connsiteX0" fmla="*/ 1896 w 3033"/>
                <a:gd name="connsiteY0" fmla="*/ 1612 h 2749"/>
                <a:gd name="connsiteX1" fmla="*/ 3034 w 3033"/>
                <a:gd name="connsiteY1" fmla="*/ 2749 h 2749"/>
                <a:gd name="connsiteX2" fmla="*/ 0 w 3033"/>
                <a:gd name="connsiteY2" fmla="*/ 0 h 2749"/>
              </a:gdLst>
              <a:ahLst/>
              <a:cxnLst>
                <a:cxn ang="0">
                  <a:pos x="connsiteX0" y="connsiteY0"/>
                </a:cxn>
                <a:cxn ang="0">
                  <a:pos x="connsiteX1" y="connsiteY1"/>
                </a:cxn>
                <a:cxn ang="0">
                  <a:pos x="connsiteX2" y="connsiteY2"/>
                </a:cxn>
              </a:cxnLst>
              <a:rect l="l" t="t" r="r" b="b"/>
              <a:pathLst>
                <a:path w="3033" h="2749">
                  <a:moveTo>
                    <a:pt x="1896" y="1612"/>
                  </a:moveTo>
                  <a:lnTo>
                    <a:pt x="3034" y="2749"/>
                  </a:lnTo>
                  <a:lnTo>
                    <a:pt x="0" y="0"/>
                  </a:lnTo>
                  <a:close/>
                </a:path>
              </a:pathLst>
            </a:custGeom>
            <a:solidFill>
              <a:srgbClr val="FF7E83"/>
            </a:solidFill>
            <a:ln w="9391" cap="flat">
              <a:noFill/>
              <a:prstDash val="solid"/>
              <a:miter/>
            </a:ln>
          </p:spPr>
          <p:txBody>
            <a:bodyPr rtlCol="0" anchor="ctr"/>
            <a:lstStyle/>
            <a:p>
              <a:endParaRPr lang="fr-FR"/>
            </a:p>
          </p:txBody>
        </p:sp>
        <p:sp>
          <p:nvSpPr>
            <p:cNvPr id="586" name="Freeform 164">
              <a:extLst>
                <a:ext uri="{FF2B5EF4-FFF2-40B4-BE49-F238E27FC236}">
                  <a16:creationId xmlns:a16="http://schemas.microsoft.com/office/drawing/2014/main" id="{9292073B-7289-42F1-B56E-408BC18B2B9A}"/>
                </a:ext>
              </a:extLst>
            </p:cNvPr>
            <p:cNvSpPr/>
            <p:nvPr/>
          </p:nvSpPr>
          <p:spPr>
            <a:xfrm>
              <a:off x="5862216" y="3359509"/>
              <a:ext cx="425954" cy="247435"/>
            </a:xfrm>
            <a:custGeom>
              <a:avLst/>
              <a:gdLst>
                <a:gd name="connsiteX0" fmla="*/ 422441 w 425954"/>
                <a:gd name="connsiteY0" fmla="*/ 78497 h 247435"/>
                <a:gd name="connsiteX1" fmla="*/ 400826 w 425954"/>
                <a:gd name="connsiteY1" fmla="*/ 108834 h 247435"/>
                <a:gd name="connsiteX2" fmla="*/ 398077 w 425954"/>
                <a:gd name="connsiteY2" fmla="*/ 116987 h 247435"/>
                <a:gd name="connsiteX3" fmla="*/ 324320 w 425954"/>
                <a:gd name="connsiteY3" fmla="*/ 171783 h 247435"/>
                <a:gd name="connsiteX4" fmla="*/ 315314 w 425954"/>
                <a:gd name="connsiteY4" fmla="*/ 177850 h 247435"/>
                <a:gd name="connsiteX5" fmla="*/ 314745 w 425954"/>
                <a:gd name="connsiteY5" fmla="*/ 181263 h 247435"/>
                <a:gd name="connsiteX6" fmla="*/ 306118 w 425954"/>
                <a:gd name="connsiteY6" fmla="*/ 197474 h 247435"/>
                <a:gd name="connsiteX7" fmla="*/ 303938 w 425954"/>
                <a:gd name="connsiteY7" fmla="*/ 199465 h 247435"/>
                <a:gd name="connsiteX8" fmla="*/ 303938 w 425954"/>
                <a:gd name="connsiteY8" fmla="*/ 199465 h 247435"/>
                <a:gd name="connsiteX9" fmla="*/ 289717 w 425954"/>
                <a:gd name="connsiteY9" fmla="*/ 213022 h 247435"/>
                <a:gd name="connsiteX10" fmla="*/ 271705 w 425954"/>
                <a:gd name="connsiteY10" fmla="*/ 229233 h 247435"/>
                <a:gd name="connsiteX11" fmla="*/ 264026 w 425954"/>
                <a:gd name="connsiteY11" fmla="*/ 235775 h 247435"/>
                <a:gd name="connsiteX12" fmla="*/ 249616 w 425954"/>
                <a:gd name="connsiteY12" fmla="*/ 247435 h 247435"/>
                <a:gd name="connsiteX13" fmla="*/ 266491 w 425954"/>
                <a:gd name="connsiteY13" fmla="*/ 200034 h 247435"/>
                <a:gd name="connsiteX14" fmla="*/ 262225 w 425954"/>
                <a:gd name="connsiteY14" fmla="*/ 172541 h 247435"/>
                <a:gd name="connsiteX15" fmla="*/ 261561 w 425954"/>
                <a:gd name="connsiteY15" fmla="*/ 170266 h 247435"/>
                <a:gd name="connsiteX16" fmla="*/ 261561 w 425954"/>
                <a:gd name="connsiteY16" fmla="*/ 168465 h 247435"/>
                <a:gd name="connsiteX17" fmla="*/ 260708 w 425954"/>
                <a:gd name="connsiteY17" fmla="*/ 166379 h 247435"/>
                <a:gd name="connsiteX18" fmla="*/ 259855 w 425954"/>
                <a:gd name="connsiteY18" fmla="*/ 164483 h 247435"/>
                <a:gd name="connsiteX19" fmla="*/ 258907 w 425954"/>
                <a:gd name="connsiteY19" fmla="*/ 162492 h 247435"/>
                <a:gd name="connsiteX20" fmla="*/ 257484 w 425954"/>
                <a:gd name="connsiteY20" fmla="*/ 160501 h 247435"/>
                <a:gd name="connsiteX21" fmla="*/ 256442 w 425954"/>
                <a:gd name="connsiteY21" fmla="*/ 158700 h 247435"/>
                <a:gd name="connsiteX22" fmla="*/ 254356 w 425954"/>
                <a:gd name="connsiteY22" fmla="*/ 155666 h 247435"/>
                <a:gd name="connsiteX23" fmla="*/ 253313 w 425954"/>
                <a:gd name="connsiteY23" fmla="*/ 154339 h 247435"/>
                <a:gd name="connsiteX24" fmla="*/ 253313 w 425954"/>
                <a:gd name="connsiteY24" fmla="*/ 154339 h 247435"/>
                <a:gd name="connsiteX25" fmla="*/ 253313 w 425954"/>
                <a:gd name="connsiteY25" fmla="*/ 154339 h 247435"/>
                <a:gd name="connsiteX26" fmla="*/ 250659 w 425954"/>
                <a:gd name="connsiteY26" fmla="*/ 151210 h 247435"/>
                <a:gd name="connsiteX27" fmla="*/ 250659 w 425954"/>
                <a:gd name="connsiteY27" fmla="*/ 151210 h 247435"/>
                <a:gd name="connsiteX28" fmla="*/ 247056 w 425954"/>
                <a:gd name="connsiteY28" fmla="*/ 147608 h 247435"/>
                <a:gd name="connsiteX29" fmla="*/ 245634 w 425954"/>
                <a:gd name="connsiteY29" fmla="*/ 146281 h 247435"/>
                <a:gd name="connsiteX30" fmla="*/ 244591 w 425954"/>
                <a:gd name="connsiteY30" fmla="*/ 145333 h 247435"/>
                <a:gd name="connsiteX31" fmla="*/ 243359 w 425954"/>
                <a:gd name="connsiteY31" fmla="*/ 144385 h 247435"/>
                <a:gd name="connsiteX32" fmla="*/ 241178 w 425954"/>
                <a:gd name="connsiteY32" fmla="*/ 142678 h 247435"/>
                <a:gd name="connsiteX33" fmla="*/ 241178 w 425954"/>
                <a:gd name="connsiteY33" fmla="*/ 142678 h 247435"/>
                <a:gd name="connsiteX34" fmla="*/ 237955 w 425954"/>
                <a:gd name="connsiteY34" fmla="*/ 140498 h 247435"/>
                <a:gd name="connsiteX35" fmla="*/ 235395 w 425954"/>
                <a:gd name="connsiteY35" fmla="*/ 138886 h 247435"/>
                <a:gd name="connsiteX36" fmla="*/ 231224 w 425954"/>
                <a:gd name="connsiteY36" fmla="*/ 136516 h 247435"/>
                <a:gd name="connsiteX37" fmla="*/ 227053 w 425954"/>
                <a:gd name="connsiteY37" fmla="*/ 134620 h 247435"/>
                <a:gd name="connsiteX38" fmla="*/ 222976 w 425954"/>
                <a:gd name="connsiteY38" fmla="*/ 133008 h 247435"/>
                <a:gd name="connsiteX39" fmla="*/ 39343 w 425954"/>
                <a:gd name="connsiteY39" fmla="*/ 50530 h 247435"/>
                <a:gd name="connsiteX40" fmla="*/ 31190 w 425954"/>
                <a:gd name="connsiteY40" fmla="*/ 43609 h 247435"/>
                <a:gd name="connsiteX41" fmla="*/ 28820 w 425954"/>
                <a:gd name="connsiteY41" fmla="*/ 41713 h 247435"/>
                <a:gd name="connsiteX42" fmla="*/ 26450 w 425954"/>
                <a:gd name="connsiteY42" fmla="*/ 40102 h 247435"/>
                <a:gd name="connsiteX43" fmla="*/ 23985 w 425954"/>
                <a:gd name="connsiteY43" fmla="*/ 38964 h 247435"/>
                <a:gd name="connsiteX44" fmla="*/ 21141 w 425954"/>
                <a:gd name="connsiteY44" fmla="*/ 38395 h 247435"/>
                <a:gd name="connsiteX45" fmla="*/ 21141 w 425954"/>
                <a:gd name="connsiteY45" fmla="*/ 38395 h 247435"/>
                <a:gd name="connsiteX46" fmla="*/ 2180 w 425954"/>
                <a:gd name="connsiteY46" fmla="*/ 53090 h 247435"/>
                <a:gd name="connsiteX47" fmla="*/ 0 w 425954"/>
                <a:gd name="connsiteY47" fmla="*/ 54701 h 247435"/>
                <a:gd name="connsiteX48" fmla="*/ 2180 w 425954"/>
                <a:gd name="connsiteY48" fmla="*/ 52995 h 247435"/>
                <a:gd name="connsiteX49" fmla="*/ 24270 w 425954"/>
                <a:gd name="connsiteY49" fmla="*/ 36120 h 247435"/>
                <a:gd name="connsiteX50" fmla="*/ 72429 w 425954"/>
                <a:gd name="connsiteY50" fmla="*/ 15263 h 247435"/>
                <a:gd name="connsiteX51" fmla="*/ 72429 w 425954"/>
                <a:gd name="connsiteY51" fmla="*/ 15263 h 247435"/>
                <a:gd name="connsiteX52" fmla="*/ 76601 w 425954"/>
                <a:gd name="connsiteY52" fmla="*/ 14126 h 247435"/>
                <a:gd name="connsiteX53" fmla="*/ 93855 w 425954"/>
                <a:gd name="connsiteY53" fmla="*/ 16401 h 247435"/>
                <a:gd name="connsiteX54" fmla="*/ 135947 w 425954"/>
                <a:gd name="connsiteY54" fmla="*/ 0 h 247435"/>
                <a:gd name="connsiteX55" fmla="*/ 135947 w 425954"/>
                <a:gd name="connsiteY55" fmla="*/ 0 h 247435"/>
                <a:gd name="connsiteX56" fmla="*/ 137843 w 425954"/>
                <a:gd name="connsiteY56" fmla="*/ 21899 h 247435"/>
                <a:gd name="connsiteX57" fmla="*/ 137843 w 425954"/>
                <a:gd name="connsiteY57" fmla="*/ 42566 h 247435"/>
                <a:gd name="connsiteX58" fmla="*/ 140498 w 425954"/>
                <a:gd name="connsiteY58" fmla="*/ 26829 h 247435"/>
                <a:gd name="connsiteX59" fmla="*/ 167422 w 425954"/>
                <a:gd name="connsiteY59" fmla="*/ 39722 h 247435"/>
                <a:gd name="connsiteX60" fmla="*/ 164104 w 425954"/>
                <a:gd name="connsiteY60" fmla="*/ 53279 h 247435"/>
                <a:gd name="connsiteX61" fmla="*/ 167043 w 425954"/>
                <a:gd name="connsiteY61" fmla="*/ 59441 h 247435"/>
                <a:gd name="connsiteX62" fmla="*/ 255873 w 425954"/>
                <a:gd name="connsiteY62" fmla="*/ 78402 h 247435"/>
                <a:gd name="connsiteX63" fmla="*/ 318158 w 425954"/>
                <a:gd name="connsiteY63" fmla="*/ 114806 h 247435"/>
                <a:gd name="connsiteX64" fmla="*/ 397319 w 425954"/>
                <a:gd name="connsiteY64" fmla="*/ 63044 h 247435"/>
                <a:gd name="connsiteX65" fmla="*/ 417606 w 425954"/>
                <a:gd name="connsiteY65" fmla="*/ 25597 h 247435"/>
                <a:gd name="connsiteX66" fmla="*/ 425001 w 425954"/>
                <a:gd name="connsiteY66" fmla="*/ 21899 h 247435"/>
                <a:gd name="connsiteX67" fmla="*/ 425001 w 425954"/>
                <a:gd name="connsiteY67" fmla="*/ 23227 h 247435"/>
                <a:gd name="connsiteX68" fmla="*/ 422441 w 425954"/>
                <a:gd name="connsiteY68" fmla="*/ 78497 h 24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25954" h="247435">
                  <a:moveTo>
                    <a:pt x="422441" y="78497"/>
                  </a:moveTo>
                  <a:cubicBezTo>
                    <a:pt x="414383" y="85133"/>
                    <a:pt x="415616" y="97457"/>
                    <a:pt x="400826" y="108834"/>
                  </a:cubicBezTo>
                  <a:cubicBezTo>
                    <a:pt x="401388" y="111844"/>
                    <a:pt x="400347" y="114931"/>
                    <a:pt x="398077" y="116987"/>
                  </a:cubicBezTo>
                  <a:cubicBezTo>
                    <a:pt x="368119" y="143816"/>
                    <a:pt x="336266" y="173868"/>
                    <a:pt x="324320" y="171783"/>
                  </a:cubicBezTo>
                  <a:cubicBezTo>
                    <a:pt x="322889" y="175495"/>
                    <a:pt x="319292" y="177918"/>
                    <a:pt x="315314" y="177850"/>
                  </a:cubicBezTo>
                  <a:cubicBezTo>
                    <a:pt x="315314" y="178988"/>
                    <a:pt x="315314" y="180220"/>
                    <a:pt x="314745" y="181263"/>
                  </a:cubicBezTo>
                  <a:cubicBezTo>
                    <a:pt x="313562" y="187410"/>
                    <a:pt x="310556" y="193059"/>
                    <a:pt x="306118" y="197474"/>
                  </a:cubicBezTo>
                  <a:cubicBezTo>
                    <a:pt x="305462" y="198211"/>
                    <a:pt x="304731" y="198878"/>
                    <a:pt x="303938" y="199465"/>
                  </a:cubicBezTo>
                  <a:lnTo>
                    <a:pt x="303938" y="199465"/>
                  </a:lnTo>
                  <a:lnTo>
                    <a:pt x="289717" y="213022"/>
                  </a:lnTo>
                  <a:cubicBezTo>
                    <a:pt x="283555" y="218710"/>
                    <a:pt x="277583" y="224114"/>
                    <a:pt x="271705" y="229233"/>
                  </a:cubicBezTo>
                  <a:lnTo>
                    <a:pt x="264026" y="235775"/>
                  </a:lnTo>
                  <a:cubicBezTo>
                    <a:pt x="259096" y="239946"/>
                    <a:pt x="254546" y="243833"/>
                    <a:pt x="249616" y="247435"/>
                  </a:cubicBezTo>
                  <a:cubicBezTo>
                    <a:pt x="265069" y="233879"/>
                    <a:pt x="266775" y="217193"/>
                    <a:pt x="266491" y="200034"/>
                  </a:cubicBezTo>
                  <a:cubicBezTo>
                    <a:pt x="266511" y="190703"/>
                    <a:pt x="265071" y="181427"/>
                    <a:pt x="262225" y="172541"/>
                  </a:cubicBezTo>
                  <a:cubicBezTo>
                    <a:pt x="262047" y="171771"/>
                    <a:pt x="261826" y="171011"/>
                    <a:pt x="261561" y="170266"/>
                  </a:cubicBezTo>
                  <a:cubicBezTo>
                    <a:pt x="261593" y="169666"/>
                    <a:pt x="261593" y="169065"/>
                    <a:pt x="261561" y="168465"/>
                  </a:cubicBezTo>
                  <a:lnTo>
                    <a:pt x="260708" y="166379"/>
                  </a:lnTo>
                  <a:lnTo>
                    <a:pt x="259855" y="164483"/>
                  </a:lnTo>
                  <a:cubicBezTo>
                    <a:pt x="259577" y="163801"/>
                    <a:pt x="259261" y="163137"/>
                    <a:pt x="258907" y="162492"/>
                  </a:cubicBezTo>
                  <a:lnTo>
                    <a:pt x="257484" y="160501"/>
                  </a:lnTo>
                  <a:lnTo>
                    <a:pt x="256442" y="158700"/>
                  </a:lnTo>
                  <a:lnTo>
                    <a:pt x="254356" y="155666"/>
                  </a:lnTo>
                  <a:cubicBezTo>
                    <a:pt x="254356" y="155666"/>
                    <a:pt x="253692" y="154718"/>
                    <a:pt x="253313" y="154339"/>
                  </a:cubicBezTo>
                  <a:lnTo>
                    <a:pt x="253313" y="154339"/>
                  </a:lnTo>
                  <a:lnTo>
                    <a:pt x="253313" y="154339"/>
                  </a:lnTo>
                  <a:lnTo>
                    <a:pt x="250659" y="151210"/>
                  </a:lnTo>
                  <a:lnTo>
                    <a:pt x="250659" y="151210"/>
                  </a:lnTo>
                  <a:lnTo>
                    <a:pt x="247056" y="147608"/>
                  </a:lnTo>
                  <a:lnTo>
                    <a:pt x="245634" y="146281"/>
                  </a:lnTo>
                  <a:lnTo>
                    <a:pt x="244591" y="145333"/>
                  </a:lnTo>
                  <a:lnTo>
                    <a:pt x="243359" y="144385"/>
                  </a:lnTo>
                  <a:lnTo>
                    <a:pt x="241178" y="142678"/>
                  </a:lnTo>
                  <a:lnTo>
                    <a:pt x="241178" y="142678"/>
                  </a:lnTo>
                  <a:cubicBezTo>
                    <a:pt x="240142" y="141897"/>
                    <a:pt x="239066" y="141169"/>
                    <a:pt x="237955" y="140498"/>
                  </a:cubicBezTo>
                  <a:cubicBezTo>
                    <a:pt x="237169" y="139861"/>
                    <a:pt x="236310" y="139320"/>
                    <a:pt x="235395" y="138886"/>
                  </a:cubicBezTo>
                  <a:cubicBezTo>
                    <a:pt x="234068" y="138033"/>
                    <a:pt x="232646" y="137275"/>
                    <a:pt x="231224" y="136516"/>
                  </a:cubicBezTo>
                  <a:lnTo>
                    <a:pt x="227053" y="134620"/>
                  </a:lnTo>
                  <a:cubicBezTo>
                    <a:pt x="225631" y="133956"/>
                    <a:pt x="224303" y="133482"/>
                    <a:pt x="222976" y="133008"/>
                  </a:cubicBezTo>
                  <a:cubicBezTo>
                    <a:pt x="148935" y="111109"/>
                    <a:pt x="86650" y="84090"/>
                    <a:pt x="39343" y="50530"/>
                  </a:cubicBezTo>
                  <a:cubicBezTo>
                    <a:pt x="36120" y="48065"/>
                    <a:pt x="33560" y="45600"/>
                    <a:pt x="31190" y="43609"/>
                  </a:cubicBezTo>
                  <a:cubicBezTo>
                    <a:pt x="30452" y="42915"/>
                    <a:pt x="29659" y="42281"/>
                    <a:pt x="28820" y="41713"/>
                  </a:cubicBezTo>
                  <a:lnTo>
                    <a:pt x="26450" y="40102"/>
                  </a:lnTo>
                  <a:cubicBezTo>
                    <a:pt x="25675" y="39628"/>
                    <a:pt x="24848" y="39246"/>
                    <a:pt x="23985" y="38964"/>
                  </a:cubicBezTo>
                  <a:lnTo>
                    <a:pt x="21141" y="38395"/>
                  </a:lnTo>
                  <a:lnTo>
                    <a:pt x="21141" y="38395"/>
                  </a:lnTo>
                  <a:lnTo>
                    <a:pt x="2180" y="53090"/>
                  </a:lnTo>
                  <a:lnTo>
                    <a:pt x="0" y="54701"/>
                  </a:lnTo>
                  <a:lnTo>
                    <a:pt x="2180" y="52995"/>
                  </a:lnTo>
                  <a:lnTo>
                    <a:pt x="24270" y="36120"/>
                  </a:lnTo>
                  <a:lnTo>
                    <a:pt x="72429" y="15263"/>
                  </a:lnTo>
                  <a:lnTo>
                    <a:pt x="72429" y="15263"/>
                  </a:lnTo>
                  <a:cubicBezTo>
                    <a:pt x="73770" y="14721"/>
                    <a:pt x="75170" y="14339"/>
                    <a:pt x="76601" y="14126"/>
                  </a:cubicBezTo>
                  <a:cubicBezTo>
                    <a:pt x="82452" y="13367"/>
                    <a:pt x="88400" y="14151"/>
                    <a:pt x="93855" y="16401"/>
                  </a:cubicBezTo>
                  <a:cubicBezTo>
                    <a:pt x="99827" y="9670"/>
                    <a:pt x="118504" y="6921"/>
                    <a:pt x="135947" y="0"/>
                  </a:cubicBezTo>
                  <a:lnTo>
                    <a:pt x="135947" y="0"/>
                  </a:lnTo>
                  <a:cubicBezTo>
                    <a:pt x="135572" y="7352"/>
                    <a:pt x="136210" y="14721"/>
                    <a:pt x="137843" y="21899"/>
                  </a:cubicBezTo>
                  <a:cubicBezTo>
                    <a:pt x="136232" y="25976"/>
                    <a:pt x="133008" y="37352"/>
                    <a:pt x="137843" y="42566"/>
                  </a:cubicBezTo>
                  <a:lnTo>
                    <a:pt x="140498" y="26829"/>
                  </a:lnTo>
                  <a:cubicBezTo>
                    <a:pt x="148474" y="32959"/>
                    <a:pt x="157645" y="37351"/>
                    <a:pt x="167422" y="39722"/>
                  </a:cubicBezTo>
                  <a:lnTo>
                    <a:pt x="164104" y="53279"/>
                  </a:lnTo>
                  <a:cubicBezTo>
                    <a:pt x="165905" y="53848"/>
                    <a:pt x="167232" y="55365"/>
                    <a:pt x="167043" y="59441"/>
                  </a:cubicBezTo>
                  <a:cubicBezTo>
                    <a:pt x="186003" y="68922"/>
                    <a:pt x="218805" y="74325"/>
                    <a:pt x="255873" y="78402"/>
                  </a:cubicBezTo>
                  <a:cubicBezTo>
                    <a:pt x="289054" y="80488"/>
                    <a:pt x="319391" y="84943"/>
                    <a:pt x="318158" y="114806"/>
                  </a:cubicBezTo>
                  <a:cubicBezTo>
                    <a:pt x="333327" y="102008"/>
                    <a:pt x="361199" y="101818"/>
                    <a:pt x="397319" y="63044"/>
                  </a:cubicBezTo>
                  <a:cubicBezTo>
                    <a:pt x="410090" y="54898"/>
                    <a:pt x="417758" y="40744"/>
                    <a:pt x="417606" y="25597"/>
                  </a:cubicBezTo>
                  <a:lnTo>
                    <a:pt x="425001" y="21899"/>
                  </a:lnTo>
                  <a:cubicBezTo>
                    <a:pt x="425001" y="21899"/>
                    <a:pt x="425001" y="22753"/>
                    <a:pt x="425001" y="23227"/>
                  </a:cubicBezTo>
                  <a:cubicBezTo>
                    <a:pt x="426044" y="41903"/>
                    <a:pt x="427276" y="75558"/>
                    <a:pt x="422441" y="78497"/>
                  </a:cubicBezTo>
                  <a:close/>
                </a:path>
              </a:pathLst>
            </a:custGeom>
            <a:solidFill>
              <a:schemeClr val="bg1"/>
            </a:solidFill>
            <a:ln w="9391" cap="flat">
              <a:noFill/>
              <a:prstDash val="solid"/>
              <a:miter/>
            </a:ln>
          </p:spPr>
          <p:txBody>
            <a:bodyPr rtlCol="0" anchor="ctr"/>
            <a:lstStyle/>
            <a:p>
              <a:endParaRPr lang="fr-FR"/>
            </a:p>
          </p:txBody>
        </p:sp>
        <p:sp>
          <p:nvSpPr>
            <p:cNvPr id="587" name="Freeform 165">
              <a:extLst>
                <a:ext uri="{FF2B5EF4-FFF2-40B4-BE49-F238E27FC236}">
                  <a16:creationId xmlns:a16="http://schemas.microsoft.com/office/drawing/2014/main" id="{015D3226-A0DA-4B0A-BDE0-28DB6F17BB25}"/>
                </a:ext>
              </a:extLst>
            </p:cNvPr>
            <p:cNvSpPr/>
            <p:nvPr/>
          </p:nvSpPr>
          <p:spPr>
            <a:xfrm>
              <a:off x="6134395" y="3316374"/>
              <a:ext cx="9480" cy="9480"/>
            </a:xfrm>
            <a:custGeom>
              <a:avLst/>
              <a:gdLst>
                <a:gd name="connsiteX0" fmla="*/ 0 w 9480"/>
                <a:gd name="connsiteY0" fmla="*/ 0 h 9480"/>
                <a:gd name="connsiteX1" fmla="*/ 0 w 9480"/>
                <a:gd name="connsiteY1" fmla="*/ 0 h 9480"/>
              </a:gdLst>
              <a:ahLst/>
              <a:cxnLst>
                <a:cxn ang="0">
                  <a:pos x="connsiteX0" y="connsiteY0"/>
                </a:cxn>
                <a:cxn ang="0">
                  <a:pos x="connsiteX1" y="connsiteY1"/>
                </a:cxn>
              </a:cxnLst>
              <a:rect l="l" t="t" r="r" b="b"/>
              <a:pathLst>
                <a:path w="9480" h="9480">
                  <a:moveTo>
                    <a:pt x="0" y="0"/>
                  </a:moveTo>
                  <a:lnTo>
                    <a:pt x="0" y="0"/>
                  </a:lnTo>
                  <a:close/>
                </a:path>
              </a:pathLst>
            </a:custGeom>
            <a:solidFill>
              <a:srgbClr val="FFA17D"/>
            </a:solidFill>
            <a:ln w="9391" cap="flat">
              <a:noFill/>
              <a:prstDash val="solid"/>
              <a:miter/>
            </a:ln>
          </p:spPr>
          <p:txBody>
            <a:bodyPr rtlCol="0" anchor="ctr"/>
            <a:lstStyle/>
            <a:p>
              <a:endParaRPr lang="fr-FR"/>
            </a:p>
          </p:txBody>
        </p:sp>
        <p:sp>
          <p:nvSpPr>
            <p:cNvPr id="588" name="Freeform 166">
              <a:extLst>
                <a:ext uri="{FF2B5EF4-FFF2-40B4-BE49-F238E27FC236}">
                  <a16:creationId xmlns:a16="http://schemas.microsoft.com/office/drawing/2014/main" id="{B91D9A81-DB1D-4A42-BC80-A4914452895E}"/>
                </a:ext>
              </a:extLst>
            </p:cNvPr>
            <p:cNvSpPr/>
            <p:nvPr/>
          </p:nvSpPr>
          <p:spPr>
            <a:xfrm>
              <a:off x="6157811" y="3316563"/>
              <a:ext cx="36688" cy="4740"/>
            </a:xfrm>
            <a:custGeom>
              <a:avLst/>
              <a:gdLst>
                <a:gd name="connsiteX0" fmla="*/ 36689 w 36688"/>
                <a:gd name="connsiteY0" fmla="*/ 4740 h 4740"/>
                <a:gd name="connsiteX1" fmla="*/ 0 w 36688"/>
                <a:gd name="connsiteY1" fmla="*/ 0 h 4740"/>
                <a:gd name="connsiteX2" fmla="*/ 36689 w 36688"/>
                <a:gd name="connsiteY2" fmla="*/ 4740 h 4740"/>
              </a:gdLst>
              <a:ahLst/>
              <a:cxnLst>
                <a:cxn ang="0">
                  <a:pos x="connsiteX0" y="connsiteY0"/>
                </a:cxn>
                <a:cxn ang="0">
                  <a:pos x="connsiteX1" y="connsiteY1"/>
                </a:cxn>
                <a:cxn ang="0">
                  <a:pos x="connsiteX2" y="connsiteY2"/>
                </a:cxn>
              </a:cxnLst>
              <a:rect l="l" t="t" r="r" b="b"/>
              <a:pathLst>
                <a:path w="36688" h="4740">
                  <a:moveTo>
                    <a:pt x="36689" y="4740"/>
                  </a:moveTo>
                  <a:cubicBezTo>
                    <a:pt x="24601" y="2207"/>
                    <a:pt x="12334" y="622"/>
                    <a:pt x="0" y="0"/>
                  </a:cubicBezTo>
                  <a:cubicBezTo>
                    <a:pt x="12323" y="748"/>
                    <a:pt x="24581" y="2331"/>
                    <a:pt x="36689" y="4740"/>
                  </a:cubicBezTo>
                  <a:close/>
                </a:path>
              </a:pathLst>
            </a:custGeom>
            <a:solidFill>
              <a:srgbClr val="FFA17D"/>
            </a:solidFill>
            <a:ln w="9391" cap="flat">
              <a:noFill/>
              <a:prstDash val="solid"/>
              <a:miter/>
            </a:ln>
          </p:spPr>
          <p:txBody>
            <a:bodyPr rtlCol="0" anchor="ctr"/>
            <a:lstStyle/>
            <a:p>
              <a:endParaRPr lang="fr-FR"/>
            </a:p>
          </p:txBody>
        </p:sp>
        <p:sp>
          <p:nvSpPr>
            <p:cNvPr id="589" name="Freeform 167">
              <a:extLst>
                <a:ext uri="{FF2B5EF4-FFF2-40B4-BE49-F238E27FC236}">
                  <a16:creationId xmlns:a16="http://schemas.microsoft.com/office/drawing/2014/main" id="{19C1B0A3-F136-484F-9F76-94900A14187C}"/>
                </a:ext>
              </a:extLst>
            </p:cNvPr>
            <p:cNvSpPr/>
            <p:nvPr/>
          </p:nvSpPr>
          <p:spPr>
            <a:xfrm>
              <a:off x="6119700" y="3317417"/>
              <a:ext cx="9480" cy="9480"/>
            </a:xfrm>
            <a:custGeom>
              <a:avLst/>
              <a:gdLst>
                <a:gd name="connsiteX0" fmla="*/ 0 w 9480"/>
                <a:gd name="connsiteY0" fmla="*/ 0 h 9480"/>
                <a:gd name="connsiteX1" fmla="*/ 0 w 9480"/>
                <a:gd name="connsiteY1" fmla="*/ 0 h 9480"/>
              </a:gdLst>
              <a:ahLst/>
              <a:cxnLst>
                <a:cxn ang="0">
                  <a:pos x="connsiteX0" y="connsiteY0"/>
                </a:cxn>
                <a:cxn ang="0">
                  <a:pos x="connsiteX1" y="connsiteY1"/>
                </a:cxn>
              </a:cxnLst>
              <a:rect l="l" t="t" r="r" b="b"/>
              <a:pathLst>
                <a:path w="9480" h="9480">
                  <a:moveTo>
                    <a:pt x="0" y="0"/>
                  </a:moveTo>
                  <a:lnTo>
                    <a:pt x="0" y="0"/>
                  </a:lnTo>
                  <a:close/>
                </a:path>
              </a:pathLst>
            </a:custGeom>
            <a:solidFill>
              <a:srgbClr val="FFA17D"/>
            </a:solidFill>
            <a:ln w="9391" cap="flat">
              <a:noFill/>
              <a:prstDash val="solid"/>
              <a:miter/>
            </a:ln>
          </p:spPr>
          <p:txBody>
            <a:bodyPr rtlCol="0" anchor="ctr"/>
            <a:lstStyle/>
            <a:p>
              <a:endParaRPr lang="fr-FR"/>
            </a:p>
          </p:txBody>
        </p:sp>
        <p:sp>
          <p:nvSpPr>
            <p:cNvPr id="590" name="Freeform 168">
              <a:extLst>
                <a:ext uri="{FF2B5EF4-FFF2-40B4-BE49-F238E27FC236}">
                  <a16:creationId xmlns:a16="http://schemas.microsoft.com/office/drawing/2014/main" id="{895D0152-925E-434F-AFAA-58CB9EB47F27}"/>
                </a:ext>
              </a:extLst>
            </p:cNvPr>
            <p:cNvSpPr/>
            <p:nvPr/>
          </p:nvSpPr>
          <p:spPr>
            <a:xfrm>
              <a:off x="6145771" y="3316184"/>
              <a:ext cx="9480" cy="9480"/>
            </a:xfrm>
            <a:custGeom>
              <a:avLst/>
              <a:gdLst>
                <a:gd name="connsiteX0" fmla="*/ 0 w 9480"/>
                <a:gd name="connsiteY0" fmla="*/ 0 h 9480"/>
                <a:gd name="connsiteX1" fmla="*/ 0 w 9480"/>
                <a:gd name="connsiteY1" fmla="*/ 0 h 9480"/>
              </a:gdLst>
              <a:ahLst/>
              <a:cxnLst>
                <a:cxn ang="0">
                  <a:pos x="connsiteX0" y="connsiteY0"/>
                </a:cxn>
                <a:cxn ang="0">
                  <a:pos x="connsiteX1" y="connsiteY1"/>
                </a:cxn>
              </a:cxnLst>
              <a:rect l="l" t="t" r="r" b="b"/>
              <a:pathLst>
                <a:path w="9480" h="9480">
                  <a:moveTo>
                    <a:pt x="0" y="0"/>
                  </a:moveTo>
                  <a:lnTo>
                    <a:pt x="0" y="0"/>
                  </a:lnTo>
                  <a:close/>
                </a:path>
              </a:pathLst>
            </a:custGeom>
            <a:solidFill>
              <a:srgbClr val="FFA17D"/>
            </a:solidFill>
            <a:ln w="9391" cap="flat">
              <a:noFill/>
              <a:prstDash val="solid"/>
              <a:miter/>
            </a:ln>
          </p:spPr>
          <p:txBody>
            <a:bodyPr rtlCol="0" anchor="ctr"/>
            <a:lstStyle/>
            <a:p>
              <a:endParaRPr lang="fr-FR"/>
            </a:p>
          </p:txBody>
        </p:sp>
        <p:sp>
          <p:nvSpPr>
            <p:cNvPr id="591" name="Freeform 169">
              <a:extLst>
                <a:ext uri="{FF2B5EF4-FFF2-40B4-BE49-F238E27FC236}">
                  <a16:creationId xmlns:a16="http://schemas.microsoft.com/office/drawing/2014/main" id="{901240E4-10F4-4B34-96C1-5C620F0AF781}"/>
                </a:ext>
              </a:extLst>
            </p:cNvPr>
            <p:cNvSpPr/>
            <p:nvPr/>
          </p:nvSpPr>
          <p:spPr>
            <a:xfrm>
              <a:off x="6286269" y="3376858"/>
              <a:ext cx="9480" cy="1232"/>
            </a:xfrm>
            <a:custGeom>
              <a:avLst/>
              <a:gdLst>
                <a:gd name="connsiteX0" fmla="*/ 0 w 9480"/>
                <a:gd name="connsiteY0" fmla="*/ 0 h 1232"/>
                <a:gd name="connsiteX1" fmla="*/ 0 w 9480"/>
                <a:gd name="connsiteY1" fmla="*/ 1232 h 1232"/>
              </a:gdLst>
              <a:ahLst/>
              <a:cxnLst>
                <a:cxn ang="0">
                  <a:pos x="connsiteX0" y="connsiteY0"/>
                </a:cxn>
                <a:cxn ang="0">
                  <a:pos x="connsiteX1" y="connsiteY1"/>
                </a:cxn>
              </a:cxnLst>
              <a:rect l="l" t="t" r="r" b="b"/>
              <a:pathLst>
                <a:path w="9480" h="1232">
                  <a:moveTo>
                    <a:pt x="0" y="0"/>
                  </a:moveTo>
                  <a:lnTo>
                    <a:pt x="0" y="1232"/>
                  </a:lnTo>
                  <a:close/>
                </a:path>
              </a:pathLst>
            </a:custGeom>
            <a:solidFill>
              <a:srgbClr val="FFA17D"/>
            </a:solidFill>
            <a:ln w="9391" cap="flat">
              <a:noFill/>
              <a:prstDash val="solid"/>
              <a:miter/>
            </a:ln>
          </p:spPr>
          <p:txBody>
            <a:bodyPr rtlCol="0" anchor="ctr"/>
            <a:lstStyle/>
            <a:p>
              <a:endParaRPr lang="fr-FR"/>
            </a:p>
          </p:txBody>
        </p:sp>
        <p:sp>
          <p:nvSpPr>
            <p:cNvPr id="592" name="Freeform 170">
              <a:extLst>
                <a:ext uri="{FF2B5EF4-FFF2-40B4-BE49-F238E27FC236}">
                  <a16:creationId xmlns:a16="http://schemas.microsoft.com/office/drawing/2014/main" id="{18CAA595-0E7F-47E5-85F9-BF7CCB8081E5}"/>
                </a:ext>
              </a:extLst>
            </p:cNvPr>
            <p:cNvSpPr/>
            <p:nvPr/>
          </p:nvSpPr>
          <p:spPr>
            <a:xfrm>
              <a:off x="5996602" y="3225642"/>
              <a:ext cx="245488" cy="173305"/>
            </a:xfrm>
            <a:custGeom>
              <a:avLst/>
              <a:gdLst>
                <a:gd name="connsiteX0" fmla="*/ 235061 w 245488"/>
                <a:gd name="connsiteY0" fmla="*/ 61533 h 173305"/>
                <a:gd name="connsiteX1" fmla="*/ 135138 w 245488"/>
                <a:gd name="connsiteY1" fmla="*/ 2470 h 173305"/>
                <a:gd name="connsiteX2" fmla="*/ 58253 w 245488"/>
                <a:gd name="connsiteY2" fmla="*/ 44278 h 173305"/>
                <a:gd name="connsiteX3" fmla="*/ 57590 w 245488"/>
                <a:gd name="connsiteY3" fmla="*/ 44752 h 173305"/>
                <a:gd name="connsiteX4" fmla="*/ 42990 w 245488"/>
                <a:gd name="connsiteY4" fmla="*/ 57646 h 173305"/>
                <a:gd name="connsiteX5" fmla="*/ 12274 w 245488"/>
                <a:gd name="connsiteY5" fmla="*/ 78787 h 173305"/>
                <a:gd name="connsiteX6" fmla="*/ 234 w 245488"/>
                <a:gd name="connsiteY6" fmla="*/ 132919 h 173305"/>
                <a:gd name="connsiteX7" fmla="*/ 2035 w 245488"/>
                <a:gd name="connsiteY7" fmla="*/ 154819 h 173305"/>
                <a:gd name="connsiteX8" fmla="*/ 2035 w 245488"/>
                <a:gd name="connsiteY8" fmla="*/ 154819 h 173305"/>
                <a:gd name="connsiteX9" fmla="*/ 6017 w 245488"/>
                <a:gd name="connsiteY9" fmla="*/ 160317 h 173305"/>
                <a:gd name="connsiteX10" fmla="*/ 6017 w 245488"/>
                <a:gd name="connsiteY10" fmla="*/ 160317 h 173305"/>
                <a:gd name="connsiteX11" fmla="*/ 33036 w 245488"/>
                <a:gd name="connsiteY11" fmla="*/ 173305 h 173305"/>
                <a:gd name="connsiteX12" fmla="*/ 33036 w 245488"/>
                <a:gd name="connsiteY12" fmla="*/ 173305 h 173305"/>
                <a:gd name="connsiteX13" fmla="*/ 75033 w 245488"/>
                <a:gd name="connsiteY13" fmla="*/ 148277 h 173305"/>
                <a:gd name="connsiteX14" fmla="*/ 75033 w 245488"/>
                <a:gd name="connsiteY14" fmla="*/ 148277 h 173305"/>
                <a:gd name="connsiteX15" fmla="*/ 92287 w 245488"/>
                <a:gd name="connsiteY15" fmla="*/ 132255 h 173305"/>
                <a:gd name="connsiteX16" fmla="*/ 92287 w 245488"/>
                <a:gd name="connsiteY16" fmla="*/ 96041 h 173305"/>
                <a:gd name="connsiteX17" fmla="*/ 94563 w 245488"/>
                <a:gd name="connsiteY17" fmla="*/ 95567 h 173305"/>
                <a:gd name="connsiteX18" fmla="*/ 91624 w 245488"/>
                <a:gd name="connsiteY18" fmla="*/ 87035 h 173305"/>
                <a:gd name="connsiteX19" fmla="*/ 91624 w 245488"/>
                <a:gd name="connsiteY19" fmla="*/ 87035 h 173305"/>
                <a:gd name="connsiteX20" fmla="*/ 93425 w 245488"/>
                <a:gd name="connsiteY20" fmla="*/ 74710 h 173305"/>
                <a:gd name="connsiteX21" fmla="*/ 126416 w 245488"/>
                <a:gd name="connsiteY21" fmla="*/ 43710 h 173305"/>
                <a:gd name="connsiteX22" fmla="*/ 214299 w 245488"/>
                <a:gd name="connsiteY22" fmla="*/ 67790 h 173305"/>
                <a:gd name="connsiteX23" fmla="*/ 210981 w 245488"/>
                <a:gd name="connsiteY23" fmla="*/ 98695 h 173305"/>
                <a:gd name="connsiteX24" fmla="*/ 210981 w 245488"/>
                <a:gd name="connsiteY24" fmla="*/ 98695 h 173305"/>
                <a:gd name="connsiteX25" fmla="*/ 245489 w 245488"/>
                <a:gd name="connsiteY25" fmla="*/ 109598 h 173305"/>
                <a:gd name="connsiteX26" fmla="*/ 235061 w 245488"/>
                <a:gd name="connsiteY26" fmla="*/ 61533 h 17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45488" h="173305">
                  <a:moveTo>
                    <a:pt x="235061" y="61533"/>
                  </a:moveTo>
                  <a:cubicBezTo>
                    <a:pt x="217901" y="26740"/>
                    <a:pt x="174671" y="-9949"/>
                    <a:pt x="135138" y="2470"/>
                  </a:cubicBezTo>
                  <a:cubicBezTo>
                    <a:pt x="106501" y="9971"/>
                    <a:pt x="80116" y="24319"/>
                    <a:pt x="58253" y="44278"/>
                  </a:cubicBezTo>
                  <a:lnTo>
                    <a:pt x="57590" y="44752"/>
                  </a:lnTo>
                  <a:cubicBezTo>
                    <a:pt x="52850" y="48829"/>
                    <a:pt x="48109" y="53095"/>
                    <a:pt x="42990" y="57646"/>
                  </a:cubicBezTo>
                  <a:cubicBezTo>
                    <a:pt x="33471" y="65685"/>
                    <a:pt x="23182" y="72766"/>
                    <a:pt x="12274" y="78787"/>
                  </a:cubicBezTo>
                  <a:cubicBezTo>
                    <a:pt x="3268" y="85423"/>
                    <a:pt x="-1093" y="108744"/>
                    <a:pt x="234" y="132919"/>
                  </a:cubicBezTo>
                  <a:cubicBezTo>
                    <a:pt x="-170" y="140267"/>
                    <a:pt x="436" y="147635"/>
                    <a:pt x="2035" y="154819"/>
                  </a:cubicBezTo>
                  <a:lnTo>
                    <a:pt x="2035" y="154819"/>
                  </a:lnTo>
                  <a:cubicBezTo>
                    <a:pt x="2875" y="156959"/>
                    <a:pt x="4245" y="158852"/>
                    <a:pt x="6017" y="160317"/>
                  </a:cubicBezTo>
                  <a:lnTo>
                    <a:pt x="6017" y="160317"/>
                  </a:lnTo>
                  <a:cubicBezTo>
                    <a:pt x="14059" y="166419"/>
                    <a:pt x="23248" y="170836"/>
                    <a:pt x="33036" y="173305"/>
                  </a:cubicBezTo>
                  <a:lnTo>
                    <a:pt x="33036" y="173305"/>
                  </a:lnTo>
                  <a:cubicBezTo>
                    <a:pt x="47635" y="173305"/>
                    <a:pt x="60718" y="158611"/>
                    <a:pt x="75033" y="148277"/>
                  </a:cubicBezTo>
                  <a:lnTo>
                    <a:pt x="75033" y="148277"/>
                  </a:lnTo>
                  <a:cubicBezTo>
                    <a:pt x="81385" y="142684"/>
                    <a:pt x="87168" y="137280"/>
                    <a:pt x="92287" y="132255"/>
                  </a:cubicBezTo>
                  <a:cubicBezTo>
                    <a:pt x="90707" y="120236"/>
                    <a:pt x="90707" y="108061"/>
                    <a:pt x="92287" y="96041"/>
                  </a:cubicBezTo>
                  <a:lnTo>
                    <a:pt x="94563" y="95567"/>
                  </a:lnTo>
                  <a:cubicBezTo>
                    <a:pt x="92729" y="93092"/>
                    <a:pt x="91703" y="90113"/>
                    <a:pt x="91624" y="87035"/>
                  </a:cubicBezTo>
                  <a:lnTo>
                    <a:pt x="91624" y="87035"/>
                  </a:lnTo>
                  <a:cubicBezTo>
                    <a:pt x="90222" y="82874"/>
                    <a:pt x="90891" y="78295"/>
                    <a:pt x="93425" y="74710"/>
                  </a:cubicBezTo>
                  <a:cubicBezTo>
                    <a:pt x="101557" y="61698"/>
                    <a:pt x="112924" y="51017"/>
                    <a:pt x="126416" y="43710"/>
                  </a:cubicBezTo>
                  <a:cubicBezTo>
                    <a:pt x="152772" y="24275"/>
                    <a:pt x="212592" y="19440"/>
                    <a:pt x="214299" y="67790"/>
                  </a:cubicBezTo>
                  <a:cubicBezTo>
                    <a:pt x="213923" y="78157"/>
                    <a:pt x="212814" y="88484"/>
                    <a:pt x="210981" y="98695"/>
                  </a:cubicBezTo>
                  <a:lnTo>
                    <a:pt x="210981" y="98695"/>
                  </a:lnTo>
                  <a:cubicBezTo>
                    <a:pt x="214678" y="103815"/>
                    <a:pt x="222262" y="103625"/>
                    <a:pt x="245489" y="109598"/>
                  </a:cubicBezTo>
                  <a:cubicBezTo>
                    <a:pt x="243671" y="93261"/>
                    <a:pt x="240176" y="77154"/>
                    <a:pt x="235061" y="61533"/>
                  </a:cubicBezTo>
                  <a:close/>
                </a:path>
              </a:pathLst>
            </a:custGeom>
            <a:solidFill>
              <a:srgbClr val="FFFFFF"/>
            </a:solidFill>
            <a:ln w="9391" cap="flat">
              <a:noFill/>
              <a:prstDash val="solid"/>
              <a:miter/>
            </a:ln>
          </p:spPr>
          <p:txBody>
            <a:bodyPr rtlCol="0" anchor="ctr"/>
            <a:lstStyle/>
            <a:p>
              <a:endParaRPr lang="fr-FR"/>
            </a:p>
          </p:txBody>
        </p:sp>
        <p:sp>
          <p:nvSpPr>
            <p:cNvPr id="593" name="Freeform 171">
              <a:extLst>
                <a:ext uri="{FF2B5EF4-FFF2-40B4-BE49-F238E27FC236}">
                  <a16:creationId xmlns:a16="http://schemas.microsoft.com/office/drawing/2014/main" id="{2819ECF5-6268-43C7-B47D-E60317E5E5C7}"/>
                </a:ext>
              </a:extLst>
            </p:cNvPr>
            <p:cNvSpPr/>
            <p:nvPr/>
          </p:nvSpPr>
          <p:spPr>
            <a:xfrm>
              <a:off x="6283614" y="3371170"/>
              <a:ext cx="9480" cy="474"/>
            </a:xfrm>
            <a:custGeom>
              <a:avLst/>
              <a:gdLst>
                <a:gd name="connsiteX0" fmla="*/ 0 w 9480"/>
                <a:gd name="connsiteY0" fmla="*/ 0 h 474"/>
                <a:gd name="connsiteX1" fmla="*/ 0 w 9480"/>
                <a:gd name="connsiteY1" fmla="*/ 474 h 474"/>
              </a:gdLst>
              <a:ahLst/>
              <a:cxnLst>
                <a:cxn ang="0">
                  <a:pos x="connsiteX0" y="connsiteY0"/>
                </a:cxn>
                <a:cxn ang="0">
                  <a:pos x="connsiteX1" y="connsiteY1"/>
                </a:cxn>
              </a:cxnLst>
              <a:rect l="l" t="t" r="r" b="b"/>
              <a:pathLst>
                <a:path w="9480" h="474">
                  <a:moveTo>
                    <a:pt x="0" y="0"/>
                  </a:moveTo>
                  <a:lnTo>
                    <a:pt x="0" y="474"/>
                  </a:lnTo>
                  <a:close/>
                </a:path>
              </a:pathLst>
            </a:custGeom>
            <a:solidFill>
              <a:srgbClr val="FFA17D"/>
            </a:solidFill>
            <a:ln w="9391" cap="flat">
              <a:noFill/>
              <a:prstDash val="solid"/>
              <a:miter/>
            </a:ln>
          </p:spPr>
          <p:txBody>
            <a:bodyPr rtlCol="0" anchor="ctr"/>
            <a:lstStyle/>
            <a:p>
              <a:endParaRPr lang="fr-FR"/>
            </a:p>
          </p:txBody>
        </p:sp>
        <p:sp>
          <p:nvSpPr>
            <p:cNvPr id="594" name="Freeform 172">
              <a:extLst>
                <a:ext uri="{FF2B5EF4-FFF2-40B4-BE49-F238E27FC236}">
                  <a16:creationId xmlns:a16="http://schemas.microsoft.com/office/drawing/2014/main" id="{8C9C0B8B-AF1A-4686-9DD1-2533B4B15EC1}"/>
                </a:ext>
              </a:extLst>
            </p:cNvPr>
            <p:cNvSpPr/>
            <p:nvPr/>
          </p:nvSpPr>
          <p:spPr>
            <a:xfrm>
              <a:off x="6283804" y="3371644"/>
              <a:ext cx="2464" cy="5308"/>
            </a:xfrm>
            <a:custGeom>
              <a:avLst/>
              <a:gdLst>
                <a:gd name="connsiteX0" fmla="*/ 0 w 2464"/>
                <a:gd name="connsiteY0" fmla="*/ 0 h 5308"/>
                <a:gd name="connsiteX1" fmla="*/ 2465 w 2464"/>
                <a:gd name="connsiteY1" fmla="*/ 5309 h 5308"/>
                <a:gd name="connsiteX2" fmla="*/ 0 w 2464"/>
                <a:gd name="connsiteY2" fmla="*/ 0 h 5308"/>
              </a:gdLst>
              <a:ahLst/>
              <a:cxnLst>
                <a:cxn ang="0">
                  <a:pos x="connsiteX0" y="connsiteY0"/>
                </a:cxn>
                <a:cxn ang="0">
                  <a:pos x="connsiteX1" y="connsiteY1"/>
                </a:cxn>
                <a:cxn ang="0">
                  <a:pos x="connsiteX2" y="connsiteY2"/>
                </a:cxn>
              </a:cxnLst>
              <a:rect l="l" t="t" r="r" b="b"/>
              <a:pathLst>
                <a:path w="2464" h="5308">
                  <a:moveTo>
                    <a:pt x="0" y="0"/>
                  </a:moveTo>
                  <a:cubicBezTo>
                    <a:pt x="957" y="1704"/>
                    <a:pt x="1781" y="3478"/>
                    <a:pt x="2465" y="5309"/>
                  </a:cubicBezTo>
                  <a:cubicBezTo>
                    <a:pt x="1781" y="3478"/>
                    <a:pt x="957" y="1704"/>
                    <a:pt x="0" y="0"/>
                  </a:cubicBezTo>
                  <a:close/>
                </a:path>
              </a:pathLst>
            </a:custGeom>
            <a:solidFill>
              <a:srgbClr val="860864"/>
            </a:solidFill>
            <a:ln w="9391" cap="flat">
              <a:noFill/>
              <a:prstDash val="solid"/>
              <a:miter/>
            </a:ln>
          </p:spPr>
          <p:txBody>
            <a:bodyPr rtlCol="0" anchor="ctr"/>
            <a:lstStyle/>
            <a:p>
              <a:endParaRPr lang="fr-FR"/>
            </a:p>
          </p:txBody>
        </p:sp>
        <p:sp>
          <p:nvSpPr>
            <p:cNvPr id="595" name="Freeform 173">
              <a:extLst>
                <a:ext uri="{FF2B5EF4-FFF2-40B4-BE49-F238E27FC236}">
                  <a16:creationId xmlns:a16="http://schemas.microsoft.com/office/drawing/2014/main" id="{CE9719E4-496C-4F92-92C0-9C2EC7CCD5C1}"/>
                </a:ext>
              </a:extLst>
            </p:cNvPr>
            <p:cNvSpPr/>
            <p:nvPr/>
          </p:nvSpPr>
          <p:spPr>
            <a:xfrm>
              <a:off x="6286553" y="3378185"/>
              <a:ext cx="758" cy="3318"/>
            </a:xfrm>
            <a:custGeom>
              <a:avLst/>
              <a:gdLst>
                <a:gd name="connsiteX0" fmla="*/ 758 w 758"/>
                <a:gd name="connsiteY0" fmla="*/ 3223 h 3318"/>
                <a:gd name="connsiteX1" fmla="*/ 0 w 758"/>
                <a:gd name="connsiteY1" fmla="*/ 0 h 3318"/>
                <a:gd name="connsiteX2" fmla="*/ 569 w 758"/>
                <a:gd name="connsiteY2" fmla="*/ 3318 h 3318"/>
              </a:gdLst>
              <a:ahLst/>
              <a:cxnLst>
                <a:cxn ang="0">
                  <a:pos x="connsiteX0" y="connsiteY0"/>
                </a:cxn>
                <a:cxn ang="0">
                  <a:pos x="connsiteX1" y="connsiteY1"/>
                </a:cxn>
                <a:cxn ang="0">
                  <a:pos x="connsiteX2" y="connsiteY2"/>
                </a:cxn>
              </a:cxnLst>
              <a:rect l="l" t="t" r="r" b="b"/>
              <a:pathLst>
                <a:path w="758" h="3318">
                  <a:moveTo>
                    <a:pt x="758" y="3223"/>
                  </a:moveTo>
                  <a:cubicBezTo>
                    <a:pt x="596" y="2130"/>
                    <a:pt x="342" y="1051"/>
                    <a:pt x="0" y="0"/>
                  </a:cubicBezTo>
                  <a:cubicBezTo>
                    <a:pt x="281" y="1088"/>
                    <a:pt x="471" y="2198"/>
                    <a:pt x="569" y="3318"/>
                  </a:cubicBezTo>
                  <a:close/>
                </a:path>
              </a:pathLst>
            </a:custGeom>
            <a:solidFill>
              <a:srgbClr val="860864"/>
            </a:solidFill>
            <a:ln w="9391" cap="flat">
              <a:noFill/>
              <a:prstDash val="solid"/>
              <a:miter/>
            </a:ln>
          </p:spPr>
          <p:txBody>
            <a:bodyPr rtlCol="0" anchor="ctr"/>
            <a:lstStyle/>
            <a:p>
              <a:endParaRPr lang="fr-FR"/>
            </a:p>
          </p:txBody>
        </p:sp>
        <p:sp>
          <p:nvSpPr>
            <p:cNvPr id="596" name="Freeform 174">
              <a:extLst>
                <a:ext uri="{FF2B5EF4-FFF2-40B4-BE49-F238E27FC236}">
                  <a16:creationId xmlns:a16="http://schemas.microsoft.com/office/drawing/2014/main" id="{B5255E62-CFDA-43EF-A202-F1D153CAFA0B}"/>
                </a:ext>
              </a:extLst>
            </p:cNvPr>
            <p:cNvSpPr/>
            <p:nvPr/>
          </p:nvSpPr>
          <p:spPr>
            <a:xfrm>
              <a:off x="6119226" y="3316469"/>
              <a:ext cx="12703" cy="948"/>
            </a:xfrm>
            <a:custGeom>
              <a:avLst/>
              <a:gdLst>
                <a:gd name="connsiteX0" fmla="*/ 12704 w 12703"/>
                <a:gd name="connsiteY0" fmla="*/ 0 h 948"/>
                <a:gd name="connsiteX1" fmla="*/ 0 w 12703"/>
                <a:gd name="connsiteY1" fmla="*/ 948 h 948"/>
              </a:gdLst>
              <a:ahLst/>
              <a:cxnLst>
                <a:cxn ang="0">
                  <a:pos x="connsiteX0" y="connsiteY0"/>
                </a:cxn>
                <a:cxn ang="0">
                  <a:pos x="connsiteX1" y="connsiteY1"/>
                </a:cxn>
              </a:cxnLst>
              <a:rect l="l" t="t" r="r" b="b"/>
              <a:pathLst>
                <a:path w="12703" h="948">
                  <a:moveTo>
                    <a:pt x="12704" y="0"/>
                  </a:moveTo>
                  <a:lnTo>
                    <a:pt x="0" y="948"/>
                  </a:lnTo>
                  <a:close/>
                </a:path>
              </a:pathLst>
            </a:custGeom>
            <a:solidFill>
              <a:srgbClr val="860864"/>
            </a:solidFill>
            <a:ln w="9391" cap="flat">
              <a:noFill/>
              <a:prstDash val="solid"/>
              <a:miter/>
            </a:ln>
          </p:spPr>
          <p:txBody>
            <a:bodyPr rtlCol="0" anchor="ctr"/>
            <a:lstStyle/>
            <a:p>
              <a:endParaRPr lang="fr-FR"/>
            </a:p>
          </p:txBody>
        </p:sp>
        <p:sp>
          <p:nvSpPr>
            <p:cNvPr id="597" name="Freeform 175">
              <a:extLst>
                <a:ext uri="{FF2B5EF4-FFF2-40B4-BE49-F238E27FC236}">
                  <a16:creationId xmlns:a16="http://schemas.microsoft.com/office/drawing/2014/main" id="{E4BAFA20-E131-475E-8389-87ABBEE816DD}"/>
                </a:ext>
              </a:extLst>
            </p:cNvPr>
            <p:cNvSpPr/>
            <p:nvPr/>
          </p:nvSpPr>
          <p:spPr>
            <a:xfrm>
              <a:off x="6134395" y="3316374"/>
              <a:ext cx="11376" cy="9480"/>
            </a:xfrm>
            <a:custGeom>
              <a:avLst/>
              <a:gdLst>
                <a:gd name="connsiteX0" fmla="*/ 0 w 11376"/>
                <a:gd name="connsiteY0" fmla="*/ 0 h 9480"/>
                <a:gd name="connsiteX1" fmla="*/ 11376 w 11376"/>
                <a:gd name="connsiteY1" fmla="*/ 0 h 9480"/>
                <a:gd name="connsiteX2" fmla="*/ 7110 w 11376"/>
                <a:gd name="connsiteY2" fmla="*/ 0 h 9480"/>
              </a:gdLst>
              <a:ahLst/>
              <a:cxnLst>
                <a:cxn ang="0">
                  <a:pos x="connsiteX0" y="connsiteY0"/>
                </a:cxn>
                <a:cxn ang="0">
                  <a:pos x="connsiteX1" y="connsiteY1"/>
                </a:cxn>
                <a:cxn ang="0">
                  <a:pos x="connsiteX2" y="connsiteY2"/>
                </a:cxn>
              </a:cxnLst>
              <a:rect l="l" t="t" r="r" b="b"/>
              <a:pathLst>
                <a:path w="11376" h="9480">
                  <a:moveTo>
                    <a:pt x="0" y="0"/>
                  </a:moveTo>
                  <a:lnTo>
                    <a:pt x="11376" y="0"/>
                  </a:lnTo>
                  <a:lnTo>
                    <a:pt x="7110" y="0"/>
                  </a:lnTo>
                  <a:close/>
                </a:path>
              </a:pathLst>
            </a:custGeom>
            <a:solidFill>
              <a:srgbClr val="860864"/>
            </a:solidFill>
            <a:ln w="9391" cap="flat">
              <a:noFill/>
              <a:prstDash val="solid"/>
              <a:miter/>
            </a:ln>
          </p:spPr>
          <p:txBody>
            <a:bodyPr rtlCol="0" anchor="ctr"/>
            <a:lstStyle/>
            <a:p>
              <a:endParaRPr lang="fr-FR"/>
            </a:p>
          </p:txBody>
        </p:sp>
        <p:sp>
          <p:nvSpPr>
            <p:cNvPr id="598" name="Freeform 176">
              <a:extLst>
                <a:ext uri="{FF2B5EF4-FFF2-40B4-BE49-F238E27FC236}">
                  <a16:creationId xmlns:a16="http://schemas.microsoft.com/office/drawing/2014/main" id="{FF990130-DA83-4464-A164-E15FE402915E}"/>
                </a:ext>
              </a:extLst>
            </p:cNvPr>
            <p:cNvSpPr/>
            <p:nvPr/>
          </p:nvSpPr>
          <p:spPr>
            <a:xfrm>
              <a:off x="6091165" y="3317417"/>
              <a:ext cx="27587" cy="3886"/>
            </a:xfrm>
            <a:custGeom>
              <a:avLst/>
              <a:gdLst>
                <a:gd name="connsiteX0" fmla="*/ 95 w 27587"/>
                <a:gd name="connsiteY0" fmla="*/ 3887 h 3886"/>
                <a:gd name="connsiteX1" fmla="*/ 27588 w 27587"/>
                <a:gd name="connsiteY1" fmla="*/ 0 h 3886"/>
                <a:gd name="connsiteX2" fmla="*/ 0 w 27587"/>
                <a:gd name="connsiteY2" fmla="*/ 3697 h 3886"/>
              </a:gdLst>
              <a:ahLst/>
              <a:cxnLst>
                <a:cxn ang="0">
                  <a:pos x="connsiteX0" y="connsiteY0"/>
                </a:cxn>
                <a:cxn ang="0">
                  <a:pos x="connsiteX1" y="connsiteY1"/>
                </a:cxn>
                <a:cxn ang="0">
                  <a:pos x="connsiteX2" y="connsiteY2"/>
                </a:cxn>
              </a:cxnLst>
              <a:rect l="l" t="t" r="r" b="b"/>
              <a:pathLst>
                <a:path w="27587" h="3886">
                  <a:moveTo>
                    <a:pt x="95" y="3887"/>
                  </a:moveTo>
                  <a:cubicBezTo>
                    <a:pt x="9575" y="2275"/>
                    <a:pt x="18297" y="948"/>
                    <a:pt x="27588" y="0"/>
                  </a:cubicBezTo>
                  <a:cubicBezTo>
                    <a:pt x="14694" y="1232"/>
                    <a:pt x="4551" y="2844"/>
                    <a:pt x="0" y="3697"/>
                  </a:cubicBezTo>
                  <a:close/>
                </a:path>
              </a:pathLst>
            </a:custGeom>
            <a:solidFill>
              <a:srgbClr val="860864"/>
            </a:solidFill>
            <a:ln w="9391" cap="flat">
              <a:noFill/>
              <a:prstDash val="solid"/>
              <a:miter/>
            </a:ln>
          </p:spPr>
          <p:txBody>
            <a:bodyPr rtlCol="0" anchor="ctr"/>
            <a:lstStyle/>
            <a:p>
              <a:endParaRPr lang="fr-FR"/>
            </a:p>
          </p:txBody>
        </p:sp>
        <p:sp>
          <p:nvSpPr>
            <p:cNvPr id="599" name="Freeform 177">
              <a:extLst>
                <a:ext uri="{FF2B5EF4-FFF2-40B4-BE49-F238E27FC236}">
                  <a16:creationId xmlns:a16="http://schemas.microsoft.com/office/drawing/2014/main" id="{4E0F0335-E005-4630-979C-7CED1F0F5D9C}"/>
                </a:ext>
              </a:extLst>
            </p:cNvPr>
            <p:cNvSpPr/>
            <p:nvPr/>
          </p:nvSpPr>
          <p:spPr>
            <a:xfrm>
              <a:off x="6241901" y="3335334"/>
              <a:ext cx="41713" cy="35835"/>
            </a:xfrm>
            <a:custGeom>
              <a:avLst/>
              <a:gdLst>
                <a:gd name="connsiteX0" fmla="*/ 41713 w 41713"/>
                <a:gd name="connsiteY0" fmla="*/ 35835 h 35835"/>
                <a:gd name="connsiteX1" fmla="*/ 0 w 41713"/>
                <a:gd name="connsiteY1" fmla="*/ 0 h 35835"/>
                <a:gd name="connsiteX2" fmla="*/ 0 w 41713"/>
                <a:gd name="connsiteY2" fmla="*/ 0 h 35835"/>
                <a:gd name="connsiteX3" fmla="*/ 0 w 41713"/>
                <a:gd name="connsiteY3" fmla="*/ 0 h 35835"/>
                <a:gd name="connsiteX4" fmla="*/ 0 w 41713"/>
                <a:gd name="connsiteY4" fmla="*/ 0 h 35835"/>
                <a:gd name="connsiteX5" fmla="*/ 41713 w 41713"/>
                <a:gd name="connsiteY5" fmla="*/ 35835 h 3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13" h="35835">
                  <a:moveTo>
                    <a:pt x="41713" y="35835"/>
                  </a:moveTo>
                  <a:cubicBezTo>
                    <a:pt x="31341" y="20307"/>
                    <a:pt x="16915" y="7914"/>
                    <a:pt x="0" y="0"/>
                  </a:cubicBezTo>
                  <a:lnTo>
                    <a:pt x="0" y="0"/>
                  </a:lnTo>
                  <a:lnTo>
                    <a:pt x="0" y="0"/>
                  </a:lnTo>
                  <a:lnTo>
                    <a:pt x="0" y="0"/>
                  </a:lnTo>
                  <a:cubicBezTo>
                    <a:pt x="16878" y="7970"/>
                    <a:pt x="31290" y="20351"/>
                    <a:pt x="41713" y="35835"/>
                  </a:cubicBezTo>
                  <a:close/>
                </a:path>
              </a:pathLst>
            </a:custGeom>
            <a:solidFill>
              <a:srgbClr val="860864"/>
            </a:solidFill>
            <a:ln w="9391" cap="flat">
              <a:noFill/>
              <a:prstDash val="solid"/>
              <a:miter/>
            </a:ln>
          </p:spPr>
          <p:txBody>
            <a:bodyPr rtlCol="0" anchor="ctr"/>
            <a:lstStyle/>
            <a:p>
              <a:endParaRPr lang="fr-FR"/>
            </a:p>
          </p:txBody>
        </p:sp>
        <p:sp>
          <p:nvSpPr>
            <p:cNvPr id="600" name="Freeform 178">
              <a:extLst>
                <a:ext uri="{FF2B5EF4-FFF2-40B4-BE49-F238E27FC236}">
                  <a16:creationId xmlns:a16="http://schemas.microsoft.com/office/drawing/2014/main" id="{B342881D-453C-496D-8910-9F0661F89492}"/>
                </a:ext>
              </a:extLst>
            </p:cNvPr>
            <p:cNvSpPr/>
            <p:nvPr/>
          </p:nvSpPr>
          <p:spPr>
            <a:xfrm>
              <a:off x="6091259" y="3321303"/>
              <a:ext cx="9480" cy="9480"/>
            </a:xfrm>
            <a:custGeom>
              <a:avLst/>
              <a:gdLst>
                <a:gd name="connsiteX0" fmla="*/ 0 w 9480"/>
                <a:gd name="connsiteY0" fmla="*/ 0 h 9480"/>
                <a:gd name="connsiteX1" fmla="*/ 0 w 9480"/>
                <a:gd name="connsiteY1" fmla="*/ 0 h 9480"/>
                <a:gd name="connsiteX2" fmla="*/ 0 w 9480"/>
                <a:gd name="connsiteY2" fmla="*/ 0 h 9480"/>
                <a:gd name="connsiteX3" fmla="*/ 0 w 9480"/>
                <a:gd name="connsiteY3" fmla="*/ 0 h 9480"/>
              </a:gdLst>
              <a:ahLst/>
              <a:cxnLst>
                <a:cxn ang="0">
                  <a:pos x="connsiteX0" y="connsiteY0"/>
                </a:cxn>
                <a:cxn ang="0">
                  <a:pos x="connsiteX1" y="connsiteY1"/>
                </a:cxn>
                <a:cxn ang="0">
                  <a:pos x="connsiteX2" y="connsiteY2"/>
                </a:cxn>
                <a:cxn ang="0">
                  <a:pos x="connsiteX3" y="connsiteY3"/>
                </a:cxn>
              </a:cxnLst>
              <a:rect l="l" t="t" r="r" b="b"/>
              <a:pathLst>
                <a:path w="9480" h="9480">
                  <a:moveTo>
                    <a:pt x="0" y="0"/>
                  </a:moveTo>
                  <a:lnTo>
                    <a:pt x="0" y="0"/>
                  </a:lnTo>
                  <a:lnTo>
                    <a:pt x="0" y="0"/>
                  </a:lnTo>
                  <a:lnTo>
                    <a:pt x="0" y="0"/>
                  </a:lnTo>
                  <a:close/>
                </a:path>
              </a:pathLst>
            </a:custGeom>
            <a:solidFill>
              <a:srgbClr val="860864"/>
            </a:solidFill>
            <a:ln w="9391" cap="flat">
              <a:noFill/>
              <a:prstDash val="solid"/>
              <a:miter/>
            </a:ln>
          </p:spPr>
          <p:txBody>
            <a:bodyPr rtlCol="0" anchor="ctr"/>
            <a:lstStyle/>
            <a:p>
              <a:endParaRPr lang="fr-FR"/>
            </a:p>
          </p:txBody>
        </p:sp>
        <p:sp>
          <p:nvSpPr>
            <p:cNvPr id="601" name="Freeform 179">
              <a:extLst>
                <a:ext uri="{FF2B5EF4-FFF2-40B4-BE49-F238E27FC236}">
                  <a16:creationId xmlns:a16="http://schemas.microsoft.com/office/drawing/2014/main" id="{1EBCBD0B-E722-42B9-97BA-9119733F69F8}"/>
                </a:ext>
              </a:extLst>
            </p:cNvPr>
            <p:cNvSpPr/>
            <p:nvPr/>
          </p:nvSpPr>
          <p:spPr>
            <a:xfrm>
              <a:off x="6148710" y="3316563"/>
              <a:ext cx="8911" cy="9480"/>
            </a:xfrm>
            <a:custGeom>
              <a:avLst/>
              <a:gdLst>
                <a:gd name="connsiteX0" fmla="*/ 8911 w 8911"/>
                <a:gd name="connsiteY0" fmla="*/ 0 h 9480"/>
                <a:gd name="connsiteX1" fmla="*/ 0 w 8911"/>
                <a:gd name="connsiteY1" fmla="*/ 0 h 9480"/>
              </a:gdLst>
              <a:ahLst/>
              <a:cxnLst>
                <a:cxn ang="0">
                  <a:pos x="connsiteX0" y="connsiteY0"/>
                </a:cxn>
                <a:cxn ang="0">
                  <a:pos x="connsiteX1" y="connsiteY1"/>
                </a:cxn>
              </a:cxnLst>
              <a:rect l="l" t="t" r="r" b="b"/>
              <a:pathLst>
                <a:path w="8911" h="9480">
                  <a:moveTo>
                    <a:pt x="8911" y="0"/>
                  </a:moveTo>
                  <a:lnTo>
                    <a:pt x="0" y="0"/>
                  </a:lnTo>
                  <a:close/>
                </a:path>
              </a:pathLst>
            </a:custGeom>
            <a:solidFill>
              <a:srgbClr val="860864"/>
            </a:solidFill>
            <a:ln w="9391" cap="flat">
              <a:noFill/>
              <a:prstDash val="solid"/>
              <a:miter/>
            </a:ln>
          </p:spPr>
          <p:txBody>
            <a:bodyPr rtlCol="0" anchor="ctr"/>
            <a:lstStyle/>
            <a:p>
              <a:endParaRPr lang="fr-FR"/>
            </a:p>
          </p:txBody>
        </p:sp>
        <p:sp>
          <p:nvSpPr>
            <p:cNvPr id="602" name="Freeform 180">
              <a:extLst>
                <a:ext uri="{FF2B5EF4-FFF2-40B4-BE49-F238E27FC236}">
                  <a16:creationId xmlns:a16="http://schemas.microsoft.com/office/drawing/2014/main" id="{791A6F48-252E-459E-B03E-A51FAAA5A6B0}"/>
                </a:ext>
              </a:extLst>
            </p:cNvPr>
            <p:cNvSpPr/>
            <p:nvPr/>
          </p:nvSpPr>
          <p:spPr>
            <a:xfrm>
              <a:off x="6194500" y="3321398"/>
              <a:ext cx="12798" cy="2844"/>
            </a:xfrm>
            <a:custGeom>
              <a:avLst/>
              <a:gdLst>
                <a:gd name="connsiteX0" fmla="*/ 12798 w 12798"/>
                <a:gd name="connsiteY0" fmla="*/ 2844 h 2844"/>
                <a:gd name="connsiteX1" fmla="*/ 12798 w 12798"/>
                <a:gd name="connsiteY1" fmla="*/ 2844 h 2844"/>
                <a:gd name="connsiteX2" fmla="*/ 0 w 12798"/>
                <a:gd name="connsiteY2" fmla="*/ 0 h 2844"/>
                <a:gd name="connsiteX3" fmla="*/ 12798 w 12798"/>
                <a:gd name="connsiteY3" fmla="*/ 2844 h 2844"/>
              </a:gdLst>
              <a:ahLst/>
              <a:cxnLst>
                <a:cxn ang="0">
                  <a:pos x="connsiteX0" y="connsiteY0"/>
                </a:cxn>
                <a:cxn ang="0">
                  <a:pos x="connsiteX1" y="connsiteY1"/>
                </a:cxn>
                <a:cxn ang="0">
                  <a:pos x="connsiteX2" y="connsiteY2"/>
                </a:cxn>
                <a:cxn ang="0">
                  <a:pos x="connsiteX3" y="connsiteY3"/>
                </a:cxn>
              </a:cxnLst>
              <a:rect l="l" t="t" r="r" b="b"/>
              <a:pathLst>
                <a:path w="12798" h="2844">
                  <a:moveTo>
                    <a:pt x="12798" y="2844"/>
                  </a:moveTo>
                  <a:lnTo>
                    <a:pt x="12798" y="2844"/>
                  </a:lnTo>
                  <a:cubicBezTo>
                    <a:pt x="8911" y="1801"/>
                    <a:pt x="4551" y="853"/>
                    <a:pt x="0" y="0"/>
                  </a:cubicBezTo>
                  <a:cubicBezTo>
                    <a:pt x="4266" y="758"/>
                    <a:pt x="8532" y="1706"/>
                    <a:pt x="12798" y="2844"/>
                  </a:cubicBezTo>
                  <a:close/>
                </a:path>
              </a:pathLst>
            </a:custGeom>
            <a:solidFill>
              <a:srgbClr val="860864"/>
            </a:solidFill>
            <a:ln w="9391" cap="flat">
              <a:noFill/>
              <a:prstDash val="solid"/>
              <a:miter/>
            </a:ln>
          </p:spPr>
          <p:txBody>
            <a:bodyPr rtlCol="0" anchor="ctr"/>
            <a:lstStyle/>
            <a:p>
              <a:endParaRPr lang="fr-FR"/>
            </a:p>
          </p:txBody>
        </p:sp>
        <p:sp>
          <p:nvSpPr>
            <p:cNvPr id="603" name="Freeform 181">
              <a:extLst>
                <a:ext uri="{FF2B5EF4-FFF2-40B4-BE49-F238E27FC236}">
                  <a16:creationId xmlns:a16="http://schemas.microsoft.com/office/drawing/2014/main" id="{911A4750-6C61-4B72-AE4B-22A26C955BEC}"/>
                </a:ext>
              </a:extLst>
            </p:cNvPr>
            <p:cNvSpPr/>
            <p:nvPr/>
          </p:nvSpPr>
          <p:spPr>
            <a:xfrm>
              <a:off x="6088984" y="3316563"/>
              <a:ext cx="198137" cy="106463"/>
            </a:xfrm>
            <a:custGeom>
              <a:avLst/>
              <a:gdLst>
                <a:gd name="connsiteX0" fmla="*/ 118314 w 198137"/>
                <a:gd name="connsiteY0" fmla="*/ 7679 h 106463"/>
                <a:gd name="connsiteX1" fmla="*/ 105516 w 198137"/>
                <a:gd name="connsiteY1" fmla="*/ 4740 h 106463"/>
                <a:gd name="connsiteX2" fmla="*/ 68827 w 198137"/>
                <a:gd name="connsiteY2" fmla="*/ 0 h 106463"/>
                <a:gd name="connsiteX3" fmla="*/ 59915 w 198137"/>
                <a:gd name="connsiteY3" fmla="*/ 0 h 106463"/>
                <a:gd name="connsiteX4" fmla="*/ 56787 w 198137"/>
                <a:gd name="connsiteY4" fmla="*/ 0 h 106463"/>
                <a:gd name="connsiteX5" fmla="*/ 45411 w 198137"/>
                <a:gd name="connsiteY5" fmla="*/ 0 h 106463"/>
                <a:gd name="connsiteX6" fmla="*/ 42946 w 198137"/>
                <a:gd name="connsiteY6" fmla="*/ 0 h 106463"/>
                <a:gd name="connsiteX7" fmla="*/ 30242 w 198137"/>
                <a:gd name="connsiteY7" fmla="*/ 948 h 106463"/>
                <a:gd name="connsiteX8" fmla="*/ 29768 w 198137"/>
                <a:gd name="connsiteY8" fmla="*/ 948 h 106463"/>
                <a:gd name="connsiteX9" fmla="*/ 2275 w 198137"/>
                <a:gd name="connsiteY9" fmla="*/ 4835 h 106463"/>
                <a:gd name="connsiteX10" fmla="*/ 8911 w 198137"/>
                <a:gd name="connsiteY10" fmla="*/ 18297 h 106463"/>
                <a:gd name="connsiteX11" fmla="*/ 8911 w 198137"/>
                <a:gd name="connsiteY11" fmla="*/ 32138 h 106463"/>
                <a:gd name="connsiteX12" fmla="*/ 0 w 198137"/>
                <a:gd name="connsiteY12" fmla="*/ 41618 h 106463"/>
                <a:gd name="connsiteX13" fmla="*/ 3223 w 198137"/>
                <a:gd name="connsiteY13" fmla="*/ 56123 h 106463"/>
                <a:gd name="connsiteX14" fmla="*/ 15832 w 198137"/>
                <a:gd name="connsiteY14" fmla="*/ 60674 h 106463"/>
                <a:gd name="connsiteX15" fmla="*/ 103999 w 198137"/>
                <a:gd name="connsiteY15" fmla="*/ 72240 h 106463"/>
                <a:gd name="connsiteX16" fmla="*/ 169413 w 198137"/>
                <a:gd name="connsiteY16" fmla="*/ 105326 h 106463"/>
                <a:gd name="connsiteX17" fmla="*/ 170550 w 198137"/>
                <a:gd name="connsiteY17" fmla="*/ 106464 h 106463"/>
                <a:gd name="connsiteX18" fmla="*/ 190743 w 198137"/>
                <a:gd name="connsiteY18" fmla="*/ 69016 h 106463"/>
                <a:gd name="connsiteX19" fmla="*/ 198138 w 198137"/>
                <a:gd name="connsiteY19" fmla="*/ 65319 h 106463"/>
                <a:gd name="connsiteX20" fmla="*/ 197569 w 198137"/>
                <a:gd name="connsiteY20" fmla="*/ 62001 h 106463"/>
                <a:gd name="connsiteX21" fmla="*/ 197569 w 198137"/>
                <a:gd name="connsiteY21" fmla="*/ 60769 h 106463"/>
                <a:gd name="connsiteX22" fmla="*/ 195104 w 198137"/>
                <a:gd name="connsiteY22" fmla="*/ 55460 h 106463"/>
                <a:gd name="connsiteX23" fmla="*/ 195104 w 198137"/>
                <a:gd name="connsiteY23" fmla="*/ 54986 h 106463"/>
                <a:gd name="connsiteX24" fmla="*/ 153391 w 198137"/>
                <a:gd name="connsiteY24" fmla="*/ 19150 h 106463"/>
                <a:gd name="connsiteX25" fmla="*/ 153391 w 198137"/>
                <a:gd name="connsiteY25" fmla="*/ 19150 h 106463"/>
                <a:gd name="connsiteX26" fmla="*/ 118314 w 198137"/>
                <a:gd name="connsiteY26" fmla="*/ 7679 h 10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8137" h="106463">
                  <a:moveTo>
                    <a:pt x="118314" y="7679"/>
                  </a:moveTo>
                  <a:cubicBezTo>
                    <a:pt x="114048" y="6541"/>
                    <a:pt x="109782" y="5593"/>
                    <a:pt x="105516" y="4740"/>
                  </a:cubicBezTo>
                  <a:cubicBezTo>
                    <a:pt x="93407" y="2331"/>
                    <a:pt x="81150" y="748"/>
                    <a:pt x="68827" y="0"/>
                  </a:cubicBezTo>
                  <a:lnTo>
                    <a:pt x="59915" y="0"/>
                  </a:lnTo>
                  <a:lnTo>
                    <a:pt x="56787" y="0"/>
                  </a:lnTo>
                  <a:lnTo>
                    <a:pt x="45411" y="0"/>
                  </a:lnTo>
                  <a:lnTo>
                    <a:pt x="42946" y="0"/>
                  </a:lnTo>
                  <a:lnTo>
                    <a:pt x="30242" y="948"/>
                  </a:lnTo>
                  <a:lnTo>
                    <a:pt x="29768" y="948"/>
                  </a:lnTo>
                  <a:cubicBezTo>
                    <a:pt x="20288" y="1896"/>
                    <a:pt x="11282" y="3223"/>
                    <a:pt x="2275" y="4835"/>
                  </a:cubicBezTo>
                  <a:cubicBezTo>
                    <a:pt x="4171" y="9101"/>
                    <a:pt x="6352" y="13652"/>
                    <a:pt x="8911" y="18297"/>
                  </a:cubicBezTo>
                  <a:cubicBezTo>
                    <a:pt x="11471" y="22942"/>
                    <a:pt x="11850" y="28915"/>
                    <a:pt x="8911" y="32138"/>
                  </a:cubicBezTo>
                  <a:cubicBezTo>
                    <a:pt x="5973" y="35361"/>
                    <a:pt x="3318" y="38111"/>
                    <a:pt x="0" y="41618"/>
                  </a:cubicBezTo>
                  <a:cubicBezTo>
                    <a:pt x="71" y="46623"/>
                    <a:pt x="1168" y="51560"/>
                    <a:pt x="3223" y="56123"/>
                  </a:cubicBezTo>
                  <a:cubicBezTo>
                    <a:pt x="4740" y="60389"/>
                    <a:pt x="9575" y="61337"/>
                    <a:pt x="15832" y="60674"/>
                  </a:cubicBezTo>
                  <a:cubicBezTo>
                    <a:pt x="45714" y="58006"/>
                    <a:pt x="75816" y="61955"/>
                    <a:pt x="103999" y="72240"/>
                  </a:cubicBezTo>
                  <a:cubicBezTo>
                    <a:pt x="127841" y="78668"/>
                    <a:pt x="150106" y="89930"/>
                    <a:pt x="169413" y="105326"/>
                  </a:cubicBezTo>
                  <a:lnTo>
                    <a:pt x="170550" y="106464"/>
                  </a:lnTo>
                  <a:cubicBezTo>
                    <a:pt x="183299" y="98308"/>
                    <a:pt x="190934" y="84149"/>
                    <a:pt x="190743" y="69016"/>
                  </a:cubicBezTo>
                  <a:lnTo>
                    <a:pt x="198138" y="65319"/>
                  </a:lnTo>
                  <a:cubicBezTo>
                    <a:pt x="198041" y="64199"/>
                    <a:pt x="197850" y="63089"/>
                    <a:pt x="197569" y="62001"/>
                  </a:cubicBezTo>
                  <a:lnTo>
                    <a:pt x="197569" y="60769"/>
                  </a:lnTo>
                  <a:cubicBezTo>
                    <a:pt x="196885" y="58938"/>
                    <a:pt x="196061" y="57163"/>
                    <a:pt x="195104" y="55460"/>
                  </a:cubicBezTo>
                  <a:lnTo>
                    <a:pt x="195104" y="54986"/>
                  </a:lnTo>
                  <a:cubicBezTo>
                    <a:pt x="184681" y="39502"/>
                    <a:pt x="170269" y="27120"/>
                    <a:pt x="153391" y="19150"/>
                  </a:cubicBezTo>
                  <a:lnTo>
                    <a:pt x="153391" y="19150"/>
                  </a:lnTo>
                  <a:cubicBezTo>
                    <a:pt x="141468" y="16070"/>
                    <a:pt x="129753" y="12239"/>
                    <a:pt x="118314" y="7679"/>
                  </a:cubicBezTo>
                  <a:close/>
                </a:path>
              </a:pathLst>
            </a:custGeom>
            <a:solidFill>
              <a:schemeClr val="bg1"/>
            </a:solidFill>
            <a:ln w="9391" cap="flat">
              <a:solidFill>
                <a:srgbClr val="0070AD"/>
              </a:solidFill>
              <a:prstDash val="solid"/>
              <a:miter/>
            </a:ln>
          </p:spPr>
          <p:txBody>
            <a:bodyPr rtlCol="0" anchor="ctr"/>
            <a:lstStyle/>
            <a:p>
              <a:endParaRPr lang="fr-FR"/>
            </a:p>
          </p:txBody>
        </p:sp>
        <p:sp>
          <p:nvSpPr>
            <p:cNvPr id="629" name="Freeform 182">
              <a:extLst>
                <a:ext uri="{FF2B5EF4-FFF2-40B4-BE49-F238E27FC236}">
                  <a16:creationId xmlns:a16="http://schemas.microsoft.com/office/drawing/2014/main" id="{430830EA-D10F-44E1-BE50-C713F7BD5863}"/>
                </a:ext>
              </a:extLst>
            </p:cNvPr>
            <p:cNvSpPr/>
            <p:nvPr/>
          </p:nvSpPr>
          <p:spPr>
            <a:xfrm>
              <a:off x="6087799" y="3321114"/>
              <a:ext cx="12301" cy="36688"/>
            </a:xfrm>
            <a:custGeom>
              <a:avLst/>
              <a:gdLst>
                <a:gd name="connsiteX0" fmla="*/ 10097 w 12301"/>
                <a:gd name="connsiteY0" fmla="*/ 27303 h 36688"/>
                <a:gd name="connsiteX1" fmla="*/ 10097 w 12301"/>
                <a:gd name="connsiteY1" fmla="*/ 13462 h 36688"/>
                <a:gd name="connsiteX2" fmla="*/ 3461 w 12301"/>
                <a:gd name="connsiteY2" fmla="*/ 0 h 36688"/>
                <a:gd name="connsiteX3" fmla="*/ 3461 w 12301"/>
                <a:gd name="connsiteY3" fmla="*/ 0 h 36688"/>
                <a:gd name="connsiteX4" fmla="*/ 3461 w 12301"/>
                <a:gd name="connsiteY4" fmla="*/ 0 h 36688"/>
                <a:gd name="connsiteX5" fmla="*/ 1185 w 12301"/>
                <a:gd name="connsiteY5" fmla="*/ 474 h 36688"/>
                <a:gd name="connsiteX6" fmla="*/ 1185 w 12301"/>
                <a:gd name="connsiteY6" fmla="*/ 36689 h 36688"/>
                <a:gd name="connsiteX7" fmla="*/ 10097 w 12301"/>
                <a:gd name="connsiteY7" fmla="*/ 27303 h 3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01" h="36688">
                  <a:moveTo>
                    <a:pt x="10097" y="27303"/>
                  </a:moveTo>
                  <a:cubicBezTo>
                    <a:pt x="13036" y="24080"/>
                    <a:pt x="13036" y="19435"/>
                    <a:pt x="10097" y="13462"/>
                  </a:cubicBezTo>
                  <a:cubicBezTo>
                    <a:pt x="7158" y="7489"/>
                    <a:pt x="5357" y="3982"/>
                    <a:pt x="3461" y="0"/>
                  </a:cubicBezTo>
                  <a:lnTo>
                    <a:pt x="3461" y="0"/>
                  </a:lnTo>
                  <a:lnTo>
                    <a:pt x="3461" y="0"/>
                  </a:lnTo>
                  <a:lnTo>
                    <a:pt x="1185" y="474"/>
                  </a:lnTo>
                  <a:cubicBezTo>
                    <a:pt x="-395" y="12494"/>
                    <a:pt x="-395" y="24669"/>
                    <a:pt x="1185" y="36689"/>
                  </a:cubicBezTo>
                  <a:cubicBezTo>
                    <a:pt x="4504" y="33465"/>
                    <a:pt x="7632" y="30337"/>
                    <a:pt x="10097" y="27303"/>
                  </a:cubicBezTo>
                  <a:close/>
                </a:path>
              </a:pathLst>
            </a:custGeom>
            <a:solidFill>
              <a:srgbClr val="FFFFFF"/>
            </a:solidFill>
            <a:ln w="9391" cap="flat">
              <a:noFill/>
              <a:prstDash val="solid"/>
              <a:miter/>
            </a:ln>
          </p:spPr>
          <p:txBody>
            <a:bodyPr rtlCol="0" anchor="ctr"/>
            <a:lstStyle/>
            <a:p>
              <a:endParaRPr lang="fr-FR"/>
            </a:p>
          </p:txBody>
        </p:sp>
        <p:sp>
          <p:nvSpPr>
            <p:cNvPr id="630" name="Freeform 183">
              <a:extLst>
                <a:ext uri="{FF2B5EF4-FFF2-40B4-BE49-F238E27FC236}">
                  <a16:creationId xmlns:a16="http://schemas.microsoft.com/office/drawing/2014/main" id="{F95B2EEB-B438-4841-9CB1-6BBB53048E98}"/>
                </a:ext>
              </a:extLst>
            </p:cNvPr>
            <p:cNvSpPr/>
            <p:nvPr/>
          </p:nvSpPr>
          <p:spPr>
            <a:xfrm>
              <a:off x="5882219" y="3395819"/>
              <a:ext cx="1137" cy="853"/>
            </a:xfrm>
            <a:custGeom>
              <a:avLst/>
              <a:gdLst>
                <a:gd name="connsiteX0" fmla="*/ 1138 w 1137"/>
                <a:gd name="connsiteY0" fmla="*/ 0 h 853"/>
                <a:gd name="connsiteX1" fmla="*/ 0 w 1137"/>
                <a:gd name="connsiteY1" fmla="*/ 853 h 853"/>
                <a:gd name="connsiteX2" fmla="*/ 0 w 1137"/>
                <a:gd name="connsiteY2" fmla="*/ 853 h 853"/>
                <a:gd name="connsiteX3" fmla="*/ 1043 w 1137"/>
                <a:gd name="connsiteY3" fmla="*/ 95 h 853"/>
              </a:gdLst>
              <a:ahLst/>
              <a:cxnLst>
                <a:cxn ang="0">
                  <a:pos x="connsiteX0" y="connsiteY0"/>
                </a:cxn>
                <a:cxn ang="0">
                  <a:pos x="connsiteX1" y="connsiteY1"/>
                </a:cxn>
                <a:cxn ang="0">
                  <a:pos x="connsiteX2" y="connsiteY2"/>
                </a:cxn>
                <a:cxn ang="0">
                  <a:pos x="connsiteX3" y="connsiteY3"/>
                </a:cxn>
              </a:cxnLst>
              <a:rect l="l" t="t" r="r" b="b"/>
              <a:pathLst>
                <a:path w="1137" h="853">
                  <a:moveTo>
                    <a:pt x="1138" y="0"/>
                  </a:moveTo>
                  <a:lnTo>
                    <a:pt x="0" y="853"/>
                  </a:lnTo>
                  <a:lnTo>
                    <a:pt x="0" y="853"/>
                  </a:lnTo>
                  <a:lnTo>
                    <a:pt x="1043" y="95"/>
                  </a:lnTo>
                  <a:close/>
                </a:path>
              </a:pathLst>
            </a:custGeom>
            <a:solidFill>
              <a:srgbClr val="FFFFFF"/>
            </a:solidFill>
            <a:ln w="9391" cap="flat">
              <a:noFill/>
              <a:prstDash val="solid"/>
              <a:miter/>
            </a:ln>
          </p:spPr>
          <p:txBody>
            <a:bodyPr rtlCol="0" anchor="ctr"/>
            <a:lstStyle/>
            <a:p>
              <a:endParaRPr lang="fr-FR"/>
            </a:p>
          </p:txBody>
        </p:sp>
        <p:sp>
          <p:nvSpPr>
            <p:cNvPr id="631" name="Freeform 184">
              <a:extLst>
                <a:ext uri="{FF2B5EF4-FFF2-40B4-BE49-F238E27FC236}">
                  <a16:creationId xmlns:a16="http://schemas.microsoft.com/office/drawing/2014/main" id="{E1983CB5-C63A-4CAE-82B5-245B856A599B}"/>
                </a:ext>
              </a:extLst>
            </p:cNvPr>
            <p:cNvSpPr/>
            <p:nvPr/>
          </p:nvSpPr>
          <p:spPr>
            <a:xfrm>
              <a:off x="5852167" y="3396956"/>
              <a:ext cx="277013" cy="232590"/>
            </a:xfrm>
            <a:custGeom>
              <a:avLst/>
              <a:gdLst>
                <a:gd name="connsiteX0" fmla="*/ 277014 w 277013"/>
                <a:gd name="connsiteY0" fmla="*/ 162492 h 232590"/>
                <a:gd name="connsiteX1" fmla="*/ 260139 w 277013"/>
                <a:gd name="connsiteY1" fmla="*/ 209893 h 232590"/>
                <a:gd name="connsiteX2" fmla="*/ 260139 w 277013"/>
                <a:gd name="connsiteY2" fmla="*/ 209893 h 232590"/>
                <a:gd name="connsiteX3" fmla="*/ 260139 w 277013"/>
                <a:gd name="connsiteY3" fmla="*/ 209893 h 232590"/>
                <a:gd name="connsiteX4" fmla="*/ 253029 w 277013"/>
                <a:gd name="connsiteY4" fmla="*/ 215202 h 232590"/>
                <a:gd name="connsiteX5" fmla="*/ 224588 w 277013"/>
                <a:gd name="connsiteY5" fmla="*/ 230845 h 232590"/>
                <a:gd name="connsiteX6" fmla="*/ 206955 w 277013"/>
                <a:gd name="connsiteY6" fmla="*/ 230845 h 232590"/>
                <a:gd name="connsiteX7" fmla="*/ 136895 w 277013"/>
                <a:gd name="connsiteY7" fmla="*/ 200129 h 232590"/>
                <a:gd name="connsiteX8" fmla="*/ 81151 w 277013"/>
                <a:gd name="connsiteY8" fmla="*/ 169981 h 232590"/>
                <a:gd name="connsiteX9" fmla="*/ 59631 w 277013"/>
                <a:gd name="connsiteY9" fmla="*/ 156614 h 232590"/>
                <a:gd name="connsiteX10" fmla="*/ 28346 w 277013"/>
                <a:gd name="connsiteY10" fmla="*/ 134904 h 232590"/>
                <a:gd name="connsiteX11" fmla="*/ 8248 w 277013"/>
                <a:gd name="connsiteY11" fmla="*/ 96414 h 232590"/>
                <a:gd name="connsiteX12" fmla="*/ 0 w 277013"/>
                <a:gd name="connsiteY12" fmla="*/ 28251 h 232590"/>
                <a:gd name="connsiteX13" fmla="*/ 6826 w 277013"/>
                <a:gd name="connsiteY13" fmla="*/ 17823 h 232590"/>
                <a:gd name="connsiteX14" fmla="*/ 8627 w 277013"/>
                <a:gd name="connsiteY14" fmla="*/ 16306 h 232590"/>
                <a:gd name="connsiteX15" fmla="*/ 10808 w 277013"/>
                <a:gd name="connsiteY15" fmla="*/ 14694 h 232590"/>
                <a:gd name="connsiteX16" fmla="*/ 29768 w 277013"/>
                <a:gd name="connsiteY16" fmla="*/ 0 h 232590"/>
                <a:gd name="connsiteX17" fmla="*/ 29768 w 277013"/>
                <a:gd name="connsiteY17" fmla="*/ 0 h 232590"/>
                <a:gd name="connsiteX18" fmla="*/ 32612 w 277013"/>
                <a:gd name="connsiteY18" fmla="*/ 569 h 232590"/>
                <a:gd name="connsiteX19" fmla="*/ 35077 w 277013"/>
                <a:gd name="connsiteY19" fmla="*/ 1706 h 232590"/>
                <a:gd name="connsiteX20" fmla="*/ 37447 w 277013"/>
                <a:gd name="connsiteY20" fmla="*/ 3318 h 232590"/>
                <a:gd name="connsiteX21" fmla="*/ 39817 w 277013"/>
                <a:gd name="connsiteY21" fmla="*/ 5214 h 232590"/>
                <a:gd name="connsiteX22" fmla="*/ 47970 w 277013"/>
                <a:gd name="connsiteY22" fmla="*/ 12135 h 232590"/>
                <a:gd name="connsiteX23" fmla="*/ 231603 w 277013"/>
                <a:gd name="connsiteY23" fmla="*/ 94613 h 232590"/>
                <a:gd name="connsiteX24" fmla="*/ 235680 w 277013"/>
                <a:gd name="connsiteY24" fmla="*/ 96225 h 232590"/>
                <a:gd name="connsiteX25" fmla="*/ 239851 w 277013"/>
                <a:gd name="connsiteY25" fmla="*/ 98121 h 232590"/>
                <a:gd name="connsiteX26" fmla="*/ 244022 w 277013"/>
                <a:gd name="connsiteY26" fmla="*/ 100491 h 232590"/>
                <a:gd name="connsiteX27" fmla="*/ 246582 w 277013"/>
                <a:gd name="connsiteY27" fmla="*/ 102103 h 232590"/>
                <a:gd name="connsiteX28" fmla="*/ 249805 w 277013"/>
                <a:gd name="connsiteY28" fmla="*/ 104283 h 232590"/>
                <a:gd name="connsiteX29" fmla="*/ 249805 w 277013"/>
                <a:gd name="connsiteY29" fmla="*/ 104283 h 232590"/>
                <a:gd name="connsiteX30" fmla="*/ 251986 w 277013"/>
                <a:gd name="connsiteY30" fmla="*/ 105990 h 232590"/>
                <a:gd name="connsiteX31" fmla="*/ 253218 w 277013"/>
                <a:gd name="connsiteY31" fmla="*/ 106938 h 232590"/>
                <a:gd name="connsiteX32" fmla="*/ 254261 w 277013"/>
                <a:gd name="connsiteY32" fmla="*/ 107886 h 232590"/>
                <a:gd name="connsiteX33" fmla="*/ 255683 w 277013"/>
                <a:gd name="connsiteY33" fmla="*/ 109213 h 232590"/>
                <a:gd name="connsiteX34" fmla="*/ 259286 w 277013"/>
                <a:gd name="connsiteY34" fmla="*/ 112815 h 232590"/>
                <a:gd name="connsiteX35" fmla="*/ 259286 w 277013"/>
                <a:gd name="connsiteY35" fmla="*/ 112815 h 232590"/>
                <a:gd name="connsiteX36" fmla="*/ 261940 w 277013"/>
                <a:gd name="connsiteY36" fmla="*/ 115944 h 232590"/>
                <a:gd name="connsiteX37" fmla="*/ 261940 w 277013"/>
                <a:gd name="connsiteY37" fmla="*/ 115944 h 232590"/>
                <a:gd name="connsiteX38" fmla="*/ 261940 w 277013"/>
                <a:gd name="connsiteY38" fmla="*/ 115944 h 232590"/>
                <a:gd name="connsiteX39" fmla="*/ 262983 w 277013"/>
                <a:gd name="connsiteY39" fmla="*/ 117271 h 232590"/>
                <a:gd name="connsiteX40" fmla="*/ 265069 w 277013"/>
                <a:gd name="connsiteY40" fmla="*/ 120305 h 232590"/>
                <a:gd name="connsiteX41" fmla="*/ 266112 w 277013"/>
                <a:gd name="connsiteY41" fmla="*/ 122106 h 232590"/>
                <a:gd name="connsiteX42" fmla="*/ 267154 w 277013"/>
                <a:gd name="connsiteY42" fmla="*/ 124002 h 232590"/>
                <a:gd name="connsiteX43" fmla="*/ 268102 w 277013"/>
                <a:gd name="connsiteY43" fmla="*/ 125993 h 232590"/>
                <a:gd name="connsiteX44" fmla="*/ 268956 w 277013"/>
                <a:gd name="connsiteY44" fmla="*/ 127889 h 232590"/>
                <a:gd name="connsiteX45" fmla="*/ 269809 w 277013"/>
                <a:gd name="connsiteY45" fmla="*/ 129975 h 232590"/>
                <a:gd name="connsiteX46" fmla="*/ 269809 w 277013"/>
                <a:gd name="connsiteY46" fmla="*/ 131776 h 232590"/>
                <a:gd name="connsiteX47" fmla="*/ 270472 w 277013"/>
                <a:gd name="connsiteY47" fmla="*/ 134051 h 232590"/>
                <a:gd name="connsiteX48" fmla="*/ 277014 w 277013"/>
                <a:gd name="connsiteY48" fmla="*/ 162492 h 23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77013" h="232590">
                  <a:moveTo>
                    <a:pt x="277014" y="162492"/>
                  </a:moveTo>
                  <a:cubicBezTo>
                    <a:pt x="277014" y="179746"/>
                    <a:pt x="275592" y="196431"/>
                    <a:pt x="260139" y="209893"/>
                  </a:cubicBezTo>
                  <a:lnTo>
                    <a:pt x="260139" y="209893"/>
                  </a:lnTo>
                  <a:lnTo>
                    <a:pt x="260139" y="209893"/>
                  </a:lnTo>
                  <a:lnTo>
                    <a:pt x="253029" y="215202"/>
                  </a:lnTo>
                  <a:lnTo>
                    <a:pt x="224588" y="230845"/>
                  </a:lnTo>
                  <a:cubicBezTo>
                    <a:pt x="218941" y="233173"/>
                    <a:pt x="212602" y="233173"/>
                    <a:pt x="206955" y="230845"/>
                  </a:cubicBezTo>
                  <a:cubicBezTo>
                    <a:pt x="183064" y="221365"/>
                    <a:pt x="159553" y="211315"/>
                    <a:pt x="136895" y="200129"/>
                  </a:cubicBezTo>
                  <a:cubicBezTo>
                    <a:pt x="117935" y="190838"/>
                    <a:pt x="99353" y="180789"/>
                    <a:pt x="81151" y="169981"/>
                  </a:cubicBezTo>
                  <a:cubicBezTo>
                    <a:pt x="73851" y="165621"/>
                    <a:pt x="66741" y="161165"/>
                    <a:pt x="59631" y="156614"/>
                  </a:cubicBezTo>
                  <a:cubicBezTo>
                    <a:pt x="49013" y="149694"/>
                    <a:pt x="38585" y="142489"/>
                    <a:pt x="28346" y="134904"/>
                  </a:cubicBezTo>
                  <a:cubicBezTo>
                    <a:pt x="18165" y="124216"/>
                    <a:pt x="11200" y="110877"/>
                    <a:pt x="8248" y="96414"/>
                  </a:cubicBezTo>
                  <a:cubicBezTo>
                    <a:pt x="2086" y="84185"/>
                    <a:pt x="948" y="56977"/>
                    <a:pt x="0" y="28251"/>
                  </a:cubicBezTo>
                  <a:cubicBezTo>
                    <a:pt x="1197" y="24178"/>
                    <a:pt x="3572" y="20550"/>
                    <a:pt x="6826" y="17823"/>
                  </a:cubicBezTo>
                  <a:lnTo>
                    <a:pt x="8627" y="16306"/>
                  </a:lnTo>
                  <a:lnTo>
                    <a:pt x="10808" y="14694"/>
                  </a:lnTo>
                  <a:lnTo>
                    <a:pt x="29768" y="0"/>
                  </a:lnTo>
                  <a:lnTo>
                    <a:pt x="29768" y="0"/>
                  </a:lnTo>
                  <a:lnTo>
                    <a:pt x="32612" y="569"/>
                  </a:lnTo>
                  <a:cubicBezTo>
                    <a:pt x="33475" y="851"/>
                    <a:pt x="34303" y="1233"/>
                    <a:pt x="35077" y="1706"/>
                  </a:cubicBezTo>
                  <a:lnTo>
                    <a:pt x="37447" y="3318"/>
                  </a:lnTo>
                  <a:cubicBezTo>
                    <a:pt x="38287" y="3886"/>
                    <a:pt x="39079" y="4520"/>
                    <a:pt x="39817" y="5214"/>
                  </a:cubicBezTo>
                  <a:cubicBezTo>
                    <a:pt x="42187" y="7205"/>
                    <a:pt x="44747" y="9670"/>
                    <a:pt x="47970" y="12135"/>
                  </a:cubicBezTo>
                  <a:cubicBezTo>
                    <a:pt x="95372" y="45695"/>
                    <a:pt x="157562" y="72714"/>
                    <a:pt x="231603" y="94613"/>
                  </a:cubicBezTo>
                  <a:cubicBezTo>
                    <a:pt x="232931" y="94613"/>
                    <a:pt x="234258" y="95561"/>
                    <a:pt x="235680" y="96225"/>
                  </a:cubicBezTo>
                  <a:lnTo>
                    <a:pt x="239851" y="98121"/>
                  </a:lnTo>
                  <a:cubicBezTo>
                    <a:pt x="241273" y="98879"/>
                    <a:pt x="242695" y="99638"/>
                    <a:pt x="244022" y="100491"/>
                  </a:cubicBezTo>
                  <a:cubicBezTo>
                    <a:pt x="244917" y="100959"/>
                    <a:pt x="245773" y="101498"/>
                    <a:pt x="246582" y="102103"/>
                  </a:cubicBezTo>
                  <a:cubicBezTo>
                    <a:pt x="247693" y="102774"/>
                    <a:pt x="248769" y="103502"/>
                    <a:pt x="249805" y="104283"/>
                  </a:cubicBezTo>
                  <a:lnTo>
                    <a:pt x="249805" y="104283"/>
                  </a:lnTo>
                  <a:lnTo>
                    <a:pt x="251986" y="105990"/>
                  </a:lnTo>
                  <a:lnTo>
                    <a:pt x="253218" y="106938"/>
                  </a:lnTo>
                  <a:lnTo>
                    <a:pt x="254261" y="107886"/>
                  </a:lnTo>
                  <a:lnTo>
                    <a:pt x="255683" y="109213"/>
                  </a:lnTo>
                  <a:lnTo>
                    <a:pt x="259286" y="112815"/>
                  </a:lnTo>
                  <a:lnTo>
                    <a:pt x="259286" y="112815"/>
                  </a:lnTo>
                  <a:lnTo>
                    <a:pt x="261940" y="115944"/>
                  </a:lnTo>
                  <a:lnTo>
                    <a:pt x="261940" y="115944"/>
                  </a:lnTo>
                  <a:lnTo>
                    <a:pt x="261940" y="115944"/>
                  </a:lnTo>
                  <a:cubicBezTo>
                    <a:pt x="261940" y="115944"/>
                    <a:pt x="262604" y="116892"/>
                    <a:pt x="262983" y="117271"/>
                  </a:cubicBezTo>
                  <a:lnTo>
                    <a:pt x="265069" y="120305"/>
                  </a:lnTo>
                  <a:lnTo>
                    <a:pt x="266112" y="122106"/>
                  </a:lnTo>
                  <a:lnTo>
                    <a:pt x="267154" y="124002"/>
                  </a:lnTo>
                  <a:cubicBezTo>
                    <a:pt x="267509" y="124647"/>
                    <a:pt x="267825" y="125312"/>
                    <a:pt x="268102" y="125993"/>
                  </a:cubicBezTo>
                  <a:lnTo>
                    <a:pt x="268956" y="127889"/>
                  </a:lnTo>
                  <a:lnTo>
                    <a:pt x="269809" y="129975"/>
                  </a:lnTo>
                  <a:cubicBezTo>
                    <a:pt x="269841" y="130575"/>
                    <a:pt x="269841" y="131176"/>
                    <a:pt x="269809" y="131776"/>
                  </a:cubicBezTo>
                  <a:cubicBezTo>
                    <a:pt x="270074" y="132521"/>
                    <a:pt x="270295" y="133281"/>
                    <a:pt x="270472" y="134051"/>
                  </a:cubicBezTo>
                  <a:cubicBezTo>
                    <a:pt x="274194" y="143110"/>
                    <a:pt x="276404" y="152718"/>
                    <a:pt x="277014" y="162492"/>
                  </a:cubicBezTo>
                  <a:close/>
                </a:path>
              </a:pathLst>
            </a:custGeom>
            <a:solidFill>
              <a:srgbClr val="FFFFFF"/>
            </a:solidFill>
            <a:ln w="9391" cap="flat">
              <a:noFill/>
              <a:prstDash val="solid"/>
              <a:miter/>
            </a:ln>
          </p:spPr>
          <p:txBody>
            <a:bodyPr rtlCol="0" anchor="ctr"/>
            <a:lstStyle/>
            <a:p>
              <a:endParaRPr lang="fr-FR"/>
            </a:p>
          </p:txBody>
        </p:sp>
        <p:sp>
          <p:nvSpPr>
            <p:cNvPr id="632" name="Freeform 185">
              <a:extLst>
                <a:ext uri="{FF2B5EF4-FFF2-40B4-BE49-F238E27FC236}">
                  <a16:creationId xmlns:a16="http://schemas.microsoft.com/office/drawing/2014/main" id="{AD13D235-EB5B-4A0C-AE36-5E0C8AB28D06}"/>
                </a:ext>
              </a:extLst>
            </p:cNvPr>
            <p:cNvSpPr/>
            <p:nvPr/>
          </p:nvSpPr>
          <p:spPr>
            <a:xfrm>
              <a:off x="5932275" y="3567412"/>
              <a:ext cx="55744" cy="30147"/>
            </a:xfrm>
            <a:custGeom>
              <a:avLst/>
              <a:gdLst>
                <a:gd name="connsiteX0" fmla="*/ 0 w 55744"/>
                <a:gd name="connsiteY0" fmla="*/ 0 h 30147"/>
                <a:gd name="connsiteX1" fmla="*/ 55744 w 55744"/>
                <a:gd name="connsiteY1" fmla="*/ 30147 h 30147"/>
                <a:gd name="connsiteX2" fmla="*/ 0 w 55744"/>
                <a:gd name="connsiteY2" fmla="*/ 0 h 30147"/>
              </a:gdLst>
              <a:ahLst/>
              <a:cxnLst>
                <a:cxn ang="0">
                  <a:pos x="connsiteX0" y="connsiteY0"/>
                </a:cxn>
                <a:cxn ang="0">
                  <a:pos x="connsiteX1" y="connsiteY1"/>
                </a:cxn>
                <a:cxn ang="0">
                  <a:pos x="connsiteX2" y="connsiteY2"/>
                </a:cxn>
              </a:cxnLst>
              <a:rect l="l" t="t" r="r" b="b"/>
              <a:pathLst>
                <a:path w="55744" h="30147">
                  <a:moveTo>
                    <a:pt x="0" y="0"/>
                  </a:moveTo>
                  <a:cubicBezTo>
                    <a:pt x="18076" y="10808"/>
                    <a:pt x="36657" y="20857"/>
                    <a:pt x="55744" y="30147"/>
                  </a:cubicBezTo>
                  <a:cubicBezTo>
                    <a:pt x="36689" y="20857"/>
                    <a:pt x="18107" y="10902"/>
                    <a:pt x="0" y="0"/>
                  </a:cubicBezTo>
                  <a:close/>
                </a:path>
              </a:pathLst>
            </a:custGeom>
            <a:solidFill>
              <a:srgbClr val="FFFFFF"/>
            </a:solidFill>
            <a:ln w="9391" cap="flat">
              <a:noFill/>
              <a:prstDash val="solid"/>
              <a:miter/>
            </a:ln>
          </p:spPr>
          <p:txBody>
            <a:bodyPr rtlCol="0" anchor="ctr"/>
            <a:lstStyle/>
            <a:p>
              <a:endParaRPr lang="fr-FR"/>
            </a:p>
          </p:txBody>
        </p:sp>
        <p:sp>
          <p:nvSpPr>
            <p:cNvPr id="633" name="Freeform 186">
              <a:extLst>
                <a:ext uri="{FF2B5EF4-FFF2-40B4-BE49-F238E27FC236}">
                  <a16:creationId xmlns:a16="http://schemas.microsoft.com/office/drawing/2014/main" id="{ED61BEC5-C2E8-41A1-A893-12A2452A03DE}"/>
                </a:ext>
              </a:extLst>
            </p:cNvPr>
            <p:cNvSpPr/>
            <p:nvPr/>
          </p:nvSpPr>
          <p:spPr>
            <a:xfrm>
              <a:off x="6058078" y="3628275"/>
              <a:ext cx="17633" cy="1810"/>
            </a:xfrm>
            <a:custGeom>
              <a:avLst/>
              <a:gdLst>
                <a:gd name="connsiteX0" fmla="*/ 17633 w 17633"/>
                <a:gd name="connsiteY0" fmla="*/ 0 h 1810"/>
                <a:gd name="connsiteX1" fmla="*/ 0 w 17633"/>
                <a:gd name="connsiteY1" fmla="*/ 0 h 1810"/>
                <a:gd name="connsiteX2" fmla="*/ 17633 w 17633"/>
                <a:gd name="connsiteY2" fmla="*/ 0 h 1810"/>
              </a:gdLst>
              <a:ahLst/>
              <a:cxnLst>
                <a:cxn ang="0">
                  <a:pos x="connsiteX0" y="connsiteY0"/>
                </a:cxn>
                <a:cxn ang="0">
                  <a:pos x="connsiteX1" y="connsiteY1"/>
                </a:cxn>
                <a:cxn ang="0">
                  <a:pos x="connsiteX2" y="connsiteY2"/>
                </a:cxn>
              </a:cxnLst>
              <a:rect l="l" t="t" r="r" b="b"/>
              <a:pathLst>
                <a:path w="17633" h="1810">
                  <a:moveTo>
                    <a:pt x="17633" y="0"/>
                  </a:moveTo>
                  <a:cubicBezTo>
                    <a:pt x="12003" y="2414"/>
                    <a:pt x="5630" y="2414"/>
                    <a:pt x="0" y="0"/>
                  </a:cubicBezTo>
                  <a:cubicBezTo>
                    <a:pt x="5647" y="2328"/>
                    <a:pt x="11986" y="2328"/>
                    <a:pt x="17633" y="0"/>
                  </a:cubicBezTo>
                  <a:close/>
                </a:path>
              </a:pathLst>
            </a:custGeom>
            <a:solidFill>
              <a:srgbClr val="FFFFFF"/>
            </a:solidFill>
            <a:ln w="9391" cap="flat">
              <a:noFill/>
              <a:prstDash val="solid"/>
              <a:miter/>
            </a:ln>
          </p:spPr>
          <p:txBody>
            <a:bodyPr rtlCol="0" anchor="ctr"/>
            <a:lstStyle/>
            <a:p>
              <a:endParaRPr lang="fr-FR"/>
            </a:p>
          </p:txBody>
        </p:sp>
        <p:sp>
          <p:nvSpPr>
            <p:cNvPr id="635" name="Freeform 188">
              <a:extLst>
                <a:ext uri="{FF2B5EF4-FFF2-40B4-BE49-F238E27FC236}">
                  <a16:creationId xmlns:a16="http://schemas.microsoft.com/office/drawing/2014/main" id="{5BBEADEC-BA50-4A68-8131-F092CA64215A}"/>
                </a:ext>
              </a:extLst>
            </p:cNvPr>
            <p:cNvSpPr/>
            <p:nvPr/>
          </p:nvSpPr>
          <p:spPr>
            <a:xfrm>
              <a:off x="5883452" y="3373259"/>
              <a:ext cx="296459" cy="233495"/>
            </a:xfrm>
            <a:custGeom>
              <a:avLst/>
              <a:gdLst>
                <a:gd name="connsiteX0" fmla="*/ 294078 w 296459"/>
                <a:gd name="connsiteY0" fmla="*/ 164100 h 233495"/>
                <a:gd name="connsiteX1" fmla="*/ 293510 w 296459"/>
                <a:gd name="connsiteY1" fmla="*/ 167513 h 233495"/>
                <a:gd name="connsiteX2" fmla="*/ 284882 w 296459"/>
                <a:gd name="connsiteY2" fmla="*/ 183724 h 233495"/>
                <a:gd name="connsiteX3" fmla="*/ 282702 w 296459"/>
                <a:gd name="connsiteY3" fmla="*/ 185715 h 233495"/>
                <a:gd name="connsiteX4" fmla="*/ 282702 w 296459"/>
                <a:gd name="connsiteY4" fmla="*/ 185715 h 233495"/>
                <a:gd name="connsiteX5" fmla="*/ 268576 w 296459"/>
                <a:gd name="connsiteY5" fmla="*/ 199082 h 233495"/>
                <a:gd name="connsiteX6" fmla="*/ 250564 w 296459"/>
                <a:gd name="connsiteY6" fmla="*/ 215294 h 233495"/>
                <a:gd name="connsiteX7" fmla="*/ 242885 w 296459"/>
                <a:gd name="connsiteY7" fmla="*/ 221835 h 233495"/>
                <a:gd name="connsiteX8" fmla="*/ 228475 w 296459"/>
                <a:gd name="connsiteY8" fmla="*/ 233496 h 233495"/>
                <a:gd name="connsiteX9" fmla="*/ 245350 w 296459"/>
                <a:gd name="connsiteY9" fmla="*/ 186094 h 233495"/>
                <a:gd name="connsiteX10" fmla="*/ 241084 w 296459"/>
                <a:gd name="connsiteY10" fmla="*/ 158602 h 233495"/>
                <a:gd name="connsiteX11" fmla="*/ 240420 w 296459"/>
                <a:gd name="connsiteY11" fmla="*/ 156326 h 233495"/>
                <a:gd name="connsiteX12" fmla="*/ 240420 w 296459"/>
                <a:gd name="connsiteY12" fmla="*/ 154525 h 233495"/>
                <a:gd name="connsiteX13" fmla="*/ 239567 w 296459"/>
                <a:gd name="connsiteY13" fmla="*/ 152439 h 233495"/>
                <a:gd name="connsiteX14" fmla="*/ 238713 w 296459"/>
                <a:gd name="connsiteY14" fmla="*/ 150543 h 233495"/>
                <a:gd name="connsiteX15" fmla="*/ 237765 w 296459"/>
                <a:gd name="connsiteY15" fmla="*/ 148552 h 233495"/>
                <a:gd name="connsiteX16" fmla="*/ 236249 w 296459"/>
                <a:gd name="connsiteY16" fmla="*/ 146751 h 233495"/>
                <a:gd name="connsiteX17" fmla="*/ 235206 w 296459"/>
                <a:gd name="connsiteY17" fmla="*/ 144950 h 233495"/>
                <a:gd name="connsiteX18" fmla="*/ 233120 w 296459"/>
                <a:gd name="connsiteY18" fmla="*/ 141916 h 233495"/>
                <a:gd name="connsiteX19" fmla="*/ 232077 w 296459"/>
                <a:gd name="connsiteY19" fmla="*/ 140589 h 233495"/>
                <a:gd name="connsiteX20" fmla="*/ 232077 w 296459"/>
                <a:gd name="connsiteY20" fmla="*/ 140589 h 233495"/>
                <a:gd name="connsiteX21" fmla="*/ 232077 w 296459"/>
                <a:gd name="connsiteY21" fmla="*/ 140589 h 233495"/>
                <a:gd name="connsiteX22" fmla="*/ 230655 w 296459"/>
                <a:gd name="connsiteY22" fmla="*/ 138788 h 233495"/>
                <a:gd name="connsiteX23" fmla="*/ 229423 w 296459"/>
                <a:gd name="connsiteY23" fmla="*/ 137461 h 233495"/>
                <a:gd name="connsiteX24" fmla="*/ 229423 w 296459"/>
                <a:gd name="connsiteY24" fmla="*/ 137461 h 233495"/>
                <a:gd name="connsiteX25" fmla="*/ 227811 w 296459"/>
                <a:gd name="connsiteY25" fmla="*/ 135754 h 233495"/>
                <a:gd name="connsiteX26" fmla="*/ 226579 w 296459"/>
                <a:gd name="connsiteY26" fmla="*/ 134522 h 233495"/>
                <a:gd name="connsiteX27" fmla="*/ 225820 w 296459"/>
                <a:gd name="connsiteY27" fmla="*/ 133858 h 233495"/>
                <a:gd name="connsiteX28" fmla="*/ 224398 w 296459"/>
                <a:gd name="connsiteY28" fmla="*/ 132531 h 233495"/>
                <a:gd name="connsiteX29" fmla="*/ 223355 w 296459"/>
                <a:gd name="connsiteY29" fmla="*/ 131583 h 233495"/>
                <a:gd name="connsiteX30" fmla="*/ 222123 w 296459"/>
                <a:gd name="connsiteY30" fmla="*/ 130635 h 233495"/>
                <a:gd name="connsiteX31" fmla="*/ 219943 w 296459"/>
                <a:gd name="connsiteY31" fmla="*/ 128928 h 233495"/>
                <a:gd name="connsiteX32" fmla="*/ 219943 w 296459"/>
                <a:gd name="connsiteY32" fmla="*/ 128928 h 233495"/>
                <a:gd name="connsiteX33" fmla="*/ 216719 w 296459"/>
                <a:gd name="connsiteY33" fmla="*/ 126748 h 233495"/>
                <a:gd name="connsiteX34" fmla="*/ 214160 w 296459"/>
                <a:gd name="connsiteY34" fmla="*/ 125136 h 233495"/>
                <a:gd name="connsiteX35" fmla="*/ 209988 w 296459"/>
                <a:gd name="connsiteY35" fmla="*/ 122766 h 233495"/>
                <a:gd name="connsiteX36" fmla="*/ 205817 w 296459"/>
                <a:gd name="connsiteY36" fmla="*/ 120870 h 233495"/>
                <a:gd name="connsiteX37" fmla="*/ 201740 w 296459"/>
                <a:gd name="connsiteY37" fmla="*/ 119258 h 233495"/>
                <a:gd name="connsiteX38" fmla="*/ 18107 w 296459"/>
                <a:gd name="connsiteY38" fmla="*/ 36780 h 233495"/>
                <a:gd name="connsiteX39" fmla="*/ 9954 w 296459"/>
                <a:gd name="connsiteY39" fmla="*/ 29859 h 233495"/>
                <a:gd name="connsiteX40" fmla="*/ 7584 w 296459"/>
                <a:gd name="connsiteY40" fmla="*/ 27963 h 233495"/>
                <a:gd name="connsiteX41" fmla="*/ 5214 w 296459"/>
                <a:gd name="connsiteY41" fmla="*/ 26352 h 233495"/>
                <a:gd name="connsiteX42" fmla="*/ 2749 w 296459"/>
                <a:gd name="connsiteY42" fmla="*/ 25214 h 233495"/>
                <a:gd name="connsiteX43" fmla="*/ 0 w 296459"/>
                <a:gd name="connsiteY43" fmla="*/ 24550 h 233495"/>
                <a:gd name="connsiteX44" fmla="*/ 0 w 296459"/>
                <a:gd name="connsiteY44" fmla="*/ 24550 h 233495"/>
                <a:gd name="connsiteX45" fmla="*/ 1138 w 296459"/>
                <a:gd name="connsiteY45" fmla="*/ 23697 h 233495"/>
                <a:gd name="connsiteX46" fmla="*/ 2939 w 296459"/>
                <a:gd name="connsiteY46" fmla="*/ 22370 h 233495"/>
                <a:gd name="connsiteX47" fmla="*/ 51004 w 296459"/>
                <a:gd name="connsiteY47" fmla="*/ 1419 h 233495"/>
                <a:gd name="connsiteX48" fmla="*/ 51004 w 296459"/>
                <a:gd name="connsiteY48" fmla="*/ 1419 h 233495"/>
                <a:gd name="connsiteX49" fmla="*/ 55175 w 296459"/>
                <a:gd name="connsiteY49" fmla="*/ 281 h 233495"/>
                <a:gd name="connsiteX50" fmla="*/ 72429 w 296459"/>
                <a:gd name="connsiteY50" fmla="*/ 2556 h 233495"/>
                <a:gd name="connsiteX51" fmla="*/ 72429 w 296459"/>
                <a:gd name="connsiteY51" fmla="*/ 2556 h 233495"/>
                <a:gd name="connsiteX52" fmla="*/ 112721 w 296459"/>
                <a:gd name="connsiteY52" fmla="*/ 49958 h 233495"/>
                <a:gd name="connsiteX53" fmla="*/ 235395 w 296459"/>
                <a:gd name="connsiteY53" fmla="*/ 83518 h 233495"/>
                <a:gd name="connsiteX54" fmla="*/ 279100 w 296459"/>
                <a:gd name="connsiteY54" fmla="*/ 94136 h 233495"/>
                <a:gd name="connsiteX55" fmla="*/ 281185 w 296459"/>
                <a:gd name="connsiteY55" fmla="*/ 95273 h 233495"/>
                <a:gd name="connsiteX56" fmla="*/ 281185 w 296459"/>
                <a:gd name="connsiteY56" fmla="*/ 95273 h 233495"/>
                <a:gd name="connsiteX57" fmla="*/ 282892 w 296459"/>
                <a:gd name="connsiteY57" fmla="*/ 96316 h 233495"/>
                <a:gd name="connsiteX58" fmla="*/ 282892 w 296459"/>
                <a:gd name="connsiteY58" fmla="*/ 96316 h 233495"/>
                <a:gd name="connsiteX59" fmla="*/ 284219 w 296459"/>
                <a:gd name="connsiteY59" fmla="*/ 97264 h 233495"/>
                <a:gd name="connsiteX60" fmla="*/ 284788 w 296459"/>
                <a:gd name="connsiteY60" fmla="*/ 97264 h 233495"/>
                <a:gd name="connsiteX61" fmla="*/ 285831 w 296459"/>
                <a:gd name="connsiteY61" fmla="*/ 98023 h 233495"/>
                <a:gd name="connsiteX62" fmla="*/ 286589 w 296459"/>
                <a:gd name="connsiteY62" fmla="*/ 98686 h 233495"/>
                <a:gd name="connsiteX63" fmla="*/ 287347 w 296459"/>
                <a:gd name="connsiteY63" fmla="*/ 99350 h 233495"/>
                <a:gd name="connsiteX64" fmla="*/ 288106 w 296459"/>
                <a:gd name="connsiteY64" fmla="*/ 100108 h 233495"/>
                <a:gd name="connsiteX65" fmla="*/ 288675 w 296459"/>
                <a:gd name="connsiteY65" fmla="*/ 100108 h 233495"/>
                <a:gd name="connsiteX66" fmla="*/ 289528 w 296459"/>
                <a:gd name="connsiteY66" fmla="*/ 101056 h 233495"/>
                <a:gd name="connsiteX67" fmla="*/ 289528 w 296459"/>
                <a:gd name="connsiteY67" fmla="*/ 101530 h 233495"/>
                <a:gd name="connsiteX68" fmla="*/ 290381 w 296459"/>
                <a:gd name="connsiteY68" fmla="*/ 102573 h 233495"/>
                <a:gd name="connsiteX69" fmla="*/ 290381 w 296459"/>
                <a:gd name="connsiteY69" fmla="*/ 102573 h 233495"/>
                <a:gd name="connsiteX70" fmla="*/ 291234 w 296459"/>
                <a:gd name="connsiteY70" fmla="*/ 103900 h 233495"/>
                <a:gd name="connsiteX71" fmla="*/ 293984 w 296459"/>
                <a:gd name="connsiteY71" fmla="*/ 113381 h 233495"/>
                <a:gd name="connsiteX72" fmla="*/ 293510 w 296459"/>
                <a:gd name="connsiteY72" fmla="*/ 117457 h 233495"/>
                <a:gd name="connsiteX73" fmla="*/ 293510 w 296459"/>
                <a:gd name="connsiteY73" fmla="*/ 118784 h 233495"/>
                <a:gd name="connsiteX74" fmla="*/ 294078 w 296459"/>
                <a:gd name="connsiteY74" fmla="*/ 164100 h 233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96459" h="233495">
                  <a:moveTo>
                    <a:pt x="294078" y="164100"/>
                  </a:moveTo>
                  <a:cubicBezTo>
                    <a:pt x="294078" y="165238"/>
                    <a:pt x="294078" y="166470"/>
                    <a:pt x="293510" y="167513"/>
                  </a:cubicBezTo>
                  <a:cubicBezTo>
                    <a:pt x="292465" y="173708"/>
                    <a:pt x="289438" y="179397"/>
                    <a:pt x="284882" y="183724"/>
                  </a:cubicBezTo>
                  <a:cubicBezTo>
                    <a:pt x="284226" y="184461"/>
                    <a:pt x="283496" y="185128"/>
                    <a:pt x="282702" y="185715"/>
                  </a:cubicBezTo>
                  <a:lnTo>
                    <a:pt x="282702" y="185715"/>
                  </a:lnTo>
                  <a:cubicBezTo>
                    <a:pt x="277962" y="190361"/>
                    <a:pt x="273222" y="195195"/>
                    <a:pt x="268576" y="199082"/>
                  </a:cubicBezTo>
                  <a:cubicBezTo>
                    <a:pt x="262414" y="204771"/>
                    <a:pt x="256442" y="210174"/>
                    <a:pt x="250564" y="215294"/>
                  </a:cubicBezTo>
                  <a:lnTo>
                    <a:pt x="242885" y="221835"/>
                  </a:lnTo>
                  <a:cubicBezTo>
                    <a:pt x="237955" y="226006"/>
                    <a:pt x="233405" y="229893"/>
                    <a:pt x="228475" y="233496"/>
                  </a:cubicBezTo>
                  <a:cubicBezTo>
                    <a:pt x="243928" y="219939"/>
                    <a:pt x="245634" y="203254"/>
                    <a:pt x="245350" y="186094"/>
                  </a:cubicBezTo>
                  <a:cubicBezTo>
                    <a:pt x="245370" y="176764"/>
                    <a:pt x="243930" y="167487"/>
                    <a:pt x="241084" y="158602"/>
                  </a:cubicBezTo>
                  <a:cubicBezTo>
                    <a:pt x="240906" y="157831"/>
                    <a:pt x="240685" y="157071"/>
                    <a:pt x="240420" y="156326"/>
                  </a:cubicBezTo>
                  <a:cubicBezTo>
                    <a:pt x="240452" y="155726"/>
                    <a:pt x="240452" y="155125"/>
                    <a:pt x="240420" y="154525"/>
                  </a:cubicBezTo>
                  <a:lnTo>
                    <a:pt x="239567" y="152439"/>
                  </a:lnTo>
                  <a:lnTo>
                    <a:pt x="238713" y="150543"/>
                  </a:lnTo>
                  <a:cubicBezTo>
                    <a:pt x="238436" y="149862"/>
                    <a:pt x="238120" y="149197"/>
                    <a:pt x="237765" y="148552"/>
                  </a:cubicBezTo>
                  <a:lnTo>
                    <a:pt x="236249" y="146751"/>
                  </a:lnTo>
                  <a:lnTo>
                    <a:pt x="235206" y="144950"/>
                  </a:lnTo>
                  <a:lnTo>
                    <a:pt x="233120" y="141916"/>
                  </a:lnTo>
                  <a:cubicBezTo>
                    <a:pt x="233120" y="141916"/>
                    <a:pt x="232457" y="140968"/>
                    <a:pt x="232077" y="140589"/>
                  </a:cubicBezTo>
                  <a:lnTo>
                    <a:pt x="232077" y="140589"/>
                  </a:lnTo>
                  <a:lnTo>
                    <a:pt x="232077" y="140589"/>
                  </a:lnTo>
                  <a:lnTo>
                    <a:pt x="230655" y="138788"/>
                  </a:lnTo>
                  <a:lnTo>
                    <a:pt x="229423" y="137461"/>
                  </a:lnTo>
                  <a:lnTo>
                    <a:pt x="229423" y="137461"/>
                  </a:lnTo>
                  <a:cubicBezTo>
                    <a:pt x="228935" y="136847"/>
                    <a:pt x="228396" y="136276"/>
                    <a:pt x="227811" y="135754"/>
                  </a:cubicBezTo>
                  <a:lnTo>
                    <a:pt x="226579" y="134522"/>
                  </a:lnTo>
                  <a:lnTo>
                    <a:pt x="225820" y="133858"/>
                  </a:lnTo>
                  <a:lnTo>
                    <a:pt x="224398" y="132531"/>
                  </a:lnTo>
                  <a:lnTo>
                    <a:pt x="223355" y="131583"/>
                  </a:lnTo>
                  <a:lnTo>
                    <a:pt x="222123" y="130635"/>
                  </a:lnTo>
                  <a:lnTo>
                    <a:pt x="219943" y="128928"/>
                  </a:lnTo>
                  <a:lnTo>
                    <a:pt x="219943" y="128928"/>
                  </a:lnTo>
                  <a:cubicBezTo>
                    <a:pt x="218906" y="128147"/>
                    <a:pt x="217830" y="127419"/>
                    <a:pt x="216719" y="126748"/>
                  </a:cubicBezTo>
                  <a:cubicBezTo>
                    <a:pt x="215933" y="126111"/>
                    <a:pt x="215074" y="125570"/>
                    <a:pt x="214160" y="125136"/>
                  </a:cubicBezTo>
                  <a:cubicBezTo>
                    <a:pt x="212832" y="124240"/>
                    <a:pt x="211438" y="123448"/>
                    <a:pt x="209988" y="122766"/>
                  </a:cubicBezTo>
                  <a:cubicBezTo>
                    <a:pt x="208645" y="122035"/>
                    <a:pt x="207251" y="121401"/>
                    <a:pt x="205817" y="120870"/>
                  </a:cubicBezTo>
                  <a:cubicBezTo>
                    <a:pt x="204395" y="120206"/>
                    <a:pt x="203068" y="119732"/>
                    <a:pt x="201740" y="119258"/>
                  </a:cubicBezTo>
                  <a:cubicBezTo>
                    <a:pt x="127699" y="97359"/>
                    <a:pt x="65414" y="70340"/>
                    <a:pt x="18107" y="36780"/>
                  </a:cubicBezTo>
                  <a:cubicBezTo>
                    <a:pt x="14884" y="34315"/>
                    <a:pt x="12324" y="31850"/>
                    <a:pt x="9954" y="29859"/>
                  </a:cubicBezTo>
                  <a:cubicBezTo>
                    <a:pt x="9216" y="29165"/>
                    <a:pt x="8424" y="28531"/>
                    <a:pt x="7584" y="27963"/>
                  </a:cubicBezTo>
                  <a:cubicBezTo>
                    <a:pt x="6880" y="27309"/>
                    <a:pt x="6081" y="26766"/>
                    <a:pt x="5214" y="26352"/>
                  </a:cubicBezTo>
                  <a:cubicBezTo>
                    <a:pt x="4440" y="25878"/>
                    <a:pt x="3612" y="25496"/>
                    <a:pt x="2749" y="25214"/>
                  </a:cubicBezTo>
                  <a:cubicBezTo>
                    <a:pt x="1860" y="24893"/>
                    <a:pt x="938" y="24671"/>
                    <a:pt x="0" y="24550"/>
                  </a:cubicBezTo>
                  <a:lnTo>
                    <a:pt x="0" y="24550"/>
                  </a:lnTo>
                  <a:lnTo>
                    <a:pt x="1138" y="23697"/>
                  </a:lnTo>
                  <a:lnTo>
                    <a:pt x="2939" y="22370"/>
                  </a:lnTo>
                  <a:lnTo>
                    <a:pt x="51004" y="1419"/>
                  </a:lnTo>
                  <a:lnTo>
                    <a:pt x="51004" y="1419"/>
                  </a:lnTo>
                  <a:cubicBezTo>
                    <a:pt x="52345" y="876"/>
                    <a:pt x="53745" y="494"/>
                    <a:pt x="55175" y="281"/>
                  </a:cubicBezTo>
                  <a:cubicBezTo>
                    <a:pt x="61027" y="-478"/>
                    <a:pt x="66975" y="307"/>
                    <a:pt x="72429" y="2556"/>
                  </a:cubicBezTo>
                  <a:lnTo>
                    <a:pt x="72429" y="2556"/>
                  </a:lnTo>
                  <a:cubicBezTo>
                    <a:pt x="71007" y="18388"/>
                    <a:pt x="88925" y="35642"/>
                    <a:pt x="112721" y="49958"/>
                  </a:cubicBezTo>
                  <a:cubicBezTo>
                    <a:pt x="143057" y="68160"/>
                    <a:pt x="190743" y="79346"/>
                    <a:pt x="235395" y="83518"/>
                  </a:cubicBezTo>
                  <a:cubicBezTo>
                    <a:pt x="250491" y="84346"/>
                    <a:pt x="265306" y="87946"/>
                    <a:pt x="279100" y="94136"/>
                  </a:cubicBezTo>
                  <a:lnTo>
                    <a:pt x="281185" y="95273"/>
                  </a:lnTo>
                  <a:lnTo>
                    <a:pt x="281185" y="95273"/>
                  </a:lnTo>
                  <a:lnTo>
                    <a:pt x="282892" y="96316"/>
                  </a:lnTo>
                  <a:lnTo>
                    <a:pt x="282892" y="96316"/>
                  </a:lnTo>
                  <a:lnTo>
                    <a:pt x="284219" y="97264"/>
                  </a:lnTo>
                  <a:lnTo>
                    <a:pt x="284788" y="97264"/>
                  </a:lnTo>
                  <a:lnTo>
                    <a:pt x="285831" y="98023"/>
                  </a:lnTo>
                  <a:lnTo>
                    <a:pt x="286589" y="98686"/>
                  </a:lnTo>
                  <a:lnTo>
                    <a:pt x="287347" y="99350"/>
                  </a:lnTo>
                  <a:lnTo>
                    <a:pt x="288106" y="100108"/>
                  </a:lnTo>
                  <a:lnTo>
                    <a:pt x="288675" y="100108"/>
                  </a:lnTo>
                  <a:lnTo>
                    <a:pt x="289528" y="101056"/>
                  </a:lnTo>
                  <a:lnTo>
                    <a:pt x="289528" y="101530"/>
                  </a:lnTo>
                  <a:lnTo>
                    <a:pt x="290381" y="102573"/>
                  </a:lnTo>
                  <a:lnTo>
                    <a:pt x="290381" y="102573"/>
                  </a:lnTo>
                  <a:lnTo>
                    <a:pt x="291234" y="103900"/>
                  </a:lnTo>
                  <a:cubicBezTo>
                    <a:pt x="293020" y="106741"/>
                    <a:pt x="293973" y="110025"/>
                    <a:pt x="293984" y="113381"/>
                  </a:cubicBezTo>
                  <a:cubicBezTo>
                    <a:pt x="293961" y="114752"/>
                    <a:pt x="293802" y="116117"/>
                    <a:pt x="293510" y="117457"/>
                  </a:cubicBezTo>
                  <a:cubicBezTo>
                    <a:pt x="293510" y="117457"/>
                    <a:pt x="293510" y="118310"/>
                    <a:pt x="293510" y="118784"/>
                  </a:cubicBezTo>
                  <a:cubicBezTo>
                    <a:pt x="297240" y="133637"/>
                    <a:pt x="297435" y="149158"/>
                    <a:pt x="294078" y="164100"/>
                  </a:cubicBezTo>
                  <a:close/>
                </a:path>
              </a:pathLst>
            </a:custGeom>
            <a:solidFill>
              <a:srgbClr val="0070AD"/>
            </a:solidFill>
            <a:ln w="9391" cap="flat">
              <a:noFill/>
              <a:prstDash val="solid"/>
              <a:miter/>
            </a:ln>
          </p:spPr>
          <p:txBody>
            <a:bodyPr rtlCol="0" anchor="ctr"/>
            <a:lstStyle/>
            <a:p>
              <a:endParaRPr lang="fr-FR"/>
            </a:p>
          </p:txBody>
        </p:sp>
      </p:grpSp>
      <p:grpSp>
        <p:nvGrpSpPr>
          <p:cNvPr id="680" name="Graphic 123">
            <a:extLst>
              <a:ext uri="{FF2B5EF4-FFF2-40B4-BE49-F238E27FC236}">
                <a16:creationId xmlns:a16="http://schemas.microsoft.com/office/drawing/2014/main" id="{51378708-85A2-445E-9526-D622A6690741}"/>
              </a:ext>
              <a:ext uri="{C183D7F6-B498-43B3-948B-1728B52AA6E4}">
                <adec:decorative xmlns:adec="http://schemas.microsoft.com/office/drawing/2017/decorative" val="1"/>
              </a:ext>
            </a:extLst>
          </p:cNvPr>
          <p:cNvGrpSpPr>
            <a:grpSpLocks noChangeAspect="1"/>
          </p:cNvGrpSpPr>
          <p:nvPr/>
        </p:nvGrpSpPr>
        <p:grpSpPr>
          <a:xfrm>
            <a:off x="282037" y="2451438"/>
            <a:ext cx="665280" cy="633600"/>
            <a:chOff x="5759439" y="3111405"/>
            <a:chExt cx="671794" cy="636285"/>
          </a:xfrm>
        </p:grpSpPr>
        <p:sp>
          <p:nvSpPr>
            <p:cNvPr id="681" name="Freeform 309">
              <a:extLst>
                <a:ext uri="{FF2B5EF4-FFF2-40B4-BE49-F238E27FC236}">
                  <a16:creationId xmlns:a16="http://schemas.microsoft.com/office/drawing/2014/main" id="{7C153354-6BD5-4109-9BBA-02C828230467}"/>
                </a:ext>
              </a:extLst>
            </p:cNvPr>
            <p:cNvSpPr/>
            <p:nvPr/>
          </p:nvSpPr>
          <p:spPr>
            <a:xfrm>
              <a:off x="5759439" y="3111405"/>
              <a:ext cx="671794" cy="636285"/>
            </a:xfrm>
            <a:custGeom>
              <a:avLst/>
              <a:gdLst>
                <a:gd name="connsiteX0" fmla="*/ 65140 w 671794"/>
                <a:gd name="connsiteY0" fmla="*/ 516719 h 636285"/>
                <a:gd name="connsiteX1" fmla="*/ 138612 w 671794"/>
                <a:gd name="connsiteY1" fmla="*/ 63973 h 636285"/>
                <a:gd name="connsiteX2" fmla="*/ 610825 w 671794"/>
                <a:gd name="connsiteY2" fmla="*/ 130317 h 636285"/>
                <a:gd name="connsiteX3" fmla="*/ 525028 w 671794"/>
                <a:gd name="connsiteY3" fmla="*/ 565813 h 636285"/>
                <a:gd name="connsiteX4" fmla="*/ 65140 w 671794"/>
                <a:gd name="connsiteY4" fmla="*/ 516340 h 636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794" h="636285">
                  <a:moveTo>
                    <a:pt x="65140" y="516719"/>
                  </a:moveTo>
                  <a:cubicBezTo>
                    <a:pt x="-45021" y="373323"/>
                    <a:pt x="-12125" y="170691"/>
                    <a:pt x="138612" y="63973"/>
                  </a:cubicBezTo>
                  <a:cubicBezTo>
                    <a:pt x="289348" y="-42745"/>
                    <a:pt x="500759" y="-12795"/>
                    <a:pt x="610825" y="130317"/>
                  </a:cubicBezTo>
                  <a:cubicBezTo>
                    <a:pt x="720891" y="273429"/>
                    <a:pt x="675765" y="459190"/>
                    <a:pt x="525028" y="565813"/>
                  </a:cubicBezTo>
                  <a:cubicBezTo>
                    <a:pt x="374292" y="672436"/>
                    <a:pt x="175206" y="659736"/>
                    <a:pt x="65140" y="516340"/>
                  </a:cubicBezTo>
                </a:path>
              </a:pathLst>
            </a:custGeom>
            <a:solidFill>
              <a:srgbClr val="0070AD"/>
            </a:solidFill>
            <a:ln w="9391" cap="flat">
              <a:noFill/>
              <a:prstDash val="solid"/>
              <a:miter/>
            </a:ln>
          </p:spPr>
          <p:txBody>
            <a:bodyPr rtlCol="0" anchor="ctr"/>
            <a:lstStyle/>
            <a:p>
              <a:endParaRPr lang="fr-FR"/>
            </a:p>
          </p:txBody>
        </p:sp>
        <p:sp>
          <p:nvSpPr>
            <p:cNvPr id="682" name="Freeform 310">
              <a:extLst>
                <a:ext uri="{FF2B5EF4-FFF2-40B4-BE49-F238E27FC236}">
                  <a16:creationId xmlns:a16="http://schemas.microsoft.com/office/drawing/2014/main" id="{399A6B9D-B9E9-479D-A5FB-3B95A6F8A86B}"/>
                </a:ext>
              </a:extLst>
            </p:cNvPr>
            <p:cNvSpPr/>
            <p:nvPr/>
          </p:nvSpPr>
          <p:spPr>
            <a:xfrm>
              <a:off x="5902743" y="3206396"/>
              <a:ext cx="366462" cy="464432"/>
            </a:xfrm>
            <a:custGeom>
              <a:avLst/>
              <a:gdLst>
                <a:gd name="connsiteX0" fmla="*/ 344562 w 366462"/>
                <a:gd name="connsiteY0" fmla="*/ 365147 h 464432"/>
                <a:gd name="connsiteX1" fmla="*/ 346837 w 366462"/>
                <a:gd name="connsiteY1" fmla="*/ 371971 h 464432"/>
                <a:gd name="connsiteX2" fmla="*/ 320626 w 366462"/>
                <a:gd name="connsiteY2" fmla="*/ 426446 h 464432"/>
                <a:gd name="connsiteX3" fmla="*/ 305408 w 366462"/>
                <a:gd name="connsiteY3" fmla="*/ 428837 h 464432"/>
                <a:gd name="connsiteX4" fmla="*/ 236297 w 366462"/>
                <a:gd name="connsiteY4" fmla="*/ 409882 h 464432"/>
                <a:gd name="connsiteX5" fmla="*/ 230419 w 366462"/>
                <a:gd name="connsiteY5" fmla="*/ 435850 h 464432"/>
                <a:gd name="connsiteX6" fmla="*/ 224921 w 366462"/>
                <a:gd name="connsiteY6" fmla="*/ 464283 h 464432"/>
                <a:gd name="connsiteX7" fmla="*/ 16923 w 366462"/>
                <a:gd name="connsiteY7" fmla="*/ 408365 h 464432"/>
                <a:gd name="connsiteX8" fmla="*/ 32281 w 366462"/>
                <a:gd name="connsiteY8" fmla="*/ 312073 h 464432"/>
                <a:gd name="connsiteX9" fmla="*/ 32281 w 366462"/>
                <a:gd name="connsiteY9" fmla="*/ 312073 h 464432"/>
                <a:gd name="connsiteX10" fmla="*/ 13321 w 366462"/>
                <a:gd name="connsiteY10" fmla="*/ 238621 h 464432"/>
                <a:gd name="connsiteX11" fmla="*/ 1850 w 366462"/>
                <a:gd name="connsiteY11" fmla="*/ 146404 h 464432"/>
                <a:gd name="connsiteX12" fmla="*/ 70487 w 366462"/>
                <a:gd name="connsiteY12" fmla="*/ 31346 h 464432"/>
                <a:gd name="connsiteX13" fmla="*/ 271374 w 366462"/>
                <a:gd name="connsiteY13" fmla="*/ 16371 h 464432"/>
                <a:gd name="connsiteX14" fmla="*/ 336504 w 366462"/>
                <a:gd name="connsiteY14" fmla="*/ 75701 h 464432"/>
                <a:gd name="connsiteX15" fmla="*/ 328360 w 366462"/>
                <a:gd name="connsiteY15" fmla="*/ 94084 h 464432"/>
                <a:gd name="connsiteX16" fmla="*/ 328351 w 366462"/>
                <a:gd name="connsiteY16" fmla="*/ 94088 h 464432"/>
                <a:gd name="connsiteX17" fmla="*/ 347880 w 366462"/>
                <a:gd name="connsiteY17" fmla="*/ 207061 h 464432"/>
                <a:gd name="connsiteX18" fmla="*/ 335271 w 366462"/>
                <a:gd name="connsiteY18" fmla="*/ 225068 h 464432"/>
                <a:gd name="connsiteX19" fmla="*/ 338494 w 366462"/>
                <a:gd name="connsiteY19" fmla="*/ 260894 h 464432"/>
                <a:gd name="connsiteX20" fmla="*/ 340201 w 366462"/>
                <a:gd name="connsiteY20" fmla="*/ 260894 h 464432"/>
                <a:gd name="connsiteX21" fmla="*/ 354421 w 366462"/>
                <a:gd name="connsiteY21" fmla="*/ 275110 h 464432"/>
                <a:gd name="connsiteX22" fmla="*/ 366461 w 366462"/>
                <a:gd name="connsiteY22" fmla="*/ 304396 h 464432"/>
                <a:gd name="connsiteX23" fmla="*/ 360584 w 366462"/>
                <a:gd name="connsiteY23" fmla="*/ 327711 h 464432"/>
                <a:gd name="connsiteX24" fmla="*/ 344562 w 366462"/>
                <a:gd name="connsiteY24" fmla="*/ 365147 h 464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6462" h="464432">
                  <a:moveTo>
                    <a:pt x="344562" y="365147"/>
                  </a:moveTo>
                  <a:cubicBezTo>
                    <a:pt x="345510" y="367991"/>
                    <a:pt x="345415" y="367422"/>
                    <a:pt x="346837" y="371971"/>
                  </a:cubicBezTo>
                  <a:cubicBezTo>
                    <a:pt x="354646" y="394250"/>
                    <a:pt x="342911" y="418639"/>
                    <a:pt x="320626" y="426446"/>
                  </a:cubicBezTo>
                  <a:cubicBezTo>
                    <a:pt x="315740" y="428157"/>
                    <a:pt x="310584" y="428967"/>
                    <a:pt x="305408" y="428837"/>
                  </a:cubicBezTo>
                  <a:cubicBezTo>
                    <a:pt x="281722" y="425180"/>
                    <a:pt x="258534" y="418820"/>
                    <a:pt x="236297" y="409882"/>
                  </a:cubicBezTo>
                  <a:lnTo>
                    <a:pt x="230419" y="435850"/>
                  </a:lnTo>
                  <a:cubicBezTo>
                    <a:pt x="229217" y="445439"/>
                    <a:pt x="227380" y="454937"/>
                    <a:pt x="224921" y="464283"/>
                  </a:cubicBezTo>
                  <a:cubicBezTo>
                    <a:pt x="170883" y="467790"/>
                    <a:pt x="16923" y="408365"/>
                    <a:pt x="16923" y="408365"/>
                  </a:cubicBezTo>
                  <a:cubicBezTo>
                    <a:pt x="16923" y="408365"/>
                    <a:pt x="33893" y="378605"/>
                    <a:pt x="32281" y="312073"/>
                  </a:cubicBezTo>
                  <a:lnTo>
                    <a:pt x="32281" y="312073"/>
                  </a:lnTo>
                  <a:cubicBezTo>
                    <a:pt x="29429" y="286823"/>
                    <a:pt x="23046" y="262098"/>
                    <a:pt x="13321" y="238621"/>
                  </a:cubicBezTo>
                  <a:cubicBezTo>
                    <a:pt x="1234" y="209483"/>
                    <a:pt x="-2731" y="177615"/>
                    <a:pt x="1850" y="146404"/>
                  </a:cubicBezTo>
                  <a:cubicBezTo>
                    <a:pt x="4883" y="117971"/>
                    <a:pt x="22706" y="61958"/>
                    <a:pt x="70487" y="31346"/>
                  </a:cubicBezTo>
                  <a:cubicBezTo>
                    <a:pt x="134953" y="-9598"/>
                    <a:pt x="217716" y="-5806"/>
                    <a:pt x="271374" y="16371"/>
                  </a:cubicBezTo>
                  <a:cubicBezTo>
                    <a:pt x="283130" y="21205"/>
                    <a:pt x="322568" y="39781"/>
                    <a:pt x="336504" y="75701"/>
                  </a:cubicBezTo>
                  <a:cubicBezTo>
                    <a:pt x="339333" y="83025"/>
                    <a:pt x="335687" y="91256"/>
                    <a:pt x="328360" y="94084"/>
                  </a:cubicBezTo>
                  <a:cubicBezTo>
                    <a:pt x="328357" y="94085"/>
                    <a:pt x="328354" y="94086"/>
                    <a:pt x="328351" y="94088"/>
                  </a:cubicBezTo>
                  <a:cubicBezTo>
                    <a:pt x="337262" y="96457"/>
                    <a:pt x="340770" y="200047"/>
                    <a:pt x="347880" y="207061"/>
                  </a:cubicBezTo>
                  <a:cubicBezTo>
                    <a:pt x="349492" y="208672"/>
                    <a:pt x="344277" y="215401"/>
                    <a:pt x="335271" y="225068"/>
                  </a:cubicBezTo>
                  <a:lnTo>
                    <a:pt x="338494" y="260894"/>
                  </a:lnTo>
                  <a:lnTo>
                    <a:pt x="340201" y="260894"/>
                  </a:lnTo>
                  <a:cubicBezTo>
                    <a:pt x="348055" y="260894"/>
                    <a:pt x="354421" y="267258"/>
                    <a:pt x="354421" y="275110"/>
                  </a:cubicBezTo>
                  <a:cubicBezTo>
                    <a:pt x="354421" y="286578"/>
                    <a:pt x="360773" y="290274"/>
                    <a:pt x="366461" y="304396"/>
                  </a:cubicBezTo>
                  <a:cubicBezTo>
                    <a:pt x="366518" y="312541"/>
                    <a:pt x="364495" y="320566"/>
                    <a:pt x="360584" y="327711"/>
                  </a:cubicBezTo>
                  <a:cubicBezTo>
                    <a:pt x="366935" y="341074"/>
                    <a:pt x="355085" y="354627"/>
                    <a:pt x="344562" y="365147"/>
                  </a:cubicBezTo>
                  <a:close/>
                </a:path>
              </a:pathLst>
            </a:custGeom>
            <a:solidFill>
              <a:schemeClr val="bg1"/>
            </a:solidFill>
            <a:ln w="9391" cap="flat">
              <a:noFill/>
              <a:prstDash val="solid"/>
              <a:miter/>
            </a:ln>
          </p:spPr>
          <p:txBody>
            <a:bodyPr rtlCol="0" anchor="ctr"/>
            <a:lstStyle/>
            <a:p>
              <a:endParaRPr lang="fr-FR"/>
            </a:p>
          </p:txBody>
        </p:sp>
        <p:sp>
          <p:nvSpPr>
            <p:cNvPr id="683" name="Freeform 311">
              <a:extLst>
                <a:ext uri="{FF2B5EF4-FFF2-40B4-BE49-F238E27FC236}">
                  <a16:creationId xmlns:a16="http://schemas.microsoft.com/office/drawing/2014/main" id="{8693C6D1-E472-4DA2-BC5F-BDAC834DE557}"/>
                </a:ext>
              </a:extLst>
            </p:cNvPr>
            <p:cNvSpPr/>
            <p:nvPr/>
          </p:nvSpPr>
          <p:spPr>
            <a:xfrm>
              <a:off x="5900800" y="3340668"/>
              <a:ext cx="194535" cy="87288"/>
            </a:xfrm>
            <a:custGeom>
              <a:avLst/>
              <a:gdLst>
                <a:gd name="connsiteX0" fmla="*/ 194535 w 194535"/>
                <a:gd name="connsiteY0" fmla="*/ 0 h 87288"/>
                <a:gd name="connsiteX1" fmla="*/ 21046 w 194535"/>
                <a:gd name="connsiteY1" fmla="*/ 0 h 87288"/>
                <a:gd name="connsiteX2" fmla="*/ 3223 w 194535"/>
                <a:gd name="connsiteY2" fmla="*/ 14216 h 87288"/>
                <a:gd name="connsiteX3" fmla="*/ 0 w 194535"/>
                <a:gd name="connsiteY3" fmla="*/ 43597 h 87288"/>
                <a:gd name="connsiteX4" fmla="*/ 3223 w 194535"/>
                <a:gd name="connsiteY4" fmla="*/ 73072 h 87288"/>
                <a:gd name="connsiteX5" fmla="*/ 21046 w 194535"/>
                <a:gd name="connsiteY5" fmla="*/ 87289 h 87288"/>
                <a:gd name="connsiteX6" fmla="*/ 194535 w 194535"/>
                <a:gd name="connsiteY6" fmla="*/ 87289 h 87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535" h="87288">
                  <a:moveTo>
                    <a:pt x="194535" y="0"/>
                  </a:moveTo>
                  <a:lnTo>
                    <a:pt x="21046" y="0"/>
                  </a:lnTo>
                  <a:cubicBezTo>
                    <a:pt x="12517" y="7"/>
                    <a:pt x="5124" y="5904"/>
                    <a:pt x="3223" y="14216"/>
                  </a:cubicBezTo>
                  <a:cubicBezTo>
                    <a:pt x="1084" y="23864"/>
                    <a:pt x="3" y="33715"/>
                    <a:pt x="0" y="43597"/>
                  </a:cubicBezTo>
                  <a:cubicBezTo>
                    <a:pt x="9" y="53510"/>
                    <a:pt x="1089" y="63392"/>
                    <a:pt x="3223" y="73072"/>
                  </a:cubicBezTo>
                  <a:cubicBezTo>
                    <a:pt x="5124" y="81385"/>
                    <a:pt x="12517" y="87282"/>
                    <a:pt x="21046" y="87289"/>
                  </a:cubicBezTo>
                  <a:lnTo>
                    <a:pt x="194535" y="87289"/>
                  </a:lnTo>
                  <a:close/>
                </a:path>
              </a:pathLst>
            </a:custGeom>
            <a:solidFill>
              <a:srgbClr val="0070AD"/>
            </a:solidFill>
            <a:ln w="9391" cap="flat">
              <a:noFill/>
              <a:prstDash val="solid"/>
              <a:miter/>
            </a:ln>
          </p:spPr>
          <p:txBody>
            <a:bodyPr rtlCol="0" anchor="ctr"/>
            <a:lstStyle/>
            <a:p>
              <a:endParaRPr lang="fr-FR"/>
            </a:p>
          </p:txBody>
        </p:sp>
        <p:sp>
          <p:nvSpPr>
            <p:cNvPr id="684" name="Freeform 312">
              <a:extLst>
                <a:ext uri="{FF2B5EF4-FFF2-40B4-BE49-F238E27FC236}">
                  <a16:creationId xmlns:a16="http://schemas.microsoft.com/office/drawing/2014/main" id="{BAFC6C97-6AFC-4550-B2B9-32B8B539F6CF}"/>
                </a:ext>
              </a:extLst>
            </p:cNvPr>
            <p:cNvSpPr/>
            <p:nvPr/>
          </p:nvSpPr>
          <p:spPr>
            <a:xfrm>
              <a:off x="6083296" y="3279727"/>
              <a:ext cx="226009" cy="209170"/>
            </a:xfrm>
            <a:custGeom>
              <a:avLst/>
              <a:gdLst>
                <a:gd name="connsiteX0" fmla="*/ 194820 w 226009"/>
                <a:gd name="connsiteY0" fmla="*/ 0 h 209170"/>
                <a:gd name="connsiteX1" fmla="*/ 135284 w 226009"/>
                <a:gd name="connsiteY1" fmla="*/ 0 h 209170"/>
                <a:gd name="connsiteX2" fmla="*/ 26829 w 226009"/>
                <a:gd name="connsiteY2" fmla="*/ 27296 h 209170"/>
                <a:gd name="connsiteX3" fmla="*/ 0 w 226009"/>
                <a:gd name="connsiteY3" fmla="*/ 72693 h 209170"/>
                <a:gd name="connsiteX4" fmla="*/ 0 w 226009"/>
                <a:gd name="connsiteY4" fmla="*/ 136383 h 209170"/>
                <a:gd name="connsiteX5" fmla="*/ 26829 w 226009"/>
                <a:gd name="connsiteY5" fmla="*/ 181875 h 209170"/>
                <a:gd name="connsiteX6" fmla="*/ 135284 w 226009"/>
                <a:gd name="connsiteY6" fmla="*/ 209171 h 209170"/>
                <a:gd name="connsiteX7" fmla="*/ 194820 w 226009"/>
                <a:gd name="connsiteY7" fmla="*/ 209171 h 209170"/>
                <a:gd name="connsiteX8" fmla="*/ 226010 w 226009"/>
                <a:gd name="connsiteY8" fmla="*/ 104538 h 209170"/>
                <a:gd name="connsiteX9" fmla="*/ 194820 w 226009"/>
                <a:gd name="connsiteY9" fmla="*/ 0 h 209170"/>
                <a:gd name="connsiteX10" fmla="*/ 31475 w 226009"/>
                <a:gd name="connsiteY10" fmla="*/ 161972 h 209170"/>
                <a:gd name="connsiteX11" fmla="*/ 26640 w 226009"/>
                <a:gd name="connsiteY11" fmla="*/ 159129 h 209170"/>
                <a:gd name="connsiteX12" fmla="*/ 26640 w 226009"/>
                <a:gd name="connsiteY12" fmla="*/ 49947 h 209170"/>
                <a:gd name="connsiteX13" fmla="*/ 31380 w 226009"/>
                <a:gd name="connsiteY13" fmla="*/ 47104 h 209170"/>
                <a:gd name="connsiteX14" fmla="*/ 31380 w 226009"/>
                <a:gd name="connsiteY14" fmla="*/ 47104 h 209170"/>
                <a:gd name="connsiteX15" fmla="*/ 36594 w 226009"/>
                <a:gd name="connsiteY15" fmla="*/ 51730 h 209170"/>
                <a:gd name="connsiteX16" fmla="*/ 36594 w 226009"/>
                <a:gd name="connsiteY16" fmla="*/ 52316 h 209170"/>
                <a:gd name="connsiteX17" fmla="*/ 36594 w 226009"/>
                <a:gd name="connsiteY17" fmla="*/ 156570 h 209170"/>
                <a:gd name="connsiteX18" fmla="*/ 32373 w 226009"/>
                <a:gd name="connsiteY18" fmla="*/ 161948 h 209170"/>
                <a:gd name="connsiteX19" fmla="*/ 31475 w 226009"/>
                <a:gd name="connsiteY19" fmla="*/ 161972 h 20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6009" h="209170">
                  <a:moveTo>
                    <a:pt x="194820" y="0"/>
                  </a:moveTo>
                  <a:lnTo>
                    <a:pt x="135284" y="0"/>
                  </a:lnTo>
                  <a:cubicBezTo>
                    <a:pt x="107980" y="0"/>
                    <a:pt x="45885" y="18955"/>
                    <a:pt x="26829" y="27296"/>
                  </a:cubicBezTo>
                  <a:cubicBezTo>
                    <a:pt x="7774" y="35636"/>
                    <a:pt x="1138" y="57340"/>
                    <a:pt x="0" y="72693"/>
                  </a:cubicBezTo>
                  <a:lnTo>
                    <a:pt x="0" y="136383"/>
                  </a:lnTo>
                  <a:cubicBezTo>
                    <a:pt x="1138" y="151737"/>
                    <a:pt x="8911" y="174293"/>
                    <a:pt x="26829" y="181875"/>
                  </a:cubicBezTo>
                  <a:cubicBezTo>
                    <a:pt x="44747" y="189457"/>
                    <a:pt x="107980" y="209076"/>
                    <a:pt x="135284" y="209171"/>
                  </a:cubicBezTo>
                  <a:lnTo>
                    <a:pt x="194820" y="209171"/>
                  </a:lnTo>
                  <a:cubicBezTo>
                    <a:pt x="194820" y="209171"/>
                    <a:pt x="226010" y="179316"/>
                    <a:pt x="226010" y="104538"/>
                  </a:cubicBezTo>
                  <a:cubicBezTo>
                    <a:pt x="226010" y="29760"/>
                    <a:pt x="194820" y="0"/>
                    <a:pt x="194820" y="0"/>
                  </a:cubicBezTo>
                  <a:close/>
                  <a:moveTo>
                    <a:pt x="31475" y="161972"/>
                  </a:moveTo>
                  <a:cubicBezTo>
                    <a:pt x="29447" y="162046"/>
                    <a:pt x="27561" y="160937"/>
                    <a:pt x="26640" y="159129"/>
                  </a:cubicBezTo>
                  <a:cubicBezTo>
                    <a:pt x="16022" y="135530"/>
                    <a:pt x="10428" y="84066"/>
                    <a:pt x="26640" y="49947"/>
                  </a:cubicBezTo>
                  <a:cubicBezTo>
                    <a:pt x="27509" y="48137"/>
                    <a:pt x="29373" y="47019"/>
                    <a:pt x="31380" y="47104"/>
                  </a:cubicBezTo>
                  <a:lnTo>
                    <a:pt x="31380" y="47104"/>
                  </a:lnTo>
                  <a:cubicBezTo>
                    <a:pt x="34098" y="46942"/>
                    <a:pt x="36432" y="49013"/>
                    <a:pt x="36594" y="51730"/>
                  </a:cubicBezTo>
                  <a:cubicBezTo>
                    <a:pt x="36606" y="51926"/>
                    <a:pt x="36606" y="52121"/>
                    <a:pt x="36594" y="52316"/>
                  </a:cubicBezTo>
                  <a:cubicBezTo>
                    <a:pt x="33421" y="86995"/>
                    <a:pt x="33421" y="121891"/>
                    <a:pt x="36594" y="156570"/>
                  </a:cubicBezTo>
                  <a:cubicBezTo>
                    <a:pt x="36914" y="159220"/>
                    <a:pt x="35024" y="161628"/>
                    <a:pt x="32373" y="161948"/>
                  </a:cubicBezTo>
                  <a:cubicBezTo>
                    <a:pt x="32075" y="161984"/>
                    <a:pt x="31774" y="161992"/>
                    <a:pt x="31475" y="161972"/>
                  </a:cubicBezTo>
                  <a:close/>
                </a:path>
              </a:pathLst>
            </a:custGeom>
            <a:solidFill>
              <a:srgbClr val="0070AD"/>
            </a:solidFill>
            <a:ln w="9391" cap="flat">
              <a:noFill/>
              <a:prstDash val="solid"/>
              <a:miter/>
            </a:ln>
          </p:spPr>
          <p:txBody>
            <a:bodyPr rtlCol="0" anchor="ctr"/>
            <a:lstStyle/>
            <a:p>
              <a:endParaRPr lang="fr-FR"/>
            </a:p>
          </p:txBody>
        </p:sp>
      </p:grpSp>
      <p:grpSp>
        <p:nvGrpSpPr>
          <p:cNvPr id="19" name="Group 18">
            <a:extLst>
              <a:ext uri="{FF2B5EF4-FFF2-40B4-BE49-F238E27FC236}">
                <a16:creationId xmlns:a16="http://schemas.microsoft.com/office/drawing/2014/main" id="{5DEBFCE3-B355-4AB2-9F6B-A7E2B1BCF26B}"/>
              </a:ext>
              <a:ext uri="{C183D7F6-B498-43B3-948B-1728B52AA6E4}">
                <adec:decorative xmlns:adec="http://schemas.microsoft.com/office/drawing/2017/decorative" val="1"/>
              </a:ext>
            </a:extLst>
          </p:cNvPr>
          <p:cNvGrpSpPr>
            <a:grpSpLocks noChangeAspect="1"/>
          </p:cNvGrpSpPr>
          <p:nvPr/>
        </p:nvGrpSpPr>
        <p:grpSpPr>
          <a:xfrm>
            <a:off x="2278274" y="2451438"/>
            <a:ext cx="682256" cy="633600"/>
            <a:chOff x="6837915" y="4156113"/>
            <a:chExt cx="682256" cy="633600"/>
          </a:xfrm>
        </p:grpSpPr>
        <p:sp>
          <p:nvSpPr>
            <p:cNvPr id="323" name="Freeform 240">
              <a:extLst>
                <a:ext uri="{FF2B5EF4-FFF2-40B4-BE49-F238E27FC236}">
                  <a16:creationId xmlns:a16="http://schemas.microsoft.com/office/drawing/2014/main" id="{D30A702C-A9D6-403B-AC28-E3CCF8FCE769}"/>
                </a:ext>
              </a:extLst>
            </p:cNvPr>
            <p:cNvSpPr>
              <a:spLocks/>
            </p:cNvSpPr>
            <p:nvPr/>
          </p:nvSpPr>
          <p:spPr bwMode="auto">
            <a:xfrm>
              <a:off x="6837915" y="4156113"/>
              <a:ext cx="682256" cy="633600"/>
            </a:xfrm>
            <a:custGeom>
              <a:avLst/>
              <a:gdLst>
                <a:gd name="T0" fmla="*/ 32 w 273"/>
                <a:gd name="T1" fmla="*/ 184 h 253"/>
                <a:gd name="T2" fmla="*/ 79 w 273"/>
                <a:gd name="T3" fmla="*/ 30 h 253"/>
                <a:gd name="T4" fmla="*/ 241 w 273"/>
                <a:gd name="T5" fmla="*/ 76 h 253"/>
                <a:gd name="T6" fmla="*/ 190 w 273"/>
                <a:gd name="T7" fmla="*/ 223 h 253"/>
                <a:gd name="T8" fmla="*/ 32 w 273"/>
                <a:gd name="T9" fmla="*/ 184 h 253"/>
              </a:gdLst>
              <a:ahLst/>
              <a:cxnLst>
                <a:cxn ang="0">
                  <a:pos x="T0" y="T1"/>
                </a:cxn>
                <a:cxn ang="0">
                  <a:pos x="T2" y="T3"/>
                </a:cxn>
                <a:cxn ang="0">
                  <a:pos x="T4" y="T5"/>
                </a:cxn>
                <a:cxn ang="0">
                  <a:pos x="T6" y="T7"/>
                </a:cxn>
                <a:cxn ang="0">
                  <a:pos x="T8" y="T9"/>
                </a:cxn>
              </a:cxnLst>
              <a:rect l="0" t="0" r="r" b="b"/>
              <a:pathLst>
                <a:path w="273" h="253">
                  <a:moveTo>
                    <a:pt x="32" y="184"/>
                  </a:moveTo>
                  <a:cubicBezTo>
                    <a:pt x="0" y="129"/>
                    <a:pt x="22" y="60"/>
                    <a:pt x="79" y="30"/>
                  </a:cubicBezTo>
                  <a:cubicBezTo>
                    <a:pt x="137" y="0"/>
                    <a:pt x="209" y="20"/>
                    <a:pt x="241" y="76"/>
                  </a:cubicBezTo>
                  <a:cubicBezTo>
                    <a:pt x="273" y="131"/>
                    <a:pt x="248" y="193"/>
                    <a:pt x="190" y="223"/>
                  </a:cubicBezTo>
                  <a:cubicBezTo>
                    <a:pt x="133" y="253"/>
                    <a:pt x="64" y="240"/>
                    <a:pt x="32" y="18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70220962-0C26-40FA-B10A-D793E8087DEA}"/>
                </a:ext>
              </a:extLst>
            </p:cNvPr>
            <p:cNvGrpSpPr>
              <a:grpSpLocks noChangeAspect="1"/>
            </p:cNvGrpSpPr>
            <p:nvPr/>
          </p:nvGrpSpPr>
          <p:grpSpPr>
            <a:xfrm>
              <a:off x="6982781" y="4292913"/>
              <a:ext cx="392525" cy="360000"/>
              <a:chOff x="6952749" y="4265369"/>
              <a:chExt cx="452588" cy="415087"/>
            </a:xfrm>
          </p:grpSpPr>
          <p:sp>
            <p:nvSpPr>
              <p:cNvPr id="325" name="Freeform 241">
                <a:extLst>
                  <a:ext uri="{FF2B5EF4-FFF2-40B4-BE49-F238E27FC236}">
                    <a16:creationId xmlns:a16="http://schemas.microsoft.com/office/drawing/2014/main" id="{EF36E7B4-8401-43A9-B9EE-ECAC64FEBABD}"/>
                  </a:ext>
                </a:extLst>
              </p:cNvPr>
              <p:cNvSpPr>
                <a:spLocks/>
              </p:cNvSpPr>
              <p:nvPr/>
            </p:nvSpPr>
            <p:spPr bwMode="auto">
              <a:xfrm>
                <a:off x="7041359" y="4265369"/>
                <a:ext cx="276408" cy="415087"/>
              </a:xfrm>
              <a:custGeom>
                <a:avLst/>
                <a:gdLst>
                  <a:gd name="T0" fmla="*/ 123 w 123"/>
                  <a:gd name="T1" fmla="*/ 92 h 185"/>
                  <a:gd name="T2" fmla="*/ 108 w 123"/>
                  <a:gd name="T3" fmla="*/ 53 h 185"/>
                  <a:gd name="T4" fmla="*/ 97 w 123"/>
                  <a:gd name="T5" fmla="*/ 28 h 185"/>
                  <a:gd name="T6" fmla="*/ 93 w 123"/>
                  <a:gd name="T7" fmla="*/ 4 h 185"/>
                  <a:gd name="T8" fmla="*/ 87 w 123"/>
                  <a:gd name="T9" fmla="*/ 0 h 185"/>
                  <a:gd name="T10" fmla="*/ 35 w 123"/>
                  <a:gd name="T11" fmla="*/ 0 h 185"/>
                  <a:gd name="T12" fmla="*/ 30 w 123"/>
                  <a:gd name="T13" fmla="*/ 4 h 185"/>
                  <a:gd name="T14" fmla="*/ 26 w 123"/>
                  <a:gd name="T15" fmla="*/ 28 h 185"/>
                  <a:gd name="T16" fmla="*/ 14 w 123"/>
                  <a:gd name="T17" fmla="*/ 53 h 185"/>
                  <a:gd name="T18" fmla="*/ 0 w 123"/>
                  <a:gd name="T19" fmla="*/ 92 h 185"/>
                  <a:gd name="T20" fmla="*/ 14 w 123"/>
                  <a:gd name="T21" fmla="*/ 132 h 185"/>
                  <a:gd name="T22" fmla="*/ 26 w 123"/>
                  <a:gd name="T23" fmla="*/ 157 h 185"/>
                  <a:gd name="T24" fmla="*/ 30 w 123"/>
                  <a:gd name="T25" fmla="*/ 180 h 185"/>
                  <a:gd name="T26" fmla="*/ 35 w 123"/>
                  <a:gd name="T27" fmla="*/ 185 h 185"/>
                  <a:gd name="T28" fmla="*/ 87 w 123"/>
                  <a:gd name="T29" fmla="*/ 185 h 185"/>
                  <a:gd name="T30" fmla="*/ 93 w 123"/>
                  <a:gd name="T31" fmla="*/ 180 h 185"/>
                  <a:gd name="T32" fmla="*/ 97 w 123"/>
                  <a:gd name="T33" fmla="*/ 157 h 185"/>
                  <a:gd name="T34" fmla="*/ 108 w 123"/>
                  <a:gd name="T35" fmla="*/ 132 h 185"/>
                  <a:gd name="T36" fmla="*/ 123 w 123"/>
                  <a:gd name="T37" fmla="*/ 9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85">
                    <a:moveTo>
                      <a:pt x="123" y="92"/>
                    </a:moveTo>
                    <a:cubicBezTo>
                      <a:pt x="123" y="77"/>
                      <a:pt x="117" y="63"/>
                      <a:pt x="108" y="53"/>
                    </a:cubicBezTo>
                    <a:cubicBezTo>
                      <a:pt x="102" y="46"/>
                      <a:pt x="98" y="37"/>
                      <a:pt x="97" y="28"/>
                    </a:cubicBezTo>
                    <a:cubicBezTo>
                      <a:pt x="93" y="4"/>
                      <a:pt x="93" y="4"/>
                      <a:pt x="93" y="4"/>
                    </a:cubicBezTo>
                    <a:cubicBezTo>
                      <a:pt x="92" y="2"/>
                      <a:pt x="90" y="0"/>
                      <a:pt x="87" y="0"/>
                    </a:cubicBezTo>
                    <a:cubicBezTo>
                      <a:pt x="35" y="0"/>
                      <a:pt x="35" y="0"/>
                      <a:pt x="35" y="0"/>
                    </a:cubicBezTo>
                    <a:cubicBezTo>
                      <a:pt x="32" y="0"/>
                      <a:pt x="30" y="2"/>
                      <a:pt x="30" y="4"/>
                    </a:cubicBezTo>
                    <a:cubicBezTo>
                      <a:pt x="26" y="28"/>
                      <a:pt x="26" y="28"/>
                      <a:pt x="26" y="28"/>
                    </a:cubicBezTo>
                    <a:cubicBezTo>
                      <a:pt x="24" y="37"/>
                      <a:pt x="20" y="46"/>
                      <a:pt x="14" y="53"/>
                    </a:cubicBezTo>
                    <a:cubicBezTo>
                      <a:pt x="5" y="63"/>
                      <a:pt x="0" y="77"/>
                      <a:pt x="0" y="92"/>
                    </a:cubicBezTo>
                    <a:cubicBezTo>
                      <a:pt x="0" y="108"/>
                      <a:pt x="5" y="121"/>
                      <a:pt x="14" y="132"/>
                    </a:cubicBezTo>
                    <a:cubicBezTo>
                      <a:pt x="20" y="139"/>
                      <a:pt x="24" y="148"/>
                      <a:pt x="26" y="157"/>
                    </a:cubicBezTo>
                    <a:cubicBezTo>
                      <a:pt x="30" y="180"/>
                      <a:pt x="30" y="180"/>
                      <a:pt x="30" y="180"/>
                    </a:cubicBezTo>
                    <a:cubicBezTo>
                      <a:pt x="30" y="183"/>
                      <a:pt x="32" y="185"/>
                      <a:pt x="35" y="185"/>
                    </a:cubicBezTo>
                    <a:cubicBezTo>
                      <a:pt x="87" y="185"/>
                      <a:pt x="87" y="185"/>
                      <a:pt x="87" y="185"/>
                    </a:cubicBezTo>
                    <a:cubicBezTo>
                      <a:pt x="90" y="185"/>
                      <a:pt x="92" y="183"/>
                      <a:pt x="93" y="180"/>
                    </a:cubicBezTo>
                    <a:cubicBezTo>
                      <a:pt x="97" y="157"/>
                      <a:pt x="97" y="157"/>
                      <a:pt x="97" y="157"/>
                    </a:cubicBezTo>
                    <a:cubicBezTo>
                      <a:pt x="98" y="148"/>
                      <a:pt x="102" y="139"/>
                      <a:pt x="108" y="132"/>
                    </a:cubicBezTo>
                    <a:cubicBezTo>
                      <a:pt x="117" y="121"/>
                      <a:pt x="123" y="108"/>
                      <a:pt x="123" y="9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6" name="Freeform 242">
                <a:extLst>
                  <a:ext uri="{FF2B5EF4-FFF2-40B4-BE49-F238E27FC236}">
                    <a16:creationId xmlns:a16="http://schemas.microsoft.com/office/drawing/2014/main" id="{73972DB6-C888-48C0-B085-18E8D2E05F2B}"/>
                  </a:ext>
                </a:extLst>
              </p:cNvPr>
              <p:cNvSpPr>
                <a:spLocks/>
              </p:cNvSpPr>
              <p:nvPr/>
            </p:nvSpPr>
            <p:spPr bwMode="auto">
              <a:xfrm>
                <a:off x="7054657" y="4354655"/>
                <a:ext cx="249812" cy="233664"/>
              </a:xfrm>
              <a:custGeom>
                <a:avLst/>
                <a:gdLst>
                  <a:gd name="T0" fmla="*/ 16 w 111"/>
                  <a:gd name="T1" fmla="*/ 81 h 104"/>
                  <a:gd name="T2" fmla="*/ 27 w 111"/>
                  <a:gd name="T3" fmla="*/ 16 h 104"/>
                  <a:gd name="T4" fmla="*/ 95 w 111"/>
                  <a:gd name="T5" fmla="*/ 25 h 104"/>
                  <a:gd name="T6" fmla="*/ 83 w 111"/>
                  <a:gd name="T7" fmla="*/ 88 h 104"/>
                  <a:gd name="T8" fmla="*/ 16 w 111"/>
                  <a:gd name="T9" fmla="*/ 81 h 104"/>
                </a:gdLst>
                <a:ahLst/>
                <a:cxnLst>
                  <a:cxn ang="0">
                    <a:pos x="T0" y="T1"/>
                  </a:cxn>
                  <a:cxn ang="0">
                    <a:pos x="T2" y="T3"/>
                  </a:cxn>
                  <a:cxn ang="0">
                    <a:pos x="T4" y="T5"/>
                  </a:cxn>
                  <a:cxn ang="0">
                    <a:pos x="T6" y="T7"/>
                  </a:cxn>
                  <a:cxn ang="0">
                    <a:pos x="T8" y="T9"/>
                  </a:cxn>
                </a:cxnLst>
                <a:rect l="0" t="0" r="r" b="b"/>
                <a:pathLst>
                  <a:path w="111" h="104">
                    <a:moveTo>
                      <a:pt x="16" y="81"/>
                    </a:moveTo>
                    <a:cubicBezTo>
                      <a:pt x="0" y="60"/>
                      <a:pt x="5" y="31"/>
                      <a:pt x="27" y="16"/>
                    </a:cubicBezTo>
                    <a:cubicBezTo>
                      <a:pt x="48" y="0"/>
                      <a:pt x="79" y="4"/>
                      <a:pt x="95" y="25"/>
                    </a:cubicBezTo>
                    <a:cubicBezTo>
                      <a:pt x="111" y="46"/>
                      <a:pt x="104" y="73"/>
                      <a:pt x="83" y="88"/>
                    </a:cubicBezTo>
                    <a:cubicBezTo>
                      <a:pt x="61" y="104"/>
                      <a:pt x="32" y="102"/>
                      <a:pt x="16" y="81"/>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 name="Group 6">
                <a:extLst>
                  <a:ext uri="{FF2B5EF4-FFF2-40B4-BE49-F238E27FC236}">
                    <a16:creationId xmlns:a16="http://schemas.microsoft.com/office/drawing/2014/main" id="{DD961567-83F3-485C-8390-84A91F8ED453}"/>
                  </a:ext>
                </a:extLst>
              </p:cNvPr>
              <p:cNvGrpSpPr/>
              <p:nvPr/>
            </p:nvGrpSpPr>
            <p:grpSpPr>
              <a:xfrm>
                <a:off x="7147300" y="4463257"/>
                <a:ext cx="84674" cy="60210"/>
                <a:chOff x="8223652" y="5532763"/>
                <a:chExt cx="192413" cy="128376"/>
              </a:xfrm>
            </p:grpSpPr>
            <p:sp>
              <p:nvSpPr>
                <p:cNvPr id="327" name="Line 243">
                  <a:extLst>
                    <a:ext uri="{FF2B5EF4-FFF2-40B4-BE49-F238E27FC236}">
                      <a16:creationId xmlns:a16="http://schemas.microsoft.com/office/drawing/2014/main" id="{97A4832A-5A25-4503-AF5B-8135358AE215}"/>
                    </a:ext>
                  </a:extLst>
                </p:cNvPr>
                <p:cNvSpPr>
                  <a:spLocks noChangeShapeType="1"/>
                </p:cNvSpPr>
                <p:nvPr/>
              </p:nvSpPr>
              <p:spPr bwMode="auto">
                <a:xfrm>
                  <a:off x="8296346" y="5532763"/>
                  <a:ext cx="119719" cy="128376"/>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 name="Line 244">
                  <a:extLst>
                    <a:ext uri="{FF2B5EF4-FFF2-40B4-BE49-F238E27FC236}">
                      <a16:creationId xmlns:a16="http://schemas.microsoft.com/office/drawing/2014/main" id="{C22490A0-5C32-4CDA-9F5F-6F4D32D4E207}"/>
                    </a:ext>
                  </a:extLst>
                </p:cNvPr>
                <p:cNvSpPr>
                  <a:spLocks noChangeShapeType="1"/>
                </p:cNvSpPr>
                <p:nvPr/>
              </p:nvSpPr>
              <p:spPr bwMode="auto">
                <a:xfrm flipH="1">
                  <a:off x="8223652" y="5532763"/>
                  <a:ext cx="72694" cy="72694"/>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5" name="Group 14">
                <a:extLst>
                  <a:ext uri="{FF2B5EF4-FFF2-40B4-BE49-F238E27FC236}">
                    <a16:creationId xmlns:a16="http://schemas.microsoft.com/office/drawing/2014/main" id="{3AB7C64D-3D50-4D57-B12D-707FB09CC312}"/>
                  </a:ext>
                </a:extLst>
              </p:cNvPr>
              <p:cNvGrpSpPr/>
              <p:nvPr/>
            </p:nvGrpSpPr>
            <p:grpSpPr>
              <a:xfrm>
                <a:off x="6952749" y="4392130"/>
                <a:ext cx="85042" cy="154231"/>
                <a:chOff x="7218251" y="5065029"/>
                <a:chExt cx="406776" cy="737729"/>
              </a:xfrm>
            </p:grpSpPr>
            <p:sp>
              <p:nvSpPr>
                <p:cNvPr id="722" name="Freeform 420">
                  <a:extLst>
                    <a:ext uri="{FF2B5EF4-FFF2-40B4-BE49-F238E27FC236}">
                      <a16:creationId xmlns:a16="http://schemas.microsoft.com/office/drawing/2014/main" id="{0CF0B236-1282-44A6-8C14-E6266A65D615}"/>
                    </a:ext>
                  </a:extLst>
                </p:cNvPr>
                <p:cNvSpPr>
                  <a:spLocks/>
                </p:cNvSpPr>
                <p:nvPr/>
              </p:nvSpPr>
              <p:spPr bwMode="auto">
                <a:xfrm rot="20594511">
                  <a:off x="7499074" y="5298942"/>
                  <a:ext cx="125953" cy="269902"/>
                </a:xfrm>
                <a:custGeom>
                  <a:avLst/>
                  <a:gdLst>
                    <a:gd name="T0" fmla="*/ 3 w 9"/>
                    <a:gd name="T1" fmla="*/ 19 h 19"/>
                    <a:gd name="T2" fmla="*/ 1 w 9"/>
                    <a:gd name="T3" fmla="*/ 10 h 19"/>
                    <a:gd name="T4" fmla="*/ 9 w 9"/>
                    <a:gd name="T5" fmla="*/ 0 h 19"/>
                  </a:gdLst>
                  <a:ahLst/>
                  <a:cxnLst>
                    <a:cxn ang="0">
                      <a:pos x="T0" y="T1"/>
                    </a:cxn>
                    <a:cxn ang="0">
                      <a:pos x="T2" y="T3"/>
                    </a:cxn>
                    <a:cxn ang="0">
                      <a:pos x="T4" y="T5"/>
                    </a:cxn>
                  </a:cxnLst>
                  <a:rect l="0" t="0" r="r" b="b"/>
                  <a:pathLst>
                    <a:path w="9" h="19">
                      <a:moveTo>
                        <a:pt x="3" y="19"/>
                      </a:moveTo>
                      <a:cubicBezTo>
                        <a:pt x="1" y="16"/>
                        <a:pt x="0" y="13"/>
                        <a:pt x="1" y="10"/>
                      </a:cubicBezTo>
                      <a:cubicBezTo>
                        <a:pt x="2" y="5"/>
                        <a:pt x="5" y="1"/>
                        <a:pt x="9"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3" name="Freeform 421">
                  <a:extLst>
                    <a:ext uri="{FF2B5EF4-FFF2-40B4-BE49-F238E27FC236}">
                      <a16:creationId xmlns:a16="http://schemas.microsoft.com/office/drawing/2014/main" id="{31DFC58D-CE53-4FCE-BDF8-57D83A57D74E}"/>
                    </a:ext>
                  </a:extLst>
                </p:cNvPr>
                <p:cNvSpPr>
                  <a:spLocks/>
                </p:cNvSpPr>
                <p:nvPr/>
              </p:nvSpPr>
              <p:spPr bwMode="auto">
                <a:xfrm rot="20514570">
                  <a:off x="7354959" y="5184985"/>
                  <a:ext cx="269897" cy="497817"/>
                </a:xfrm>
                <a:custGeom>
                  <a:avLst/>
                  <a:gdLst>
                    <a:gd name="T0" fmla="*/ 19 w 19"/>
                    <a:gd name="T1" fmla="*/ 0 h 35"/>
                    <a:gd name="T2" fmla="*/ 1 w 19"/>
                    <a:gd name="T3" fmla="*/ 20 h 35"/>
                    <a:gd name="T4" fmla="*/ 3 w 19"/>
                    <a:gd name="T5" fmla="*/ 35 h 35"/>
                  </a:gdLst>
                  <a:ahLst/>
                  <a:cxnLst>
                    <a:cxn ang="0">
                      <a:pos x="T0" y="T1"/>
                    </a:cxn>
                    <a:cxn ang="0">
                      <a:pos x="T2" y="T3"/>
                    </a:cxn>
                    <a:cxn ang="0">
                      <a:pos x="T4" y="T5"/>
                    </a:cxn>
                  </a:cxnLst>
                  <a:rect l="0" t="0" r="r" b="b"/>
                  <a:pathLst>
                    <a:path w="19" h="35">
                      <a:moveTo>
                        <a:pt x="19" y="0"/>
                      </a:moveTo>
                      <a:cubicBezTo>
                        <a:pt x="10" y="3"/>
                        <a:pt x="3" y="10"/>
                        <a:pt x="1" y="20"/>
                      </a:cubicBezTo>
                      <a:cubicBezTo>
                        <a:pt x="0" y="25"/>
                        <a:pt x="1" y="31"/>
                        <a:pt x="3" y="35"/>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4" name="Freeform 422">
                  <a:extLst>
                    <a:ext uri="{FF2B5EF4-FFF2-40B4-BE49-F238E27FC236}">
                      <a16:creationId xmlns:a16="http://schemas.microsoft.com/office/drawing/2014/main" id="{AB1D2CA8-1374-47E6-917C-8B99B545D5A7}"/>
                    </a:ext>
                  </a:extLst>
                </p:cNvPr>
                <p:cNvSpPr>
                  <a:spLocks/>
                </p:cNvSpPr>
                <p:nvPr/>
              </p:nvSpPr>
              <p:spPr bwMode="auto">
                <a:xfrm rot="20514570">
                  <a:off x="7218251" y="5065029"/>
                  <a:ext cx="395855" cy="737729"/>
                </a:xfrm>
                <a:custGeom>
                  <a:avLst/>
                  <a:gdLst>
                    <a:gd name="T0" fmla="*/ 4 w 28"/>
                    <a:gd name="T1" fmla="*/ 52 h 52"/>
                    <a:gd name="T2" fmla="*/ 2 w 28"/>
                    <a:gd name="T3" fmla="*/ 31 h 52"/>
                    <a:gd name="T4" fmla="*/ 28 w 28"/>
                    <a:gd name="T5" fmla="*/ 0 h 52"/>
                  </a:gdLst>
                  <a:ahLst/>
                  <a:cxnLst>
                    <a:cxn ang="0">
                      <a:pos x="T0" y="T1"/>
                    </a:cxn>
                    <a:cxn ang="0">
                      <a:pos x="T2" y="T3"/>
                    </a:cxn>
                    <a:cxn ang="0">
                      <a:pos x="T4" y="T5"/>
                    </a:cxn>
                  </a:cxnLst>
                  <a:rect l="0" t="0" r="r" b="b"/>
                  <a:pathLst>
                    <a:path w="28" h="52">
                      <a:moveTo>
                        <a:pt x="4" y="52"/>
                      </a:moveTo>
                      <a:cubicBezTo>
                        <a:pt x="1" y="46"/>
                        <a:pt x="0" y="39"/>
                        <a:pt x="2" y="31"/>
                      </a:cubicBezTo>
                      <a:cubicBezTo>
                        <a:pt x="4" y="17"/>
                        <a:pt x="14" y="5"/>
                        <a:pt x="28"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725" name="Group 724">
                <a:extLst>
                  <a:ext uri="{FF2B5EF4-FFF2-40B4-BE49-F238E27FC236}">
                    <a16:creationId xmlns:a16="http://schemas.microsoft.com/office/drawing/2014/main" id="{2A8CBE00-68B0-45A3-8452-9AE07B27C282}"/>
                  </a:ext>
                </a:extLst>
              </p:cNvPr>
              <p:cNvGrpSpPr/>
              <p:nvPr/>
            </p:nvGrpSpPr>
            <p:grpSpPr>
              <a:xfrm flipH="1">
                <a:off x="7320295" y="4392130"/>
                <a:ext cx="85042" cy="154231"/>
                <a:chOff x="7218251" y="5065029"/>
                <a:chExt cx="406776" cy="737729"/>
              </a:xfrm>
            </p:grpSpPr>
            <p:sp>
              <p:nvSpPr>
                <p:cNvPr id="726" name="Freeform 420">
                  <a:extLst>
                    <a:ext uri="{FF2B5EF4-FFF2-40B4-BE49-F238E27FC236}">
                      <a16:creationId xmlns:a16="http://schemas.microsoft.com/office/drawing/2014/main" id="{9D6A74AB-CB50-4AB5-A7B3-90ED1992298A}"/>
                    </a:ext>
                  </a:extLst>
                </p:cNvPr>
                <p:cNvSpPr>
                  <a:spLocks/>
                </p:cNvSpPr>
                <p:nvPr/>
              </p:nvSpPr>
              <p:spPr bwMode="auto">
                <a:xfrm rot="20594511">
                  <a:off x="7499074" y="5298942"/>
                  <a:ext cx="125953" cy="269902"/>
                </a:xfrm>
                <a:custGeom>
                  <a:avLst/>
                  <a:gdLst>
                    <a:gd name="T0" fmla="*/ 3 w 9"/>
                    <a:gd name="T1" fmla="*/ 19 h 19"/>
                    <a:gd name="T2" fmla="*/ 1 w 9"/>
                    <a:gd name="T3" fmla="*/ 10 h 19"/>
                    <a:gd name="T4" fmla="*/ 9 w 9"/>
                    <a:gd name="T5" fmla="*/ 0 h 19"/>
                  </a:gdLst>
                  <a:ahLst/>
                  <a:cxnLst>
                    <a:cxn ang="0">
                      <a:pos x="T0" y="T1"/>
                    </a:cxn>
                    <a:cxn ang="0">
                      <a:pos x="T2" y="T3"/>
                    </a:cxn>
                    <a:cxn ang="0">
                      <a:pos x="T4" y="T5"/>
                    </a:cxn>
                  </a:cxnLst>
                  <a:rect l="0" t="0" r="r" b="b"/>
                  <a:pathLst>
                    <a:path w="9" h="19">
                      <a:moveTo>
                        <a:pt x="3" y="19"/>
                      </a:moveTo>
                      <a:cubicBezTo>
                        <a:pt x="1" y="16"/>
                        <a:pt x="0" y="13"/>
                        <a:pt x="1" y="10"/>
                      </a:cubicBezTo>
                      <a:cubicBezTo>
                        <a:pt x="2" y="5"/>
                        <a:pt x="5" y="1"/>
                        <a:pt x="9"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7" name="Freeform 421">
                  <a:extLst>
                    <a:ext uri="{FF2B5EF4-FFF2-40B4-BE49-F238E27FC236}">
                      <a16:creationId xmlns:a16="http://schemas.microsoft.com/office/drawing/2014/main" id="{3E7F883C-FAB7-4FB5-B967-01B0D810858F}"/>
                    </a:ext>
                  </a:extLst>
                </p:cNvPr>
                <p:cNvSpPr>
                  <a:spLocks/>
                </p:cNvSpPr>
                <p:nvPr/>
              </p:nvSpPr>
              <p:spPr bwMode="auto">
                <a:xfrm rot="20514570">
                  <a:off x="7354959" y="5184985"/>
                  <a:ext cx="269897" cy="497817"/>
                </a:xfrm>
                <a:custGeom>
                  <a:avLst/>
                  <a:gdLst>
                    <a:gd name="T0" fmla="*/ 19 w 19"/>
                    <a:gd name="T1" fmla="*/ 0 h 35"/>
                    <a:gd name="T2" fmla="*/ 1 w 19"/>
                    <a:gd name="T3" fmla="*/ 20 h 35"/>
                    <a:gd name="T4" fmla="*/ 3 w 19"/>
                    <a:gd name="T5" fmla="*/ 35 h 35"/>
                  </a:gdLst>
                  <a:ahLst/>
                  <a:cxnLst>
                    <a:cxn ang="0">
                      <a:pos x="T0" y="T1"/>
                    </a:cxn>
                    <a:cxn ang="0">
                      <a:pos x="T2" y="T3"/>
                    </a:cxn>
                    <a:cxn ang="0">
                      <a:pos x="T4" y="T5"/>
                    </a:cxn>
                  </a:cxnLst>
                  <a:rect l="0" t="0" r="r" b="b"/>
                  <a:pathLst>
                    <a:path w="19" h="35">
                      <a:moveTo>
                        <a:pt x="19" y="0"/>
                      </a:moveTo>
                      <a:cubicBezTo>
                        <a:pt x="10" y="3"/>
                        <a:pt x="3" y="10"/>
                        <a:pt x="1" y="20"/>
                      </a:cubicBezTo>
                      <a:cubicBezTo>
                        <a:pt x="0" y="25"/>
                        <a:pt x="1" y="31"/>
                        <a:pt x="3" y="35"/>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8" name="Freeform 422">
                  <a:extLst>
                    <a:ext uri="{FF2B5EF4-FFF2-40B4-BE49-F238E27FC236}">
                      <a16:creationId xmlns:a16="http://schemas.microsoft.com/office/drawing/2014/main" id="{383188C1-DD77-44E8-9019-653538F276F3}"/>
                    </a:ext>
                  </a:extLst>
                </p:cNvPr>
                <p:cNvSpPr>
                  <a:spLocks/>
                </p:cNvSpPr>
                <p:nvPr/>
              </p:nvSpPr>
              <p:spPr bwMode="auto">
                <a:xfrm rot="20514570">
                  <a:off x="7218251" y="5065029"/>
                  <a:ext cx="395855" cy="737729"/>
                </a:xfrm>
                <a:custGeom>
                  <a:avLst/>
                  <a:gdLst>
                    <a:gd name="T0" fmla="*/ 4 w 28"/>
                    <a:gd name="T1" fmla="*/ 52 h 52"/>
                    <a:gd name="T2" fmla="*/ 2 w 28"/>
                    <a:gd name="T3" fmla="*/ 31 h 52"/>
                    <a:gd name="T4" fmla="*/ 28 w 28"/>
                    <a:gd name="T5" fmla="*/ 0 h 52"/>
                  </a:gdLst>
                  <a:ahLst/>
                  <a:cxnLst>
                    <a:cxn ang="0">
                      <a:pos x="T0" y="T1"/>
                    </a:cxn>
                    <a:cxn ang="0">
                      <a:pos x="T2" y="T3"/>
                    </a:cxn>
                    <a:cxn ang="0">
                      <a:pos x="T4" y="T5"/>
                    </a:cxn>
                  </a:cxnLst>
                  <a:rect l="0" t="0" r="r" b="b"/>
                  <a:pathLst>
                    <a:path w="28" h="52">
                      <a:moveTo>
                        <a:pt x="4" y="52"/>
                      </a:moveTo>
                      <a:cubicBezTo>
                        <a:pt x="1" y="46"/>
                        <a:pt x="0" y="39"/>
                        <a:pt x="2" y="31"/>
                      </a:cubicBezTo>
                      <a:cubicBezTo>
                        <a:pt x="4" y="17"/>
                        <a:pt x="14" y="5"/>
                        <a:pt x="28"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729" name="Group 728">
            <a:extLst>
              <a:ext uri="{FF2B5EF4-FFF2-40B4-BE49-F238E27FC236}">
                <a16:creationId xmlns:a16="http://schemas.microsoft.com/office/drawing/2014/main" id="{2EBCA6A7-4334-48B4-8B18-A47BD6B6A2A7}"/>
              </a:ext>
              <a:ext uri="{C183D7F6-B498-43B3-948B-1728B52AA6E4}">
                <adec:decorative xmlns:adec="http://schemas.microsoft.com/office/drawing/2017/decorative" val="1"/>
              </a:ext>
            </a:extLst>
          </p:cNvPr>
          <p:cNvGrpSpPr>
            <a:grpSpLocks noChangeAspect="1"/>
          </p:cNvGrpSpPr>
          <p:nvPr/>
        </p:nvGrpSpPr>
        <p:grpSpPr>
          <a:xfrm>
            <a:off x="249803" y="1229161"/>
            <a:ext cx="679651" cy="633600"/>
            <a:chOff x="10318751" y="2698750"/>
            <a:chExt cx="679450" cy="633413"/>
          </a:xfrm>
        </p:grpSpPr>
        <p:sp>
          <p:nvSpPr>
            <p:cNvPr id="730" name="Freeform 123">
              <a:extLst>
                <a:ext uri="{FF2B5EF4-FFF2-40B4-BE49-F238E27FC236}">
                  <a16:creationId xmlns:a16="http://schemas.microsoft.com/office/drawing/2014/main" id="{D4305343-93C0-4851-98C3-5D748A41F72C}"/>
                </a:ext>
              </a:extLst>
            </p:cNvPr>
            <p:cNvSpPr>
              <a:spLocks/>
            </p:cNvSpPr>
            <p:nvPr/>
          </p:nvSpPr>
          <p:spPr bwMode="auto">
            <a:xfrm>
              <a:off x="10318751" y="2698750"/>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10"/>
                    <a:pt x="200" y="53"/>
                  </a:cubicBezTo>
                  <a:cubicBezTo>
                    <a:pt x="234" y="97"/>
                    <a:pt x="220" y="153"/>
                    <a:pt x="174" y="186"/>
                  </a:cubicBezTo>
                  <a:cubicBezTo>
                    <a:pt x="128" y="218"/>
                    <a:pt x="67"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1" name="Freeform 124">
              <a:extLst>
                <a:ext uri="{FF2B5EF4-FFF2-40B4-BE49-F238E27FC236}">
                  <a16:creationId xmlns:a16="http://schemas.microsoft.com/office/drawing/2014/main" id="{F979708F-031D-4C60-9D1A-F19EC95FC8E6}"/>
                </a:ext>
              </a:extLst>
            </p:cNvPr>
            <p:cNvSpPr>
              <a:spLocks/>
            </p:cNvSpPr>
            <p:nvPr/>
          </p:nvSpPr>
          <p:spPr bwMode="auto">
            <a:xfrm>
              <a:off x="10477501" y="2894013"/>
              <a:ext cx="377825" cy="234950"/>
            </a:xfrm>
            <a:custGeom>
              <a:avLst/>
              <a:gdLst>
                <a:gd name="T0" fmla="*/ 126 w 130"/>
                <a:gd name="T1" fmla="*/ 38 h 81"/>
                <a:gd name="T2" fmla="*/ 93 w 130"/>
                <a:gd name="T3" fmla="*/ 22 h 81"/>
                <a:gd name="T4" fmla="*/ 60 w 130"/>
                <a:gd name="T5" fmla="*/ 1 h 81"/>
                <a:gd name="T6" fmla="*/ 26 w 130"/>
                <a:gd name="T7" fmla="*/ 28 h 81"/>
                <a:gd name="T8" fmla="*/ 1 w 130"/>
                <a:gd name="T9" fmla="*/ 49 h 81"/>
                <a:gd name="T10" fmla="*/ 1 w 130"/>
                <a:gd name="T11" fmla="*/ 49 h 81"/>
                <a:gd name="T12" fmla="*/ 52 w 130"/>
                <a:gd name="T13" fmla="*/ 74 h 81"/>
                <a:gd name="T14" fmla="*/ 52 w 130"/>
                <a:gd name="T15" fmla="*/ 74 h 81"/>
                <a:gd name="T16" fmla="*/ 112 w 130"/>
                <a:gd name="T17" fmla="*/ 62 h 81"/>
                <a:gd name="T18" fmla="*/ 125 w 130"/>
                <a:gd name="T19" fmla="*/ 64 h 81"/>
                <a:gd name="T20" fmla="*/ 126 w 130"/>
                <a:gd name="T21"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81">
                  <a:moveTo>
                    <a:pt x="126" y="38"/>
                  </a:moveTo>
                  <a:cubicBezTo>
                    <a:pt x="121" y="25"/>
                    <a:pt x="108" y="18"/>
                    <a:pt x="93" y="22"/>
                  </a:cubicBezTo>
                  <a:cubicBezTo>
                    <a:pt x="93" y="22"/>
                    <a:pt x="85" y="0"/>
                    <a:pt x="60" y="1"/>
                  </a:cubicBezTo>
                  <a:cubicBezTo>
                    <a:pt x="40" y="2"/>
                    <a:pt x="28" y="16"/>
                    <a:pt x="26" y="28"/>
                  </a:cubicBezTo>
                  <a:cubicBezTo>
                    <a:pt x="17" y="25"/>
                    <a:pt x="0" y="33"/>
                    <a:pt x="1" y="49"/>
                  </a:cubicBezTo>
                  <a:cubicBezTo>
                    <a:pt x="1" y="49"/>
                    <a:pt x="1" y="49"/>
                    <a:pt x="1" y="49"/>
                  </a:cubicBezTo>
                  <a:cubicBezTo>
                    <a:pt x="2" y="81"/>
                    <a:pt x="42" y="76"/>
                    <a:pt x="52" y="74"/>
                  </a:cubicBezTo>
                  <a:cubicBezTo>
                    <a:pt x="52" y="74"/>
                    <a:pt x="52" y="74"/>
                    <a:pt x="52" y="74"/>
                  </a:cubicBezTo>
                  <a:cubicBezTo>
                    <a:pt x="65" y="73"/>
                    <a:pt x="88" y="62"/>
                    <a:pt x="112" y="62"/>
                  </a:cubicBezTo>
                  <a:cubicBezTo>
                    <a:pt x="117" y="62"/>
                    <a:pt x="121" y="62"/>
                    <a:pt x="125" y="64"/>
                  </a:cubicBezTo>
                  <a:cubicBezTo>
                    <a:pt x="127" y="57"/>
                    <a:pt x="130" y="48"/>
                    <a:pt x="126" y="3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732" name="Group 731">
            <a:extLst>
              <a:ext uri="{FF2B5EF4-FFF2-40B4-BE49-F238E27FC236}">
                <a16:creationId xmlns:a16="http://schemas.microsoft.com/office/drawing/2014/main" id="{6665467C-11C2-4425-9E4A-359FD1DE1E57}"/>
              </a:ext>
              <a:ext uri="{C183D7F6-B498-43B3-948B-1728B52AA6E4}">
                <adec:decorative xmlns:adec="http://schemas.microsoft.com/office/drawing/2017/decorative" val="1"/>
              </a:ext>
            </a:extLst>
          </p:cNvPr>
          <p:cNvGrpSpPr>
            <a:grpSpLocks noChangeAspect="1"/>
          </p:cNvGrpSpPr>
          <p:nvPr/>
        </p:nvGrpSpPr>
        <p:grpSpPr>
          <a:xfrm>
            <a:off x="2346482" y="1229161"/>
            <a:ext cx="676475" cy="633600"/>
            <a:chOff x="9548813" y="2698750"/>
            <a:chExt cx="676275" cy="633413"/>
          </a:xfrm>
        </p:grpSpPr>
        <p:sp>
          <p:nvSpPr>
            <p:cNvPr id="733" name="Freeform 174">
              <a:extLst>
                <a:ext uri="{FF2B5EF4-FFF2-40B4-BE49-F238E27FC236}">
                  <a16:creationId xmlns:a16="http://schemas.microsoft.com/office/drawing/2014/main" id="{E51FDFDB-E5AD-4EDE-B5E4-57846A153E9E}"/>
                </a:ext>
              </a:extLst>
            </p:cNvPr>
            <p:cNvSpPr>
              <a:spLocks/>
            </p:cNvSpPr>
            <p:nvPr/>
          </p:nvSpPr>
          <p:spPr bwMode="auto">
            <a:xfrm>
              <a:off x="9548813" y="2698750"/>
              <a:ext cx="676275" cy="633413"/>
            </a:xfrm>
            <a:custGeom>
              <a:avLst/>
              <a:gdLst>
                <a:gd name="T0" fmla="*/ 33 w 233"/>
                <a:gd name="T1" fmla="*/ 171 h 218"/>
                <a:gd name="T2" fmla="*/ 56 w 233"/>
                <a:gd name="T3" fmla="*/ 33 h 218"/>
                <a:gd name="T4" fmla="*/ 200 w 233"/>
                <a:gd name="T5" fmla="*/ 53 h 218"/>
                <a:gd name="T6" fmla="*/ 173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10"/>
                    <a:pt x="200" y="53"/>
                  </a:cubicBezTo>
                  <a:cubicBezTo>
                    <a:pt x="233" y="97"/>
                    <a:pt x="219" y="153"/>
                    <a:pt x="173" y="186"/>
                  </a:cubicBezTo>
                  <a:cubicBezTo>
                    <a:pt x="128" y="218"/>
                    <a:pt x="67" y="215"/>
                    <a:pt x="33"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4" name="Freeform 175">
              <a:extLst>
                <a:ext uri="{FF2B5EF4-FFF2-40B4-BE49-F238E27FC236}">
                  <a16:creationId xmlns:a16="http://schemas.microsoft.com/office/drawing/2014/main" id="{B4A6BC16-4BB9-40CB-A252-9611593F5984}"/>
                </a:ext>
              </a:extLst>
            </p:cNvPr>
            <p:cNvSpPr>
              <a:spLocks/>
            </p:cNvSpPr>
            <p:nvPr/>
          </p:nvSpPr>
          <p:spPr bwMode="auto">
            <a:xfrm>
              <a:off x="9713913" y="2873375"/>
              <a:ext cx="342900" cy="258763"/>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8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8"/>
                    <a:pt x="0" y="8"/>
                    <a:pt x="0" y="8"/>
                  </a:cubicBezTo>
                  <a:cubicBezTo>
                    <a:pt x="0" y="6"/>
                    <a:pt x="2" y="4"/>
                    <a:pt x="5" y="4"/>
                  </a:cubicBezTo>
                  <a:cubicBezTo>
                    <a:pt x="5" y="4"/>
                    <a:pt x="85" y="0"/>
                    <a:pt x="118" y="4"/>
                  </a:cubicBezTo>
                  <a:cubicBezTo>
                    <a:pt x="115" y="28"/>
                    <a:pt x="118" y="84"/>
                    <a:pt x="118" y="8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5" name="Freeform 176">
              <a:extLst>
                <a:ext uri="{FF2B5EF4-FFF2-40B4-BE49-F238E27FC236}">
                  <a16:creationId xmlns:a16="http://schemas.microsoft.com/office/drawing/2014/main" id="{F001D5A8-87D1-47D1-A00B-C19EF826A65F}"/>
                </a:ext>
              </a:extLst>
            </p:cNvPr>
            <p:cNvSpPr>
              <a:spLocks/>
            </p:cNvSpPr>
            <p:nvPr/>
          </p:nvSpPr>
          <p:spPr bwMode="auto">
            <a:xfrm>
              <a:off x="9742488" y="2901950"/>
              <a:ext cx="282575" cy="209550"/>
            </a:xfrm>
            <a:custGeom>
              <a:avLst/>
              <a:gdLst>
                <a:gd name="T0" fmla="*/ 93 w 97"/>
                <a:gd name="T1" fmla="*/ 72 h 72"/>
                <a:gd name="T2" fmla="*/ 5 w 97"/>
                <a:gd name="T3" fmla="*/ 72 h 72"/>
                <a:gd name="T4" fmla="*/ 0 w 97"/>
                <a:gd name="T5" fmla="*/ 67 h 72"/>
                <a:gd name="T6" fmla="*/ 0 w 97"/>
                <a:gd name="T7" fmla="*/ 9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69"/>
                    <a:pt x="0" y="67"/>
                  </a:cubicBezTo>
                  <a:cubicBezTo>
                    <a:pt x="0" y="9"/>
                    <a:pt x="0" y="9"/>
                    <a:pt x="0" y="9"/>
                  </a:cubicBezTo>
                  <a:cubicBezTo>
                    <a:pt x="0" y="7"/>
                    <a:pt x="3" y="5"/>
                    <a:pt x="5" y="5"/>
                  </a:cubicBezTo>
                  <a:cubicBezTo>
                    <a:pt x="5" y="5"/>
                    <a:pt x="67" y="0"/>
                    <a:pt x="97" y="5"/>
                  </a:cubicBezTo>
                  <a:cubicBezTo>
                    <a:pt x="94" y="28"/>
                    <a:pt x="97" y="67"/>
                    <a:pt x="97" y="67"/>
                  </a:cubicBezTo>
                  <a:cubicBezTo>
                    <a:pt x="97" y="69"/>
                    <a:pt x="95" y="72"/>
                    <a:pt x="93" y="72"/>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6" name="Freeform 177">
              <a:extLst>
                <a:ext uri="{FF2B5EF4-FFF2-40B4-BE49-F238E27FC236}">
                  <a16:creationId xmlns:a16="http://schemas.microsoft.com/office/drawing/2014/main" id="{140FCA8C-DD13-4FB3-AF92-ADA7CB3E045E}"/>
                </a:ext>
              </a:extLst>
            </p:cNvPr>
            <p:cNvSpPr>
              <a:spLocks/>
            </p:cNvSpPr>
            <p:nvPr/>
          </p:nvSpPr>
          <p:spPr bwMode="auto">
            <a:xfrm>
              <a:off x="9682163" y="3117850"/>
              <a:ext cx="403225" cy="42863"/>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7" name="Freeform 178">
              <a:extLst>
                <a:ext uri="{FF2B5EF4-FFF2-40B4-BE49-F238E27FC236}">
                  <a16:creationId xmlns:a16="http://schemas.microsoft.com/office/drawing/2014/main" id="{239CC8C5-8EF3-49C1-A28B-7B5EC3D10EF3}"/>
                </a:ext>
              </a:extLst>
            </p:cNvPr>
            <p:cNvSpPr>
              <a:spLocks/>
            </p:cNvSpPr>
            <p:nvPr/>
          </p:nvSpPr>
          <p:spPr bwMode="auto">
            <a:xfrm>
              <a:off x="9867901" y="3132138"/>
              <a:ext cx="34925" cy="14288"/>
            </a:xfrm>
            <a:custGeom>
              <a:avLst/>
              <a:gdLst>
                <a:gd name="T0" fmla="*/ 0 w 12"/>
                <a:gd name="T1" fmla="*/ 3 h 5"/>
                <a:gd name="T2" fmla="*/ 2 w 12"/>
                <a:gd name="T3" fmla="*/ 0 h 5"/>
                <a:gd name="T4" fmla="*/ 9 w 12"/>
                <a:gd name="T5" fmla="*/ 0 h 5"/>
                <a:gd name="T6" fmla="*/ 12 w 12"/>
                <a:gd name="T7" fmla="*/ 3 h 5"/>
                <a:gd name="T8" fmla="*/ 9 w 12"/>
                <a:gd name="T9" fmla="*/ 5 h 5"/>
                <a:gd name="T10" fmla="*/ 2 w 12"/>
                <a:gd name="T11" fmla="*/ 5 h 5"/>
                <a:gd name="T12" fmla="*/ 0 w 12"/>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3"/>
                  </a:moveTo>
                  <a:cubicBezTo>
                    <a:pt x="0" y="1"/>
                    <a:pt x="1" y="0"/>
                    <a:pt x="2" y="0"/>
                  </a:cubicBezTo>
                  <a:cubicBezTo>
                    <a:pt x="9" y="0"/>
                    <a:pt x="9" y="0"/>
                    <a:pt x="9" y="0"/>
                  </a:cubicBezTo>
                  <a:cubicBezTo>
                    <a:pt x="11" y="0"/>
                    <a:pt x="12" y="1"/>
                    <a:pt x="12" y="3"/>
                  </a:cubicBezTo>
                  <a:cubicBezTo>
                    <a:pt x="12" y="4"/>
                    <a:pt x="11" y="5"/>
                    <a:pt x="9" y="5"/>
                  </a:cubicBezTo>
                  <a:cubicBezTo>
                    <a:pt x="2" y="5"/>
                    <a:pt x="2" y="5"/>
                    <a:pt x="2" y="5"/>
                  </a:cubicBezTo>
                  <a:cubicBezTo>
                    <a:pt x="1" y="5"/>
                    <a:pt x="0" y="4"/>
                    <a:pt x="0" y="3"/>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8" name="Freeform 179">
              <a:extLst>
                <a:ext uri="{FF2B5EF4-FFF2-40B4-BE49-F238E27FC236}">
                  <a16:creationId xmlns:a16="http://schemas.microsoft.com/office/drawing/2014/main" id="{EF6EE13D-B333-4F8B-8ACA-3830ACA840ED}"/>
                </a:ext>
              </a:extLst>
            </p:cNvPr>
            <p:cNvSpPr>
              <a:spLocks/>
            </p:cNvSpPr>
            <p:nvPr/>
          </p:nvSpPr>
          <p:spPr bwMode="auto">
            <a:xfrm>
              <a:off x="9780588" y="2943225"/>
              <a:ext cx="209550" cy="131763"/>
            </a:xfrm>
            <a:custGeom>
              <a:avLst/>
              <a:gdLst>
                <a:gd name="T0" fmla="*/ 70 w 72"/>
                <a:gd name="T1" fmla="*/ 21 h 45"/>
                <a:gd name="T2" fmla="*/ 52 w 72"/>
                <a:gd name="T3" fmla="*/ 12 h 45"/>
                <a:gd name="T4" fmla="*/ 33 w 72"/>
                <a:gd name="T5" fmla="*/ 1 h 45"/>
                <a:gd name="T6" fmla="*/ 15 w 72"/>
                <a:gd name="T7" fmla="*/ 15 h 45"/>
                <a:gd name="T8" fmla="*/ 0 w 72"/>
                <a:gd name="T9" fmla="*/ 27 h 45"/>
                <a:gd name="T10" fmla="*/ 0 w 72"/>
                <a:gd name="T11" fmla="*/ 27 h 45"/>
                <a:gd name="T12" fmla="*/ 29 w 72"/>
                <a:gd name="T13" fmla="*/ 41 h 45"/>
                <a:gd name="T14" fmla="*/ 29 w 72"/>
                <a:gd name="T15" fmla="*/ 41 h 45"/>
                <a:gd name="T16" fmla="*/ 63 w 72"/>
                <a:gd name="T17" fmla="*/ 34 h 45"/>
                <a:gd name="T18" fmla="*/ 70 w 72"/>
                <a:gd name="T19" fmla="*/ 35 h 45"/>
                <a:gd name="T20" fmla="*/ 70 w 72"/>
                <a:gd name="T21" fmla="*/ 2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45">
                  <a:moveTo>
                    <a:pt x="70" y="21"/>
                  </a:moveTo>
                  <a:cubicBezTo>
                    <a:pt x="67" y="14"/>
                    <a:pt x="60" y="10"/>
                    <a:pt x="52" y="12"/>
                  </a:cubicBezTo>
                  <a:cubicBezTo>
                    <a:pt x="52" y="12"/>
                    <a:pt x="47" y="0"/>
                    <a:pt x="33" y="1"/>
                  </a:cubicBezTo>
                  <a:cubicBezTo>
                    <a:pt x="22" y="1"/>
                    <a:pt x="16" y="9"/>
                    <a:pt x="15" y="15"/>
                  </a:cubicBezTo>
                  <a:cubicBezTo>
                    <a:pt x="9" y="14"/>
                    <a:pt x="0" y="18"/>
                    <a:pt x="0" y="27"/>
                  </a:cubicBezTo>
                  <a:cubicBezTo>
                    <a:pt x="0" y="27"/>
                    <a:pt x="0" y="27"/>
                    <a:pt x="0" y="27"/>
                  </a:cubicBezTo>
                  <a:cubicBezTo>
                    <a:pt x="1" y="45"/>
                    <a:pt x="24" y="42"/>
                    <a:pt x="29" y="41"/>
                  </a:cubicBezTo>
                  <a:cubicBezTo>
                    <a:pt x="29" y="41"/>
                    <a:pt x="29" y="41"/>
                    <a:pt x="29" y="41"/>
                  </a:cubicBezTo>
                  <a:cubicBezTo>
                    <a:pt x="36" y="41"/>
                    <a:pt x="49" y="34"/>
                    <a:pt x="63" y="34"/>
                  </a:cubicBezTo>
                  <a:cubicBezTo>
                    <a:pt x="65" y="34"/>
                    <a:pt x="68" y="35"/>
                    <a:pt x="70" y="35"/>
                  </a:cubicBezTo>
                  <a:cubicBezTo>
                    <a:pt x="71" y="32"/>
                    <a:pt x="72" y="27"/>
                    <a:pt x="70" y="2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739" name="Graphic 79">
            <a:extLst>
              <a:ext uri="{FF2B5EF4-FFF2-40B4-BE49-F238E27FC236}">
                <a16:creationId xmlns:a16="http://schemas.microsoft.com/office/drawing/2014/main" id="{4636F5DE-E822-4B46-8FEE-C6064F668EA1}"/>
              </a:ext>
              <a:ext uri="{C183D7F6-B498-43B3-948B-1728B52AA6E4}">
                <adec:decorative xmlns:adec="http://schemas.microsoft.com/office/drawing/2017/decorative" val="1"/>
              </a:ext>
            </a:extLst>
          </p:cNvPr>
          <p:cNvGrpSpPr>
            <a:grpSpLocks noChangeAspect="1"/>
          </p:cNvGrpSpPr>
          <p:nvPr/>
        </p:nvGrpSpPr>
        <p:grpSpPr>
          <a:xfrm>
            <a:off x="5426798" y="1229161"/>
            <a:ext cx="665280" cy="633600"/>
            <a:chOff x="5759439" y="3111405"/>
            <a:chExt cx="671794" cy="636316"/>
          </a:xfrm>
        </p:grpSpPr>
        <p:sp>
          <p:nvSpPr>
            <p:cNvPr id="740" name="Freeform 21">
              <a:extLst>
                <a:ext uri="{FF2B5EF4-FFF2-40B4-BE49-F238E27FC236}">
                  <a16:creationId xmlns:a16="http://schemas.microsoft.com/office/drawing/2014/main" id="{4398CD82-9A0E-4970-B4BD-DAA6B9FC776D}"/>
                </a:ext>
              </a:extLst>
            </p:cNvPr>
            <p:cNvSpPr/>
            <p:nvPr/>
          </p:nvSpPr>
          <p:spPr>
            <a:xfrm>
              <a:off x="5759439" y="3111405"/>
              <a:ext cx="671794" cy="636316"/>
            </a:xfrm>
            <a:custGeom>
              <a:avLst/>
              <a:gdLst>
                <a:gd name="connsiteX0" fmla="*/ 65140 w 671794"/>
                <a:gd name="connsiteY0" fmla="*/ 516719 h 636316"/>
                <a:gd name="connsiteX1" fmla="*/ 138612 w 671794"/>
                <a:gd name="connsiteY1" fmla="*/ 63973 h 636316"/>
                <a:gd name="connsiteX2" fmla="*/ 610825 w 671794"/>
                <a:gd name="connsiteY2" fmla="*/ 130317 h 636316"/>
                <a:gd name="connsiteX3" fmla="*/ 525028 w 671794"/>
                <a:gd name="connsiteY3" fmla="*/ 565813 h 636316"/>
                <a:gd name="connsiteX4" fmla="*/ 65140 w 671794"/>
                <a:gd name="connsiteY4" fmla="*/ 516340 h 636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794" h="636316">
                  <a:moveTo>
                    <a:pt x="65140" y="516719"/>
                  </a:moveTo>
                  <a:cubicBezTo>
                    <a:pt x="-45021" y="373323"/>
                    <a:pt x="-12125" y="170691"/>
                    <a:pt x="138612" y="63973"/>
                  </a:cubicBezTo>
                  <a:cubicBezTo>
                    <a:pt x="289348" y="-42745"/>
                    <a:pt x="500759" y="-12795"/>
                    <a:pt x="610825" y="130317"/>
                  </a:cubicBezTo>
                  <a:cubicBezTo>
                    <a:pt x="720891" y="273429"/>
                    <a:pt x="675765" y="459190"/>
                    <a:pt x="525028" y="565813"/>
                  </a:cubicBezTo>
                  <a:cubicBezTo>
                    <a:pt x="374292" y="672436"/>
                    <a:pt x="175206" y="659831"/>
                    <a:pt x="65140" y="516340"/>
                  </a:cubicBezTo>
                </a:path>
              </a:pathLst>
            </a:custGeom>
            <a:solidFill>
              <a:schemeClr val="accent1"/>
            </a:solidFill>
            <a:ln w="9391" cap="flat">
              <a:noFill/>
              <a:prstDash val="solid"/>
              <a:miter/>
            </a:ln>
          </p:spPr>
          <p:txBody>
            <a:bodyPr rtlCol="0" anchor="ctr"/>
            <a:lstStyle/>
            <a:p>
              <a:endParaRPr lang="fr-FR"/>
            </a:p>
          </p:txBody>
        </p:sp>
        <p:sp>
          <p:nvSpPr>
            <p:cNvPr id="741" name="Freeform 22">
              <a:extLst>
                <a:ext uri="{FF2B5EF4-FFF2-40B4-BE49-F238E27FC236}">
                  <a16:creationId xmlns:a16="http://schemas.microsoft.com/office/drawing/2014/main" id="{5B077A01-CD94-477A-A1AB-27C5F690A517}"/>
                </a:ext>
              </a:extLst>
            </p:cNvPr>
            <p:cNvSpPr/>
            <p:nvPr/>
          </p:nvSpPr>
          <p:spPr>
            <a:xfrm>
              <a:off x="5924540" y="3228306"/>
              <a:ext cx="299443" cy="414862"/>
            </a:xfrm>
            <a:custGeom>
              <a:avLst/>
              <a:gdLst>
                <a:gd name="connsiteX0" fmla="*/ 169185 w 299443"/>
                <a:gd name="connsiteY0" fmla="*/ 716 h 414862"/>
                <a:gd name="connsiteX1" fmla="*/ 49923 w 299443"/>
                <a:gd name="connsiteY1" fmla="*/ 3180 h 414862"/>
                <a:gd name="connsiteX2" fmla="*/ 56 w 299443"/>
                <a:gd name="connsiteY2" fmla="*/ 70376 h 414862"/>
                <a:gd name="connsiteX3" fmla="*/ 56 w 299443"/>
                <a:gd name="connsiteY3" fmla="*/ 102695 h 414862"/>
                <a:gd name="connsiteX4" fmla="*/ 18069 w 299443"/>
                <a:gd name="connsiteY4" fmla="*/ 405979 h 414862"/>
                <a:gd name="connsiteX5" fmla="*/ 230996 w 299443"/>
                <a:gd name="connsiteY5" fmla="*/ 413371 h 414862"/>
                <a:gd name="connsiteX6" fmla="*/ 299444 w 299443"/>
                <a:gd name="connsiteY6" fmla="*/ 336982 h 414862"/>
                <a:gd name="connsiteX7" fmla="*/ 299444 w 299443"/>
                <a:gd name="connsiteY7" fmla="*/ 51326 h 414862"/>
                <a:gd name="connsiteX8" fmla="*/ 169090 w 299443"/>
                <a:gd name="connsiteY8" fmla="*/ 716 h 41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443" h="414862">
                  <a:moveTo>
                    <a:pt x="169185" y="716"/>
                  </a:moveTo>
                  <a:cubicBezTo>
                    <a:pt x="129416" y="-768"/>
                    <a:pt x="89596" y="55"/>
                    <a:pt x="49923" y="3180"/>
                  </a:cubicBezTo>
                  <a:cubicBezTo>
                    <a:pt x="-2977" y="7824"/>
                    <a:pt x="-38" y="16923"/>
                    <a:pt x="56" y="70376"/>
                  </a:cubicBezTo>
                  <a:lnTo>
                    <a:pt x="56" y="102695"/>
                  </a:lnTo>
                  <a:cubicBezTo>
                    <a:pt x="1099" y="153779"/>
                    <a:pt x="-3072" y="373471"/>
                    <a:pt x="18069" y="405979"/>
                  </a:cubicBezTo>
                  <a:cubicBezTo>
                    <a:pt x="31247" y="410433"/>
                    <a:pt x="177622" y="418110"/>
                    <a:pt x="230996" y="413371"/>
                  </a:cubicBezTo>
                  <a:cubicBezTo>
                    <a:pt x="279535" y="409106"/>
                    <a:pt x="299444" y="400766"/>
                    <a:pt x="299444" y="336982"/>
                  </a:cubicBezTo>
                  <a:lnTo>
                    <a:pt x="299444" y="51326"/>
                  </a:lnTo>
                  <a:cubicBezTo>
                    <a:pt x="299444" y="2422"/>
                    <a:pt x="222559" y="3085"/>
                    <a:pt x="169090" y="716"/>
                  </a:cubicBezTo>
                </a:path>
              </a:pathLst>
            </a:custGeom>
            <a:solidFill>
              <a:schemeClr val="bg1"/>
            </a:solidFill>
            <a:ln w="9391" cap="flat">
              <a:noFill/>
              <a:prstDash val="solid"/>
              <a:miter/>
            </a:ln>
          </p:spPr>
          <p:txBody>
            <a:bodyPr rtlCol="0" anchor="ctr"/>
            <a:lstStyle/>
            <a:p>
              <a:endParaRPr lang="fr-FR"/>
            </a:p>
          </p:txBody>
        </p:sp>
        <p:sp>
          <p:nvSpPr>
            <p:cNvPr id="742" name="Freeform 23">
              <a:extLst>
                <a:ext uri="{FF2B5EF4-FFF2-40B4-BE49-F238E27FC236}">
                  <a16:creationId xmlns:a16="http://schemas.microsoft.com/office/drawing/2014/main" id="{FD92ABC9-7D02-4BDF-9449-53B80BD9731A}"/>
                </a:ext>
              </a:extLst>
            </p:cNvPr>
            <p:cNvSpPr/>
            <p:nvPr/>
          </p:nvSpPr>
          <p:spPr>
            <a:xfrm>
              <a:off x="5954857" y="3262711"/>
              <a:ext cx="239147" cy="314423"/>
            </a:xfrm>
            <a:custGeom>
              <a:avLst/>
              <a:gdLst>
                <a:gd name="connsiteX0" fmla="*/ 237746 w 239147"/>
                <a:gd name="connsiteY0" fmla="*/ 314424 h 314423"/>
                <a:gd name="connsiteX1" fmla="*/ 4531 w 239147"/>
                <a:gd name="connsiteY1" fmla="*/ 308737 h 314423"/>
                <a:gd name="connsiteX2" fmla="*/ 1403 w 239147"/>
                <a:gd name="connsiteY2" fmla="*/ 2136 h 314423"/>
                <a:gd name="connsiteX3" fmla="*/ 237841 w 239147"/>
                <a:gd name="connsiteY3" fmla="*/ 10950 h 314423"/>
                <a:gd name="connsiteX4" fmla="*/ 237841 w 239147"/>
                <a:gd name="connsiteY4" fmla="*/ 314234 h 314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47" h="314423">
                  <a:moveTo>
                    <a:pt x="237746" y="314424"/>
                  </a:moveTo>
                  <a:lnTo>
                    <a:pt x="4531" y="308737"/>
                  </a:lnTo>
                  <a:cubicBezTo>
                    <a:pt x="4531" y="308737"/>
                    <a:pt x="-3053" y="103641"/>
                    <a:pt x="1403" y="2136"/>
                  </a:cubicBezTo>
                  <a:cubicBezTo>
                    <a:pt x="60275" y="-4309"/>
                    <a:pt x="181528" y="5359"/>
                    <a:pt x="237841" y="10950"/>
                  </a:cubicBezTo>
                  <a:cubicBezTo>
                    <a:pt x="240780" y="148186"/>
                    <a:pt x="237841" y="314234"/>
                    <a:pt x="237841" y="314234"/>
                  </a:cubicBezTo>
                </a:path>
              </a:pathLst>
            </a:custGeom>
            <a:solidFill>
              <a:schemeClr val="accent1"/>
            </a:solidFill>
            <a:ln w="9391" cap="flat">
              <a:noFill/>
              <a:prstDash val="solid"/>
              <a:miter/>
            </a:ln>
          </p:spPr>
          <p:txBody>
            <a:bodyPr rtlCol="0" anchor="ctr"/>
            <a:lstStyle/>
            <a:p>
              <a:endParaRPr lang="fr-FR"/>
            </a:p>
          </p:txBody>
        </p:sp>
        <p:sp>
          <p:nvSpPr>
            <p:cNvPr id="743" name="Freeform 24">
              <a:extLst>
                <a:ext uri="{FF2B5EF4-FFF2-40B4-BE49-F238E27FC236}">
                  <a16:creationId xmlns:a16="http://schemas.microsoft.com/office/drawing/2014/main" id="{BC8F9007-DB99-460D-AC90-40A8FD7F1AFF}"/>
                </a:ext>
              </a:extLst>
            </p:cNvPr>
            <p:cNvSpPr/>
            <p:nvPr/>
          </p:nvSpPr>
          <p:spPr>
            <a:xfrm>
              <a:off x="6159328" y="3586233"/>
              <a:ext cx="163534" cy="141974"/>
            </a:xfrm>
            <a:custGeom>
              <a:avLst/>
              <a:gdLst>
                <a:gd name="connsiteX0" fmla="*/ 0 w 163534"/>
                <a:gd name="connsiteY0" fmla="*/ 45587 h 141974"/>
                <a:gd name="connsiteX1" fmla="*/ 26734 w 163534"/>
                <a:gd name="connsiteY1" fmla="*/ 141975 h 141974"/>
                <a:gd name="connsiteX2" fmla="*/ 163535 w 163534"/>
                <a:gd name="connsiteY2" fmla="*/ 60372 h 141974"/>
                <a:gd name="connsiteX3" fmla="*/ 146186 w 163534"/>
                <a:gd name="connsiteY3" fmla="*/ 0 h 141974"/>
              </a:gdLst>
              <a:ahLst/>
              <a:cxnLst>
                <a:cxn ang="0">
                  <a:pos x="connsiteX0" y="connsiteY0"/>
                </a:cxn>
                <a:cxn ang="0">
                  <a:pos x="connsiteX1" y="connsiteY1"/>
                </a:cxn>
                <a:cxn ang="0">
                  <a:pos x="connsiteX2" y="connsiteY2"/>
                </a:cxn>
                <a:cxn ang="0">
                  <a:pos x="connsiteX3" y="connsiteY3"/>
                </a:cxn>
              </a:cxnLst>
              <a:rect l="l" t="t" r="r" b="b"/>
              <a:pathLst>
                <a:path w="163534" h="141974">
                  <a:moveTo>
                    <a:pt x="0" y="45587"/>
                  </a:moveTo>
                  <a:lnTo>
                    <a:pt x="26734" y="141975"/>
                  </a:lnTo>
                  <a:cubicBezTo>
                    <a:pt x="77393" y="124319"/>
                    <a:pt x="123935" y="96557"/>
                    <a:pt x="163535" y="60372"/>
                  </a:cubicBezTo>
                  <a:lnTo>
                    <a:pt x="146186" y="0"/>
                  </a:lnTo>
                  <a:close/>
                </a:path>
              </a:pathLst>
            </a:custGeom>
            <a:solidFill>
              <a:schemeClr val="bg1"/>
            </a:solidFill>
            <a:ln w="9391" cap="flat">
              <a:noFill/>
              <a:prstDash val="solid"/>
              <a:miter/>
            </a:ln>
          </p:spPr>
          <p:txBody>
            <a:bodyPr rtlCol="0" anchor="ctr"/>
            <a:lstStyle/>
            <a:p>
              <a:endParaRPr lang="fr-FR"/>
            </a:p>
          </p:txBody>
        </p:sp>
        <p:sp>
          <p:nvSpPr>
            <p:cNvPr id="744" name="Freeform 25">
              <a:extLst>
                <a:ext uri="{FF2B5EF4-FFF2-40B4-BE49-F238E27FC236}">
                  <a16:creationId xmlns:a16="http://schemas.microsoft.com/office/drawing/2014/main" id="{5F93411A-A339-4B44-867D-F8639B099EA5}"/>
                </a:ext>
              </a:extLst>
            </p:cNvPr>
            <p:cNvSpPr/>
            <p:nvPr/>
          </p:nvSpPr>
          <p:spPr>
            <a:xfrm>
              <a:off x="6066861" y="3326037"/>
              <a:ext cx="225447" cy="311669"/>
            </a:xfrm>
            <a:custGeom>
              <a:avLst/>
              <a:gdLst>
                <a:gd name="connsiteX0" fmla="*/ 1267 w 225447"/>
                <a:gd name="connsiteY0" fmla="*/ 182101 h 311669"/>
                <a:gd name="connsiteX1" fmla="*/ 26105 w 225447"/>
                <a:gd name="connsiteY1" fmla="*/ 232332 h 311669"/>
                <a:gd name="connsiteX2" fmla="*/ 92467 w 225447"/>
                <a:gd name="connsiteY2" fmla="*/ 307110 h 311669"/>
                <a:gd name="connsiteX3" fmla="*/ 225191 w 225447"/>
                <a:gd name="connsiteY3" fmla="*/ 266357 h 311669"/>
                <a:gd name="connsiteX4" fmla="*/ 221778 w 225447"/>
                <a:gd name="connsiteY4" fmla="*/ 146370 h 311669"/>
                <a:gd name="connsiteX5" fmla="*/ 195423 w 225447"/>
                <a:gd name="connsiteY5" fmla="*/ 121539 h 311669"/>
                <a:gd name="connsiteX6" fmla="*/ 175419 w 225447"/>
                <a:gd name="connsiteY6" fmla="*/ 107796 h 311669"/>
                <a:gd name="connsiteX7" fmla="*/ 147737 w 225447"/>
                <a:gd name="connsiteY7" fmla="*/ 112630 h 311669"/>
                <a:gd name="connsiteX8" fmla="*/ 117116 w 225447"/>
                <a:gd name="connsiteY8" fmla="*/ 96233 h 311669"/>
                <a:gd name="connsiteX9" fmla="*/ 92467 w 225447"/>
                <a:gd name="connsiteY9" fmla="*/ 107322 h 311669"/>
                <a:gd name="connsiteX10" fmla="*/ 72274 w 225447"/>
                <a:gd name="connsiteY10" fmla="*/ 70454 h 311669"/>
                <a:gd name="connsiteX11" fmla="*/ 60992 w 225447"/>
                <a:gd name="connsiteY11" fmla="*/ 44486 h 311669"/>
                <a:gd name="connsiteX12" fmla="*/ 39472 w 225447"/>
                <a:gd name="connsiteY12" fmla="*/ 5438 h 311669"/>
                <a:gd name="connsiteX13" fmla="*/ 14823 w 225447"/>
                <a:gd name="connsiteY13" fmla="*/ 36714 h 311669"/>
                <a:gd name="connsiteX14" fmla="*/ 63742 w 225447"/>
                <a:gd name="connsiteY14" fmla="*/ 202477 h 311669"/>
                <a:gd name="connsiteX15" fmla="*/ 40894 w 225447"/>
                <a:gd name="connsiteY15" fmla="*/ 180016 h 311669"/>
                <a:gd name="connsiteX16" fmla="*/ 21934 w 225447"/>
                <a:gd name="connsiteY16" fmla="*/ 137840 h 311669"/>
                <a:gd name="connsiteX17" fmla="*/ 982 w 225447"/>
                <a:gd name="connsiteY17" fmla="*/ 182385 h 31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5447" h="311669">
                  <a:moveTo>
                    <a:pt x="1267" y="182101"/>
                  </a:moveTo>
                  <a:cubicBezTo>
                    <a:pt x="-4990" y="198402"/>
                    <a:pt x="13307" y="210533"/>
                    <a:pt x="26105" y="232332"/>
                  </a:cubicBezTo>
                  <a:cubicBezTo>
                    <a:pt x="41463" y="258964"/>
                    <a:pt x="57200" y="270242"/>
                    <a:pt x="92467" y="307110"/>
                  </a:cubicBezTo>
                  <a:cubicBezTo>
                    <a:pt x="113039" y="328245"/>
                    <a:pt x="209548" y="269200"/>
                    <a:pt x="225191" y="266357"/>
                  </a:cubicBezTo>
                  <a:cubicBezTo>
                    <a:pt x="219029" y="227309"/>
                    <a:pt x="231069" y="211386"/>
                    <a:pt x="221778" y="146370"/>
                  </a:cubicBezTo>
                  <a:cubicBezTo>
                    <a:pt x="218175" y="120496"/>
                    <a:pt x="204334" y="121633"/>
                    <a:pt x="195423" y="121539"/>
                  </a:cubicBezTo>
                  <a:cubicBezTo>
                    <a:pt x="186511" y="121444"/>
                    <a:pt x="188123" y="112061"/>
                    <a:pt x="175419" y="107796"/>
                  </a:cubicBezTo>
                  <a:cubicBezTo>
                    <a:pt x="162716" y="103531"/>
                    <a:pt x="156459" y="111492"/>
                    <a:pt x="147737" y="112630"/>
                  </a:cubicBezTo>
                  <a:cubicBezTo>
                    <a:pt x="135792" y="114146"/>
                    <a:pt x="136361" y="92632"/>
                    <a:pt x="117116" y="96233"/>
                  </a:cubicBezTo>
                  <a:cubicBezTo>
                    <a:pt x="104412" y="98698"/>
                    <a:pt x="97492" y="107227"/>
                    <a:pt x="92467" y="107322"/>
                  </a:cubicBezTo>
                  <a:cubicBezTo>
                    <a:pt x="87442" y="107417"/>
                    <a:pt x="81944" y="101825"/>
                    <a:pt x="72274" y="70454"/>
                  </a:cubicBezTo>
                  <a:cubicBezTo>
                    <a:pt x="69078" y="61564"/>
                    <a:pt x="65310" y="52889"/>
                    <a:pt x="60992" y="44486"/>
                  </a:cubicBezTo>
                  <a:cubicBezTo>
                    <a:pt x="55932" y="30413"/>
                    <a:pt x="48668" y="17233"/>
                    <a:pt x="39472" y="5438"/>
                  </a:cubicBezTo>
                  <a:cubicBezTo>
                    <a:pt x="25347" y="-7073"/>
                    <a:pt x="4206" y="1457"/>
                    <a:pt x="14823" y="36714"/>
                  </a:cubicBezTo>
                  <a:cubicBezTo>
                    <a:pt x="25441" y="71971"/>
                    <a:pt x="72369" y="193000"/>
                    <a:pt x="63742" y="202477"/>
                  </a:cubicBezTo>
                  <a:cubicBezTo>
                    <a:pt x="48573" y="190820"/>
                    <a:pt x="53029" y="189588"/>
                    <a:pt x="40894" y="180016"/>
                  </a:cubicBezTo>
                  <a:cubicBezTo>
                    <a:pt x="38998" y="174992"/>
                    <a:pt x="48668" y="143527"/>
                    <a:pt x="21934" y="137840"/>
                  </a:cubicBezTo>
                  <a:cubicBezTo>
                    <a:pt x="15013" y="142863"/>
                    <a:pt x="7334" y="165704"/>
                    <a:pt x="982" y="182385"/>
                  </a:cubicBezTo>
                </a:path>
              </a:pathLst>
            </a:custGeom>
            <a:solidFill>
              <a:srgbClr val="FFFFFF"/>
            </a:solidFill>
            <a:ln w="9391" cap="flat">
              <a:noFill/>
              <a:prstDash val="solid"/>
              <a:miter/>
            </a:ln>
          </p:spPr>
          <p:txBody>
            <a:bodyPr rtlCol="0" anchor="ctr"/>
            <a:lstStyle/>
            <a:p>
              <a:endParaRPr lang="fr-FR"/>
            </a:p>
          </p:txBody>
        </p:sp>
        <p:sp>
          <p:nvSpPr>
            <p:cNvPr id="745" name="Freeform 26">
              <a:extLst>
                <a:ext uri="{FF2B5EF4-FFF2-40B4-BE49-F238E27FC236}">
                  <a16:creationId xmlns:a16="http://schemas.microsoft.com/office/drawing/2014/main" id="{12C6629B-23F0-4DB1-99E6-50CDCC10F2DB}"/>
                </a:ext>
              </a:extLst>
            </p:cNvPr>
            <p:cNvSpPr/>
            <p:nvPr/>
          </p:nvSpPr>
          <p:spPr>
            <a:xfrm>
              <a:off x="6045470" y="3588601"/>
              <a:ext cx="37352" cy="37087"/>
            </a:xfrm>
            <a:custGeom>
              <a:avLst/>
              <a:gdLst>
                <a:gd name="connsiteX0" fmla="*/ 0 w 37352"/>
                <a:gd name="connsiteY0" fmla="*/ 19810 h 37087"/>
                <a:gd name="connsiteX1" fmla="*/ 19909 w 37352"/>
                <a:gd name="connsiteY1" fmla="*/ 37059 h 37087"/>
                <a:gd name="connsiteX2" fmla="*/ 37350 w 37352"/>
                <a:gd name="connsiteY2" fmla="*/ 20192 h 37087"/>
                <a:gd name="connsiteX3" fmla="*/ 37258 w 37352"/>
                <a:gd name="connsiteY3" fmla="*/ 18104 h 37087"/>
                <a:gd name="connsiteX4" fmla="*/ 17349 w 37352"/>
                <a:gd name="connsiteY4" fmla="*/ 2 h 37087"/>
                <a:gd name="connsiteX5" fmla="*/ 29 w 37352"/>
                <a:gd name="connsiteY5" fmla="*/ 18858 h 37087"/>
                <a:gd name="connsiteX6" fmla="*/ 95 w 37352"/>
                <a:gd name="connsiteY6" fmla="*/ 19810 h 37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52" h="37087">
                  <a:moveTo>
                    <a:pt x="0" y="19810"/>
                  </a:moveTo>
                  <a:cubicBezTo>
                    <a:pt x="905" y="29982"/>
                    <a:pt x="9708" y="37610"/>
                    <a:pt x="19909" y="37059"/>
                  </a:cubicBezTo>
                  <a:cubicBezTo>
                    <a:pt x="29384" y="37216"/>
                    <a:pt x="37193" y="29664"/>
                    <a:pt x="37350" y="20192"/>
                  </a:cubicBezTo>
                  <a:cubicBezTo>
                    <a:pt x="37362" y="19494"/>
                    <a:pt x="37331" y="18797"/>
                    <a:pt x="37258" y="18104"/>
                  </a:cubicBezTo>
                  <a:cubicBezTo>
                    <a:pt x="36411" y="7777"/>
                    <a:pt x="27713" y="-133"/>
                    <a:pt x="17349" y="2"/>
                  </a:cubicBezTo>
                  <a:cubicBezTo>
                    <a:pt x="7358" y="427"/>
                    <a:pt x="-397" y="8870"/>
                    <a:pt x="29" y="18858"/>
                  </a:cubicBezTo>
                  <a:cubicBezTo>
                    <a:pt x="43" y="19176"/>
                    <a:pt x="65" y="19493"/>
                    <a:pt x="95" y="19810"/>
                  </a:cubicBezTo>
                </a:path>
              </a:pathLst>
            </a:custGeom>
            <a:solidFill>
              <a:schemeClr val="accent1"/>
            </a:solidFill>
            <a:ln w="9391" cap="flat">
              <a:noFill/>
              <a:prstDash val="solid"/>
              <a:miter/>
            </a:ln>
          </p:spPr>
          <p:txBody>
            <a:bodyPr rtlCol="0" anchor="ctr"/>
            <a:lstStyle/>
            <a:p>
              <a:endParaRPr lang="fr-FR"/>
            </a:p>
          </p:txBody>
        </p:sp>
      </p:grpSp>
      <p:grpSp>
        <p:nvGrpSpPr>
          <p:cNvPr id="746" name="Graphic 111">
            <a:extLst>
              <a:ext uri="{FF2B5EF4-FFF2-40B4-BE49-F238E27FC236}">
                <a16:creationId xmlns:a16="http://schemas.microsoft.com/office/drawing/2014/main" id="{428D3CAC-01F3-4134-8FB5-E6B4B4CE6FDE}"/>
              </a:ext>
              <a:ext uri="{C183D7F6-B498-43B3-948B-1728B52AA6E4}">
                <adec:decorative xmlns:adec="http://schemas.microsoft.com/office/drawing/2017/decorative" val="1"/>
              </a:ext>
            </a:extLst>
          </p:cNvPr>
          <p:cNvGrpSpPr>
            <a:grpSpLocks noChangeAspect="1"/>
          </p:cNvGrpSpPr>
          <p:nvPr/>
        </p:nvGrpSpPr>
        <p:grpSpPr>
          <a:xfrm>
            <a:off x="4282382" y="1229161"/>
            <a:ext cx="665280" cy="633600"/>
            <a:chOff x="5759439" y="3111405"/>
            <a:chExt cx="671794" cy="636285"/>
          </a:xfrm>
        </p:grpSpPr>
        <p:sp>
          <p:nvSpPr>
            <p:cNvPr id="747" name="Freeform 148">
              <a:extLst>
                <a:ext uri="{FF2B5EF4-FFF2-40B4-BE49-F238E27FC236}">
                  <a16:creationId xmlns:a16="http://schemas.microsoft.com/office/drawing/2014/main" id="{BBBD08B8-3F05-4238-9127-ED399E3CA24E}"/>
                </a:ext>
              </a:extLst>
            </p:cNvPr>
            <p:cNvSpPr/>
            <p:nvPr/>
          </p:nvSpPr>
          <p:spPr>
            <a:xfrm>
              <a:off x="5759439" y="3111405"/>
              <a:ext cx="671794" cy="636285"/>
            </a:xfrm>
            <a:custGeom>
              <a:avLst/>
              <a:gdLst>
                <a:gd name="connsiteX0" fmla="*/ 65140 w 671794"/>
                <a:gd name="connsiteY0" fmla="*/ 516719 h 636285"/>
                <a:gd name="connsiteX1" fmla="*/ 138612 w 671794"/>
                <a:gd name="connsiteY1" fmla="*/ 63973 h 636285"/>
                <a:gd name="connsiteX2" fmla="*/ 610825 w 671794"/>
                <a:gd name="connsiteY2" fmla="*/ 130317 h 636285"/>
                <a:gd name="connsiteX3" fmla="*/ 525028 w 671794"/>
                <a:gd name="connsiteY3" fmla="*/ 565813 h 636285"/>
                <a:gd name="connsiteX4" fmla="*/ 65140 w 671794"/>
                <a:gd name="connsiteY4" fmla="*/ 516340 h 636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794" h="636285">
                  <a:moveTo>
                    <a:pt x="65140" y="516719"/>
                  </a:moveTo>
                  <a:cubicBezTo>
                    <a:pt x="-45021" y="373323"/>
                    <a:pt x="-12125" y="170691"/>
                    <a:pt x="138612" y="63973"/>
                  </a:cubicBezTo>
                  <a:cubicBezTo>
                    <a:pt x="289348" y="-42745"/>
                    <a:pt x="500759" y="-12795"/>
                    <a:pt x="610825" y="130317"/>
                  </a:cubicBezTo>
                  <a:cubicBezTo>
                    <a:pt x="720891" y="273429"/>
                    <a:pt x="675765" y="459190"/>
                    <a:pt x="525028" y="565813"/>
                  </a:cubicBezTo>
                  <a:cubicBezTo>
                    <a:pt x="374292" y="672436"/>
                    <a:pt x="175206" y="659736"/>
                    <a:pt x="65140" y="516340"/>
                  </a:cubicBezTo>
                </a:path>
              </a:pathLst>
            </a:custGeom>
            <a:solidFill>
              <a:schemeClr val="accent1"/>
            </a:solidFill>
            <a:ln w="9391" cap="flat">
              <a:noFill/>
              <a:prstDash val="solid"/>
              <a:miter/>
            </a:ln>
          </p:spPr>
          <p:txBody>
            <a:bodyPr rtlCol="0" anchor="ctr"/>
            <a:lstStyle/>
            <a:p>
              <a:endParaRPr lang="fr-FR"/>
            </a:p>
          </p:txBody>
        </p:sp>
        <p:sp>
          <p:nvSpPr>
            <p:cNvPr id="748" name="Freeform 149">
              <a:extLst>
                <a:ext uri="{FF2B5EF4-FFF2-40B4-BE49-F238E27FC236}">
                  <a16:creationId xmlns:a16="http://schemas.microsoft.com/office/drawing/2014/main" id="{007DB57F-2356-4BDA-80ED-1C9EC80F0770}"/>
                </a:ext>
              </a:extLst>
            </p:cNvPr>
            <p:cNvSpPr/>
            <p:nvPr/>
          </p:nvSpPr>
          <p:spPr>
            <a:xfrm>
              <a:off x="5881205" y="3313088"/>
              <a:ext cx="447749" cy="250493"/>
            </a:xfrm>
            <a:custGeom>
              <a:avLst/>
              <a:gdLst>
                <a:gd name="connsiteX0" fmla="*/ 635 w 447749"/>
                <a:gd name="connsiteY0" fmla="*/ 177516 h 250493"/>
                <a:gd name="connsiteX1" fmla="*/ 3669 w 447749"/>
                <a:gd name="connsiteY1" fmla="*/ 68903 h 250493"/>
                <a:gd name="connsiteX2" fmla="*/ 85768 w 447749"/>
                <a:gd name="connsiteY2" fmla="*/ 0 h 250493"/>
                <a:gd name="connsiteX3" fmla="*/ 119707 w 447749"/>
                <a:gd name="connsiteY3" fmla="*/ 0 h 250493"/>
                <a:gd name="connsiteX4" fmla="*/ 438340 w 447749"/>
                <a:gd name="connsiteY4" fmla="*/ 5024 h 250493"/>
                <a:gd name="connsiteX5" fmla="*/ 446208 w 447749"/>
                <a:gd name="connsiteY5" fmla="*/ 178274 h 250493"/>
                <a:gd name="connsiteX6" fmla="*/ 365816 w 447749"/>
                <a:gd name="connsiteY6" fmla="*/ 250494 h 250493"/>
                <a:gd name="connsiteX7" fmla="*/ 65765 w 447749"/>
                <a:gd name="connsiteY7" fmla="*/ 250494 h 250493"/>
                <a:gd name="connsiteX8" fmla="*/ 635 w 447749"/>
                <a:gd name="connsiteY8" fmla="*/ 177895 h 25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749" h="250493">
                  <a:moveTo>
                    <a:pt x="635" y="177516"/>
                  </a:moveTo>
                  <a:cubicBezTo>
                    <a:pt x="-807" y="141285"/>
                    <a:pt x="207" y="104997"/>
                    <a:pt x="3669" y="68903"/>
                  </a:cubicBezTo>
                  <a:cubicBezTo>
                    <a:pt x="8598" y="13269"/>
                    <a:pt x="29645" y="-94"/>
                    <a:pt x="85768" y="0"/>
                  </a:cubicBezTo>
                  <a:lnTo>
                    <a:pt x="119707" y="0"/>
                  </a:lnTo>
                  <a:cubicBezTo>
                    <a:pt x="173366" y="1138"/>
                    <a:pt x="377761" y="8056"/>
                    <a:pt x="438340" y="5024"/>
                  </a:cubicBezTo>
                  <a:cubicBezTo>
                    <a:pt x="443080" y="18956"/>
                    <a:pt x="451138" y="122167"/>
                    <a:pt x="446208" y="178274"/>
                  </a:cubicBezTo>
                  <a:cubicBezTo>
                    <a:pt x="441658" y="229264"/>
                    <a:pt x="432936" y="250494"/>
                    <a:pt x="365816" y="250494"/>
                  </a:cubicBezTo>
                  <a:lnTo>
                    <a:pt x="65765" y="250494"/>
                  </a:lnTo>
                  <a:cubicBezTo>
                    <a:pt x="14381" y="250494"/>
                    <a:pt x="3290" y="234098"/>
                    <a:pt x="635" y="177895"/>
                  </a:cubicBezTo>
                </a:path>
              </a:pathLst>
            </a:custGeom>
            <a:solidFill>
              <a:schemeClr val="bg1"/>
            </a:solidFill>
            <a:ln w="9391" cap="flat">
              <a:noFill/>
              <a:prstDash val="solid"/>
              <a:miter/>
            </a:ln>
          </p:spPr>
          <p:txBody>
            <a:bodyPr rtlCol="0" anchor="ctr"/>
            <a:lstStyle/>
            <a:p>
              <a:endParaRPr lang="fr-FR"/>
            </a:p>
          </p:txBody>
        </p:sp>
        <p:sp>
          <p:nvSpPr>
            <p:cNvPr id="749" name="Freeform 150">
              <a:extLst>
                <a:ext uri="{FF2B5EF4-FFF2-40B4-BE49-F238E27FC236}">
                  <a16:creationId xmlns:a16="http://schemas.microsoft.com/office/drawing/2014/main" id="{49353D2F-8C2F-4CE3-8F5B-985B91E6D635}"/>
                </a:ext>
              </a:extLst>
            </p:cNvPr>
            <p:cNvSpPr/>
            <p:nvPr/>
          </p:nvSpPr>
          <p:spPr>
            <a:xfrm>
              <a:off x="5925445" y="3335410"/>
              <a:ext cx="311147" cy="205446"/>
            </a:xfrm>
            <a:custGeom>
              <a:avLst/>
              <a:gdLst>
                <a:gd name="connsiteX0" fmla="*/ 311147 w 311147"/>
                <a:gd name="connsiteY0" fmla="*/ 203719 h 205446"/>
                <a:gd name="connsiteX1" fmla="*/ 305269 w 311147"/>
                <a:gd name="connsiteY1" fmla="*/ 4689 h 205446"/>
                <a:gd name="connsiteX2" fmla="*/ 5977 w 311147"/>
                <a:gd name="connsiteY2" fmla="*/ 1467 h 205446"/>
                <a:gd name="connsiteX3" fmla="*/ 3417 w 311147"/>
                <a:gd name="connsiteY3" fmla="*/ 204098 h 205446"/>
                <a:gd name="connsiteX4" fmla="*/ 311147 w 311147"/>
                <a:gd name="connsiteY4" fmla="*/ 204098 h 205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47" h="205446">
                  <a:moveTo>
                    <a:pt x="311147" y="203719"/>
                  </a:moveTo>
                  <a:lnTo>
                    <a:pt x="305269" y="4689"/>
                  </a:lnTo>
                  <a:cubicBezTo>
                    <a:pt x="305269" y="4689"/>
                    <a:pt x="110260" y="-3177"/>
                    <a:pt x="5977" y="1467"/>
                  </a:cubicBezTo>
                  <a:cubicBezTo>
                    <a:pt x="-1019" y="68794"/>
                    <a:pt x="-1875" y="136617"/>
                    <a:pt x="3417" y="204098"/>
                  </a:cubicBezTo>
                  <a:cubicBezTo>
                    <a:pt x="144578" y="207131"/>
                    <a:pt x="311147" y="204098"/>
                    <a:pt x="311147" y="204098"/>
                  </a:cubicBezTo>
                </a:path>
              </a:pathLst>
            </a:custGeom>
            <a:solidFill>
              <a:schemeClr val="accent1"/>
            </a:solidFill>
            <a:ln w="9391" cap="flat">
              <a:noFill/>
              <a:prstDash val="solid"/>
              <a:miter/>
            </a:ln>
          </p:spPr>
          <p:txBody>
            <a:bodyPr rtlCol="0" anchor="ctr"/>
            <a:lstStyle/>
            <a:p>
              <a:endParaRPr lang="fr-FR"/>
            </a:p>
          </p:txBody>
        </p:sp>
        <p:sp>
          <p:nvSpPr>
            <p:cNvPr id="750" name="Freeform 151">
              <a:extLst>
                <a:ext uri="{FF2B5EF4-FFF2-40B4-BE49-F238E27FC236}">
                  <a16:creationId xmlns:a16="http://schemas.microsoft.com/office/drawing/2014/main" id="{65F0799C-2331-4106-9081-9FD4B36C4A45}"/>
                </a:ext>
              </a:extLst>
            </p:cNvPr>
            <p:cNvSpPr/>
            <p:nvPr/>
          </p:nvSpPr>
          <p:spPr>
            <a:xfrm>
              <a:off x="6256856" y="3416764"/>
              <a:ext cx="43764" cy="41412"/>
            </a:xfrm>
            <a:custGeom>
              <a:avLst/>
              <a:gdLst>
                <a:gd name="connsiteX0" fmla="*/ 43728 w 43764"/>
                <a:gd name="connsiteY0" fmla="*/ 22377 h 41412"/>
                <a:gd name="connsiteX1" fmla="*/ 20501 w 43764"/>
                <a:gd name="connsiteY1" fmla="*/ 41332 h 41412"/>
                <a:gd name="connsiteX2" fmla="*/ 20 w 43764"/>
                <a:gd name="connsiteY2" fmla="*/ 22610 h 41412"/>
                <a:gd name="connsiteX3" fmla="*/ 24 w 43764"/>
                <a:gd name="connsiteY3" fmla="*/ 20766 h 41412"/>
                <a:gd name="connsiteX4" fmla="*/ 23345 w 43764"/>
                <a:gd name="connsiteY4" fmla="*/ 10 h 41412"/>
                <a:gd name="connsiteX5" fmla="*/ 43762 w 43764"/>
                <a:gd name="connsiteY5" fmla="*/ 21105 h 41412"/>
                <a:gd name="connsiteX6" fmla="*/ 43728 w 43764"/>
                <a:gd name="connsiteY6" fmla="*/ 21998 h 4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64" h="41412">
                  <a:moveTo>
                    <a:pt x="43728" y="22377"/>
                  </a:moveTo>
                  <a:cubicBezTo>
                    <a:pt x="42387" y="33935"/>
                    <a:pt x="32097" y="42332"/>
                    <a:pt x="20501" y="41332"/>
                  </a:cubicBezTo>
                  <a:cubicBezTo>
                    <a:pt x="9674" y="41816"/>
                    <a:pt x="504" y="33434"/>
                    <a:pt x="20" y="22610"/>
                  </a:cubicBezTo>
                  <a:cubicBezTo>
                    <a:pt x="-8" y="21995"/>
                    <a:pt x="-6" y="21380"/>
                    <a:pt x="24" y="20766"/>
                  </a:cubicBezTo>
                  <a:cubicBezTo>
                    <a:pt x="1073" y="8765"/>
                    <a:pt x="11300" y="-337"/>
                    <a:pt x="23345" y="10"/>
                  </a:cubicBezTo>
                  <a:cubicBezTo>
                    <a:pt x="34810" y="199"/>
                    <a:pt x="43951" y="9643"/>
                    <a:pt x="43762" y="21105"/>
                  </a:cubicBezTo>
                  <a:cubicBezTo>
                    <a:pt x="43757" y="21403"/>
                    <a:pt x="43746" y="21700"/>
                    <a:pt x="43728" y="21998"/>
                  </a:cubicBezTo>
                </a:path>
              </a:pathLst>
            </a:custGeom>
            <a:solidFill>
              <a:schemeClr val="accent1"/>
            </a:solidFill>
            <a:ln w="9391" cap="flat">
              <a:noFill/>
              <a:prstDash val="solid"/>
              <a:miter/>
            </a:ln>
          </p:spPr>
          <p:txBody>
            <a:bodyPr rtlCol="0" anchor="ctr"/>
            <a:lstStyle/>
            <a:p>
              <a:endParaRPr lang="fr-FR"/>
            </a:p>
          </p:txBody>
        </p:sp>
      </p:grpSp>
      <p:sp>
        <p:nvSpPr>
          <p:cNvPr id="186" name="Rectangle 97">
            <a:extLst>
              <a:ext uri="{FF2B5EF4-FFF2-40B4-BE49-F238E27FC236}">
                <a16:creationId xmlns:a16="http://schemas.microsoft.com/office/drawing/2014/main" id="{8C240DB4-7A5F-4840-A9F7-B3EB91EAA541}"/>
              </a:ext>
              <a:ext uri="{C183D7F6-B498-43B3-948B-1728B52AA6E4}">
                <adec:decorative xmlns:adec="http://schemas.microsoft.com/office/drawing/2017/decorative" val="1"/>
              </a:ext>
            </a:extLst>
          </p:cNvPr>
          <p:cNvSpPr>
            <a:spLocks noChangeArrowheads="1"/>
          </p:cNvSpPr>
          <p:nvPr/>
        </p:nvSpPr>
        <p:spPr bwMode="auto">
          <a:xfrm>
            <a:off x="2228993" y="4442629"/>
            <a:ext cx="554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n-lt"/>
              </a:rPr>
              <a:t>Anti virus</a:t>
            </a:r>
            <a:endParaRPr kumimoji="0" lang="fr-FR" altLang="fr-FR" sz="900" b="0" i="0" u="none" strike="noStrike" cap="none" normalizeH="0" baseline="0">
              <a:ln>
                <a:noFill/>
              </a:ln>
              <a:solidFill>
                <a:schemeClr val="tx1"/>
              </a:solidFill>
              <a:effectLst/>
              <a:latin typeface="+mn-lt"/>
            </a:endParaRPr>
          </a:p>
        </p:txBody>
      </p:sp>
      <p:grpSp>
        <p:nvGrpSpPr>
          <p:cNvPr id="187" name="Groupe 591">
            <a:extLst>
              <a:ext uri="{FF2B5EF4-FFF2-40B4-BE49-F238E27FC236}">
                <a16:creationId xmlns:a16="http://schemas.microsoft.com/office/drawing/2014/main" id="{AA575035-BBDA-48E5-8B6F-9E97794C8951}"/>
              </a:ext>
              <a:ext uri="{C183D7F6-B498-43B3-948B-1728B52AA6E4}">
                <adec:decorative xmlns:adec="http://schemas.microsoft.com/office/drawing/2017/decorative" val="1"/>
              </a:ext>
            </a:extLst>
          </p:cNvPr>
          <p:cNvGrpSpPr>
            <a:grpSpLocks noChangeAspect="1"/>
          </p:cNvGrpSpPr>
          <p:nvPr/>
        </p:nvGrpSpPr>
        <p:grpSpPr>
          <a:xfrm>
            <a:off x="2186817" y="3600189"/>
            <a:ext cx="669900" cy="633600"/>
            <a:chOff x="10026651" y="4184651"/>
            <a:chExt cx="966788" cy="914400"/>
          </a:xfrm>
        </p:grpSpPr>
        <p:sp>
          <p:nvSpPr>
            <p:cNvPr id="188" name="Freeform 251">
              <a:extLst>
                <a:ext uri="{FF2B5EF4-FFF2-40B4-BE49-F238E27FC236}">
                  <a16:creationId xmlns:a16="http://schemas.microsoft.com/office/drawing/2014/main" id="{4C54A890-8D13-4B10-9E54-F0ADC0041100}"/>
                </a:ext>
              </a:extLst>
            </p:cNvPr>
            <p:cNvSpPr>
              <a:spLocks/>
            </p:cNvSpPr>
            <p:nvPr/>
          </p:nvSpPr>
          <p:spPr bwMode="auto">
            <a:xfrm>
              <a:off x="10026651" y="4184651"/>
              <a:ext cx="966788" cy="914400"/>
            </a:xfrm>
            <a:custGeom>
              <a:avLst/>
              <a:gdLst>
                <a:gd name="T0" fmla="*/ 41 w 286"/>
                <a:gd name="T1" fmla="*/ 211 h 270"/>
                <a:gd name="T2" fmla="*/ 68 w 286"/>
                <a:gd name="T3" fmla="*/ 41 h 270"/>
                <a:gd name="T4" fmla="*/ 245 w 286"/>
                <a:gd name="T5" fmla="*/ 65 h 270"/>
                <a:gd name="T6" fmla="*/ 213 w 286"/>
                <a:gd name="T7" fmla="*/ 229 h 270"/>
                <a:gd name="T8" fmla="*/ 41 w 286"/>
                <a:gd name="T9" fmla="*/ 211 h 270"/>
              </a:gdLst>
              <a:ahLst/>
              <a:cxnLst>
                <a:cxn ang="0">
                  <a:pos x="T0" y="T1"/>
                </a:cxn>
                <a:cxn ang="0">
                  <a:pos x="T2" y="T3"/>
                </a:cxn>
                <a:cxn ang="0">
                  <a:pos x="T4" y="T5"/>
                </a:cxn>
                <a:cxn ang="0">
                  <a:pos x="T6" y="T7"/>
                </a:cxn>
                <a:cxn ang="0">
                  <a:pos x="T8" y="T9"/>
                </a:cxn>
              </a:cxnLst>
              <a:rect l="0" t="0" r="r" b="b"/>
              <a:pathLst>
                <a:path w="286" h="270">
                  <a:moveTo>
                    <a:pt x="41" y="211"/>
                  </a:moveTo>
                  <a:cubicBezTo>
                    <a:pt x="0" y="157"/>
                    <a:pt x="12" y="81"/>
                    <a:pt x="68" y="41"/>
                  </a:cubicBezTo>
                  <a:cubicBezTo>
                    <a:pt x="125" y="0"/>
                    <a:pt x="204" y="12"/>
                    <a:pt x="245" y="65"/>
                  </a:cubicBezTo>
                  <a:cubicBezTo>
                    <a:pt x="286" y="120"/>
                    <a:pt x="269" y="189"/>
                    <a:pt x="213" y="229"/>
                  </a:cubicBezTo>
                  <a:cubicBezTo>
                    <a:pt x="156" y="270"/>
                    <a:pt x="82" y="264"/>
                    <a:pt x="41" y="211"/>
                  </a:cubicBezTo>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9" name="Groupe 593">
              <a:extLst>
                <a:ext uri="{FF2B5EF4-FFF2-40B4-BE49-F238E27FC236}">
                  <a16:creationId xmlns:a16="http://schemas.microsoft.com/office/drawing/2014/main" id="{688A6506-7C13-4A9A-BC7A-FDF6F22D4017}"/>
                </a:ext>
              </a:extLst>
            </p:cNvPr>
            <p:cNvGrpSpPr/>
            <p:nvPr/>
          </p:nvGrpSpPr>
          <p:grpSpPr>
            <a:xfrm>
              <a:off x="10293351" y="4424363"/>
              <a:ext cx="419100" cy="495300"/>
              <a:chOff x="10293351" y="4424363"/>
              <a:chExt cx="419100" cy="495300"/>
            </a:xfrm>
          </p:grpSpPr>
          <p:sp>
            <p:nvSpPr>
              <p:cNvPr id="190" name="Freeform 252">
                <a:extLst>
                  <a:ext uri="{FF2B5EF4-FFF2-40B4-BE49-F238E27FC236}">
                    <a16:creationId xmlns:a16="http://schemas.microsoft.com/office/drawing/2014/main" id="{A61481F1-66F7-4191-B20C-D2F96F1164AA}"/>
                  </a:ext>
                </a:extLst>
              </p:cNvPr>
              <p:cNvSpPr>
                <a:spLocks/>
              </p:cNvSpPr>
              <p:nvPr/>
            </p:nvSpPr>
            <p:spPr bwMode="auto">
              <a:xfrm>
                <a:off x="10293351" y="4424363"/>
                <a:ext cx="419100" cy="495300"/>
              </a:xfrm>
              <a:custGeom>
                <a:avLst/>
                <a:gdLst>
                  <a:gd name="T0" fmla="*/ 117 w 124"/>
                  <a:gd name="T1" fmla="*/ 19 h 146"/>
                  <a:gd name="T2" fmla="*/ 69 w 124"/>
                  <a:gd name="T3" fmla="*/ 2 h 146"/>
                  <a:gd name="T4" fmla="*/ 62 w 124"/>
                  <a:gd name="T5" fmla="*/ 0 h 146"/>
                  <a:gd name="T6" fmla="*/ 54 w 124"/>
                  <a:gd name="T7" fmla="*/ 2 h 146"/>
                  <a:gd name="T8" fmla="*/ 7 w 124"/>
                  <a:gd name="T9" fmla="*/ 19 h 146"/>
                  <a:gd name="T10" fmla="*/ 0 w 124"/>
                  <a:gd name="T11" fmla="*/ 28 h 146"/>
                  <a:gd name="T12" fmla="*/ 62 w 124"/>
                  <a:gd name="T13" fmla="*/ 146 h 146"/>
                  <a:gd name="T14" fmla="*/ 62 w 124"/>
                  <a:gd name="T15" fmla="*/ 146 h 146"/>
                  <a:gd name="T16" fmla="*/ 62 w 124"/>
                  <a:gd name="T17" fmla="*/ 146 h 146"/>
                  <a:gd name="T18" fmla="*/ 124 w 124"/>
                  <a:gd name="T19" fmla="*/ 28 h 146"/>
                  <a:gd name="T20" fmla="*/ 117 w 124"/>
                  <a:gd name="T21" fmla="*/ 1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46">
                    <a:moveTo>
                      <a:pt x="117" y="19"/>
                    </a:moveTo>
                    <a:cubicBezTo>
                      <a:pt x="96" y="15"/>
                      <a:pt x="79" y="7"/>
                      <a:pt x="69" y="2"/>
                    </a:cubicBezTo>
                    <a:cubicBezTo>
                      <a:pt x="67" y="1"/>
                      <a:pt x="64" y="0"/>
                      <a:pt x="62" y="0"/>
                    </a:cubicBezTo>
                    <a:cubicBezTo>
                      <a:pt x="59" y="0"/>
                      <a:pt x="57" y="1"/>
                      <a:pt x="54" y="2"/>
                    </a:cubicBezTo>
                    <a:cubicBezTo>
                      <a:pt x="45" y="7"/>
                      <a:pt x="28" y="15"/>
                      <a:pt x="7" y="19"/>
                    </a:cubicBezTo>
                    <a:cubicBezTo>
                      <a:pt x="3" y="20"/>
                      <a:pt x="0" y="24"/>
                      <a:pt x="0" y="28"/>
                    </a:cubicBezTo>
                    <a:cubicBezTo>
                      <a:pt x="2" y="144"/>
                      <a:pt x="58" y="146"/>
                      <a:pt x="62" y="146"/>
                    </a:cubicBezTo>
                    <a:cubicBezTo>
                      <a:pt x="62" y="146"/>
                      <a:pt x="62" y="146"/>
                      <a:pt x="62" y="146"/>
                    </a:cubicBezTo>
                    <a:cubicBezTo>
                      <a:pt x="62" y="146"/>
                      <a:pt x="62" y="146"/>
                      <a:pt x="62" y="146"/>
                    </a:cubicBezTo>
                    <a:cubicBezTo>
                      <a:pt x="66" y="146"/>
                      <a:pt x="122" y="144"/>
                      <a:pt x="124" y="28"/>
                    </a:cubicBezTo>
                    <a:cubicBezTo>
                      <a:pt x="124" y="24"/>
                      <a:pt x="121" y="20"/>
                      <a:pt x="117" y="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253">
                <a:extLst>
                  <a:ext uri="{FF2B5EF4-FFF2-40B4-BE49-F238E27FC236}">
                    <a16:creationId xmlns:a16="http://schemas.microsoft.com/office/drawing/2014/main" id="{3F18DC5A-F067-4442-803A-3914105E56B8}"/>
                  </a:ext>
                </a:extLst>
              </p:cNvPr>
              <p:cNvSpPr>
                <a:spLocks/>
              </p:cNvSpPr>
              <p:nvPr/>
            </p:nvSpPr>
            <p:spPr bwMode="auto">
              <a:xfrm>
                <a:off x="10514013" y="4478338"/>
                <a:ext cx="155575" cy="146050"/>
              </a:xfrm>
              <a:custGeom>
                <a:avLst/>
                <a:gdLst>
                  <a:gd name="T0" fmla="*/ 45 w 46"/>
                  <a:gd name="T1" fmla="*/ 16 h 43"/>
                  <a:gd name="T2" fmla="*/ 46 w 46"/>
                  <a:gd name="T3" fmla="*/ 17 h 43"/>
                  <a:gd name="T4" fmla="*/ 44 w 46"/>
                  <a:gd name="T5" fmla="*/ 43 h 43"/>
                  <a:gd name="T6" fmla="*/ 0 w 46"/>
                  <a:gd name="T7" fmla="*/ 43 h 43"/>
                  <a:gd name="T8" fmla="*/ 0 w 46"/>
                  <a:gd name="T9" fmla="*/ 0 h 43"/>
                  <a:gd name="T10" fmla="*/ 0 w 46"/>
                  <a:gd name="T11" fmla="*/ 0 h 43"/>
                  <a:gd name="T12" fmla="*/ 45 w 46"/>
                  <a:gd name="T13" fmla="*/ 16 h 43"/>
                </a:gdLst>
                <a:ahLst/>
                <a:cxnLst>
                  <a:cxn ang="0">
                    <a:pos x="T0" y="T1"/>
                  </a:cxn>
                  <a:cxn ang="0">
                    <a:pos x="T2" y="T3"/>
                  </a:cxn>
                  <a:cxn ang="0">
                    <a:pos x="T4" y="T5"/>
                  </a:cxn>
                  <a:cxn ang="0">
                    <a:pos x="T6" y="T7"/>
                  </a:cxn>
                  <a:cxn ang="0">
                    <a:pos x="T8" y="T9"/>
                  </a:cxn>
                  <a:cxn ang="0">
                    <a:pos x="T10" y="T11"/>
                  </a:cxn>
                  <a:cxn ang="0">
                    <a:pos x="T12" y="T13"/>
                  </a:cxn>
                </a:cxnLst>
                <a:rect l="0" t="0" r="r" b="b"/>
                <a:pathLst>
                  <a:path w="46" h="43">
                    <a:moveTo>
                      <a:pt x="45" y="16"/>
                    </a:moveTo>
                    <a:cubicBezTo>
                      <a:pt x="45" y="16"/>
                      <a:pt x="46" y="16"/>
                      <a:pt x="46" y="17"/>
                    </a:cubicBezTo>
                    <a:cubicBezTo>
                      <a:pt x="45" y="26"/>
                      <a:pt x="45" y="35"/>
                      <a:pt x="44" y="43"/>
                    </a:cubicBezTo>
                    <a:cubicBezTo>
                      <a:pt x="0" y="43"/>
                      <a:pt x="0" y="43"/>
                      <a:pt x="0" y="43"/>
                    </a:cubicBezTo>
                    <a:cubicBezTo>
                      <a:pt x="0" y="0"/>
                      <a:pt x="0" y="0"/>
                      <a:pt x="0" y="0"/>
                    </a:cubicBezTo>
                    <a:cubicBezTo>
                      <a:pt x="0" y="0"/>
                      <a:pt x="0" y="0"/>
                      <a:pt x="0" y="0"/>
                    </a:cubicBezTo>
                    <a:cubicBezTo>
                      <a:pt x="8" y="4"/>
                      <a:pt x="25" y="11"/>
                      <a:pt x="45" y="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254">
                <a:extLst>
                  <a:ext uri="{FF2B5EF4-FFF2-40B4-BE49-F238E27FC236}">
                    <a16:creationId xmlns:a16="http://schemas.microsoft.com/office/drawing/2014/main" id="{1C67B3BA-BBA2-4D9C-B172-0F20822FBC21}"/>
                  </a:ext>
                </a:extLst>
              </p:cNvPr>
              <p:cNvSpPr>
                <a:spLocks/>
              </p:cNvSpPr>
              <p:nvPr/>
            </p:nvSpPr>
            <p:spPr bwMode="auto">
              <a:xfrm>
                <a:off x="10337801" y="4478338"/>
                <a:ext cx="155575" cy="146050"/>
              </a:xfrm>
              <a:custGeom>
                <a:avLst/>
                <a:gdLst>
                  <a:gd name="T0" fmla="*/ 1 w 46"/>
                  <a:gd name="T1" fmla="*/ 16 h 43"/>
                  <a:gd name="T2" fmla="*/ 46 w 46"/>
                  <a:gd name="T3" fmla="*/ 0 h 43"/>
                  <a:gd name="T4" fmla="*/ 46 w 46"/>
                  <a:gd name="T5" fmla="*/ 0 h 43"/>
                  <a:gd name="T6" fmla="*/ 46 w 46"/>
                  <a:gd name="T7" fmla="*/ 43 h 43"/>
                  <a:gd name="T8" fmla="*/ 2 w 46"/>
                  <a:gd name="T9" fmla="*/ 43 h 43"/>
                  <a:gd name="T10" fmla="*/ 0 w 46"/>
                  <a:gd name="T11" fmla="*/ 17 h 43"/>
                  <a:gd name="T12" fmla="*/ 1 w 46"/>
                  <a:gd name="T13" fmla="*/ 16 h 43"/>
                </a:gdLst>
                <a:ahLst/>
                <a:cxnLst>
                  <a:cxn ang="0">
                    <a:pos x="T0" y="T1"/>
                  </a:cxn>
                  <a:cxn ang="0">
                    <a:pos x="T2" y="T3"/>
                  </a:cxn>
                  <a:cxn ang="0">
                    <a:pos x="T4" y="T5"/>
                  </a:cxn>
                  <a:cxn ang="0">
                    <a:pos x="T6" y="T7"/>
                  </a:cxn>
                  <a:cxn ang="0">
                    <a:pos x="T8" y="T9"/>
                  </a:cxn>
                  <a:cxn ang="0">
                    <a:pos x="T10" y="T11"/>
                  </a:cxn>
                  <a:cxn ang="0">
                    <a:pos x="T12" y="T13"/>
                  </a:cxn>
                </a:cxnLst>
                <a:rect l="0" t="0" r="r" b="b"/>
                <a:pathLst>
                  <a:path w="46" h="43">
                    <a:moveTo>
                      <a:pt x="1" y="16"/>
                    </a:moveTo>
                    <a:cubicBezTo>
                      <a:pt x="21" y="11"/>
                      <a:pt x="37" y="4"/>
                      <a:pt x="46" y="0"/>
                    </a:cubicBezTo>
                    <a:cubicBezTo>
                      <a:pt x="46" y="0"/>
                      <a:pt x="46" y="0"/>
                      <a:pt x="46" y="0"/>
                    </a:cubicBezTo>
                    <a:cubicBezTo>
                      <a:pt x="46" y="43"/>
                      <a:pt x="46" y="43"/>
                      <a:pt x="46" y="43"/>
                    </a:cubicBezTo>
                    <a:cubicBezTo>
                      <a:pt x="2" y="43"/>
                      <a:pt x="2" y="43"/>
                      <a:pt x="2" y="43"/>
                    </a:cubicBezTo>
                    <a:cubicBezTo>
                      <a:pt x="1" y="35"/>
                      <a:pt x="0" y="26"/>
                      <a:pt x="0" y="17"/>
                    </a:cubicBezTo>
                    <a:cubicBezTo>
                      <a:pt x="0" y="16"/>
                      <a:pt x="1" y="16"/>
                      <a:pt x="1" y="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255">
                <a:extLst>
                  <a:ext uri="{FF2B5EF4-FFF2-40B4-BE49-F238E27FC236}">
                    <a16:creationId xmlns:a16="http://schemas.microsoft.com/office/drawing/2014/main" id="{96291975-D21D-4DAE-88DB-0F134F79A27B}"/>
                  </a:ext>
                </a:extLst>
              </p:cNvPr>
              <p:cNvSpPr>
                <a:spLocks/>
              </p:cNvSpPr>
              <p:nvPr/>
            </p:nvSpPr>
            <p:spPr bwMode="auto">
              <a:xfrm>
                <a:off x="10347326" y="4648201"/>
                <a:ext cx="146050" cy="220663"/>
              </a:xfrm>
              <a:custGeom>
                <a:avLst/>
                <a:gdLst>
                  <a:gd name="T0" fmla="*/ 0 w 43"/>
                  <a:gd name="T1" fmla="*/ 0 h 65"/>
                  <a:gd name="T2" fmla="*/ 43 w 43"/>
                  <a:gd name="T3" fmla="*/ 0 h 65"/>
                  <a:gd name="T4" fmla="*/ 43 w 43"/>
                  <a:gd name="T5" fmla="*/ 65 h 65"/>
                  <a:gd name="T6" fmla="*/ 0 w 43"/>
                  <a:gd name="T7" fmla="*/ 0 h 65"/>
                </a:gdLst>
                <a:ahLst/>
                <a:cxnLst>
                  <a:cxn ang="0">
                    <a:pos x="T0" y="T1"/>
                  </a:cxn>
                  <a:cxn ang="0">
                    <a:pos x="T2" y="T3"/>
                  </a:cxn>
                  <a:cxn ang="0">
                    <a:pos x="T4" y="T5"/>
                  </a:cxn>
                  <a:cxn ang="0">
                    <a:pos x="T6" y="T7"/>
                  </a:cxn>
                </a:cxnLst>
                <a:rect l="0" t="0" r="r" b="b"/>
                <a:pathLst>
                  <a:path w="43" h="65">
                    <a:moveTo>
                      <a:pt x="0" y="0"/>
                    </a:moveTo>
                    <a:cubicBezTo>
                      <a:pt x="43" y="0"/>
                      <a:pt x="43" y="0"/>
                      <a:pt x="43" y="0"/>
                    </a:cubicBezTo>
                    <a:cubicBezTo>
                      <a:pt x="43" y="65"/>
                      <a:pt x="43" y="65"/>
                      <a:pt x="43" y="65"/>
                    </a:cubicBezTo>
                    <a:cubicBezTo>
                      <a:pt x="34" y="63"/>
                      <a:pt x="8" y="54"/>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56">
                <a:extLst>
                  <a:ext uri="{FF2B5EF4-FFF2-40B4-BE49-F238E27FC236}">
                    <a16:creationId xmlns:a16="http://schemas.microsoft.com/office/drawing/2014/main" id="{F241B40F-3CC2-473C-B1D0-FC18CC74CDB9}"/>
                  </a:ext>
                </a:extLst>
              </p:cNvPr>
              <p:cNvSpPr>
                <a:spLocks/>
              </p:cNvSpPr>
              <p:nvPr/>
            </p:nvSpPr>
            <p:spPr bwMode="auto">
              <a:xfrm>
                <a:off x="10514013" y="4648201"/>
                <a:ext cx="144463" cy="220663"/>
              </a:xfrm>
              <a:custGeom>
                <a:avLst/>
                <a:gdLst>
                  <a:gd name="T0" fmla="*/ 0 w 43"/>
                  <a:gd name="T1" fmla="*/ 65 h 65"/>
                  <a:gd name="T2" fmla="*/ 0 w 43"/>
                  <a:gd name="T3" fmla="*/ 0 h 65"/>
                  <a:gd name="T4" fmla="*/ 43 w 43"/>
                  <a:gd name="T5" fmla="*/ 0 h 65"/>
                  <a:gd name="T6" fmla="*/ 0 w 43"/>
                  <a:gd name="T7" fmla="*/ 65 h 65"/>
                </a:gdLst>
                <a:ahLst/>
                <a:cxnLst>
                  <a:cxn ang="0">
                    <a:pos x="T0" y="T1"/>
                  </a:cxn>
                  <a:cxn ang="0">
                    <a:pos x="T2" y="T3"/>
                  </a:cxn>
                  <a:cxn ang="0">
                    <a:pos x="T4" y="T5"/>
                  </a:cxn>
                  <a:cxn ang="0">
                    <a:pos x="T6" y="T7"/>
                  </a:cxn>
                </a:cxnLst>
                <a:rect l="0" t="0" r="r" b="b"/>
                <a:pathLst>
                  <a:path w="43" h="65">
                    <a:moveTo>
                      <a:pt x="0" y="65"/>
                    </a:moveTo>
                    <a:cubicBezTo>
                      <a:pt x="0" y="0"/>
                      <a:pt x="0" y="0"/>
                      <a:pt x="0" y="0"/>
                    </a:cubicBezTo>
                    <a:cubicBezTo>
                      <a:pt x="43" y="0"/>
                      <a:pt x="43" y="0"/>
                      <a:pt x="43" y="0"/>
                    </a:cubicBezTo>
                    <a:cubicBezTo>
                      <a:pt x="35" y="54"/>
                      <a:pt x="9" y="63"/>
                      <a:pt x="0" y="6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a:extLst>
              <a:ext uri="{FF2B5EF4-FFF2-40B4-BE49-F238E27FC236}">
                <a16:creationId xmlns:a16="http://schemas.microsoft.com/office/drawing/2014/main" id="{00D11DC5-C161-C643-8EF3-B8A44E714498}"/>
              </a:ext>
              <a:ext uri="{C183D7F6-B498-43B3-948B-1728B52AA6E4}">
                <adec:decorative xmlns:adec="http://schemas.microsoft.com/office/drawing/2017/decorative" val="1"/>
              </a:ext>
            </a:extLst>
          </p:cNvPr>
          <p:cNvGrpSpPr/>
          <p:nvPr/>
        </p:nvGrpSpPr>
        <p:grpSpPr>
          <a:xfrm>
            <a:off x="6734967" y="2394318"/>
            <a:ext cx="773333" cy="720000"/>
            <a:chOff x="6734967" y="2394318"/>
            <a:chExt cx="773333" cy="720000"/>
          </a:xfrm>
        </p:grpSpPr>
        <p:sp>
          <p:nvSpPr>
            <p:cNvPr id="195" name="Freeform 59">
              <a:extLst>
                <a:ext uri="{FF2B5EF4-FFF2-40B4-BE49-F238E27FC236}">
                  <a16:creationId xmlns:a16="http://schemas.microsoft.com/office/drawing/2014/main" id="{40F90890-BC76-42EA-9E0D-7226EAFDCC11}"/>
                </a:ext>
                <a:ext uri="{C183D7F6-B498-43B3-948B-1728B52AA6E4}">
                  <adec:decorative xmlns:adec="http://schemas.microsoft.com/office/drawing/2017/decorative" val="1"/>
                </a:ext>
              </a:extLst>
            </p:cNvPr>
            <p:cNvSpPr>
              <a:spLocks/>
            </p:cNvSpPr>
            <p:nvPr/>
          </p:nvSpPr>
          <p:spPr bwMode="auto">
            <a:xfrm>
              <a:off x="6734967" y="2394318"/>
              <a:ext cx="773333" cy="720000"/>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3"/>
                  </a:cubicBezTo>
                  <a:cubicBezTo>
                    <a:pt x="102" y="0"/>
                    <a:pt x="166" y="9"/>
                    <a:pt x="199" y="53"/>
                  </a:cubicBezTo>
                  <a:cubicBezTo>
                    <a:pt x="233" y="96"/>
                    <a:pt x="219" y="153"/>
                    <a:pt x="173" y="185"/>
                  </a:cubicBezTo>
                  <a:cubicBezTo>
                    <a:pt x="128" y="217"/>
                    <a:pt x="67" y="213"/>
                    <a:pt x="34" y="170"/>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6" name="Groupe 262">
              <a:extLst>
                <a:ext uri="{FF2B5EF4-FFF2-40B4-BE49-F238E27FC236}">
                  <a16:creationId xmlns:a16="http://schemas.microsoft.com/office/drawing/2014/main" id="{3FD080CC-CAC3-4D64-9E7A-4C99A6CDE0E3}"/>
                </a:ext>
                <a:ext uri="{C183D7F6-B498-43B3-948B-1728B52AA6E4}">
                  <adec:decorative xmlns:adec="http://schemas.microsoft.com/office/drawing/2017/decorative" val="1"/>
                </a:ext>
              </a:extLst>
            </p:cNvPr>
            <p:cNvGrpSpPr/>
            <p:nvPr/>
          </p:nvGrpSpPr>
          <p:grpSpPr>
            <a:xfrm>
              <a:off x="6886546" y="2651747"/>
              <a:ext cx="444912" cy="232982"/>
              <a:chOff x="4940301" y="2389188"/>
              <a:chExt cx="503238" cy="263525"/>
            </a:xfrm>
            <a:solidFill>
              <a:schemeClr val="bg1"/>
            </a:solidFill>
          </p:grpSpPr>
          <p:sp>
            <p:nvSpPr>
              <p:cNvPr id="197" name="Freeform 60">
                <a:extLst>
                  <a:ext uri="{FF2B5EF4-FFF2-40B4-BE49-F238E27FC236}">
                    <a16:creationId xmlns:a16="http://schemas.microsoft.com/office/drawing/2014/main" id="{EFE460F3-4FE6-4700-A95F-6BE67C93B803}"/>
                  </a:ext>
                </a:extLst>
              </p:cNvPr>
              <p:cNvSpPr>
                <a:spLocks/>
              </p:cNvSpPr>
              <p:nvPr/>
            </p:nvSpPr>
            <p:spPr bwMode="auto">
              <a:xfrm>
                <a:off x="4940301" y="2498726"/>
                <a:ext cx="93663" cy="104775"/>
              </a:xfrm>
              <a:custGeom>
                <a:avLst/>
                <a:gdLst>
                  <a:gd name="T0" fmla="*/ 0 w 25"/>
                  <a:gd name="T1" fmla="*/ 4 h 28"/>
                  <a:gd name="T2" fmla="*/ 0 w 25"/>
                  <a:gd name="T3" fmla="*/ 24 h 28"/>
                  <a:gd name="T4" fmla="*/ 4 w 25"/>
                  <a:gd name="T5" fmla="*/ 27 h 28"/>
                  <a:gd name="T6" fmla="*/ 22 w 25"/>
                  <a:gd name="T7" fmla="*/ 22 h 28"/>
                  <a:gd name="T8" fmla="*/ 25 w 25"/>
                  <a:gd name="T9" fmla="*/ 18 h 28"/>
                  <a:gd name="T10" fmla="*/ 25 w 25"/>
                  <a:gd name="T11" fmla="*/ 9 h 28"/>
                  <a:gd name="T12" fmla="*/ 22 w 25"/>
                  <a:gd name="T13" fmla="*/ 6 h 28"/>
                  <a:gd name="T14" fmla="*/ 4 w 25"/>
                  <a:gd name="T15" fmla="*/ 1 h 28"/>
                  <a:gd name="T16" fmla="*/ 0 w 25"/>
                  <a:gd name="T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8">
                    <a:moveTo>
                      <a:pt x="0" y="4"/>
                    </a:moveTo>
                    <a:cubicBezTo>
                      <a:pt x="0" y="24"/>
                      <a:pt x="0" y="24"/>
                      <a:pt x="0" y="24"/>
                    </a:cubicBezTo>
                    <a:cubicBezTo>
                      <a:pt x="0" y="26"/>
                      <a:pt x="2" y="28"/>
                      <a:pt x="4" y="27"/>
                    </a:cubicBezTo>
                    <a:cubicBezTo>
                      <a:pt x="22" y="22"/>
                      <a:pt x="22" y="22"/>
                      <a:pt x="22" y="22"/>
                    </a:cubicBezTo>
                    <a:cubicBezTo>
                      <a:pt x="24" y="21"/>
                      <a:pt x="25" y="20"/>
                      <a:pt x="25" y="18"/>
                    </a:cubicBezTo>
                    <a:cubicBezTo>
                      <a:pt x="25" y="9"/>
                      <a:pt x="25" y="9"/>
                      <a:pt x="25" y="9"/>
                    </a:cubicBezTo>
                    <a:cubicBezTo>
                      <a:pt x="25" y="8"/>
                      <a:pt x="24" y="6"/>
                      <a:pt x="22" y="6"/>
                    </a:cubicBezTo>
                    <a:cubicBezTo>
                      <a:pt x="4" y="1"/>
                      <a:pt x="4" y="1"/>
                      <a:pt x="4" y="1"/>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1">
                <a:extLst>
                  <a:ext uri="{FF2B5EF4-FFF2-40B4-BE49-F238E27FC236}">
                    <a16:creationId xmlns:a16="http://schemas.microsoft.com/office/drawing/2014/main" id="{C9F86F23-6198-416C-A014-91FFE008D121}"/>
                  </a:ext>
                </a:extLst>
              </p:cNvPr>
              <p:cNvSpPr>
                <a:spLocks/>
              </p:cNvSpPr>
              <p:nvPr/>
            </p:nvSpPr>
            <p:spPr bwMode="auto">
              <a:xfrm>
                <a:off x="5038726" y="2449513"/>
                <a:ext cx="300038" cy="203200"/>
              </a:xfrm>
              <a:custGeom>
                <a:avLst/>
                <a:gdLst>
                  <a:gd name="T0" fmla="*/ 71 w 80"/>
                  <a:gd name="T1" fmla="*/ 0 h 54"/>
                  <a:gd name="T2" fmla="*/ 9 w 80"/>
                  <a:gd name="T3" fmla="*/ 1 h 54"/>
                  <a:gd name="T4" fmla="*/ 0 w 80"/>
                  <a:gd name="T5" fmla="*/ 10 h 54"/>
                  <a:gd name="T6" fmla="*/ 0 w 80"/>
                  <a:gd name="T7" fmla="*/ 14 h 54"/>
                  <a:gd name="T8" fmla="*/ 1 w 80"/>
                  <a:gd name="T9" fmla="*/ 53 h 54"/>
                  <a:gd name="T10" fmla="*/ 71 w 80"/>
                  <a:gd name="T11" fmla="*/ 54 h 54"/>
                  <a:gd name="T12" fmla="*/ 80 w 80"/>
                  <a:gd name="T13" fmla="*/ 44 h 54"/>
                  <a:gd name="T14" fmla="*/ 80 w 80"/>
                  <a:gd name="T15" fmla="*/ 8 h 54"/>
                  <a:gd name="T16" fmla="*/ 71 w 80"/>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4">
                    <a:moveTo>
                      <a:pt x="71" y="0"/>
                    </a:moveTo>
                    <a:cubicBezTo>
                      <a:pt x="66" y="0"/>
                      <a:pt x="12" y="0"/>
                      <a:pt x="9" y="1"/>
                    </a:cubicBezTo>
                    <a:cubicBezTo>
                      <a:pt x="2" y="1"/>
                      <a:pt x="0" y="4"/>
                      <a:pt x="0" y="10"/>
                    </a:cubicBezTo>
                    <a:cubicBezTo>
                      <a:pt x="0" y="14"/>
                      <a:pt x="0" y="14"/>
                      <a:pt x="0" y="14"/>
                    </a:cubicBezTo>
                    <a:cubicBezTo>
                      <a:pt x="0" y="21"/>
                      <a:pt x="1" y="45"/>
                      <a:pt x="1" y="53"/>
                    </a:cubicBezTo>
                    <a:cubicBezTo>
                      <a:pt x="3" y="53"/>
                      <a:pt x="65" y="54"/>
                      <a:pt x="71" y="54"/>
                    </a:cubicBezTo>
                    <a:cubicBezTo>
                      <a:pt x="78" y="53"/>
                      <a:pt x="80" y="52"/>
                      <a:pt x="80" y="44"/>
                    </a:cubicBezTo>
                    <a:cubicBezTo>
                      <a:pt x="80" y="8"/>
                      <a:pt x="80" y="8"/>
                      <a:pt x="80" y="8"/>
                    </a:cubicBezTo>
                    <a:cubicBezTo>
                      <a:pt x="80" y="2"/>
                      <a:pt x="78"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2">
                <a:extLst>
                  <a:ext uri="{FF2B5EF4-FFF2-40B4-BE49-F238E27FC236}">
                    <a16:creationId xmlns:a16="http://schemas.microsoft.com/office/drawing/2014/main" id="{00610518-5344-4173-A00F-642FA235EF98}"/>
                  </a:ext>
                </a:extLst>
              </p:cNvPr>
              <p:cNvSpPr>
                <a:spLocks/>
              </p:cNvSpPr>
              <p:nvPr/>
            </p:nvSpPr>
            <p:spPr bwMode="auto">
              <a:xfrm>
                <a:off x="5349876" y="2460626"/>
                <a:ext cx="93663" cy="177800"/>
              </a:xfrm>
              <a:custGeom>
                <a:avLst/>
                <a:gdLst>
                  <a:gd name="T0" fmla="*/ 20 w 25"/>
                  <a:gd name="T1" fmla="*/ 46 h 47"/>
                  <a:gd name="T2" fmla="*/ 2 w 25"/>
                  <a:gd name="T3" fmla="*/ 37 h 47"/>
                  <a:gd name="T4" fmla="*/ 0 w 25"/>
                  <a:gd name="T5" fmla="*/ 34 h 47"/>
                  <a:gd name="T6" fmla="*/ 0 w 25"/>
                  <a:gd name="T7" fmla="*/ 14 h 47"/>
                  <a:gd name="T8" fmla="*/ 2 w 25"/>
                  <a:gd name="T9" fmla="*/ 11 h 47"/>
                  <a:gd name="T10" fmla="*/ 20 w 25"/>
                  <a:gd name="T11" fmla="*/ 2 h 47"/>
                  <a:gd name="T12" fmla="*/ 25 w 25"/>
                  <a:gd name="T13" fmla="*/ 5 h 47"/>
                  <a:gd name="T14" fmla="*/ 25 w 25"/>
                  <a:gd name="T15" fmla="*/ 43 h 47"/>
                  <a:gd name="T16" fmla="*/ 20 w 25"/>
                  <a:gd name="T17"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47">
                    <a:moveTo>
                      <a:pt x="20" y="46"/>
                    </a:moveTo>
                    <a:cubicBezTo>
                      <a:pt x="2" y="37"/>
                      <a:pt x="2" y="37"/>
                      <a:pt x="2" y="37"/>
                    </a:cubicBezTo>
                    <a:cubicBezTo>
                      <a:pt x="0" y="37"/>
                      <a:pt x="0" y="35"/>
                      <a:pt x="0" y="34"/>
                    </a:cubicBezTo>
                    <a:cubicBezTo>
                      <a:pt x="0" y="14"/>
                      <a:pt x="0" y="14"/>
                      <a:pt x="0" y="14"/>
                    </a:cubicBezTo>
                    <a:cubicBezTo>
                      <a:pt x="0" y="13"/>
                      <a:pt x="0" y="11"/>
                      <a:pt x="2" y="11"/>
                    </a:cubicBezTo>
                    <a:cubicBezTo>
                      <a:pt x="20" y="2"/>
                      <a:pt x="20" y="2"/>
                      <a:pt x="20" y="2"/>
                    </a:cubicBezTo>
                    <a:cubicBezTo>
                      <a:pt x="22" y="0"/>
                      <a:pt x="25" y="2"/>
                      <a:pt x="25" y="5"/>
                    </a:cubicBezTo>
                    <a:cubicBezTo>
                      <a:pt x="25" y="43"/>
                      <a:pt x="25" y="43"/>
                      <a:pt x="25" y="43"/>
                    </a:cubicBezTo>
                    <a:cubicBezTo>
                      <a:pt x="25" y="46"/>
                      <a:pt x="22" y="47"/>
                      <a:pt x="2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3">
                <a:extLst>
                  <a:ext uri="{FF2B5EF4-FFF2-40B4-BE49-F238E27FC236}">
                    <a16:creationId xmlns:a16="http://schemas.microsoft.com/office/drawing/2014/main" id="{96250C41-437B-4BF4-98F2-7BE90F016E50}"/>
                  </a:ext>
                </a:extLst>
              </p:cNvPr>
              <p:cNvSpPr>
                <a:spLocks/>
              </p:cNvSpPr>
              <p:nvPr/>
            </p:nvSpPr>
            <p:spPr bwMode="auto">
              <a:xfrm>
                <a:off x="5116513" y="2389188"/>
                <a:ext cx="142875" cy="57150"/>
              </a:xfrm>
              <a:custGeom>
                <a:avLst/>
                <a:gdLst>
                  <a:gd name="T0" fmla="*/ 38 w 38"/>
                  <a:gd name="T1" fmla="*/ 15 h 15"/>
                  <a:gd name="T2" fmla="*/ 0 w 38"/>
                  <a:gd name="T3" fmla="*/ 15 h 15"/>
                  <a:gd name="T4" fmla="*/ 0 w 38"/>
                  <a:gd name="T5" fmla="*/ 7 h 15"/>
                  <a:gd name="T6" fmla="*/ 8 w 38"/>
                  <a:gd name="T7" fmla="*/ 0 h 15"/>
                  <a:gd name="T8" fmla="*/ 31 w 38"/>
                  <a:gd name="T9" fmla="*/ 0 h 15"/>
                  <a:gd name="T10" fmla="*/ 38 w 38"/>
                  <a:gd name="T11" fmla="*/ 7 h 15"/>
                  <a:gd name="T12" fmla="*/ 38 w 38"/>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8" h="15">
                    <a:moveTo>
                      <a:pt x="38" y="15"/>
                    </a:moveTo>
                    <a:cubicBezTo>
                      <a:pt x="0" y="15"/>
                      <a:pt x="0" y="15"/>
                      <a:pt x="0" y="15"/>
                    </a:cubicBezTo>
                    <a:cubicBezTo>
                      <a:pt x="0" y="7"/>
                      <a:pt x="0" y="7"/>
                      <a:pt x="0" y="7"/>
                    </a:cubicBezTo>
                    <a:cubicBezTo>
                      <a:pt x="0" y="3"/>
                      <a:pt x="4" y="0"/>
                      <a:pt x="8" y="0"/>
                    </a:cubicBezTo>
                    <a:cubicBezTo>
                      <a:pt x="31" y="0"/>
                      <a:pt x="31" y="0"/>
                      <a:pt x="31" y="0"/>
                    </a:cubicBezTo>
                    <a:cubicBezTo>
                      <a:pt x="35" y="0"/>
                      <a:pt x="38" y="3"/>
                      <a:pt x="38" y="7"/>
                    </a:cubicBezTo>
                    <a:lnTo>
                      <a:pt x="3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01" name="Freeform 6">
            <a:extLst>
              <a:ext uri="{FF2B5EF4-FFF2-40B4-BE49-F238E27FC236}">
                <a16:creationId xmlns:a16="http://schemas.microsoft.com/office/drawing/2014/main" id="{E03364B2-0D29-4C6B-B58A-7F6C34D69944}"/>
              </a:ext>
              <a:ext uri="{C183D7F6-B498-43B3-948B-1728B52AA6E4}">
                <adec:decorative xmlns:adec="http://schemas.microsoft.com/office/drawing/2017/decorative" val="1"/>
              </a:ext>
            </a:extLst>
          </p:cNvPr>
          <p:cNvSpPr>
            <a:spLocks/>
          </p:cNvSpPr>
          <p:nvPr/>
        </p:nvSpPr>
        <p:spPr bwMode="auto">
          <a:xfrm>
            <a:off x="9495673" y="1185961"/>
            <a:ext cx="763089" cy="720000"/>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8" y="53"/>
                </a:cubicBezTo>
                <a:cubicBezTo>
                  <a:pt x="232" y="96"/>
                  <a:pt x="218" y="152"/>
                  <a:pt x="172" y="185"/>
                </a:cubicBezTo>
                <a:cubicBezTo>
                  <a:pt x="127" y="217"/>
                  <a:pt x="66" y="213"/>
                  <a:pt x="33" y="170"/>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2" name="Groupe 158">
            <a:extLst>
              <a:ext uri="{FF2B5EF4-FFF2-40B4-BE49-F238E27FC236}">
                <a16:creationId xmlns:a16="http://schemas.microsoft.com/office/drawing/2014/main" id="{BAC6CC82-94FD-4231-854B-558154FD1CE4}"/>
              </a:ext>
              <a:ext uri="{C183D7F6-B498-43B3-948B-1728B52AA6E4}">
                <adec:decorative xmlns:adec="http://schemas.microsoft.com/office/drawing/2017/decorative" val="1"/>
              </a:ext>
            </a:extLst>
          </p:cNvPr>
          <p:cNvGrpSpPr/>
          <p:nvPr/>
        </p:nvGrpSpPr>
        <p:grpSpPr>
          <a:xfrm>
            <a:off x="9775055" y="1368741"/>
            <a:ext cx="197374" cy="354440"/>
            <a:chOff x="1109663" y="860426"/>
            <a:chExt cx="225425" cy="404812"/>
          </a:xfrm>
          <a:solidFill>
            <a:schemeClr val="bg1"/>
          </a:solidFill>
        </p:grpSpPr>
        <p:sp>
          <p:nvSpPr>
            <p:cNvPr id="203" name="Freeform 28">
              <a:extLst>
                <a:ext uri="{FF2B5EF4-FFF2-40B4-BE49-F238E27FC236}">
                  <a16:creationId xmlns:a16="http://schemas.microsoft.com/office/drawing/2014/main" id="{101EF845-D713-49A9-BEDF-87A94CE09216}"/>
                </a:ext>
              </a:extLst>
            </p:cNvPr>
            <p:cNvSpPr>
              <a:spLocks/>
            </p:cNvSpPr>
            <p:nvPr/>
          </p:nvSpPr>
          <p:spPr bwMode="auto">
            <a:xfrm>
              <a:off x="1128713" y="950913"/>
              <a:ext cx="187325" cy="30163"/>
            </a:xfrm>
            <a:custGeom>
              <a:avLst/>
              <a:gdLst>
                <a:gd name="T0" fmla="*/ 47 w 50"/>
                <a:gd name="T1" fmla="*/ 8 h 8"/>
                <a:gd name="T2" fmla="*/ 3 w 50"/>
                <a:gd name="T3" fmla="*/ 8 h 8"/>
                <a:gd name="T4" fmla="*/ 0 w 50"/>
                <a:gd name="T5" fmla="*/ 5 h 8"/>
                <a:gd name="T6" fmla="*/ 0 w 50"/>
                <a:gd name="T7" fmla="*/ 3 h 8"/>
                <a:gd name="T8" fmla="*/ 3 w 50"/>
                <a:gd name="T9" fmla="*/ 0 h 8"/>
                <a:gd name="T10" fmla="*/ 47 w 50"/>
                <a:gd name="T11" fmla="*/ 0 h 8"/>
                <a:gd name="T12" fmla="*/ 50 w 50"/>
                <a:gd name="T13" fmla="*/ 3 h 8"/>
                <a:gd name="T14" fmla="*/ 50 w 50"/>
                <a:gd name="T15" fmla="*/ 5 h 8"/>
                <a:gd name="T16" fmla="*/ 47 w 50"/>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8">
                  <a:moveTo>
                    <a:pt x="47" y="8"/>
                  </a:moveTo>
                  <a:cubicBezTo>
                    <a:pt x="3" y="8"/>
                    <a:pt x="3" y="8"/>
                    <a:pt x="3" y="8"/>
                  </a:cubicBezTo>
                  <a:cubicBezTo>
                    <a:pt x="1" y="8"/>
                    <a:pt x="0" y="7"/>
                    <a:pt x="0" y="5"/>
                  </a:cubicBezTo>
                  <a:cubicBezTo>
                    <a:pt x="0" y="3"/>
                    <a:pt x="0" y="3"/>
                    <a:pt x="0" y="3"/>
                  </a:cubicBezTo>
                  <a:cubicBezTo>
                    <a:pt x="0" y="1"/>
                    <a:pt x="1" y="0"/>
                    <a:pt x="3" y="0"/>
                  </a:cubicBezTo>
                  <a:cubicBezTo>
                    <a:pt x="47" y="0"/>
                    <a:pt x="47" y="0"/>
                    <a:pt x="47" y="0"/>
                  </a:cubicBezTo>
                  <a:cubicBezTo>
                    <a:pt x="48" y="0"/>
                    <a:pt x="50" y="1"/>
                    <a:pt x="50" y="3"/>
                  </a:cubicBezTo>
                  <a:cubicBezTo>
                    <a:pt x="50" y="5"/>
                    <a:pt x="50" y="5"/>
                    <a:pt x="50" y="5"/>
                  </a:cubicBezTo>
                  <a:cubicBezTo>
                    <a:pt x="50" y="7"/>
                    <a:pt x="48" y="8"/>
                    <a:pt x="47" y="8"/>
                  </a:cubicBez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Line 29">
              <a:extLst>
                <a:ext uri="{FF2B5EF4-FFF2-40B4-BE49-F238E27FC236}">
                  <a16:creationId xmlns:a16="http://schemas.microsoft.com/office/drawing/2014/main" id="{4EFA95FB-631E-41FE-A182-5D3A482671D9}"/>
                </a:ext>
              </a:extLst>
            </p:cNvPr>
            <p:cNvSpPr>
              <a:spLocks noChangeShapeType="1"/>
            </p:cNvSpPr>
            <p:nvPr/>
          </p:nvSpPr>
          <p:spPr bwMode="auto">
            <a:xfrm>
              <a:off x="1109663" y="969963"/>
              <a:ext cx="0" cy="0"/>
            </a:xfrm>
            <a:prstGeom prst="line">
              <a:avLst/>
            </a:pr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Line 30">
              <a:extLst>
                <a:ext uri="{FF2B5EF4-FFF2-40B4-BE49-F238E27FC236}">
                  <a16:creationId xmlns:a16="http://schemas.microsoft.com/office/drawing/2014/main" id="{AD09EBA3-F130-4522-BBE6-0447F63D0FE2}"/>
                </a:ext>
              </a:extLst>
            </p:cNvPr>
            <p:cNvSpPr>
              <a:spLocks noChangeShapeType="1"/>
            </p:cNvSpPr>
            <p:nvPr/>
          </p:nvSpPr>
          <p:spPr bwMode="auto">
            <a:xfrm>
              <a:off x="1109663" y="969963"/>
              <a:ext cx="0" cy="0"/>
            </a:xfrm>
            <a:prstGeom prst="line">
              <a:avLst/>
            </a:pr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31">
              <a:extLst>
                <a:ext uri="{FF2B5EF4-FFF2-40B4-BE49-F238E27FC236}">
                  <a16:creationId xmlns:a16="http://schemas.microsoft.com/office/drawing/2014/main" id="{2890022B-67A5-40D5-B64D-65A7F8F92EE3}"/>
                </a:ext>
              </a:extLst>
            </p:cNvPr>
            <p:cNvSpPr>
              <a:spLocks/>
            </p:cNvSpPr>
            <p:nvPr/>
          </p:nvSpPr>
          <p:spPr bwMode="auto">
            <a:xfrm>
              <a:off x="1109663" y="969963"/>
              <a:ext cx="225425" cy="295275"/>
            </a:xfrm>
            <a:custGeom>
              <a:avLst/>
              <a:gdLst>
                <a:gd name="T0" fmla="*/ 0 w 60"/>
                <a:gd name="T1" fmla="*/ 0 h 78"/>
                <a:gd name="T2" fmla="*/ 1 w 60"/>
                <a:gd name="T3" fmla="*/ 69 h 78"/>
                <a:gd name="T4" fmla="*/ 12 w 60"/>
                <a:gd name="T5" fmla="*/ 78 h 78"/>
                <a:gd name="T6" fmla="*/ 16 w 60"/>
                <a:gd name="T7" fmla="*/ 78 h 78"/>
                <a:gd name="T8" fmla="*/ 58 w 60"/>
                <a:gd name="T9" fmla="*/ 78 h 78"/>
                <a:gd name="T10" fmla="*/ 59 w 60"/>
                <a:gd name="T11" fmla="*/ 0 h 78"/>
                <a:gd name="T12" fmla="*/ 0 w 60"/>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60" h="78">
                  <a:moveTo>
                    <a:pt x="0" y="0"/>
                  </a:moveTo>
                  <a:cubicBezTo>
                    <a:pt x="0" y="6"/>
                    <a:pt x="0" y="65"/>
                    <a:pt x="1" y="69"/>
                  </a:cubicBezTo>
                  <a:cubicBezTo>
                    <a:pt x="1" y="76"/>
                    <a:pt x="4" y="78"/>
                    <a:pt x="12" y="78"/>
                  </a:cubicBezTo>
                  <a:cubicBezTo>
                    <a:pt x="16" y="78"/>
                    <a:pt x="16" y="78"/>
                    <a:pt x="16" y="78"/>
                  </a:cubicBezTo>
                  <a:cubicBezTo>
                    <a:pt x="23" y="78"/>
                    <a:pt x="50" y="77"/>
                    <a:pt x="58" y="78"/>
                  </a:cubicBezTo>
                  <a:cubicBezTo>
                    <a:pt x="59" y="76"/>
                    <a:pt x="60" y="8"/>
                    <a:pt x="59" y="0"/>
                  </a:cubicBezTo>
                  <a:lnTo>
                    <a:pt x="0" y="0"/>
                  </a:ln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32">
              <a:extLst>
                <a:ext uri="{FF2B5EF4-FFF2-40B4-BE49-F238E27FC236}">
                  <a16:creationId xmlns:a16="http://schemas.microsoft.com/office/drawing/2014/main" id="{EF4C824E-2F82-4407-AFF0-1E16F478CFA4}"/>
                </a:ext>
              </a:extLst>
            </p:cNvPr>
            <p:cNvSpPr>
              <a:spLocks noEditPoints="1"/>
            </p:cNvSpPr>
            <p:nvPr/>
          </p:nvSpPr>
          <p:spPr bwMode="auto">
            <a:xfrm>
              <a:off x="1147763" y="860426"/>
              <a:ext cx="146050" cy="90488"/>
            </a:xfrm>
            <a:custGeom>
              <a:avLst/>
              <a:gdLst>
                <a:gd name="T0" fmla="*/ 0 w 92"/>
                <a:gd name="T1" fmla="*/ 0 h 57"/>
                <a:gd name="T2" fmla="*/ 0 w 92"/>
                <a:gd name="T3" fmla="*/ 57 h 57"/>
                <a:gd name="T4" fmla="*/ 92 w 92"/>
                <a:gd name="T5" fmla="*/ 57 h 57"/>
                <a:gd name="T6" fmla="*/ 92 w 92"/>
                <a:gd name="T7" fmla="*/ 0 h 57"/>
                <a:gd name="T8" fmla="*/ 0 w 92"/>
                <a:gd name="T9" fmla="*/ 0 h 57"/>
                <a:gd name="T10" fmla="*/ 33 w 92"/>
                <a:gd name="T11" fmla="*/ 33 h 57"/>
                <a:gd name="T12" fmla="*/ 14 w 92"/>
                <a:gd name="T13" fmla="*/ 33 h 57"/>
                <a:gd name="T14" fmla="*/ 14 w 92"/>
                <a:gd name="T15" fmla="*/ 24 h 57"/>
                <a:gd name="T16" fmla="*/ 33 w 92"/>
                <a:gd name="T17" fmla="*/ 24 h 57"/>
                <a:gd name="T18" fmla="*/ 33 w 92"/>
                <a:gd name="T19" fmla="*/ 33 h 57"/>
                <a:gd name="T20" fmla="*/ 78 w 92"/>
                <a:gd name="T21" fmla="*/ 33 h 57"/>
                <a:gd name="T22" fmla="*/ 61 w 92"/>
                <a:gd name="T23" fmla="*/ 33 h 57"/>
                <a:gd name="T24" fmla="*/ 61 w 92"/>
                <a:gd name="T25" fmla="*/ 24 h 57"/>
                <a:gd name="T26" fmla="*/ 78 w 92"/>
                <a:gd name="T27" fmla="*/ 24 h 57"/>
                <a:gd name="T28" fmla="*/ 78 w 92"/>
                <a:gd name="T29" fmla="*/ 3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57">
                  <a:moveTo>
                    <a:pt x="0" y="0"/>
                  </a:moveTo>
                  <a:lnTo>
                    <a:pt x="0" y="57"/>
                  </a:lnTo>
                  <a:lnTo>
                    <a:pt x="92" y="57"/>
                  </a:lnTo>
                  <a:lnTo>
                    <a:pt x="92" y="0"/>
                  </a:lnTo>
                  <a:lnTo>
                    <a:pt x="0" y="0"/>
                  </a:lnTo>
                  <a:close/>
                  <a:moveTo>
                    <a:pt x="33" y="33"/>
                  </a:moveTo>
                  <a:lnTo>
                    <a:pt x="14" y="33"/>
                  </a:lnTo>
                  <a:lnTo>
                    <a:pt x="14" y="24"/>
                  </a:lnTo>
                  <a:lnTo>
                    <a:pt x="33" y="24"/>
                  </a:lnTo>
                  <a:lnTo>
                    <a:pt x="33" y="33"/>
                  </a:lnTo>
                  <a:close/>
                  <a:moveTo>
                    <a:pt x="78" y="33"/>
                  </a:moveTo>
                  <a:lnTo>
                    <a:pt x="61" y="33"/>
                  </a:lnTo>
                  <a:lnTo>
                    <a:pt x="61" y="24"/>
                  </a:lnTo>
                  <a:lnTo>
                    <a:pt x="78" y="24"/>
                  </a:lnTo>
                  <a:lnTo>
                    <a:pt x="78" y="33"/>
                  </a:ln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D9B3835D-03A3-4322-8F6C-D3F7AFF7A801}"/>
              </a:ext>
              <a:ext uri="{C183D7F6-B498-43B3-948B-1728B52AA6E4}">
                <adec:decorative xmlns:adec="http://schemas.microsoft.com/office/drawing/2017/decorative" val="1"/>
              </a:ext>
            </a:extLst>
          </p:cNvPr>
          <p:cNvGrpSpPr>
            <a:grpSpLocks noChangeAspect="1"/>
          </p:cNvGrpSpPr>
          <p:nvPr/>
        </p:nvGrpSpPr>
        <p:grpSpPr>
          <a:xfrm>
            <a:off x="11350904" y="1229161"/>
            <a:ext cx="678063" cy="633600"/>
            <a:chOff x="7248128" y="1251420"/>
            <a:chExt cx="2638636" cy="2465612"/>
          </a:xfrm>
        </p:grpSpPr>
        <p:sp>
          <p:nvSpPr>
            <p:cNvPr id="209" name="Freeform 193">
              <a:extLst>
                <a:ext uri="{FF2B5EF4-FFF2-40B4-BE49-F238E27FC236}">
                  <a16:creationId xmlns:a16="http://schemas.microsoft.com/office/drawing/2014/main" id="{F88D3C18-A112-4761-85B9-FBE66F0DE2AC}"/>
                </a:ext>
              </a:extLst>
            </p:cNvPr>
            <p:cNvSpPr>
              <a:spLocks/>
            </p:cNvSpPr>
            <p:nvPr/>
          </p:nvSpPr>
          <p:spPr bwMode="auto">
            <a:xfrm>
              <a:off x="7248128" y="1251420"/>
              <a:ext cx="2638636" cy="2465612"/>
            </a:xfrm>
            <a:custGeom>
              <a:avLst/>
              <a:gdLst>
                <a:gd name="T0" fmla="*/ 33 w 232"/>
                <a:gd name="T1" fmla="*/ 170 h 217"/>
                <a:gd name="T2" fmla="*/ 56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3"/>
                  </a:cubicBezTo>
                  <a:cubicBezTo>
                    <a:pt x="101" y="0"/>
                    <a:pt x="166" y="9"/>
                    <a:pt x="199" y="53"/>
                  </a:cubicBezTo>
                  <a:cubicBezTo>
                    <a:pt x="232" y="96"/>
                    <a:pt x="219" y="152"/>
                    <a:pt x="173" y="185"/>
                  </a:cubicBezTo>
                  <a:cubicBezTo>
                    <a:pt x="127" y="217"/>
                    <a:pt x="67" y="213"/>
                    <a:pt x="33" y="170"/>
                  </a:cubicBezTo>
                </a:path>
              </a:pathLst>
            </a:custGeom>
            <a:solidFill>
              <a:schemeClr val="accent4"/>
            </a:solidFill>
            <a:ln>
              <a:solidFill>
                <a:schemeClr val="accent4"/>
              </a:solidFill>
            </a:ln>
          </p:spPr>
          <p:txBody>
            <a:bodyPr vert="horz" wrap="square" lIns="91440" tIns="45720" rIns="91440" bIns="45720" numCol="1" anchor="t" anchorCtr="0" compatLnSpc="1">
              <a:prstTxWarp prst="textNoShape">
                <a:avLst/>
              </a:prstTxWarp>
            </a:bodyPr>
            <a:lstStyle/>
            <a:p>
              <a:endParaRPr lang="en-US"/>
            </a:p>
          </p:txBody>
        </p:sp>
        <p:grpSp>
          <p:nvGrpSpPr>
            <p:cNvPr id="210" name="Groupe 181">
              <a:extLst>
                <a:ext uri="{FF2B5EF4-FFF2-40B4-BE49-F238E27FC236}">
                  <a16:creationId xmlns:a16="http://schemas.microsoft.com/office/drawing/2014/main" id="{56BE47C1-882D-4122-92D4-F8B30C60D312}"/>
                </a:ext>
              </a:extLst>
            </p:cNvPr>
            <p:cNvGrpSpPr/>
            <p:nvPr/>
          </p:nvGrpSpPr>
          <p:grpSpPr>
            <a:xfrm>
              <a:off x="8103637" y="1869400"/>
              <a:ext cx="908383" cy="1194729"/>
              <a:chOff x="10615613" y="3785526"/>
              <a:chExt cx="300038" cy="394618"/>
            </a:xfrm>
            <a:solidFill>
              <a:schemeClr val="bg1"/>
            </a:solidFill>
          </p:grpSpPr>
          <p:sp>
            <p:nvSpPr>
              <p:cNvPr id="211" name="Freeform 279">
                <a:extLst>
                  <a:ext uri="{FF2B5EF4-FFF2-40B4-BE49-F238E27FC236}">
                    <a16:creationId xmlns:a16="http://schemas.microsoft.com/office/drawing/2014/main" id="{79AF23A2-E92C-48EB-9FFD-E43977BF420D}"/>
                  </a:ext>
                </a:extLst>
              </p:cNvPr>
              <p:cNvSpPr>
                <a:spLocks/>
              </p:cNvSpPr>
              <p:nvPr/>
            </p:nvSpPr>
            <p:spPr bwMode="auto">
              <a:xfrm>
                <a:off x="10615613" y="3830141"/>
                <a:ext cx="300038" cy="115888"/>
              </a:xfrm>
              <a:custGeom>
                <a:avLst/>
                <a:gdLst>
                  <a:gd name="T0" fmla="*/ 80 w 80"/>
                  <a:gd name="T1" fmla="*/ 17 h 31"/>
                  <a:gd name="T2" fmla="*/ 38 w 80"/>
                  <a:gd name="T3" fmla="*/ 31 h 31"/>
                  <a:gd name="T4" fmla="*/ 0 w 80"/>
                  <a:gd name="T5" fmla="*/ 17 h 31"/>
                  <a:gd name="T6" fmla="*/ 0 w 80"/>
                  <a:gd name="T7" fmla="*/ 0 h 31"/>
                  <a:gd name="T8" fmla="*/ 40 w 80"/>
                  <a:gd name="T9" fmla="*/ 9 h 31"/>
                  <a:gd name="T10" fmla="*/ 80 w 80"/>
                  <a:gd name="T11" fmla="*/ 0 h 31"/>
                  <a:gd name="T12" fmla="*/ 80 w 80"/>
                  <a:gd name="T13" fmla="*/ 17 h 31"/>
                </a:gdLst>
                <a:ahLst/>
                <a:cxnLst>
                  <a:cxn ang="0">
                    <a:pos x="T0" y="T1"/>
                  </a:cxn>
                  <a:cxn ang="0">
                    <a:pos x="T2" y="T3"/>
                  </a:cxn>
                  <a:cxn ang="0">
                    <a:pos x="T4" y="T5"/>
                  </a:cxn>
                  <a:cxn ang="0">
                    <a:pos x="T6" y="T7"/>
                  </a:cxn>
                  <a:cxn ang="0">
                    <a:pos x="T8" y="T9"/>
                  </a:cxn>
                  <a:cxn ang="0">
                    <a:pos x="T10" y="T11"/>
                  </a:cxn>
                  <a:cxn ang="0">
                    <a:pos x="T12" y="T13"/>
                  </a:cxn>
                </a:cxnLst>
                <a:rect l="0" t="0" r="r" b="b"/>
                <a:pathLst>
                  <a:path w="80" h="31">
                    <a:moveTo>
                      <a:pt x="80" y="17"/>
                    </a:moveTo>
                    <a:cubicBezTo>
                      <a:pt x="79" y="25"/>
                      <a:pt x="60" y="31"/>
                      <a:pt x="38" y="31"/>
                    </a:cubicBezTo>
                    <a:cubicBezTo>
                      <a:pt x="18" y="30"/>
                      <a:pt x="1" y="24"/>
                      <a:pt x="0" y="17"/>
                    </a:cubicBezTo>
                    <a:cubicBezTo>
                      <a:pt x="0" y="0"/>
                      <a:pt x="0" y="0"/>
                      <a:pt x="0" y="0"/>
                    </a:cubicBezTo>
                    <a:cubicBezTo>
                      <a:pt x="1" y="5"/>
                      <a:pt x="19" y="9"/>
                      <a:pt x="40" y="9"/>
                    </a:cubicBezTo>
                    <a:cubicBezTo>
                      <a:pt x="62" y="9"/>
                      <a:pt x="80" y="5"/>
                      <a:pt x="80" y="0"/>
                    </a:cubicBezTo>
                    <a:lnTo>
                      <a:pt x="80" y="1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82">
                <a:extLst>
                  <a:ext uri="{FF2B5EF4-FFF2-40B4-BE49-F238E27FC236}">
                    <a16:creationId xmlns:a16="http://schemas.microsoft.com/office/drawing/2014/main" id="{1C9E4195-A289-4EBF-9571-EA7B28468025}"/>
                  </a:ext>
                </a:extLst>
              </p:cNvPr>
              <p:cNvSpPr>
                <a:spLocks/>
              </p:cNvSpPr>
              <p:nvPr/>
            </p:nvSpPr>
            <p:spPr bwMode="auto">
              <a:xfrm>
                <a:off x="10615613" y="3980640"/>
                <a:ext cx="300038" cy="120650"/>
              </a:xfrm>
              <a:custGeom>
                <a:avLst/>
                <a:gdLst>
                  <a:gd name="T0" fmla="*/ 80 w 80"/>
                  <a:gd name="T1" fmla="*/ 0 h 32"/>
                  <a:gd name="T2" fmla="*/ 80 w 80"/>
                  <a:gd name="T3" fmla="*/ 18 h 32"/>
                  <a:gd name="T4" fmla="*/ 38 w 80"/>
                  <a:gd name="T5" fmla="*/ 32 h 32"/>
                  <a:gd name="T6" fmla="*/ 0 w 80"/>
                  <a:gd name="T7" fmla="*/ 18 h 32"/>
                  <a:gd name="T8" fmla="*/ 0 w 80"/>
                  <a:gd name="T9" fmla="*/ 0 h 32"/>
                  <a:gd name="T10" fmla="*/ 38 w 80"/>
                  <a:gd name="T11" fmla="*/ 14 h 32"/>
                  <a:gd name="T12" fmla="*/ 80 w 80"/>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80" h="32">
                    <a:moveTo>
                      <a:pt x="80" y="0"/>
                    </a:moveTo>
                    <a:cubicBezTo>
                      <a:pt x="80" y="18"/>
                      <a:pt x="80" y="18"/>
                      <a:pt x="80" y="18"/>
                    </a:cubicBezTo>
                    <a:cubicBezTo>
                      <a:pt x="79" y="26"/>
                      <a:pt x="60" y="32"/>
                      <a:pt x="38" y="32"/>
                    </a:cubicBezTo>
                    <a:cubicBezTo>
                      <a:pt x="18" y="31"/>
                      <a:pt x="1" y="25"/>
                      <a:pt x="0" y="18"/>
                    </a:cubicBezTo>
                    <a:cubicBezTo>
                      <a:pt x="0" y="0"/>
                      <a:pt x="0" y="0"/>
                      <a:pt x="0" y="0"/>
                    </a:cubicBezTo>
                    <a:cubicBezTo>
                      <a:pt x="1" y="7"/>
                      <a:pt x="18" y="14"/>
                      <a:pt x="38" y="14"/>
                    </a:cubicBezTo>
                    <a:cubicBezTo>
                      <a:pt x="60" y="14"/>
                      <a:pt x="79" y="8"/>
                      <a:pt x="80" y="0"/>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83">
                <a:extLst>
                  <a:ext uri="{FF2B5EF4-FFF2-40B4-BE49-F238E27FC236}">
                    <a16:creationId xmlns:a16="http://schemas.microsoft.com/office/drawing/2014/main" id="{FCB541AD-0C55-40A8-BEE0-A0609C7B1332}"/>
                  </a:ext>
                </a:extLst>
              </p:cNvPr>
              <p:cNvSpPr>
                <a:spLocks/>
              </p:cNvSpPr>
              <p:nvPr/>
            </p:nvSpPr>
            <p:spPr bwMode="auto">
              <a:xfrm>
                <a:off x="10615613" y="4056319"/>
                <a:ext cx="300038" cy="123825"/>
              </a:xfrm>
              <a:custGeom>
                <a:avLst/>
                <a:gdLst>
                  <a:gd name="T0" fmla="*/ 80 w 80"/>
                  <a:gd name="T1" fmla="*/ 0 h 33"/>
                  <a:gd name="T2" fmla="*/ 80 w 80"/>
                  <a:gd name="T3" fmla="*/ 14 h 33"/>
                  <a:gd name="T4" fmla="*/ 40 w 80"/>
                  <a:gd name="T5" fmla="*/ 33 h 33"/>
                  <a:gd name="T6" fmla="*/ 0 w 80"/>
                  <a:gd name="T7" fmla="*/ 15 h 33"/>
                  <a:gd name="T8" fmla="*/ 0 w 80"/>
                  <a:gd name="T9" fmla="*/ 0 h 33"/>
                  <a:gd name="T10" fmla="*/ 38 w 80"/>
                  <a:gd name="T11" fmla="*/ 14 h 33"/>
                  <a:gd name="T12" fmla="*/ 80 w 8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80" h="33">
                    <a:moveTo>
                      <a:pt x="80" y="0"/>
                    </a:moveTo>
                    <a:cubicBezTo>
                      <a:pt x="80" y="14"/>
                      <a:pt x="80" y="14"/>
                      <a:pt x="80" y="14"/>
                    </a:cubicBezTo>
                    <a:cubicBezTo>
                      <a:pt x="80" y="24"/>
                      <a:pt x="62" y="33"/>
                      <a:pt x="40" y="33"/>
                    </a:cubicBezTo>
                    <a:cubicBezTo>
                      <a:pt x="19" y="33"/>
                      <a:pt x="1" y="25"/>
                      <a:pt x="0" y="15"/>
                    </a:cubicBezTo>
                    <a:cubicBezTo>
                      <a:pt x="0" y="0"/>
                      <a:pt x="0" y="0"/>
                      <a:pt x="0" y="0"/>
                    </a:cubicBezTo>
                    <a:cubicBezTo>
                      <a:pt x="1" y="8"/>
                      <a:pt x="18" y="14"/>
                      <a:pt x="38" y="14"/>
                    </a:cubicBezTo>
                    <a:cubicBezTo>
                      <a:pt x="60" y="14"/>
                      <a:pt x="79" y="8"/>
                      <a:pt x="80" y="0"/>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84">
                <a:extLst>
                  <a:ext uri="{FF2B5EF4-FFF2-40B4-BE49-F238E27FC236}">
                    <a16:creationId xmlns:a16="http://schemas.microsoft.com/office/drawing/2014/main" id="{675AA8FA-5F7D-4A74-971B-556E8EBB7EA8}"/>
                  </a:ext>
                </a:extLst>
              </p:cNvPr>
              <p:cNvSpPr>
                <a:spLocks/>
              </p:cNvSpPr>
              <p:nvPr/>
            </p:nvSpPr>
            <p:spPr bwMode="auto">
              <a:xfrm>
                <a:off x="10615613" y="3900060"/>
                <a:ext cx="300038" cy="123825"/>
              </a:xfrm>
              <a:custGeom>
                <a:avLst/>
                <a:gdLst>
                  <a:gd name="T0" fmla="*/ 80 w 80"/>
                  <a:gd name="T1" fmla="*/ 0 h 33"/>
                  <a:gd name="T2" fmla="*/ 80 w 80"/>
                  <a:gd name="T3" fmla="*/ 19 h 33"/>
                  <a:gd name="T4" fmla="*/ 38 w 80"/>
                  <a:gd name="T5" fmla="*/ 33 h 33"/>
                  <a:gd name="T6" fmla="*/ 0 w 80"/>
                  <a:gd name="T7" fmla="*/ 18 h 33"/>
                  <a:gd name="T8" fmla="*/ 0 w 80"/>
                  <a:gd name="T9" fmla="*/ 0 h 33"/>
                  <a:gd name="T10" fmla="*/ 38 w 80"/>
                  <a:gd name="T11" fmla="*/ 14 h 33"/>
                  <a:gd name="T12" fmla="*/ 80 w 8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80" h="33">
                    <a:moveTo>
                      <a:pt x="80" y="0"/>
                    </a:moveTo>
                    <a:cubicBezTo>
                      <a:pt x="80" y="19"/>
                      <a:pt x="80" y="19"/>
                      <a:pt x="80" y="19"/>
                    </a:cubicBezTo>
                    <a:cubicBezTo>
                      <a:pt x="79" y="27"/>
                      <a:pt x="60" y="33"/>
                      <a:pt x="38" y="33"/>
                    </a:cubicBezTo>
                    <a:cubicBezTo>
                      <a:pt x="18" y="32"/>
                      <a:pt x="1" y="26"/>
                      <a:pt x="0" y="18"/>
                    </a:cubicBezTo>
                    <a:cubicBezTo>
                      <a:pt x="0" y="0"/>
                      <a:pt x="0" y="0"/>
                      <a:pt x="0" y="0"/>
                    </a:cubicBezTo>
                    <a:cubicBezTo>
                      <a:pt x="1" y="8"/>
                      <a:pt x="18" y="14"/>
                      <a:pt x="38" y="14"/>
                    </a:cubicBezTo>
                    <a:cubicBezTo>
                      <a:pt x="60" y="14"/>
                      <a:pt x="79" y="8"/>
                      <a:pt x="80" y="0"/>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85">
                <a:extLst>
                  <a:ext uri="{FF2B5EF4-FFF2-40B4-BE49-F238E27FC236}">
                    <a16:creationId xmlns:a16="http://schemas.microsoft.com/office/drawing/2014/main" id="{D1E27276-627D-4F0C-A1CD-8175C5A3F8BE}"/>
                  </a:ext>
                </a:extLst>
              </p:cNvPr>
              <p:cNvSpPr>
                <a:spLocks/>
              </p:cNvSpPr>
              <p:nvPr/>
            </p:nvSpPr>
            <p:spPr bwMode="auto">
              <a:xfrm>
                <a:off x="10615613" y="3785526"/>
                <a:ext cx="300038" cy="71438"/>
              </a:xfrm>
              <a:custGeom>
                <a:avLst/>
                <a:gdLst>
                  <a:gd name="T0" fmla="*/ 80 w 80"/>
                  <a:gd name="T1" fmla="*/ 10 h 19"/>
                  <a:gd name="T2" fmla="*/ 80 w 80"/>
                  <a:gd name="T3" fmla="*/ 10 h 19"/>
                  <a:gd name="T4" fmla="*/ 40 w 80"/>
                  <a:gd name="T5" fmla="*/ 19 h 19"/>
                  <a:gd name="T6" fmla="*/ 0 w 80"/>
                  <a:gd name="T7" fmla="*/ 10 h 19"/>
                  <a:gd name="T8" fmla="*/ 0 w 80"/>
                  <a:gd name="T9" fmla="*/ 10 h 19"/>
                  <a:gd name="T10" fmla="*/ 0 w 80"/>
                  <a:gd name="T11" fmla="*/ 10 h 19"/>
                  <a:gd name="T12" fmla="*/ 40 w 80"/>
                  <a:gd name="T13" fmla="*/ 0 h 19"/>
                  <a:gd name="T14" fmla="*/ 80 w 80"/>
                  <a:gd name="T15" fmla="*/ 1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9">
                    <a:moveTo>
                      <a:pt x="80" y="10"/>
                    </a:moveTo>
                    <a:cubicBezTo>
                      <a:pt x="80" y="10"/>
                      <a:pt x="80" y="10"/>
                      <a:pt x="80" y="10"/>
                    </a:cubicBezTo>
                    <a:cubicBezTo>
                      <a:pt x="80" y="15"/>
                      <a:pt x="62" y="19"/>
                      <a:pt x="40" y="19"/>
                    </a:cubicBezTo>
                    <a:cubicBezTo>
                      <a:pt x="19" y="19"/>
                      <a:pt x="1" y="15"/>
                      <a:pt x="0" y="10"/>
                    </a:cubicBezTo>
                    <a:cubicBezTo>
                      <a:pt x="0" y="10"/>
                      <a:pt x="0" y="10"/>
                      <a:pt x="0" y="10"/>
                    </a:cubicBezTo>
                    <a:cubicBezTo>
                      <a:pt x="0" y="10"/>
                      <a:pt x="0" y="10"/>
                      <a:pt x="0" y="10"/>
                    </a:cubicBezTo>
                    <a:cubicBezTo>
                      <a:pt x="0" y="4"/>
                      <a:pt x="18" y="0"/>
                      <a:pt x="40" y="0"/>
                    </a:cubicBezTo>
                    <a:cubicBezTo>
                      <a:pt x="62" y="0"/>
                      <a:pt x="80" y="4"/>
                      <a:pt x="80" y="10"/>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Line 349">
                <a:extLst>
                  <a:ext uri="{FF2B5EF4-FFF2-40B4-BE49-F238E27FC236}">
                    <a16:creationId xmlns:a16="http://schemas.microsoft.com/office/drawing/2014/main" id="{FFEC7719-6B88-4033-B1F9-1726351CFCBB}"/>
                  </a:ext>
                </a:extLst>
              </p:cNvPr>
              <p:cNvSpPr>
                <a:spLocks noChangeShapeType="1"/>
              </p:cNvSpPr>
              <p:nvPr/>
            </p:nvSpPr>
            <p:spPr bwMode="auto">
              <a:xfrm>
                <a:off x="10674351" y="4065588"/>
                <a:ext cx="0" cy="0"/>
              </a:xfrm>
              <a:prstGeom prst="line">
                <a:avLst/>
              </a:prstGeom>
              <a:grp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Line 350">
                <a:extLst>
                  <a:ext uri="{FF2B5EF4-FFF2-40B4-BE49-F238E27FC236}">
                    <a16:creationId xmlns:a16="http://schemas.microsoft.com/office/drawing/2014/main" id="{0E183A12-2B6D-4DB2-8E98-9FE01E544C69}"/>
                  </a:ext>
                </a:extLst>
              </p:cNvPr>
              <p:cNvSpPr>
                <a:spLocks noChangeShapeType="1"/>
              </p:cNvSpPr>
              <p:nvPr/>
            </p:nvSpPr>
            <p:spPr bwMode="auto">
              <a:xfrm>
                <a:off x="10674351" y="4065588"/>
                <a:ext cx="0" cy="0"/>
              </a:xfrm>
              <a:prstGeom prst="line">
                <a:avLst/>
              </a:prstGeom>
              <a:grpFill/>
              <a:ln w="317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687" name="Group 686">
            <a:extLst>
              <a:ext uri="{FF2B5EF4-FFF2-40B4-BE49-F238E27FC236}">
                <a16:creationId xmlns:a16="http://schemas.microsoft.com/office/drawing/2014/main" id="{EDAC5690-CDD5-4D38-9C0C-B9CAD3A17CBE}"/>
              </a:ext>
              <a:ext uri="{C183D7F6-B498-43B3-948B-1728B52AA6E4}">
                <adec:decorative xmlns:adec="http://schemas.microsoft.com/office/drawing/2017/decorative" val="1"/>
              </a:ext>
            </a:extLst>
          </p:cNvPr>
          <p:cNvGrpSpPr/>
          <p:nvPr/>
        </p:nvGrpSpPr>
        <p:grpSpPr>
          <a:xfrm>
            <a:off x="6660790" y="3556989"/>
            <a:ext cx="763089" cy="720000"/>
            <a:chOff x="6660790" y="3471317"/>
            <a:chExt cx="763089" cy="720000"/>
          </a:xfrm>
        </p:grpSpPr>
        <p:sp>
          <p:nvSpPr>
            <p:cNvPr id="218" name="Freeform 7">
              <a:extLst>
                <a:ext uri="{FF2B5EF4-FFF2-40B4-BE49-F238E27FC236}">
                  <a16:creationId xmlns:a16="http://schemas.microsoft.com/office/drawing/2014/main" id="{09A98D62-5106-445C-9071-D3F70B3BBA28}"/>
                </a:ext>
              </a:extLst>
            </p:cNvPr>
            <p:cNvSpPr>
              <a:spLocks/>
            </p:cNvSpPr>
            <p:nvPr/>
          </p:nvSpPr>
          <p:spPr bwMode="auto">
            <a:xfrm>
              <a:off x="6660790" y="3471317"/>
              <a:ext cx="763089" cy="720000"/>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8" y="53"/>
                  </a:cubicBezTo>
                  <a:cubicBezTo>
                    <a:pt x="232" y="96"/>
                    <a:pt x="218" y="152"/>
                    <a:pt x="172" y="185"/>
                  </a:cubicBezTo>
                  <a:cubicBezTo>
                    <a:pt x="127" y="217"/>
                    <a:pt x="66" y="213"/>
                    <a:pt x="33" y="17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19" name="Groupe 321">
              <a:extLst>
                <a:ext uri="{FF2B5EF4-FFF2-40B4-BE49-F238E27FC236}">
                  <a16:creationId xmlns:a16="http://schemas.microsoft.com/office/drawing/2014/main" id="{A885083D-2509-48D0-A118-7E10DB704CAD}"/>
                </a:ext>
              </a:extLst>
            </p:cNvPr>
            <p:cNvGrpSpPr/>
            <p:nvPr/>
          </p:nvGrpSpPr>
          <p:grpSpPr>
            <a:xfrm>
              <a:off x="6913763" y="3667301"/>
              <a:ext cx="257143" cy="311351"/>
              <a:chOff x="2138363" y="871538"/>
              <a:chExt cx="293688" cy="355600"/>
            </a:xfrm>
            <a:solidFill>
              <a:schemeClr val="bg1"/>
            </a:solidFill>
          </p:grpSpPr>
          <p:sp>
            <p:nvSpPr>
              <p:cNvPr id="220" name="Freeform 33">
                <a:extLst>
                  <a:ext uri="{FF2B5EF4-FFF2-40B4-BE49-F238E27FC236}">
                    <a16:creationId xmlns:a16="http://schemas.microsoft.com/office/drawing/2014/main" id="{77409FB4-754B-48CE-A2EC-D440C36AD9E0}"/>
                  </a:ext>
                </a:extLst>
              </p:cNvPr>
              <p:cNvSpPr>
                <a:spLocks/>
              </p:cNvSpPr>
              <p:nvPr/>
            </p:nvSpPr>
            <p:spPr bwMode="auto">
              <a:xfrm>
                <a:off x="2319338" y="871538"/>
                <a:ext cx="112713" cy="98425"/>
              </a:xfrm>
              <a:custGeom>
                <a:avLst/>
                <a:gdLst>
                  <a:gd name="T0" fmla="*/ 71 w 71"/>
                  <a:gd name="T1" fmla="*/ 62 h 62"/>
                  <a:gd name="T2" fmla="*/ 0 w 71"/>
                  <a:gd name="T3" fmla="*/ 62 h 62"/>
                  <a:gd name="T4" fmla="*/ 0 w 71"/>
                  <a:gd name="T5" fmla="*/ 0 h 62"/>
                  <a:gd name="T6" fmla="*/ 71 w 71"/>
                  <a:gd name="T7" fmla="*/ 62 h 62"/>
                </a:gdLst>
                <a:ahLst/>
                <a:cxnLst>
                  <a:cxn ang="0">
                    <a:pos x="T0" y="T1"/>
                  </a:cxn>
                  <a:cxn ang="0">
                    <a:pos x="T2" y="T3"/>
                  </a:cxn>
                  <a:cxn ang="0">
                    <a:pos x="T4" y="T5"/>
                  </a:cxn>
                  <a:cxn ang="0">
                    <a:pos x="T6" y="T7"/>
                  </a:cxn>
                </a:cxnLst>
                <a:rect l="0" t="0" r="r" b="b"/>
                <a:pathLst>
                  <a:path w="71" h="62">
                    <a:moveTo>
                      <a:pt x="71" y="62"/>
                    </a:moveTo>
                    <a:lnTo>
                      <a:pt x="0" y="62"/>
                    </a:lnTo>
                    <a:lnTo>
                      <a:pt x="0" y="0"/>
                    </a:lnTo>
                    <a:lnTo>
                      <a:pt x="71" y="6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34">
                <a:extLst>
                  <a:ext uri="{FF2B5EF4-FFF2-40B4-BE49-F238E27FC236}">
                    <a16:creationId xmlns:a16="http://schemas.microsoft.com/office/drawing/2014/main" id="{5F816779-49B3-4023-AC20-0CB3DF9AC621}"/>
                  </a:ext>
                </a:extLst>
              </p:cNvPr>
              <p:cNvSpPr>
                <a:spLocks/>
              </p:cNvSpPr>
              <p:nvPr/>
            </p:nvSpPr>
            <p:spPr bwMode="auto">
              <a:xfrm>
                <a:off x="2138363" y="871538"/>
                <a:ext cx="293688" cy="355600"/>
              </a:xfrm>
              <a:custGeom>
                <a:avLst/>
                <a:gdLst>
                  <a:gd name="T0" fmla="*/ 78 w 78"/>
                  <a:gd name="T1" fmla="*/ 26 h 94"/>
                  <a:gd name="T2" fmla="*/ 78 w 78"/>
                  <a:gd name="T3" fmla="*/ 77 h 94"/>
                  <a:gd name="T4" fmla="*/ 61 w 78"/>
                  <a:gd name="T5" fmla="*/ 94 h 94"/>
                  <a:gd name="T6" fmla="*/ 0 w 78"/>
                  <a:gd name="T7" fmla="*/ 94 h 94"/>
                  <a:gd name="T8" fmla="*/ 0 w 78"/>
                  <a:gd name="T9" fmla="*/ 0 h 94"/>
                  <a:gd name="T10" fmla="*/ 48 w 78"/>
                  <a:gd name="T11" fmla="*/ 0 h 94"/>
                  <a:gd name="T12" fmla="*/ 48 w 78"/>
                  <a:gd name="T13" fmla="*/ 26 h 94"/>
                  <a:gd name="T14" fmla="*/ 78 w 78"/>
                  <a:gd name="T15" fmla="*/ 26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4">
                    <a:moveTo>
                      <a:pt x="78" y="26"/>
                    </a:moveTo>
                    <a:cubicBezTo>
                      <a:pt x="78" y="77"/>
                      <a:pt x="78" y="77"/>
                      <a:pt x="78" y="77"/>
                    </a:cubicBezTo>
                    <a:cubicBezTo>
                      <a:pt x="78" y="86"/>
                      <a:pt x="70" y="94"/>
                      <a:pt x="61" y="94"/>
                    </a:cubicBezTo>
                    <a:cubicBezTo>
                      <a:pt x="40" y="93"/>
                      <a:pt x="5" y="93"/>
                      <a:pt x="0" y="94"/>
                    </a:cubicBezTo>
                    <a:cubicBezTo>
                      <a:pt x="0" y="0"/>
                      <a:pt x="0" y="0"/>
                      <a:pt x="0" y="0"/>
                    </a:cubicBezTo>
                    <a:cubicBezTo>
                      <a:pt x="48" y="0"/>
                      <a:pt x="48" y="0"/>
                      <a:pt x="48" y="0"/>
                    </a:cubicBezTo>
                    <a:cubicBezTo>
                      <a:pt x="48" y="26"/>
                      <a:pt x="48" y="26"/>
                      <a:pt x="48" y="26"/>
                    </a:cubicBezTo>
                    <a:lnTo>
                      <a:pt x="78" y="2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 name="Group 4">
            <a:extLst>
              <a:ext uri="{FF2B5EF4-FFF2-40B4-BE49-F238E27FC236}">
                <a16:creationId xmlns:a16="http://schemas.microsoft.com/office/drawing/2014/main" id="{801FFFC7-0E70-B54B-8FB7-1A724D3E6F48}"/>
              </a:ext>
              <a:ext uri="{C183D7F6-B498-43B3-948B-1728B52AA6E4}">
                <adec:decorative xmlns:adec="http://schemas.microsoft.com/office/drawing/2017/decorative" val="1"/>
              </a:ext>
            </a:extLst>
          </p:cNvPr>
          <p:cNvGrpSpPr/>
          <p:nvPr/>
        </p:nvGrpSpPr>
        <p:grpSpPr>
          <a:xfrm>
            <a:off x="8777206" y="2408238"/>
            <a:ext cx="767666" cy="720000"/>
            <a:chOff x="8777206" y="2408238"/>
            <a:chExt cx="767666" cy="720000"/>
          </a:xfrm>
        </p:grpSpPr>
        <p:sp>
          <p:nvSpPr>
            <p:cNvPr id="222" name="Freeform 231">
              <a:extLst>
                <a:ext uri="{FF2B5EF4-FFF2-40B4-BE49-F238E27FC236}">
                  <a16:creationId xmlns:a16="http://schemas.microsoft.com/office/drawing/2014/main" id="{84FF348A-BBA6-4007-AE8E-2E5B5C81ECF9}"/>
                </a:ext>
                <a:ext uri="{C183D7F6-B498-43B3-948B-1728B52AA6E4}">
                  <adec:decorative xmlns:adec="http://schemas.microsoft.com/office/drawing/2017/decorative" val="1"/>
                </a:ext>
              </a:extLst>
            </p:cNvPr>
            <p:cNvSpPr>
              <a:spLocks noChangeAspect="1"/>
            </p:cNvSpPr>
            <p:nvPr/>
          </p:nvSpPr>
          <p:spPr bwMode="auto">
            <a:xfrm>
              <a:off x="8777206" y="2408238"/>
              <a:ext cx="767666" cy="720000"/>
            </a:xfrm>
            <a:custGeom>
              <a:avLst/>
              <a:gdLst>
                <a:gd name="T0" fmla="*/ 37 w 259"/>
                <a:gd name="T1" fmla="*/ 189 h 242"/>
                <a:gd name="T2" fmla="*/ 62 w 259"/>
                <a:gd name="T3" fmla="*/ 36 h 242"/>
                <a:gd name="T4" fmla="*/ 222 w 259"/>
                <a:gd name="T5" fmla="*/ 59 h 242"/>
                <a:gd name="T6" fmla="*/ 193 w 259"/>
                <a:gd name="T7" fmla="*/ 206 h 242"/>
                <a:gd name="T8" fmla="*/ 37 w 259"/>
                <a:gd name="T9" fmla="*/ 189 h 242"/>
              </a:gdLst>
              <a:ahLst/>
              <a:cxnLst>
                <a:cxn ang="0">
                  <a:pos x="T0" y="T1"/>
                </a:cxn>
                <a:cxn ang="0">
                  <a:pos x="T2" y="T3"/>
                </a:cxn>
                <a:cxn ang="0">
                  <a:pos x="T4" y="T5"/>
                </a:cxn>
                <a:cxn ang="0">
                  <a:pos x="T6" y="T7"/>
                </a:cxn>
                <a:cxn ang="0">
                  <a:pos x="T8" y="T9"/>
                </a:cxn>
              </a:cxnLst>
              <a:rect l="0" t="0" r="r" b="b"/>
              <a:pathLst>
                <a:path w="259" h="242">
                  <a:moveTo>
                    <a:pt x="37" y="189"/>
                  </a:moveTo>
                  <a:cubicBezTo>
                    <a:pt x="0" y="141"/>
                    <a:pt x="11" y="72"/>
                    <a:pt x="62" y="36"/>
                  </a:cubicBezTo>
                  <a:cubicBezTo>
                    <a:pt x="113" y="0"/>
                    <a:pt x="185" y="10"/>
                    <a:pt x="222" y="59"/>
                  </a:cubicBezTo>
                  <a:cubicBezTo>
                    <a:pt x="259" y="107"/>
                    <a:pt x="244" y="170"/>
                    <a:pt x="193" y="206"/>
                  </a:cubicBezTo>
                  <a:cubicBezTo>
                    <a:pt x="142" y="242"/>
                    <a:pt x="75" y="238"/>
                    <a:pt x="37" y="18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223" name="Groupe 369">
              <a:extLst>
                <a:ext uri="{FF2B5EF4-FFF2-40B4-BE49-F238E27FC236}">
                  <a16:creationId xmlns:a16="http://schemas.microsoft.com/office/drawing/2014/main" id="{17B493DA-335F-4F89-8A10-5F2264935190}"/>
                </a:ext>
                <a:ext uri="{C183D7F6-B498-43B3-948B-1728B52AA6E4}">
                  <adec:decorative xmlns:adec="http://schemas.microsoft.com/office/drawing/2017/decorative" val="1"/>
                </a:ext>
              </a:extLst>
            </p:cNvPr>
            <p:cNvGrpSpPr/>
            <p:nvPr/>
          </p:nvGrpSpPr>
          <p:grpSpPr>
            <a:xfrm>
              <a:off x="8927729" y="2583848"/>
              <a:ext cx="441534" cy="368780"/>
              <a:chOff x="7648575" y="3670300"/>
              <a:chExt cx="558801" cy="466725"/>
            </a:xfrm>
            <a:solidFill>
              <a:schemeClr val="bg1"/>
            </a:solidFill>
          </p:grpSpPr>
          <p:sp>
            <p:nvSpPr>
              <p:cNvPr id="224" name="Freeform 232">
                <a:extLst>
                  <a:ext uri="{FF2B5EF4-FFF2-40B4-BE49-F238E27FC236}">
                    <a16:creationId xmlns:a16="http://schemas.microsoft.com/office/drawing/2014/main" id="{705D89CA-95AA-4456-A3D7-645CE162F145}"/>
                  </a:ext>
                </a:extLst>
              </p:cNvPr>
              <p:cNvSpPr>
                <a:spLocks noChangeAspect="1"/>
              </p:cNvSpPr>
              <p:nvPr/>
            </p:nvSpPr>
            <p:spPr bwMode="auto">
              <a:xfrm>
                <a:off x="7843838" y="3670300"/>
                <a:ext cx="363538" cy="430212"/>
              </a:xfrm>
              <a:custGeom>
                <a:avLst/>
                <a:gdLst>
                  <a:gd name="T0" fmla="*/ 73 w 97"/>
                  <a:gd name="T1" fmla="*/ 107 h 114"/>
                  <a:gd name="T2" fmla="*/ 76 w 97"/>
                  <a:gd name="T3" fmla="*/ 114 h 114"/>
                  <a:gd name="T4" fmla="*/ 2 w 97"/>
                  <a:gd name="T5" fmla="*/ 80 h 114"/>
                  <a:gd name="T6" fmla="*/ 2 w 97"/>
                  <a:gd name="T7" fmla="*/ 34 h 114"/>
                  <a:gd name="T8" fmla="*/ 0 w 97"/>
                  <a:gd name="T9" fmla="*/ 30 h 114"/>
                  <a:gd name="T10" fmla="*/ 0 w 97"/>
                  <a:gd name="T11" fmla="*/ 30 h 114"/>
                  <a:gd name="T12" fmla="*/ 66 w 97"/>
                  <a:gd name="T13" fmla="*/ 4 h 114"/>
                  <a:gd name="T14" fmla="*/ 76 w 97"/>
                  <a:gd name="T15" fmla="*/ 11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14">
                    <a:moveTo>
                      <a:pt x="73" y="107"/>
                    </a:moveTo>
                    <a:cubicBezTo>
                      <a:pt x="76" y="114"/>
                      <a:pt x="76" y="114"/>
                      <a:pt x="76" y="114"/>
                    </a:cubicBezTo>
                    <a:cubicBezTo>
                      <a:pt x="76" y="114"/>
                      <a:pt x="13" y="95"/>
                      <a:pt x="2" y="80"/>
                    </a:cubicBezTo>
                    <a:cubicBezTo>
                      <a:pt x="2" y="34"/>
                      <a:pt x="2" y="34"/>
                      <a:pt x="2" y="34"/>
                    </a:cubicBezTo>
                    <a:cubicBezTo>
                      <a:pt x="2" y="32"/>
                      <a:pt x="1" y="31"/>
                      <a:pt x="0" y="30"/>
                    </a:cubicBezTo>
                    <a:cubicBezTo>
                      <a:pt x="0" y="30"/>
                      <a:pt x="0" y="30"/>
                      <a:pt x="0" y="30"/>
                    </a:cubicBezTo>
                    <a:cubicBezTo>
                      <a:pt x="66" y="4"/>
                      <a:pt x="66" y="4"/>
                      <a:pt x="66" y="4"/>
                    </a:cubicBezTo>
                    <a:cubicBezTo>
                      <a:pt x="97" y="0"/>
                      <a:pt x="62" y="88"/>
                      <a:pt x="76" y="1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5" name="Freeform 233">
                <a:extLst>
                  <a:ext uri="{FF2B5EF4-FFF2-40B4-BE49-F238E27FC236}">
                    <a16:creationId xmlns:a16="http://schemas.microsoft.com/office/drawing/2014/main" id="{6E5131A7-B0CB-4509-8872-811AAC39484C}"/>
                  </a:ext>
                </a:extLst>
              </p:cNvPr>
              <p:cNvSpPr>
                <a:spLocks noChangeAspect="1"/>
              </p:cNvSpPr>
              <p:nvPr/>
            </p:nvSpPr>
            <p:spPr bwMode="auto">
              <a:xfrm>
                <a:off x="7648575" y="3790950"/>
                <a:ext cx="187325" cy="188912"/>
              </a:xfrm>
              <a:custGeom>
                <a:avLst/>
                <a:gdLst>
                  <a:gd name="T0" fmla="*/ 24 w 50"/>
                  <a:gd name="T1" fmla="*/ 0 h 50"/>
                  <a:gd name="T2" fmla="*/ 48 w 50"/>
                  <a:gd name="T3" fmla="*/ 0 h 50"/>
                  <a:gd name="T4" fmla="*/ 50 w 50"/>
                  <a:gd name="T5" fmla="*/ 2 h 50"/>
                  <a:gd name="T6" fmla="*/ 50 w 50"/>
                  <a:gd name="T7" fmla="*/ 48 h 50"/>
                  <a:gd name="T8" fmla="*/ 48 w 50"/>
                  <a:gd name="T9" fmla="*/ 50 h 50"/>
                  <a:gd name="T10" fmla="*/ 24 w 50"/>
                  <a:gd name="T11" fmla="*/ 50 h 50"/>
                  <a:gd name="T12" fmla="*/ 12 w 50"/>
                  <a:gd name="T13" fmla="*/ 6 h 50"/>
                  <a:gd name="T14" fmla="*/ 24 w 50"/>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0">
                    <a:moveTo>
                      <a:pt x="24" y="0"/>
                    </a:moveTo>
                    <a:cubicBezTo>
                      <a:pt x="48" y="0"/>
                      <a:pt x="48" y="0"/>
                      <a:pt x="48" y="0"/>
                    </a:cubicBezTo>
                    <a:cubicBezTo>
                      <a:pt x="50" y="0"/>
                      <a:pt x="50" y="1"/>
                      <a:pt x="50" y="2"/>
                    </a:cubicBezTo>
                    <a:cubicBezTo>
                      <a:pt x="50" y="48"/>
                      <a:pt x="50" y="48"/>
                      <a:pt x="50" y="48"/>
                    </a:cubicBezTo>
                    <a:cubicBezTo>
                      <a:pt x="50" y="49"/>
                      <a:pt x="50" y="50"/>
                      <a:pt x="48" y="50"/>
                    </a:cubicBezTo>
                    <a:cubicBezTo>
                      <a:pt x="24" y="50"/>
                      <a:pt x="24" y="50"/>
                      <a:pt x="24" y="50"/>
                    </a:cubicBezTo>
                    <a:cubicBezTo>
                      <a:pt x="0" y="44"/>
                      <a:pt x="19" y="20"/>
                      <a:pt x="12" y="6"/>
                    </a:cubicBezTo>
                    <a:cubicBezTo>
                      <a:pt x="13" y="0"/>
                      <a:pt x="1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6" name="Freeform 234">
                <a:extLst>
                  <a:ext uri="{FF2B5EF4-FFF2-40B4-BE49-F238E27FC236}">
                    <a16:creationId xmlns:a16="http://schemas.microsoft.com/office/drawing/2014/main" id="{AC52B180-DCF8-45E1-A344-529845981BDB}"/>
                  </a:ext>
                </a:extLst>
              </p:cNvPr>
              <p:cNvSpPr>
                <a:spLocks noChangeAspect="1"/>
              </p:cNvSpPr>
              <p:nvPr/>
            </p:nvSpPr>
            <p:spPr bwMode="auto">
              <a:xfrm>
                <a:off x="7735888" y="3990975"/>
                <a:ext cx="74613" cy="146050"/>
              </a:xfrm>
              <a:custGeom>
                <a:avLst/>
                <a:gdLst>
                  <a:gd name="T0" fmla="*/ 20 w 20"/>
                  <a:gd name="T1" fmla="*/ 0 h 39"/>
                  <a:gd name="T2" fmla="*/ 20 w 20"/>
                  <a:gd name="T3" fmla="*/ 33 h 39"/>
                  <a:gd name="T4" fmla="*/ 10 w 20"/>
                  <a:gd name="T5" fmla="*/ 36 h 39"/>
                  <a:gd name="T6" fmla="*/ 0 w 20"/>
                  <a:gd name="T7" fmla="*/ 33 h 39"/>
                  <a:gd name="T8" fmla="*/ 0 w 20"/>
                  <a:gd name="T9" fmla="*/ 0 h 39"/>
                  <a:gd name="T10" fmla="*/ 1 w 20"/>
                  <a:gd name="T11" fmla="*/ 0 h 39"/>
                  <a:gd name="T12" fmla="*/ 20 w 2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0" h="39">
                    <a:moveTo>
                      <a:pt x="20" y="0"/>
                    </a:moveTo>
                    <a:cubicBezTo>
                      <a:pt x="20" y="33"/>
                      <a:pt x="20" y="33"/>
                      <a:pt x="20" y="33"/>
                    </a:cubicBezTo>
                    <a:cubicBezTo>
                      <a:pt x="14" y="32"/>
                      <a:pt x="10" y="36"/>
                      <a:pt x="10" y="36"/>
                    </a:cubicBezTo>
                    <a:cubicBezTo>
                      <a:pt x="2" y="39"/>
                      <a:pt x="0" y="34"/>
                      <a:pt x="0" y="33"/>
                    </a:cubicBezTo>
                    <a:cubicBezTo>
                      <a:pt x="0" y="0"/>
                      <a:pt x="0" y="0"/>
                      <a:pt x="0" y="0"/>
                    </a:cubicBezTo>
                    <a:cubicBezTo>
                      <a:pt x="0" y="0"/>
                      <a:pt x="1" y="0"/>
                      <a:pt x="1" y="0"/>
                    </a:cubicBezTo>
                    <a:cubicBezTo>
                      <a:pt x="20" y="0"/>
                      <a:pt x="20"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7" name="Freeform 235">
                <a:extLst>
                  <a:ext uri="{FF2B5EF4-FFF2-40B4-BE49-F238E27FC236}">
                    <a16:creationId xmlns:a16="http://schemas.microsoft.com/office/drawing/2014/main" id="{88643AB8-3451-4233-AC16-9F9714DA5799}"/>
                  </a:ext>
                </a:extLst>
              </p:cNvPr>
              <p:cNvSpPr>
                <a:spLocks noChangeAspect="1"/>
              </p:cNvSpPr>
              <p:nvPr/>
            </p:nvSpPr>
            <p:spPr bwMode="auto">
              <a:xfrm>
                <a:off x="8132763" y="3851275"/>
                <a:ext cx="68263" cy="117475"/>
              </a:xfrm>
              <a:custGeom>
                <a:avLst/>
                <a:gdLst>
                  <a:gd name="T0" fmla="*/ 4 w 18"/>
                  <a:gd name="T1" fmla="*/ 0 h 31"/>
                  <a:gd name="T2" fmla="*/ 0 w 18"/>
                  <a:gd name="T3" fmla="*/ 31 h 31"/>
                  <a:gd name="T4" fmla="*/ 16 w 18"/>
                  <a:gd name="T5" fmla="*/ 18 h 31"/>
                  <a:gd name="T6" fmla="*/ 4 w 18"/>
                  <a:gd name="T7" fmla="*/ 0 h 31"/>
                </a:gdLst>
                <a:ahLst/>
                <a:cxnLst>
                  <a:cxn ang="0">
                    <a:pos x="T0" y="T1"/>
                  </a:cxn>
                  <a:cxn ang="0">
                    <a:pos x="T2" y="T3"/>
                  </a:cxn>
                  <a:cxn ang="0">
                    <a:pos x="T4" y="T5"/>
                  </a:cxn>
                  <a:cxn ang="0">
                    <a:pos x="T6" y="T7"/>
                  </a:cxn>
                </a:cxnLst>
                <a:rect l="0" t="0" r="r" b="b"/>
                <a:pathLst>
                  <a:path w="18" h="31">
                    <a:moveTo>
                      <a:pt x="4" y="0"/>
                    </a:moveTo>
                    <a:cubicBezTo>
                      <a:pt x="4" y="0"/>
                      <a:pt x="4" y="16"/>
                      <a:pt x="0" y="31"/>
                    </a:cubicBezTo>
                    <a:cubicBezTo>
                      <a:pt x="0" y="31"/>
                      <a:pt x="14" y="28"/>
                      <a:pt x="16" y="18"/>
                    </a:cubicBezTo>
                    <a:cubicBezTo>
                      <a:pt x="16" y="18"/>
                      <a:pt x="18" y="3"/>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sp>
        <p:nvSpPr>
          <p:cNvPr id="228" name="Rectangle 190">
            <a:extLst>
              <a:ext uri="{FF2B5EF4-FFF2-40B4-BE49-F238E27FC236}">
                <a16:creationId xmlns:a16="http://schemas.microsoft.com/office/drawing/2014/main" id="{ACD94E2A-2ED5-4772-8200-2ED3953B6192}"/>
              </a:ext>
              <a:ext uri="{C183D7F6-B498-43B3-948B-1728B52AA6E4}">
                <adec:decorative xmlns:adec="http://schemas.microsoft.com/office/drawing/2017/decorative" val="1"/>
              </a:ext>
            </a:extLst>
          </p:cNvPr>
          <p:cNvSpPr>
            <a:spLocks noChangeArrowheads="1"/>
          </p:cNvSpPr>
          <p:nvPr/>
        </p:nvSpPr>
        <p:spPr bwMode="auto">
          <a:xfrm>
            <a:off x="10587213" y="2066689"/>
            <a:ext cx="38472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n-lt"/>
              </a:rPr>
              <a:t>Server</a:t>
            </a:r>
            <a:endParaRPr kumimoji="0" lang="fr-FR" altLang="fr-FR" sz="900" b="0" i="0" u="none" strike="noStrike" cap="none" normalizeH="0" baseline="0">
              <a:ln>
                <a:noFill/>
              </a:ln>
              <a:solidFill>
                <a:schemeClr val="tx1"/>
              </a:solidFill>
              <a:effectLst/>
              <a:latin typeface="+mn-lt"/>
            </a:endParaRPr>
          </a:p>
        </p:txBody>
      </p:sp>
      <p:grpSp>
        <p:nvGrpSpPr>
          <p:cNvPr id="229" name="Group 228">
            <a:extLst>
              <a:ext uri="{FF2B5EF4-FFF2-40B4-BE49-F238E27FC236}">
                <a16:creationId xmlns:a16="http://schemas.microsoft.com/office/drawing/2014/main" id="{D345B105-A685-457B-AF13-7DF3C1DD3410}"/>
              </a:ext>
              <a:ext uri="{C183D7F6-B498-43B3-948B-1728B52AA6E4}">
                <adec:decorative xmlns:adec="http://schemas.microsoft.com/office/drawing/2017/decorative" val="1"/>
              </a:ext>
            </a:extLst>
          </p:cNvPr>
          <p:cNvGrpSpPr/>
          <p:nvPr/>
        </p:nvGrpSpPr>
        <p:grpSpPr>
          <a:xfrm>
            <a:off x="7632077" y="1185961"/>
            <a:ext cx="765852" cy="720000"/>
            <a:chOff x="1310898" y="1269000"/>
            <a:chExt cx="765852" cy="720000"/>
          </a:xfrm>
        </p:grpSpPr>
        <p:sp>
          <p:nvSpPr>
            <p:cNvPr id="230" name="Freeform 21">
              <a:extLst>
                <a:ext uri="{FF2B5EF4-FFF2-40B4-BE49-F238E27FC236}">
                  <a16:creationId xmlns:a16="http://schemas.microsoft.com/office/drawing/2014/main" id="{304C2A5A-C436-4251-8487-E47C57AC31A0}"/>
                </a:ext>
              </a:extLst>
            </p:cNvPr>
            <p:cNvSpPr>
              <a:spLocks/>
            </p:cNvSpPr>
            <p:nvPr/>
          </p:nvSpPr>
          <p:spPr bwMode="auto">
            <a:xfrm>
              <a:off x="1310898" y="1269000"/>
              <a:ext cx="765852" cy="720000"/>
            </a:xfrm>
            <a:custGeom>
              <a:avLst/>
              <a:gdLst>
                <a:gd name="T0" fmla="*/ 42 w 290"/>
                <a:gd name="T1" fmla="*/ 211 h 270"/>
                <a:gd name="T2" fmla="*/ 70 w 290"/>
                <a:gd name="T3" fmla="*/ 40 h 270"/>
                <a:gd name="T4" fmla="*/ 248 w 290"/>
                <a:gd name="T5" fmla="*/ 65 h 270"/>
                <a:gd name="T6" fmla="*/ 216 w 290"/>
                <a:gd name="T7" fmla="*/ 230 h 270"/>
                <a:gd name="T8" fmla="*/ 42 w 290"/>
                <a:gd name="T9" fmla="*/ 211 h 270"/>
              </a:gdLst>
              <a:ahLst/>
              <a:cxnLst>
                <a:cxn ang="0">
                  <a:pos x="T0" y="T1"/>
                </a:cxn>
                <a:cxn ang="0">
                  <a:pos x="T2" y="T3"/>
                </a:cxn>
                <a:cxn ang="0">
                  <a:pos x="T4" y="T5"/>
                </a:cxn>
                <a:cxn ang="0">
                  <a:pos x="T6" y="T7"/>
                </a:cxn>
                <a:cxn ang="0">
                  <a:pos x="T8" y="T9"/>
                </a:cxn>
              </a:cxnLst>
              <a:rect l="0" t="0" r="r" b="b"/>
              <a:pathLst>
                <a:path w="290" h="270">
                  <a:moveTo>
                    <a:pt x="42" y="211"/>
                  </a:moveTo>
                  <a:cubicBezTo>
                    <a:pt x="0" y="157"/>
                    <a:pt x="13" y="80"/>
                    <a:pt x="70" y="40"/>
                  </a:cubicBezTo>
                  <a:cubicBezTo>
                    <a:pt x="127" y="0"/>
                    <a:pt x="207" y="11"/>
                    <a:pt x="248" y="65"/>
                  </a:cubicBezTo>
                  <a:cubicBezTo>
                    <a:pt x="290" y="120"/>
                    <a:pt x="273" y="190"/>
                    <a:pt x="216" y="230"/>
                  </a:cubicBezTo>
                  <a:cubicBezTo>
                    <a:pt x="159" y="270"/>
                    <a:pt x="84" y="266"/>
                    <a:pt x="42" y="211"/>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31" name="Groupe 434">
              <a:extLst>
                <a:ext uri="{FF2B5EF4-FFF2-40B4-BE49-F238E27FC236}">
                  <a16:creationId xmlns:a16="http://schemas.microsoft.com/office/drawing/2014/main" id="{A4B3BE4E-C2AC-4873-9DFC-2D9BA9CDDB7D}"/>
                </a:ext>
              </a:extLst>
            </p:cNvPr>
            <p:cNvGrpSpPr/>
            <p:nvPr/>
          </p:nvGrpSpPr>
          <p:grpSpPr>
            <a:xfrm>
              <a:off x="1546601" y="1421428"/>
              <a:ext cx="330965" cy="431256"/>
              <a:chOff x="5211763" y="658813"/>
              <a:chExt cx="523875" cy="682625"/>
            </a:xfrm>
            <a:solidFill>
              <a:schemeClr val="bg1"/>
            </a:solidFill>
          </p:grpSpPr>
          <p:sp>
            <p:nvSpPr>
              <p:cNvPr id="232" name="Freeform 22">
                <a:extLst>
                  <a:ext uri="{FF2B5EF4-FFF2-40B4-BE49-F238E27FC236}">
                    <a16:creationId xmlns:a16="http://schemas.microsoft.com/office/drawing/2014/main" id="{E43EFFB7-5F57-44EC-90CA-A354185283AD}"/>
                  </a:ext>
                </a:extLst>
              </p:cNvPr>
              <p:cNvSpPr>
                <a:spLocks/>
              </p:cNvSpPr>
              <p:nvPr/>
            </p:nvSpPr>
            <p:spPr bwMode="auto">
              <a:xfrm>
                <a:off x="5400676" y="825500"/>
                <a:ext cx="165100" cy="215900"/>
              </a:xfrm>
              <a:custGeom>
                <a:avLst/>
                <a:gdLst>
                  <a:gd name="T0" fmla="*/ 0 w 49"/>
                  <a:gd name="T1" fmla="*/ 42 h 63"/>
                  <a:gd name="T2" fmla="*/ 0 w 49"/>
                  <a:gd name="T3" fmla="*/ 63 h 63"/>
                  <a:gd name="T4" fmla="*/ 49 w 49"/>
                  <a:gd name="T5" fmla="*/ 57 h 63"/>
                  <a:gd name="T6" fmla="*/ 49 w 49"/>
                  <a:gd name="T7" fmla="*/ 52 h 63"/>
                  <a:gd name="T8" fmla="*/ 0 w 49"/>
                  <a:gd name="T9" fmla="*/ 0 h 63"/>
                  <a:gd name="T10" fmla="*/ 0 w 49"/>
                  <a:gd name="T11" fmla="*/ 20 h 63"/>
                  <a:gd name="T12" fmla="*/ 5 w 49"/>
                  <a:gd name="T13" fmla="*/ 31 h 63"/>
                  <a:gd name="T14" fmla="*/ 0 w 49"/>
                  <a:gd name="T15" fmla="*/ 4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3">
                    <a:moveTo>
                      <a:pt x="0" y="42"/>
                    </a:moveTo>
                    <a:cubicBezTo>
                      <a:pt x="0" y="63"/>
                      <a:pt x="0" y="63"/>
                      <a:pt x="0" y="63"/>
                    </a:cubicBezTo>
                    <a:cubicBezTo>
                      <a:pt x="18" y="63"/>
                      <a:pt x="34" y="61"/>
                      <a:pt x="49" y="57"/>
                    </a:cubicBezTo>
                    <a:cubicBezTo>
                      <a:pt x="49" y="52"/>
                      <a:pt x="49" y="52"/>
                      <a:pt x="49" y="52"/>
                    </a:cubicBezTo>
                    <a:cubicBezTo>
                      <a:pt x="49" y="25"/>
                      <a:pt x="27" y="2"/>
                      <a:pt x="0" y="0"/>
                    </a:cubicBezTo>
                    <a:cubicBezTo>
                      <a:pt x="0" y="20"/>
                      <a:pt x="0" y="20"/>
                      <a:pt x="0" y="20"/>
                    </a:cubicBezTo>
                    <a:cubicBezTo>
                      <a:pt x="3" y="22"/>
                      <a:pt x="5" y="26"/>
                      <a:pt x="5" y="31"/>
                    </a:cubicBezTo>
                    <a:cubicBezTo>
                      <a:pt x="5" y="36"/>
                      <a:pt x="3" y="40"/>
                      <a:pt x="0" y="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23">
                <a:extLst>
                  <a:ext uri="{FF2B5EF4-FFF2-40B4-BE49-F238E27FC236}">
                    <a16:creationId xmlns:a16="http://schemas.microsoft.com/office/drawing/2014/main" id="{7D64233E-CF69-42B8-87BC-B0212BC3F7E2}"/>
                  </a:ext>
                </a:extLst>
              </p:cNvPr>
              <p:cNvSpPr>
                <a:spLocks/>
              </p:cNvSpPr>
              <p:nvPr/>
            </p:nvSpPr>
            <p:spPr bwMode="auto">
              <a:xfrm>
                <a:off x="5211763" y="825500"/>
                <a:ext cx="165100" cy="215900"/>
              </a:xfrm>
              <a:custGeom>
                <a:avLst/>
                <a:gdLst>
                  <a:gd name="T0" fmla="*/ 49 w 49"/>
                  <a:gd name="T1" fmla="*/ 42 h 63"/>
                  <a:gd name="T2" fmla="*/ 44 w 49"/>
                  <a:gd name="T3" fmla="*/ 31 h 63"/>
                  <a:gd name="T4" fmla="*/ 49 w 49"/>
                  <a:gd name="T5" fmla="*/ 20 h 63"/>
                  <a:gd name="T6" fmla="*/ 49 w 49"/>
                  <a:gd name="T7" fmla="*/ 0 h 63"/>
                  <a:gd name="T8" fmla="*/ 0 w 49"/>
                  <a:gd name="T9" fmla="*/ 52 h 63"/>
                  <a:gd name="T10" fmla="*/ 0 w 49"/>
                  <a:gd name="T11" fmla="*/ 57 h 63"/>
                  <a:gd name="T12" fmla="*/ 49 w 49"/>
                  <a:gd name="T13" fmla="*/ 63 h 63"/>
                  <a:gd name="T14" fmla="*/ 49 w 49"/>
                  <a:gd name="T15" fmla="*/ 4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3">
                    <a:moveTo>
                      <a:pt x="49" y="42"/>
                    </a:moveTo>
                    <a:cubicBezTo>
                      <a:pt x="46" y="40"/>
                      <a:pt x="44" y="36"/>
                      <a:pt x="44" y="31"/>
                    </a:cubicBezTo>
                    <a:cubicBezTo>
                      <a:pt x="44" y="26"/>
                      <a:pt x="46" y="22"/>
                      <a:pt x="49" y="20"/>
                    </a:cubicBezTo>
                    <a:cubicBezTo>
                      <a:pt x="49" y="0"/>
                      <a:pt x="49" y="0"/>
                      <a:pt x="49" y="0"/>
                    </a:cubicBezTo>
                    <a:cubicBezTo>
                      <a:pt x="22" y="2"/>
                      <a:pt x="0" y="25"/>
                      <a:pt x="0" y="52"/>
                    </a:cubicBezTo>
                    <a:cubicBezTo>
                      <a:pt x="0" y="57"/>
                      <a:pt x="0" y="57"/>
                      <a:pt x="0" y="57"/>
                    </a:cubicBezTo>
                    <a:cubicBezTo>
                      <a:pt x="15" y="55"/>
                      <a:pt x="31" y="63"/>
                      <a:pt x="49" y="63"/>
                    </a:cubicBezTo>
                    <a:lnTo>
                      <a:pt x="4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24">
                <a:extLst>
                  <a:ext uri="{FF2B5EF4-FFF2-40B4-BE49-F238E27FC236}">
                    <a16:creationId xmlns:a16="http://schemas.microsoft.com/office/drawing/2014/main" id="{97A47130-AC6A-4FFC-8931-7D898DEA559F}"/>
                  </a:ext>
                </a:extLst>
              </p:cNvPr>
              <p:cNvSpPr>
                <a:spLocks/>
              </p:cNvSpPr>
              <p:nvPr/>
            </p:nvSpPr>
            <p:spPr bwMode="auto">
              <a:xfrm>
                <a:off x="5211763" y="1035050"/>
                <a:ext cx="354013" cy="306388"/>
              </a:xfrm>
              <a:custGeom>
                <a:avLst/>
                <a:gdLst>
                  <a:gd name="T0" fmla="*/ 0 w 105"/>
                  <a:gd name="T1" fmla="*/ 3 h 90"/>
                  <a:gd name="T2" fmla="*/ 0 w 105"/>
                  <a:gd name="T3" fmla="*/ 38 h 90"/>
                  <a:gd name="T4" fmla="*/ 53 w 105"/>
                  <a:gd name="T5" fmla="*/ 90 h 90"/>
                  <a:gd name="T6" fmla="*/ 105 w 105"/>
                  <a:gd name="T7" fmla="*/ 38 h 90"/>
                  <a:gd name="T8" fmla="*/ 105 w 105"/>
                  <a:gd name="T9" fmla="*/ 3 h 90"/>
                  <a:gd name="T10" fmla="*/ 53 w 105"/>
                  <a:gd name="T11" fmla="*/ 10 h 90"/>
                  <a:gd name="T12" fmla="*/ 0 w 105"/>
                  <a:gd name="T13" fmla="*/ 3 h 90"/>
                </a:gdLst>
                <a:ahLst/>
                <a:cxnLst>
                  <a:cxn ang="0">
                    <a:pos x="T0" y="T1"/>
                  </a:cxn>
                  <a:cxn ang="0">
                    <a:pos x="T2" y="T3"/>
                  </a:cxn>
                  <a:cxn ang="0">
                    <a:pos x="T4" y="T5"/>
                  </a:cxn>
                  <a:cxn ang="0">
                    <a:pos x="T6" y="T7"/>
                  </a:cxn>
                  <a:cxn ang="0">
                    <a:pos x="T8" y="T9"/>
                  </a:cxn>
                  <a:cxn ang="0">
                    <a:pos x="T10" y="T11"/>
                  </a:cxn>
                  <a:cxn ang="0">
                    <a:pos x="T12" y="T13"/>
                  </a:cxn>
                </a:cxnLst>
                <a:rect l="0" t="0" r="r" b="b"/>
                <a:pathLst>
                  <a:path w="105" h="90">
                    <a:moveTo>
                      <a:pt x="0" y="3"/>
                    </a:moveTo>
                    <a:cubicBezTo>
                      <a:pt x="0" y="38"/>
                      <a:pt x="0" y="38"/>
                      <a:pt x="0" y="38"/>
                    </a:cubicBezTo>
                    <a:cubicBezTo>
                      <a:pt x="0" y="67"/>
                      <a:pt x="24" y="90"/>
                      <a:pt x="53" y="90"/>
                    </a:cubicBezTo>
                    <a:cubicBezTo>
                      <a:pt x="82" y="90"/>
                      <a:pt x="105" y="67"/>
                      <a:pt x="105" y="38"/>
                    </a:cubicBezTo>
                    <a:cubicBezTo>
                      <a:pt x="105" y="3"/>
                      <a:pt x="105" y="3"/>
                      <a:pt x="105" y="3"/>
                    </a:cubicBezTo>
                    <a:cubicBezTo>
                      <a:pt x="89" y="8"/>
                      <a:pt x="71" y="10"/>
                      <a:pt x="53" y="10"/>
                    </a:cubicBezTo>
                    <a:cubicBezTo>
                      <a:pt x="34" y="10"/>
                      <a:pt x="15" y="0"/>
                      <a:pt x="0"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25">
                <a:extLst>
                  <a:ext uri="{FF2B5EF4-FFF2-40B4-BE49-F238E27FC236}">
                    <a16:creationId xmlns:a16="http://schemas.microsoft.com/office/drawing/2014/main" id="{788E2313-83DB-4717-934D-CB871B7B7DBD}"/>
                  </a:ext>
                </a:extLst>
              </p:cNvPr>
              <p:cNvSpPr>
                <a:spLocks/>
              </p:cNvSpPr>
              <p:nvPr/>
            </p:nvSpPr>
            <p:spPr bwMode="auto">
              <a:xfrm>
                <a:off x="5370513" y="658813"/>
                <a:ext cx="365125" cy="311150"/>
              </a:xfrm>
              <a:custGeom>
                <a:avLst/>
                <a:gdLst>
                  <a:gd name="T0" fmla="*/ 104 w 108"/>
                  <a:gd name="T1" fmla="*/ 17 h 91"/>
                  <a:gd name="T2" fmla="*/ 103 w 108"/>
                  <a:gd name="T3" fmla="*/ 10 h 91"/>
                  <a:gd name="T4" fmla="*/ 100 w 108"/>
                  <a:gd name="T5" fmla="*/ 6 h 91"/>
                  <a:gd name="T6" fmla="*/ 95 w 108"/>
                  <a:gd name="T7" fmla="*/ 7 h 91"/>
                  <a:gd name="T8" fmla="*/ 93 w 108"/>
                  <a:gd name="T9" fmla="*/ 12 h 91"/>
                  <a:gd name="T10" fmla="*/ 94 w 108"/>
                  <a:gd name="T11" fmla="*/ 16 h 91"/>
                  <a:gd name="T12" fmla="*/ 98 w 108"/>
                  <a:gd name="T13" fmla="*/ 47 h 91"/>
                  <a:gd name="T14" fmla="*/ 96 w 108"/>
                  <a:gd name="T15" fmla="*/ 62 h 91"/>
                  <a:gd name="T16" fmla="*/ 92 w 108"/>
                  <a:gd name="T17" fmla="*/ 70 h 91"/>
                  <a:gd name="T18" fmla="*/ 71 w 108"/>
                  <a:gd name="T19" fmla="*/ 74 h 91"/>
                  <a:gd name="T20" fmla="*/ 63 w 108"/>
                  <a:gd name="T21" fmla="*/ 65 h 91"/>
                  <a:gd name="T22" fmla="*/ 54 w 108"/>
                  <a:gd name="T23" fmla="*/ 44 h 91"/>
                  <a:gd name="T24" fmla="*/ 53 w 108"/>
                  <a:gd name="T25" fmla="*/ 37 h 91"/>
                  <a:gd name="T26" fmla="*/ 44 w 108"/>
                  <a:gd name="T27" fmla="*/ 15 h 91"/>
                  <a:gd name="T28" fmla="*/ 34 w 108"/>
                  <a:gd name="T29" fmla="*/ 4 h 91"/>
                  <a:gd name="T30" fmla="*/ 13 w 108"/>
                  <a:gd name="T31" fmla="*/ 4 h 91"/>
                  <a:gd name="T32" fmla="*/ 5 w 108"/>
                  <a:gd name="T33" fmla="*/ 12 h 91"/>
                  <a:gd name="T34" fmla="*/ 1 w 108"/>
                  <a:gd name="T35" fmla="*/ 28 h 91"/>
                  <a:gd name="T36" fmla="*/ 0 w 108"/>
                  <a:gd name="T37" fmla="*/ 42 h 91"/>
                  <a:gd name="T38" fmla="*/ 11 w 108"/>
                  <a:gd name="T39" fmla="*/ 42 h 91"/>
                  <a:gd name="T40" fmla="*/ 12 w 108"/>
                  <a:gd name="T41" fmla="*/ 23 h 91"/>
                  <a:gd name="T42" fmla="*/ 15 w 108"/>
                  <a:gd name="T43" fmla="*/ 16 h 91"/>
                  <a:gd name="T44" fmla="*/ 28 w 108"/>
                  <a:gd name="T45" fmla="*/ 13 h 91"/>
                  <a:gd name="T46" fmla="*/ 35 w 108"/>
                  <a:gd name="T47" fmla="*/ 20 h 91"/>
                  <a:gd name="T48" fmla="*/ 42 w 108"/>
                  <a:gd name="T49" fmla="*/ 38 h 91"/>
                  <a:gd name="T50" fmla="*/ 44 w 108"/>
                  <a:gd name="T51" fmla="*/ 47 h 91"/>
                  <a:gd name="T52" fmla="*/ 54 w 108"/>
                  <a:gd name="T53" fmla="*/ 69 h 91"/>
                  <a:gd name="T54" fmla="*/ 63 w 108"/>
                  <a:gd name="T55" fmla="*/ 80 h 91"/>
                  <a:gd name="T56" fmla="*/ 96 w 108"/>
                  <a:gd name="T57" fmla="*/ 81 h 91"/>
                  <a:gd name="T58" fmla="*/ 105 w 108"/>
                  <a:gd name="T59" fmla="*/ 68 h 91"/>
                  <a:gd name="T60" fmla="*/ 108 w 108"/>
                  <a:gd name="T61" fmla="*/ 50 h 91"/>
                  <a:gd name="T62" fmla="*/ 104 w 108"/>
                  <a:gd name="T63"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91">
                    <a:moveTo>
                      <a:pt x="104" y="17"/>
                    </a:moveTo>
                    <a:cubicBezTo>
                      <a:pt x="104" y="14"/>
                      <a:pt x="103" y="12"/>
                      <a:pt x="103" y="10"/>
                    </a:cubicBezTo>
                    <a:cubicBezTo>
                      <a:pt x="102" y="8"/>
                      <a:pt x="101" y="7"/>
                      <a:pt x="100" y="6"/>
                    </a:cubicBezTo>
                    <a:cubicBezTo>
                      <a:pt x="98" y="5"/>
                      <a:pt x="96" y="6"/>
                      <a:pt x="95" y="7"/>
                    </a:cubicBezTo>
                    <a:cubicBezTo>
                      <a:pt x="93" y="8"/>
                      <a:pt x="92" y="10"/>
                      <a:pt x="93" y="12"/>
                    </a:cubicBezTo>
                    <a:cubicBezTo>
                      <a:pt x="93" y="13"/>
                      <a:pt x="93" y="15"/>
                      <a:pt x="94" y="16"/>
                    </a:cubicBezTo>
                    <a:cubicBezTo>
                      <a:pt x="96" y="26"/>
                      <a:pt x="98" y="37"/>
                      <a:pt x="98" y="47"/>
                    </a:cubicBezTo>
                    <a:cubicBezTo>
                      <a:pt x="98" y="52"/>
                      <a:pt x="97" y="57"/>
                      <a:pt x="96" y="62"/>
                    </a:cubicBezTo>
                    <a:cubicBezTo>
                      <a:pt x="95" y="65"/>
                      <a:pt x="94" y="68"/>
                      <a:pt x="92" y="70"/>
                    </a:cubicBezTo>
                    <a:cubicBezTo>
                      <a:pt x="87" y="77"/>
                      <a:pt x="78" y="79"/>
                      <a:pt x="71" y="74"/>
                    </a:cubicBezTo>
                    <a:cubicBezTo>
                      <a:pt x="68" y="72"/>
                      <a:pt x="65" y="68"/>
                      <a:pt x="63" y="65"/>
                    </a:cubicBezTo>
                    <a:cubicBezTo>
                      <a:pt x="59" y="58"/>
                      <a:pt x="56" y="52"/>
                      <a:pt x="54" y="44"/>
                    </a:cubicBezTo>
                    <a:cubicBezTo>
                      <a:pt x="54" y="42"/>
                      <a:pt x="53" y="40"/>
                      <a:pt x="53" y="37"/>
                    </a:cubicBezTo>
                    <a:cubicBezTo>
                      <a:pt x="51" y="29"/>
                      <a:pt x="48" y="22"/>
                      <a:pt x="44" y="15"/>
                    </a:cubicBezTo>
                    <a:cubicBezTo>
                      <a:pt x="41" y="11"/>
                      <a:pt x="38" y="7"/>
                      <a:pt x="34" y="4"/>
                    </a:cubicBezTo>
                    <a:cubicBezTo>
                      <a:pt x="27" y="0"/>
                      <a:pt x="20" y="0"/>
                      <a:pt x="13" y="4"/>
                    </a:cubicBezTo>
                    <a:cubicBezTo>
                      <a:pt x="9" y="6"/>
                      <a:pt x="7" y="9"/>
                      <a:pt x="5" y="12"/>
                    </a:cubicBezTo>
                    <a:cubicBezTo>
                      <a:pt x="3" y="17"/>
                      <a:pt x="1" y="22"/>
                      <a:pt x="1" y="28"/>
                    </a:cubicBezTo>
                    <a:cubicBezTo>
                      <a:pt x="0" y="33"/>
                      <a:pt x="0" y="37"/>
                      <a:pt x="0" y="42"/>
                    </a:cubicBezTo>
                    <a:cubicBezTo>
                      <a:pt x="11" y="42"/>
                      <a:pt x="11" y="42"/>
                      <a:pt x="11" y="42"/>
                    </a:cubicBezTo>
                    <a:cubicBezTo>
                      <a:pt x="10" y="36"/>
                      <a:pt x="11" y="30"/>
                      <a:pt x="12" y="23"/>
                    </a:cubicBezTo>
                    <a:cubicBezTo>
                      <a:pt x="12" y="21"/>
                      <a:pt x="13" y="19"/>
                      <a:pt x="15" y="16"/>
                    </a:cubicBezTo>
                    <a:cubicBezTo>
                      <a:pt x="17" y="11"/>
                      <a:pt x="23" y="9"/>
                      <a:pt x="28" y="13"/>
                    </a:cubicBezTo>
                    <a:cubicBezTo>
                      <a:pt x="31" y="15"/>
                      <a:pt x="33" y="17"/>
                      <a:pt x="35" y="20"/>
                    </a:cubicBezTo>
                    <a:cubicBezTo>
                      <a:pt x="38" y="26"/>
                      <a:pt x="41" y="32"/>
                      <a:pt x="42" y="38"/>
                    </a:cubicBezTo>
                    <a:cubicBezTo>
                      <a:pt x="43" y="41"/>
                      <a:pt x="43" y="44"/>
                      <a:pt x="44" y="47"/>
                    </a:cubicBezTo>
                    <a:cubicBezTo>
                      <a:pt x="46" y="55"/>
                      <a:pt x="49" y="62"/>
                      <a:pt x="54" y="69"/>
                    </a:cubicBezTo>
                    <a:cubicBezTo>
                      <a:pt x="56" y="73"/>
                      <a:pt x="59" y="77"/>
                      <a:pt x="63" y="80"/>
                    </a:cubicBezTo>
                    <a:cubicBezTo>
                      <a:pt x="75" y="91"/>
                      <a:pt x="89" y="87"/>
                      <a:pt x="96" y="81"/>
                    </a:cubicBezTo>
                    <a:cubicBezTo>
                      <a:pt x="100" y="77"/>
                      <a:pt x="103" y="73"/>
                      <a:pt x="105" y="68"/>
                    </a:cubicBezTo>
                    <a:cubicBezTo>
                      <a:pt x="107" y="62"/>
                      <a:pt x="108" y="56"/>
                      <a:pt x="108" y="50"/>
                    </a:cubicBezTo>
                    <a:cubicBezTo>
                      <a:pt x="108" y="39"/>
                      <a:pt x="107" y="28"/>
                      <a:pt x="10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6" name="Freeform 70">
            <a:extLst>
              <a:ext uri="{FF2B5EF4-FFF2-40B4-BE49-F238E27FC236}">
                <a16:creationId xmlns:a16="http://schemas.microsoft.com/office/drawing/2014/main" id="{45CEA6B2-C6CB-4C99-99F5-18AA1E44E62E}"/>
              </a:ext>
              <a:ext uri="{C183D7F6-B498-43B3-948B-1728B52AA6E4}">
                <adec:decorative xmlns:adec="http://schemas.microsoft.com/office/drawing/2017/decorative" val="1"/>
              </a:ext>
            </a:extLst>
          </p:cNvPr>
          <p:cNvSpPr>
            <a:spLocks/>
          </p:cNvSpPr>
          <p:nvPr/>
        </p:nvSpPr>
        <p:spPr bwMode="auto">
          <a:xfrm>
            <a:off x="8573693" y="1185961"/>
            <a:ext cx="767594" cy="720000"/>
          </a:xfrm>
          <a:custGeom>
            <a:avLst/>
            <a:gdLst>
              <a:gd name="T0" fmla="*/ 42 w 295"/>
              <a:gd name="T1" fmla="*/ 215 h 276"/>
              <a:gd name="T2" fmla="*/ 71 w 295"/>
              <a:gd name="T3" fmla="*/ 41 h 276"/>
              <a:gd name="T4" fmla="*/ 253 w 295"/>
              <a:gd name="T5" fmla="*/ 66 h 276"/>
              <a:gd name="T6" fmla="*/ 220 w 295"/>
              <a:gd name="T7" fmla="*/ 235 h 276"/>
              <a:gd name="T8" fmla="*/ 42 w 295"/>
              <a:gd name="T9" fmla="*/ 215 h 276"/>
            </a:gdLst>
            <a:ahLst/>
            <a:cxnLst>
              <a:cxn ang="0">
                <a:pos x="T0" y="T1"/>
              </a:cxn>
              <a:cxn ang="0">
                <a:pos x="T2" y="T3"/>
              </a:cxn>
              <a:cxn ang="0">
                <a:pos x="T4" y="T5"/>
              </a:cxn>
              <a:cxn ang="0">
                <a:pos x="T6" y="T7"/>
              </a:cxn>
              <a:cxn ang="0">
                <a:pos x="T8" y="T9"/>
              </a:cxn>
            </a:cxnLst>
            <a:rect l="0" t="0" r="r" b="b"/>
            <a:pathLst>
              <a:path w="295" h="276">
                <a:moveTo>
                  <a:pt x="42" y="215"/>
                </a:moveTo>
                <a:cubicBezTo>
                  <a:pt x="0" y="160"/>
                  <a:pt x="12" y="82"/>
                  <a:pt x="71" y="41"/>
                </a:cubicBezTo>
                <a:cubicBezTo>
                  <a:pt x="129" y="0"/>
                  <a:pt x="210" y="11"/>
                  <a:pt x="253" y="66"/>
                </a:cubicBezTo>
                <a:cubicBezTo>
                  <a:pt x="295" y="122"/>
                  <a:pt x="278" y="193"/>
                  <a:pt x="220" y="235"/>
                </a:cubicBezTo>
                <a:cubicBezTo>
                  <a:pt x="161" y="276"/>
                  <a:pt x="85" y="271"/>
                  <a:pt x="42" y="215"/>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7" name="Groupe 449">
            <a:extLst>
              <a:ext uri="{FF2B5EF4-FFF2-40B4-BE49-F238E27FC236}">
                <a16:creationId xmlns:a16="http://schemas.microsoft.com/office/drawing/2014/main" id="{66C0A100-E017-4240-AE7A-A0CE68099350}"/>
              </a:ext>
              <a:ext uri="{C183D7F6-B498-43B3-948B-1728B52AA6E4}">
                <adec:decorative xmlns:adec="http://schemas.microsoft.com/office/drawing/2017/decorative" val="1"/>
              </a:ext>
            </a:extLst>
          </p:cNvPr>
          <p:cNvGrpSpPr/>
          <p:nvPr/>
        </p:nvGrpSpPr>
        <p:grpSpPr>
          <a:xfrm>
            <a:off x="8773829" y="1381215"/>
            <a:ext cx="349017" cy="329492"/>
            <a:chOff x="2762250" y="2047875"/>
            <a:chExt cx="454025" cy="428625"/>
          </a:xfrm>
          <a:solidFill>
            <a:schemeClr val="bg1"/>
          </a:solidFill>
        </p:grpSpPr>
        <p:sp>
          <p:nvSpPr>
            <p:cNvPr id="238" name="Freeform 71">
              <a:extLst>
                <a:ext uri="{FF2B5EF4-FFF2-40B4-BE49-F238E27FC236}">
                  <a16:creationId xmlns:a16="http://schemas.microsoft.com/office/drawing/2014/main" id="{BF242CE2-0B2B-4E36-8E70-C32B162A5D7A}"/>
                </a:ext>
              </a:extLst>
            </p:cNvPr>
            <p:cNvSpPr>
              <a:spLocks/>
            </p:cNvSpPr>
            <p:nvPr/>
          </p:nvSpPr>
          <p:spPr bwMode="auto">
            <a:xfrm>
              <a:off x="2820988" y="2089150"/>
              <a:ext cx="30163" cy="92075"/>
            </a:xfrm>
            <a:custGeom>
              <a:avLst/>
              <a:gdLst>
                <a:gd name="T0" fmla="*/ 0 w 9"/>
                <a:gd name="T1" fmla="*/ 3 h 27"/>
                <a:gd name="T2" fmla="*/ 0 w 9"/>
                <a:gd name="T3" fmla="*/ 27 h 27"/>
                <a:gd name="T4" fmla="*/ 9 w 9"/>
                <a:gd name="T5" fmla="*/ 27 h 27"/>
                <a:gd name="T6" fmla="*/ 9 w 9"/>
                <a:gd name="T7" fmla="*/ 0 h 27"/>
                <a:gd name="T8" fmla="*/ 4 w 9"/>
                <a:gd name="T9" fmla="*/ 0 h 27"/>
                <a:gd name="T10" fmla="*/ 0 w 9"/>
                <a:gd name="T11" fmla="*/ 3 h 27"/>
              </a:gdLst>
              <a:ahLst/>
              <a:cxnLst>
                <a:cxn ang="0">
                  <a:pos x="T0" y="T1"/>
                </a:cxn>
                <a:cxn ang="0">
                  <a:pos x="T2" y="T3"/>
                </a:cxn>
                <a:cxn ang="0">
                  <a:pos x="T4" y="T5"/>
                </a:cxn>
                <a:cxn ang="0">
                  <a:pos x="T6" y="T7"/>
                </a:cxn>
                <a:cxn ang="0">
                  <a:pos x="T8" y="T9"/>
                </a:cxn>
                <a:cxn ang="0">
                  <a:pos x="T10" y="T11"/>
                </a:cxn>
              </a:cxnLst>
              <a:rect l="0" t="0" r="r" b="b"/>
              <a:pathLst>
                <a:path w="9" h="27">
                  <a:moveTo>
                    <a:pt x="0" y="3"/>
                  </a:moveTo>
                  <a:cubicBezTo>
                    <a:pt x="0" y="27"/>
                    <a:pt x="0" y="27"/>
                    <a:pt x="0" y="27"/>
                  </a:cubicBezTo>
                  <a:cubicBezTo>
                    <a:pt x="9" y="27"/>
                    <a:pt x="9" y="27"/>
                    <a:pt x="9" y="27"/>
                  </a:cubicBezTo>
                  <a:cubicBezTo>
                    <a:pt x="9" y="0"/>
                    <a:pt x="9" y="0"/>
                    <a:pt x="9" y="0"/>
                  </a:cubicBezTo>
                  <a:cubicBezTo>
                    <a:pt x="4" y="0"/>
                    <a:pt x="4" y="0"/>
                    <a:pt x="4" y="0"/>
                  </a:cubicBezTo>
                  <a:cubicBezTo>
                    <a:pt x="2" y="0"/>
                    <a:pt x="0" y="1"/>
                    <a:pt x="0"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72">
              <a:extLst>
                <a:ext uri="{FF2B5EF4-FFF2-40B4-BE49-F238E27FC236}">
                  <a16:creationId xmlns:a16="http://schemas.microsoft.com/office/drawing/2014/main" id="{E1CEAC18-6B5C-4453-AA24-8737CCDB9459}"/>
                </a:ext>
              </a:extLst>
            </p:cNvPr>
            <p:cNvSpPr>
              <a:spLocks/>
            </p:cNvSpPr>
            <p:nvPr/>
          </p:nvSpPr>
          <p:spPr bwMode="auto">
            <a:xfrm>
              <a:off x="3124200" y="2089150"/>
              <a:ext cx="30163" cy="92075"/>
            </a:xfrm>
            <a:custGeom>
              <a:avLst/>
              <a:gdLst>
                <a:gd name="T0" fmla="*/ 9 w 9"/>
                <a:gd name="T1" fmla="*/ 3 h 27"/>
                <a:gd name="T2" fmla="*/ 6 w 9"/>
                <a:gd name="T3" fmla="*/ 0 h 27"/>
                <a:gd name="T4" fmla="*/ 0 w 9"/>
                <a:gd name="T5" fmla="*/ 0 h 27"/>
                <a:gd name="T6" fmla="*/ 0 w 9"/>
                <a:gd name="T7" fmla="*/ 27 h 27"/>
                <a:gd name="T8" fmla="*/ 9 w 9"/>
                <a:gd name="T9" fmla="*/ 27 h 27"/>
                <a:gd name="T10" fmla="*/ 9 w 9"/>
                <a:gd name="T11" fmla="*/ 3 h 27"/>
              </a:gdLst>
              <a:ahLst/>
              <a:cxnLst>
                <a:cxn ang="0">
                  <a:pos x="T0" y="T1"/>
                </a:cxn>
                <a:cxn ang="0">
                  <a:pos x="T2" y="T3"/>
                </a:cxn>
                <a:cxn ang="0">
                  <a:pos x="T4" y="T5"/>
                </a:cxn>
                <a:cxn ang="0">
                  <a:pos x="T6" y="T7"/>
                </a:cxn>
                <a:cxn ang="0">
                  <a:pos x="T8" y="T9"/>
                </a:cxn>
                <a:cxn ang="0">
                  <a:pos x="T10" y="T11"/>
                </a:cxn>
              </a:cxnLst>
              <a:rect l="0" t="0" r="r" b="b"/>
              <a:pathLst>
                <a:path w="9" h="27">
                  <a:moveTo>
                    <a:pt x="9" y="3"/>
                  </a:moveTo>
                  <a:cubicBezTo>
                    <a:pt x="9" y="1"/>
                    <a:pt x="8" y="0"/>
                    <a:pt x="6" y="0"/>
                  </a:cubicBezTo>
                  <a:cubicBezTo>
                    <a:pt x="0" y="0"/>
                    <a:pt x="0" y="0"/>
                    <a:pt x="0" y="0"/>
                  </a:cubicBezTo>
                  <a:cubicBezTo>
                    <a:pt x="0" y="27"/>
                    <a:pt x="0" y="27"/>
                    <a:pt x="0" y="27"/>
                  </a:cubicBezTo>
                  <a:cubicBezTo>
                    <a:pt x="9" y="27"/>
                    <a:pt x="9" y="27"/>
                    <a:pt x="9" y="27"/>
                  </a:cubicBez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73">
              <a:extLst>
                <a:ext uri="{FF2B5EF4-FFF2-40B4-BE49-F238E27FC236}">
                  <a16:creationId xmlns:a16="http://schemas.microsoft.com/office/drawing/2014/main" id="{78A090D8-91B7-49BA-9570-72297C892F6E}"/>
                </a:ext>
              </a:extLst>
            </p:cNvPr>
            <p:cNvSpPr>
              <a:spLocks noEditPoints="1"/>
            </p:cNvSpPr>
            <p:nvPr/>
          </p:nvSpPr>
          <p:spPr bwMode="auto">
            <a:xfrm>
              <a:off x="2867025" y="2047875"/>
              <a:ext cx="244475" cy="133350"/>
            </a:xfrm>
            <a:custGeom>
              <a:avLst/>
              <a:gdLst>
                <a:gd name="T0" fmla="*/ 12 w 72"/>
                <a:gd name="T1" fmla="*/ 11 h 39"/>
                <a:gd name="T2" fmla="*/ 60 w 72"/>
                <a:gd name="T3" fmla="*/ 11 h 39"/>
                <a:gd name="T4" fmla="*/ 60 w 72"/>
                <a:gd name="T5" fmla="*/ 12 h 39"/>
                <a:gd name="T6" fmla="*/ 62 w 72"/>
                <a:gd name="T7" fmla="*/ 14 h 39"/>
                <a:gd name="T8" fmla="*/ 60 w 72"/>
                <a:gd name="T9" fmla="*/ 16 h 39"/>
                <a:gd name="T10" fmla="*/ 12 w 72"/>
                <a:gd name="T11" fmla="*/ 16 h 39"/>
                <a:gd name="T12" fmla="*/ 10 w 72"/>
                <a:gd name="T13" fmla="*/ 14 h 39"/>
                <a:gd name="T14" fmla="*/ 11 w 72"/>
                <a:gd name="T15" fmla="*/ 12 h 39"/>
                <a:gd name="T16" fmla="*/ 12 w 72"/>
                <a:gd name="T17" fmla="*/ 11 h 39"/>
                <a:gd name="T18" fmla="*/ 60 w 72"/>
                <a:gd name="T19" fmla="*/ 31 h 39"/>
                <a:gd name="T20" fmla="*/ 12 w 72"/>
                <a:gd name="T21" fmla="*/ 31 h 39"/>
                <a:gd name="T22" fmla="*/ 10 w 72"/>
                <a:gd name="T23" fmla="*/ 29 h 39"/>
                <a:gd name="T24" fmla="*/ 12 w 72"/>
                <a:gd name="T25" fmla="*/ 27 h 39"/>
                <a:gd name="T26" fmla="*/ 60 w 72"/>
                <a:gd name="T27" fmla="*/ 27 h 39"/>
                <a:gd name="T28" fmla="*/ 62 w 72"/>
                <a:gd name="T29" fmla="*/ 29 h 39"/>
                <a:gd name="T30" fmla="*/ 60 w 72"/>
                <a:gd name="T31" fmla="*/ 31 h 39"/>
                <a:gd name="T32" fmla="*/ 0 w 72"/>
                <a:gd name="T33" fmla="*/ 4 h 39"/>
                <a:gd name="T34" fmla="*/ 0 w 72"/>
                <a:gd name="T35" fmla="*/ 39 h 39"/>
                <a:gd name="T36" fmla="*/ 72 w 72"/>
                <a:gd name="T37" fmla="*/ 39 h 39"/>
                <a:gd name="T38" fmla="*/ 72 w 72"/>
                <a:gd name="T39" fmla="*/ 4 h 39"/>
                <a:gd name="T40" fmla="*/ 68 w 72"/>
                <a:gd name="T41" fmla="*/ 0 h 39"/>
                <a:gd name="T42" fmla="*/ 4 w 72"/>
                <a:gd name="T43" fmla="*/ 0 h 39"/>
                <a:gd name="T44" fmla="*/ 0 w 72"/>
                <a:gd name="T45"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39">
                  <a:moveTo>
                    <a:pt x="12" y="11"/>
                  </a:moveTo>
                  <a:cubicBezTo>
                    <a:pt x="60" y="11"/>
                    <a:pt x="60" y="11"/>
                    <a:pt x="60" y="11"/>
                  </a:cubicBezTo>
                  <a:cubicBezTo>
                    <a:pt x="60" y="12"/>
                    <a:pt x="60" y="12"/>
                    <a:pt x="60" y="12"/>
                  </a:cubicBezTo>
                  <a:cubicBezTo>
                    <a:pt x="61" y="12"/>
                    <a:pt x="62" y="13"/>
                    <a:pt x="62" y="14"/>
                  </a:cubicBezTo>
                  <a:cubicBezTo>
                    <a:pt x="62" y="15"/>
                    <a:pt x="61" y="16"/>
                    <a:pt x="60" y="16"/>
                  </a:cubicBezTo>
                  <a:cubicBezTo>
                    <a:pt x="12" y="16"/>
                    <a:pt x="12" y="16"/>
                    <a:pt x="12" y="16"/>
                  </a:cubicBezTo>
                  <a:cubicBezTo>
                    <a:pt x="11" y="16"/>
                    <a:pt x="10" y="15"/>
                    <a:pt x="10" y="14"/>
                  </a:cubicBezTo>
                  <a:cubicBezTo>
                    <a:pt x="10" y="13"/>
                    <a:pt x="10" y="12"/>
                    <a:pt x="11" y="12"/>
                  </a:cubicBezTo>
                  <a:cubicBezTo>
                    <a:pt x="12" y="11"/>
                    <a:pt x="12" y="11"/>
                    <a:pt x="12" y="11"/>
                  </a:cubicBezTo>
                  <a:moveTo>
                    <a:pt x="60" y="31"/>
                  </a:moveTo>
                  <a:cubicBezTo>
                    <a:pt x="12" y="31"/>
                    <a:pt x="12" y="31"/>
                    <a:pt x="12" y="31"/>
                  </a:cubicBezTo>
                  <a:cubicBezTo>
                    <a:pt x="11" y="31"/>
                    <a:pt x="10" y="30"/>
                    <a:pt x="10" y="29"/>
                  </a:cubicBezTo>
                  <a:cubicBezTo>
                    <a:pt x="10" y="28"/>
                    <a:pt x="11" y="27"/>
                    <a:pt x="12" y="27"/>
                  </a:cubicBezTo>
                  <a:cubicBezTo>
                    <a:pt x="60" y="27"/>
                    <a:pt x="60" y="27"/>
                    <a:pt x="60" y="27"/>
                  </a:cubicBezTo>
                  <a:cubicBezTo>
                    <a:pt x="61" y="27"/>
                    <a:pt x="62" y="28"/>
                    <a:pt x="62" y="29"/>
                  </a:cubicBezTo>
                  <a:cubicBezTo>
                    <a:pt x="62" y="30"/>
                    <a:pt x="61" y="31"/>
                    <a:pt x="60" y="31"/>
                  </a:cubicBezTo>
                  <a:moveTo>
                    <a:pt x="0" y="4"/>
                  </a:moveTo>
                  <a:cubicBezTo>
                    <a:pt x="0" y="39"/>
                    <a:pt x="0" y="39"/>
                    <a:pt x="0" y="39"/>
                  </a:cubicBezTo>
                  <a:cubicBezTo>
                    <a:pt x="72" y="39"/>
                    <a:pt x="72" y="39"/>
                    <a:pt x="72" y="39"/>
                  </a:cubicBezTo>
                  <a:cubicBezTo>
                    <a:pt x="72" y="4"/>
                    <a:pt x="72" y="4"/>
                    <a:pt x="72" y="4"/>
                  </a:cubicBezTo>
                  <a:cubicBezTo>
                    <a:pt x="72" y="2"/>
                    <a:pt x="70" y="0"/>
                    <a:pt x="68" y="0"/>
                  </a:cubicBezTo>
                  <a:cubicBezTo>
                    <a:pt x="4" y="0"/>
                    <a:pt x="4" y="0"/>
                    <a:pt x="4" y="0"/>
                  </a:cubicBezTo>
                  <a:cubicBezTo>
                    <a:pt x="2" y="0"/>
                    <a:pt x="0" y="2"/>
                    <a:pt x="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74">
              <a:extLst>
                <a:ext uri="{FF2B5EF4-FFF2-40B4-BE49-F238E27FC236}">
                  <a16:creationId xmlns:a16="http://schemas.microsoft.com/office/drawing/2014/main" id="{1BC63692-86B3-4F23-B6F8-E515728EC3AD}"/>
                </a:ext>
              </a:extLst>
            </p:cNvPr>
            <p:cNvSpPr>
              <a:spLocks noEditPoints="1"/>
            </p:cNvSpPr>
            <p:nvPr/>
          </p:nvSpPr>
          <p:spPr bwMode="auto">
            <a:xfrm>
              <a:off x="2762250" y="2197100"/>
              <a:ext cx="454025" cy="223838"/>
            </a:xfrm>
            <a:custGeom>
              <a:avLst/>
              <a:gdLst>
                <a:gd name="T0" fmla="*/ 116 w 134"/>
                <a:gd name="T1" fmla="*/ 21 h 66"/>
                <a:gd name="T2" fmla="*/ 114 w 134"/>
                <a:gd name="T3" fmla="*/ 21 h 66"/>
                <a:gd name="T4" fmla="*/ 109 w 134"/>
                <a:gd name="T5" fmla="*/ 16 h 66"/>
                <a:gd name="T6" fmla="*/ 114 w 134"/>
                <a:gd name="T7" fmla="*/ 11 h 66"/>
                <a:gd name="T8" fmla="*/ 116 w 134"/>
                <a:gd name="T9" fmla="*/ 12 h 66"/>
                <a:gd name="T10" fmla="*/ 119 w 134"/>
                <a:gd name="T11" fmla="*/ 16 h 66"/>
                <a:gd name="T12" fmla="*/ 116 w 134"/>
                <a:gd name="T13" fmla="*/ 21 h 66"/>
                <a:gd name="T14" fmla="*/ 130 w 134"/>
                <a:gd name="T15" fmla="*/ 0 h 66"/>
                <a:gd name="T16" fmla="*/ 4 w 134"/>
                <a:gd name="T17" fmla="*/ 0 h 66"/>
                <a:gd name="T18" fmla="*/ 0 w 134"/>
                <a:gd name="T19" fmla="*/ 4 h 66"/>
                <a:gd name="T20" fmla="*/ 0 w 134"/>
                <a:gd name="T21" fmla="*/ 63 h 66"/>
                <a:gd name="T22" fmla="*/ 4 w 134"/>
                <a:gd name="T23" fmla="*/ 66 h 66"/>
                <a:gd name="T24" fmla="*/ 24 w 134"/>
                <a:gd name="T25" fmla="*/ 66 h 66"/>
                <a:gd name="T26" fmla="*/ 24 w 134"/>
                <a:gd name="T27" fmla="*/ 44 h 66"/>
                <a:gd name="T28" fmla="*/ 32 w 134"/>
                <a:gd name="T29" fmla="*/ 36 h 66"/>
                <a:gd name="T30" fmla="*/ 102 w 134"/>
                <a:gd name="T31" fmla="*/ 36 h 66"/>
                <a:gd name="T32" fmla="*/ 110 w 134"/>
                <a:gd name="T33" fmla="*/ 44 h 66"/>
                <a:gd name="T34" fmla="*/ 110 w 134"/>
                <a:gd name="T35" fmla="*/ 66 h 66"/>
                <a:gd name="T36" fmla="*/ 130 w 134"/>
                <a:gd name="T37" fmla="*/ 66 h 66"/>
                <a:gd name="T38" fmla="*/ 134 w 134"/>
                <a:gd name="T39" fmla="*/ 63 h 66"/>
                <a:gd name="T40" fmla="*/ 134 w 134"/>
                <a:gd name="T41" fmla="*/ 4 h 66"/>
                <a:gd name="T42" fmla="*/ 130 w 134"/>
                <a:gd name="T4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4" h="66">
                  <a:moveTo>
                    <a:pt x="116" y="21"/>
                  </a:moveTo>
                  <a:cubicBezTo>
                    <a:pt x="116" y="21"/>
                    <a:pt x="115" y="21"/>
                    <a:pt x="114" y="21"/>
                  </a:cubicBezTo>
                  <a:cubicBezTo>
                    <a:pt x="111" y="21"/>
                    <a:pt x="109" y="19"/>
                    <a:pt x="109" y="16"/>
                  </a:cubicBezTo>
                  <a:cubicBezTo>
                    <a:pt x="109" y="14"/>
                    <a:pt x="111" y="11"/>
                    <a:pt x="114" y="11"/>
                  </a:cubicBezTo>
                  <a:cubicBezTo>
                    <a:pt x="115" y="11"/>
                    <a:pt x="116" y="12"/>
                    <a:pt x="116" y="12"/>
                  </a:cubicBezTo>
                  <a:cubicBezTo>
                    <a:pt x="118" y="13"/>
                    <a:pt x="119" y="15"/>
                    <a:pt x="119" y="16"/>
                  </a:cubicBezTo>
                  <a:cubicBezTo>
                    <a:pt x="119" y="18"/>
                    <a:pt x="118" y="20"/>
                    <a:pt x="116" y="21"/>
                  </a:cubicBezTo>
                  <a:moveTo>
                    <a:pt x="130" y="0"/>
                  </a:moveTo>
                  <a:cubicBezTo>
                    <a:pt x="4" y="0"/>
                    <a:pt x="4" y="0"/>
                    <a:pt x="4" y="0"/>
                  </a:cubicBezTo>
                  <a:cubicBezTo>
                    <a:pt x="2" y="0"/>
                    <a:pt x="0" y="2"/>
                    <a:pt x="0" y="4"/>
                  </a:cubicBezTo>
                  <a:cubicBezTo>
                    <a:pt x="0" y="63"/>
                    <a:pt x="0" y="63"/>
                    <a:pt x="0" y="63"/>
                  </a:cubicBezTo>
                  <a:cubicBezTo>
                    <a:pt x="0" y="65"/>
                    <a:pt x="2" y="66"/>
                    <a:pt x="4" y="66"/>
                  </a:cubicBezTo>
                  <a:cubicBezTo>
                    <a:pt x="24" y="66"/>
                    <a:pt x="24" y="66"/>
                    <a:pt x="24" y="66"/>
                  </a:cubicBezTo>
                  <a:cubicBezTo>
                    <a:pt x="24" y="44"/>
                    <a:pt x="24" y="44"/>
                    <a:pt x="24" y="44"/>
                  </a:cubicBezTo>
                  <a:cubicBezTo>
                    <a:pt x="24" y="39"/>
                    <a:pt x="27" y="36"/>
                    <a:pt x="32" y="36"/>
                  </a:cubicBezTo>
                  <a:cubicBezTo>
                    <a:pt x="102" y="36"/>
                    <a:pt x="102" y="36"/>
                    <a:pt x="102" y="36"/>
                  </a:cubicBezTo>
                  <a:cubicBezTo>
                    <a:pt x="106" y="36"/>
                    <a:pt x="110" y="39"/>
                    <a:pt x="110" y="44"/>
                  </a:cubicBezTo>
                  <a:cubicBezTo>
                    <a:pt x="110" y="66"/>
                    <a:pt x="110" y="66"/>
                    <a:pt x="110" y="66"/>
                  </a:cubicBezTo>
                  <a:cubicBezTo>
                    <a:pt x="130" y="66"/>
                    <a:pt x="130" y="66"/>
                    <a:pt x="130" y="66"/>
                  </a:cubicBezTo>
                  <a:cubicBezTo>
                    <a:pt x="132" y="66"/>
                    <a:pt x="134" y="65"/>
                    <a:pt x="134" y="63"/>
                  </a:cubicBezTo>
                  <a:cubicBezTo>
                    <a:pt x="134" y="4"/>
                    <a:pt x="134" y="4"/>
                    <a:pt x="134" y="4"/>
                  </a:cubicBezTo>
                  <a:cubicBezTo>
                    <a:pt x="134" y="2"/>
                    <a:pt x="132" y="0"/>
                    <a:pt x="1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75">
              <a:extLst>
                <a:ext uri="{FF2B5EF4-FFF2-40B4-BE49-F238E27FC236}">
                  <a16:creationId xmlns:a16="http://schemas.microsoft.com/office/drawing/2014/main" id="{D5B5AD51-DC73-4BFD-A9DE-59A44AA5E9C0}"/>
                </a:ext>
              </a:extLst>
            </p:cNvPr>
            <p:cNvSpPr>
              <a:spLocks noEditPoints="1"/>
            </p:cNvSpPr>
            <p:nvPr/>
          </p:nvSpPr>
          <p:spPr bwMode="auto">
            <a:xfrm>
              <a:off x="2857500" y="2333625"/>
              <a:ext cx="263525" cy="142875"/>
            </a:xfrm>
            <a:custGeom>
              <a:avLst/>
              <a:gdLst>
                <a:gd name="T0" fmla="*/ 15 w 78"/>
                <a:gd name="T1" fmla="*/ 12 h 42"/>
                <a:gd name="T2" fmla="*/ 63 w 78"/>
                <a:gd name="T3" fmla="*/ 12 h 42"/>
                <a:gd name="T4" fmla="*/ 65 w 78"/>
                <a:gd name="T5" fmla="*/ 14 h 42"/>
                <a:gd name="T6" fmla="*/ 63 w 78"/>
                <a:gd name="T7" fmla="*/ 16 h 42"/>
                <a:gd name="T8" fmla="*/ 15 w 78"/>
                <a:gd name="T9" fmla="*/ 16 h 42"/>
                <a:gd name="T10" fmla="*/ 13 w 78"/>
                <a:gd name="T11" fmla="*/ 14 h 42"/>
                <a:gd name="T12" fmla="*/ 15 w 78"/>
                <a:gd name="T13" fmla="*/ 12 h 42"/>
                <a:gd name="T14" fmla="*/ 65 w 78"/>
                <a:gd name="T15" fmla="*/ 29 h 42"/>
                <a:gd name="T16" fmla="*/ 63 w 78"/>
                <a:gd name="T17" fmla="*/ 31 h 42"/>
                <a:gd name="T18" fmla="*/ 15 w 78"/>
                <a:gd name="T19" fmla="*/ 31 h 42"/>
                <a:gd name="T20" fmla="*/ 13 w 78"/>
                <a:gd name="T21" fmla="*/ 29 h 42"/>
                <a:gd name="T22" fmla="*/ 13 w 78"/>
                <a:gd name="T23" fmla="*/ 29 h 42"/>
                <a:gd name="T24" fmla="*/ 15 w 78"/>
                <a:gd name="T25" fmla="*/ 27 h 42"/>
                <a:gd name="T26" fmla="*/ 63 w 78"/>
                <a:gd name="T27" fmla="*/ 27 h 42"/>
                <a:gd name="T28" fmla="*/ 65 w 78"/>
                <a:gd name="T29" fmla="*/ 29 h 42"/>
                <a:gd name="T30" fmla="*/ 65 w 78"/>
                <a:gd name="T31" fmla="*/ 29 h 42"/>
                <a:gd name="T32" fmla="*/ 78 w 78"/>
                <a:gd name="T33" fmla="*/ 42 h 42"/>
                <a:gd name="T34" fmla="*/ 78 w 78"/>
                <a:gd name="T35" fmla="*/ 4 h 42"/>
                <a:gd name="T36" fmla="*/ 74 w 78"/>
                <a:gd name="T37" fmla="*/ 0 h 42"/>
                <a:gd name="T38" fmla="*/ 4 w 78"/>
                <a:gd name="T39" fmla="*/ 0 h 42"/>
                <a:gd name="T40" fmla="*/ 0 w 78"/>
                <a:gd name="T41" fmla="*/ 4 h 42"/>
                <a:gd name="T42" fmla="*/ 0 w 78"/>
                <a:gd name="T43" fmla="*/ 32 h 42"/>
                <a:gd name="T44" fmla="*/ 10 w 78"/>
                <a:gd name="T45" fmla="*/ 42 h 42"/>
                <a:gd name="T46" fmla="*/ 78 w 78"/>
                <a:gd name="T4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42">
                  <a:moveTo>
                    <a:pt x="15" y="12"/>
                  </a:moveTo>
                  <a:cubicBezTo>
                    <a:pt x="63" y="12"/>
                    <a:pt x="63" y="12"/>
                    <a:pt x="63" y="12"/>
                  </a:cubicBezTo>
                  <a:cubicBezTo>
                    <a:pt x="64" y="12"/>
                    <a:pt x="65" y="13"/>
                    <a:pt x="65" y="14"/>
                  </a:cubicBezTo>
                  <a:cubicBezTo>
                    <a:pt x="65" y="15"/>
                    <a:pt x="64" y="16"/>
                    <a:pt x="63" y="16"/>
                  </a:cubicBezTo>
                  <a:cubicBezTo>
                    <a:pt x="15" y="16"/>
                    <a:pt x="15" y="16"/>
                    <a:pt x="15" y="16"/>
                  </a:cubicBezTo>
                  <a:cubicBezTo>
                    <a:pt x="14" y="16"/>
                    <a:pt x="13" y="15"/>
                    <a:pt x="13" y="14"/>
                  </a:cubicBezTo>
                  <a:cubicBezTo>
                    <a:pt x="13" y="13"/>
                    <a:pt x="14" y="12"/>
                    <a:pt x="15" y="12"/>
                  </a:cubicBezTo>
                  <a:moveTo>
                    <a:pt x="65" y="29"/>
                  </a:moveTo>
                  <a:cubicBezTo>
                    <a:pt x="65" y="30"/>
                    <a:pt x="64" y="31"/>
                    <a:pt x="63" y="31"/>
                  </a:cubicBezTo>
                  <a:cubicBezTo>
                    <a:pt x="15" y="31"/>
                    <a:pt x="15" y="31"/>
                    <a:pt x="15" y="31"/>
                  </a:cubicBezTo>
                  <a:cubicBezTo>
                    <a:pt x="14" y="31"/>
                    <a:pt x="13" y="30"/>
                    <a:pt x="13" y="29"/>
                  </a:cubicBezTo>
                  <a:cubicBezTo>
                    <a:pt x="13" y="29"/>
                    <a:pt x="13" y="29"/>
                    <a:pt x="13" y="29"/>
                  </a:cubicBezTo>
                  <a:cubicBezTo>
                    <a:pt x="13" y="28"/>
                    <a:pt x="14" y="27"/>
                    <a:pt x="15" y="27"/>
                  </a:cubicBezTo>
                  <a:cubicBezTo>
                    <a:pt x="63" y="27"/>
                    <a:pt x="63" y="27"/>
                    <a:pt x="63" y="27"/>
                  </a:cubicBezTo>
                  <a:cubicBezTo>
                    <a:pt x="64" y="27"/>
                    <a:pt x="65" y="28"/>
                    <a:pt x="65" y="29"/>
                  </a:cubicBezTo>
                  <a:cubicBezTo>
                    <a:pt x="65" y="29"/>
                    <a:pt x="65" y="29"/>
                    <a:pt x="65" y="29"/>
                  </a:cubicBezTo>
                  <a:moveTo>
                    <a:pt x="78" y="42"/>
                  </a:moveTo>
                  <a:cubicBezTo>
                    <a:pt x="78" y="4"/>
                    <a:pt x="78" y="4"/>
                    <a:pt x="78" y="4"/>
                  </a:cubicBezTo>
                  <a:cubicBezTo>
                    <a:pt x="77" y="2"/>
                    <a:pt x="76" y="0"/>
                    <a:pt x="74" y="0"/>
                  </a:cubicBezTo>
                  <a:cubicBezTo>
                    <a:pt x="4" y="0"/>
                    <a:pt x="4" y="0"/>
                    <a:pt x="4" y="0"/>
                  </a:cubicBezTo>
                  <a:cubicBezTo>
                    <a:pt x="2" y="0"/>
                    <a:pt x="0" y="2"/>
                    <a:pt x="0" y="4"/>
                  </a:cubicBezTo>
                  <a:cubicBezTo>
                    <a:pt x="0" y="32"/>
                    <a:pt x="0" y="32"/>
                    <a:pt x="0" y="32"/>
                  </a:cubicBezTo>
                  <a:cubicBezTo>
                    <a:pt x="0" y="37"/>
                    <a:pt x="5" y="42"/>
                    <a:pt x="10" y="42"/>
                  </a:cubicBezTo>
                  <a:lnTo>
                    <a:pt x="7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4" name="Rectangle 5">
            <a:extLst>
              <a:ext uri="{FF2B5EF4-FFF2-40B4-BE49-F238E27FC236}">
                <a16:creationId xmlns:a16="http://schemas.microsoft.com/office/drawing/2014/main" id="{38FE92EE-E026-4078-AD2D-B3AC3C545593}"/>
              </a:ext>
              <a:ext uri="{C183D7F6-B498-43B3-948B-1728B52AA6E4}">
                <adec:decorative xmlns:adec="http://schemas.microsoft.com/office/drawing/2017/decorative" val="1"/>
              </a:ext>
            </a:extLst>
          </p:cNvPr>
          <p:cNvSpPr>
            <a:spLocks noChangeArrowheads="1"/>
          </p:cNvSpPr>
          <p:nvPr/>
        </p:nvSpPr>
        <p:spPr bwMode="auto">
          <a:xfrm>
            <a:off x="6734967" y="2059835"/>
            <a:ext cx="57227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n-lt"/>
              </a:rPr>
              <a:t>Computer</a:t>
            </a:r>
            <a:endParaRPr kumimoji="0" lang="fr-FR" altLang="fr-FR" sz="900" b="0" i="0" u="none" strike="noStrike" cap="none" normalizeH="0" baseline="0">
              <a:ln>
                <a:noFill/>
              </a:ln>
              <a:solidFill>
                <a:schemeClr val="tx1"/>
              </a:solidFill>
              <a:effectLst/>
              <a:latin typeface="+mn-lt"/>
            </a:endParaRPr>
          </a:p>
        </p:txBody>
      </p:sp>
      <p:sp>
        <p:nvSpPr>
          <p:cNvPr id="245" name="Rectangle 5">
            <a:extLst>
              <a:ext uri="{FF2B5EF4-FFF2-40B4-BE49-F238E27FC236}">
                <a16:creationId xmlns:a16="http://schemas.microsoft.com/office/drawing/2014/main" id="{68665543-C78D-498A-8CC1-5E493A3FF319}"/>
              </a:ext>
              <a:ext uri="{C183D7F6-B498-43B3-948B-1728B52AA6E4}">
                <adec:decorative xmlns:adec="http://schemas.microsoft.com/office/drawing/2017/decorative" val="1"/>
              </a:ext>
            </a:extLst>
          </p:cNvPr>
          <p:cNvSpPr>
            <a:spLocks noChangeArrowheads="1"/>
          </p:cNvSpPr>
          <p:nvPr/>
        </p:nvSpPr>
        <p:spPr bwMode="auto">
          <a:xfrm>
            <a:off x="9628878" y="2059835"/>
            <a:ext cx="45365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n-lt"/>
              </a:rPr>
              <a:t>Storage</a:t>
            </a:r>
            <a:endParaRPr kumimoji="0" lang="fr-FR" altLang="fr-FR" sz="900" b="0" i="0" u="none" strike="noStrike" cap="none" normalizeH="0" baseline="0">
              <a:ln>
                <a:noFill/>
              </a:ln>
              <a:solidFill>
                <a:schemeClr val="tx1"/>
              </a:solidFill>
              <a:effectLst/>
              <a:latin typeface="+mn-lt"/>
            </a:endParaRPr>
          </a:p>
        </p:txBody>
      </p:sp>
      <p:sp>
        <p:nvSpPr>
          <p:cNvPr id="246" name="Rectangle 22">
            <a:extLst>
              <a:ext uri="{FF2B5EF4-FFF2-40B4-BE49-F238E27FC236}">
                <a16:creationId xmlns:a16="http://schemas.microsoft.com/office/drawing/2014/main" id="{14317D7E-D0A1-4D6E-B4E7-E788D41566C2}"/>
              </a:ext>
              <a:ext uri="{C183D7F6-B498-43B3-948B-1728B52AA6E4}">
                <adec:decorative xmlns:adec="http://schemas.microsoft.com/office/drawing/2017/decorative" val="1"/>
              </a:ext>
            </a:extLst>
          </p:cNvPr>
          <p:cNvSpPr>
            <a:spLocks noChangeAspect="1" noChangeArrowheads="1"/>
          </p:cNvSpPr>
          <p:nvPr/>
        </p:nvSpPr>
        <p:spPr bwMode="auto">
          <a:xfrm>
            <a:off x="7790391" y="2051952"/>
            <a:ext cx="37189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n-lt"/>
              </a:rPr>
              <a:t>Mouse</a:t>
            </a:r>
            <a:endParaRPr kumimoji="0" lang="fr-FR" altLang="fr-FR" sz="900" b="0" i="0" u="none" strike="noStrike" cap="none" normalizeH="0" baseline="0">
              <a:ln>
                <a:noFill/>
              </a:ln>
              <a:solidFill>
                <a:schemeClr val="tx1"/>
              </a:solidFill>
              <a:effectLst/>
              <a:latin typeface="+mn-lt"/>
            </a:endParaRPr>
          </a:p>
        </p:txBody>
      </p:sp>
      <p:sp>
        <p:nvSpPr>
          <p:cNvPr id="247" name="Rectangle 22">
            <a:extLst>
              <a:ext uri="{FF2B5EF4-FFF2-40B4-BE49-F238E27FC236}">
                <a16:creationId xmlns:a16="http://schemas.microsoft.com/office/drawing/2014/main" id="{2ADFCC02-D5B6-4161-A7DD-777EBB671A35}"/>
              </a:ext>
              <a:ext uri="{C183D7F6-B498-43B3-948B-1728B52AA6E4}">
                <adec:decorative xmlns:adec="http://schemas.microsoft.com/office/drawing/2017/decorative" val="1"/>
              </a:ext>
            </a:extLst>
          </p:cNvPr>
          <p:cNvSpPr>
            <a:spLocks noChangeAspect="1" noChangeArrowheads="1"/>
          </p:cNvSpPr>
          <p:nvPr/>
        </p:nvSpPr>
        <p:spPr bwMode="auto">
          <a:xfrm>
            <a:off x="8773829" y="2059835"/>
            <a:ext cx="38792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a:solidFill>
                  <a:srgbClr val="000000"/>
                </a:solidFill>
                <a:latin typeface="+mn-lt"/>
              </a:rPr>
              <a:t>P</a:t>
            </a:r>
            <a:r>
              <a:rPr kumimoji="0" lang="fr-FR" altLang="fr-FR" sz="900" b="0" i="0" u="none" strike="noStrike" cap="none" normalizeH="0" baseline="0">
                <a:ln>
                  <a:noFill/>
                </a:ln>
                <a:solidFill>
                  <a:srgbClr val="000000"/>
                </a:solidFill>
                <a:effectLst/>
                <a:latin typeface="+mn-lt"/>
              </a:rPr>
              <a:t>rinter</a:t>
            </a:r>
            <a:endParaRPr kumimoji="0" lang="fr-FR" altLang="fr-FR" sz="900" b="0" i="0" u="none" strike="noStrike" cap="none" normalizeH="0" baseline="0">
              <a:ln>
                <a:noFill/>
              </a:ln>
              <a:solidFill>
                <a:schemeClr val="tx1"/>
              </a:solidFill>
              <a:effectLst/>
              <a:latin typeface="+mn-lt"/>
            </a:endParaRPr>
          </a:p>
        </p:txBody>
      </p:sp>
      <p:grpSp>
        <p:nvGrpSpPr>
          <p:cNvPr id="248" name="Group 247">
            <a:extLst>
              <a:ext uri="{FF2B5EF4-FFF2-40B4-BE49-F238E27FC236}">
                <a16:creationId xmlns:a16="http://schemas.microsoft.com/office/drawing/2014/main" id="{01C35599-93D2-4BA0-A05F-62646E7022CE}"/>
              </a:ext>
              <a:ext uri="{C183D7F6-B498-43B3-948B-1728B52AA6E4}">
                <adec:decorative xmlns:adec="http://schemas.microsoft.com/office/drawing/2017/decorative" val="1"/>
              </a:ext>
            </a:extLst>
          </p:cNvPr>
          <p:cNvGrpSpPr/>
          <p:nvPr/>
        </p:nvGrpSpPr>
        <p:grpSpPr>
          <a:xfrm>
            <a:off x="7589512" y="3556989"/>
            <a:ext cx="762784" cy="720000"/>
            <a:chOff x="1289779" y="5162222"/>
            <a:chExt cx="762784" cy="720000"/>
          </a:xfrm>
        </p:grpSpPr>
        <p:sp>
          <p:nvSpPr>
            <p:cNvPr id="249" name="Freeform 9">
              <a:extLst>
                <a:ext uri="{FF2B5EF4-FFF2-40B4-BE49-F238E27FC236}">
                  <a16:creationId xmlns:a16="http://schemas.microsoft.com/office/drawing/2014/main" id="{6B2A024E-34E7-4010-9590-FF85BA9CC038}"/>
                </a:ext>
              </a:extLst>
            </p:cNvPr>
            <p:cNvSpPr>
              <a:spLocks/>
            </p:cNvSpPr>
            <p:nvPr/>
          </p:nvSpPr>
          <p:spPr bwMode="auto">
            <a:xfrm>
              <a:off x="1289779" y="5162222"/>
              <a:ext cx="762784" cy="720000"/>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2" y="82"/>
                    <a:pt x="70" y="41"/>
                  </a:cubicBezTo>
                  <a:cubicBezTo>
                    <a:pt x="128" y="0"/>
                    <a:pt x="209" y="12"/>
                    <a:pt x="251" y="67"/>
                  </a:cubicBezTo>
                  <a:cubicBezTo>
                    <a:pt x="293" y="121"/>
                    <a:pt x="276" y="192"/>
                    <a:pt x="218" y="233"/>
                  </a:cubicBezTo>
                  <a:cubicBezTo>
                    <a:pt x="160" y="274"/>
                    <a:pt x="84" y="269"/>
                    <a:pt x="42" y="21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0" name="Group 249">
              <a:extLst>
                <a:ext uri="{FF2B5EF4-FFF2-40B4-BE49-F238E27FC236}">
                  <a16:creationId xmlns:a16="http://schemas.microsoft.com/office/drawing/2014/main" id="{F3B9CFB8-86B6-4521-98FB-3DDD4CC8FDAE}"/>
                </a:ext>
              </a:extLst>
            </p:cNvPr>
            <p:cNvGrpSpPr/>
            <p:nvPr/>
          </p:nvGrpSpPr>
          <p:grpSpPr>
            <a:xfrm>
              <a:off x="1471572" y="5321006"/>
              <a:ext cx="392113" cy="393700"/>
              <a:chOff x="1471572" y="5321006"/>
              <a:chExt cx="392113" cy="393700"/>
            </a:xfrm>
          </p:grpSpPr>
          <p:grpSp>
            <p:nvGrpSpPr>
              <p:cNvPr id="265" name="Group 264">
                <a:extLst>
                  <a:ext uri="{FF2B5EF4-FFF2-40B4-BE49-F238E27FC236}">
                    <a16:creationId xmlns:a16="http://schemas.microsoft.com/office/drawing/2014/main" id="{8FD5CAE8-54DF-4055-90B1-D9EB08AF7631}"/>
                  </a:ext>
                </a:extLst>
              </p:cNvPr>
              <p:cNvGrpSpPr/>
              <p:nvPr/>
            </p:nvGrpSpPr>
            <p:grpSpPr>
              <a:xfrm>
                <a:off x="1535072" y="5321006"/>
                <a:ext cx="265113" cy="106363"/>
                <a:chOff x="1535072" y="5321006"/>
                <a:chExt cx="265113" cy="106363"/>
              </a:xfrm>
            </p:grpSpPr>
            <p:sp>
              <p:nvSpPr>
                <p:cNvPr id="267" name="Freeform 340">
                  <a:extLst>
                    <a:ext uri="{FF2B5EF4-FFF2-40B4-BE49-F238E27FC236}">
                      <a16:creationId xmlns:a16="http://schemas.microsoft.com/office/drawing/2014/main" id="{B0DB27C3-3F14-4310-9229-225307AB31A6}"/>
                    </a:ext>
                  </a:extLst>
                </p:cNvPr>
                <p:cNvSpPr>
                  <a:spLocks/>
                </p:cNvSpPr>
                <p:nvPr/>
              </p:nvSpPr>
              <p:spPr bwMode="auto">
                <a:xfrm>
                  <a:off x="1758910" y="5321006"/>
                  <a:ext cx="41275" cy="106363"/>
                </a:xfrm>
                <a:custGeom>
                  <a:avLst/>
                  <a:gdLst>
                    <a:gd name="T0" fmla="*/ 6 w 12"/>
                    <a:gd name="T1" fmla="*/ 31 h 31"/>
                    <a:gd name="T2" fmla="*/ 12 w 12"/>
                    <a:gd name="T3" fmla="*/ 25 h 31"/>
                    <a:gd name="T4" fmla="*/ 12 w 12"/>
                    <a:gd name="T5" fmla="*/ 6 h 31"/>
                    <a:gd name="T6" fmla="*/ 6 w 12"/>
                    <a:gd name="T7" fmla="*/ 0 h 31"/>
                    <a:gd name="T8" fmla="*/ 0 w 12"/>
                    <a:gd name="T9" fmla="*/ 6 h 31"/>
                    <a:gd name="T10" fmla="*/ 0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9" y="31"/>
                        <a:pt x="12" y="28"/>
                        <a:pt x="12" y="25"/>
                      </a:cubicBezTo>
                      <a:cubicBezTo>
                        <a:pt x="12" y="6"/>
                        <a:pt x="12" y="6"/>
                        <a:pt x="12" y="6"/>
                      </a:cubicBezTo>
                      <a:cubicBezTo>
                        <a:pt x="12" y="3"/>
                        <a:pt x="9" y="0"/>
                        <a:pt x="6" y="0"/>
                      </a:cubicBezTo>
                      <a:cubicBezTo>
                        <a:pt x="3" y="0"/>
                        <a:pt x="0" y="3"/>
                        <a:pt x="0" y="6"/>
                      </a:cubicBezTo>
                      <a:cubicBezTo>
                        <a:pt x="0" y="25"/>
                        <a:pt x="0" y="25"/>
                        <a:pt x="0" y="25"/>
                      </a:cubicBezTo>
                      <a:cubicBezTo>
                        <a:pt x="0" y="28"/>
                        <a:pt x="3" y="31"/>
                        <a:pt x="6" y="31"/>
                      </a:cubicBezTo>
                      <a:close/>
                    </a:path>
                  </a:pathLst>
                </a:custGeom>
                <a:solidFill>
                  <a:schemeClr val="bg1"/>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268" name="Freeform 341">
                  <a:extLst>
                    <a:ext uri="{FF2B5EF4-FFF2-40B4-BE49-F238E27FC236}">
                      <a16:creationId xmlns:a16="http://schemas.microsoft.com/office/drawing/2014/main" id="{A5E4CB66-573D-45CE-9A0C-7ABB860AAA94}"/>
                    </a:ext>
                  </a:extLst>
                </p:cNvPr>
                <p:cNvSpPr>
                  <a:spLocks/>
                </p:cNvSpPr>
                <p:nvPr/>
              </p:nvSpPr>
              <p:spPr bwMode="auto">
                <a:xfrm>
                  <a:off x="1535072" y="5321006"/>
                  <a:ext cx="41275" cy="106363"/>
                </a:xfrm>
                <a:custGeom>
                  <a:avLst/>
                  <a:gdLst>
                    <a:gd name="T0" fmla="*/ 6 w 12"/>
                    <a:gd name="T1" fmla="*/ 31 h 31"/>
                    <a:gd name="T2" fmla="*/ 12 w 12"/>
                    <a:gd name="T3" fmla="*/ 25 h 31"/>
                    <a:gd name="T4" fmla="*/ 12 w 12"/>
                    <a:gd name="T5" fmla="*/ 6 h 31"/>
                    <a:gd name="T6" fmla="*/ 6 w 12"/>
                    <a:gd name="T7" fmla="*/ 0 h 31"/>
                    <a:gd name="T8" fmla="*/ 0 w 12"/>
                    <a:gd name="T9" fmla="*/ 6 h 31"/>
                    <a:gd name="T10" fmla="*/ 0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9" y="31"/>
                        <a:pt x="12" y="28"/>
                        <a:pt x="12" y="25"/>
                      </a:cubicBezTo>
                      <a:cubicBezTo>
                        <a:pt x="12" y="6"/>
                        <a:pt x="12" y="6"/>
                        <a:pt x="12" y="6"/>
                      </a:cubicBezTo>
                      <a:cubicBezTo>
                        <a:pt x="12" y="3"/>
                        <a:pt x="9" y="0"/>
                        <a:pt x="6" y="0"/>
                      </a:cubicBezTo>
                      <a:cubicBezTo>
                        <a:pt x="3" y="0"/>
                        <a:pt x="0" y="3"/>
                        <a:pt x="0" y="6"/>
                      </a:cubicBezTo>
                      <a:cubicBezTo>
                        <a:pt x="0" y="25"/>
                        <a:pt x="0" y="25"/>
                        <a:pt x="0" y="25"/>
                      </a:cubicBezTo>
                      <a:cubicBezTo>
                        <a:pt x="0" y="28"/>
                        <a:pt x="3" y="31"/>
                        <a:pt x="6" y="31"/>
                      </a:cubicBezTo>
                      <a:close/>
                    </a:path>
                  </a:pathLst>
                </a:custGeom>
                <a:solidFill>
                  <a:schemeClr val="bg1"/>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grpSp>
          <p:sp>
            <p:nvSpPr>
              <p:cNvPr id="266" name="Freeform 342">
                <a:extLst>
                  <a:ext uri="{FF2B5EF4-FFF2-40B4-BE49-F238E27FC236}">
                    <a16:creationId xmlns:a16="http://schemas.microsoft.com/office/drawing/2014/main" id="{7FAA0BD6-11C7-4536-9E45-B4D9113EE46C}"/>
                  </a:ext>
                </a:extLst>
              </p:cNvPr>
              <p:cNvSpPr>
                <a:spLocks/>
              </p:cNvSpPr>
              <p:nvPr/>
            </p:nvSpPr>
            <p:spPr bwMode="auto">
              <a:xfrm>
                <a:off x="1471572" y="5359106"/>
                <a:ext cx="392113" cy="355600"/>
              </a:xfrm>
              <a:custGeom>
                <a:avLst/>
                <a:gdLst>
                  <a:gd name="T0" fmla="*/ 106 w 116"/>
                  <a:gd name="T1" fmla="*/ 0 h 104"/>
                  <a:gd name="T2" fmla="*/ 98 w 116"/>
                  <a:gd name="T3" fmla="*/ 0 h 104"/>
                  <a:gd name="T4" fmla="*/ 98 w 116"/>
                  <a:gd name="T5" fmla="*/ 7 h 104"/>
                  <a:gd name="T6" fmla="*/ 101 w 116"/>
                  <a:gd name="T7" fmla="*/ 13 h 104"/>
                  <a:gd name="T8" fmla="*/ 91 w 116"/>
                  <a:gd name="T9" fmla="*/ 23 h 104"/>
                  <a:gd name="T10" fmla="*/ 82 w 116"/>
                  <a:gd name="T11" fmla="*/ 13 h 104"/>
                  <a:gd name="T12" fmla="*/ 84 w 116"/>
                  <a:gd name="T13" fmla="*/ 7 h 104"/>
                  <a:gd name="T14" fmla="*/ 84 w 116"/>
                  <a:gd name="T15" fmla="*/ 0 h 104"/>
                  <a:gd name="T16" fmla="*/ 32 w 116"/>
                  <a:gd name="T17" fmla="*/ 0 h 104"/>
                  <a:gd name="T18" fmla="*/ 32 w 116"/>
                  <a:gd name="T19" fmla="*/ 7 h 104"/>
                  <a:gd name="T20" fmla="*/ 34 w 116"/>
                  <a:gd name="T21" fmla="*/ 13 h 104"/>
                  <a:gd name="T22" fmla="*/ 25 w 116"/>
                  <a:gd name="T23" fmla="*/ 23 h 104"/>
                  <a:gd name="T24" fmla="*/ 16 w 116"/>
                  <a:gd name="T25" fmla="*/ 13 h 104"/>
                  <a:gd name="T26" fmla="*/ 18 w 116"/>
                  <a:gd name="T27" fmla="*/ 7 h 104"/>
                  <a:gd name="T28" fmla="*/ 18 w 116"/>
                  <a:gd name="T29" fmla="*/ 0 h 104"/>
                  <a:gd name="T30" fmla="*/ 11 w 116"/>
                  <a:gd name="T31" fmla="*/ 0 h 104"/>
                  <a:gd name="T32" fmla="*/ 0 w 116"/>
                  <a:gd name="T33" fmla="*/ 11 h 104"/>
                  <a:gd name="T34" fmla="*/ 0 w 116"/>
                  <a:gd name="T35" fmla="*/ 94 h 104"/>
                  <a:gd name="T36" fmla="*/ 11 w 116"/>
                  <a:gd name="T37" fmla="*/ 104 h 104"/>
                  <a:gd name="T38" fmla="*/ 105 w 116"/>
                  <a:gd name="T39" fmla="*/ 104 h 104"/>
                  <a:gd name="T40" fmla="*/ 116 w 116"/>
                  <a:gd name="T41" fmla="*/ 94 h 104"/>
                  <a:gd name="T42" fmla="*/ 116 w 116"/>
                  <a:gd name="T43" fmla="*/ 11 h 104"/>
                  <a:gd name="T44" fmla="*/ 106 w 116"/>
                  <a:gd name="T4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104">
                    <a:moveTo>
                      <a:pt x="106" y="0"/>
                    </a:moveTo>
                    <a:cubicBezTo>
                      <a:pt x="98" y="0"/>
                      <a:pt x="98" y="0"/>
                      <a:pt x="98" y="0"/>
                    </a:cubicBezTo>
                    <a:cubicBezTo>
                      <a:pt x="98" y="7"/>
                      <a:pt x="98" y="7"/>
                      <a:pt x="98" y="7"/>
                    </a:cubicBezTo>
                    <a:cubicBezTo>
                      <a:pt x="100" y="9"/>
                      <a:pt x="101" y="11"/>
                      <a:pt x="101" y="13"/>
                    </a:cubicBezTo>
                    <a:cubicBezTo>
                      <a:pt x="101" y="19"/>
                      <a:pt x="96" y="23"/>
                      <a:pt x="91" y="23"/>
                    </a:cubicBezTo>
                    <a:cubicBezTo>
                      <a:pt x="86" y="23"/>
                      <a:pt x="82" y="19"/>
                      <a:pt x="82" y="13"/>
                    </a:cubicBezTo>
                    <a:cubicBezTo>
                      <a:pt x="82" y="11"/>
                      <a:pt x="83" y="9"/>
                      <a:pt x="84" y="7"/>
                    </a:cubicBezTo>
                    <a:cubicBezTo>
                      <a:pt x="84" y="0"/>
                      <a:pt x="84" y="0"/>
                      <a:pt x="84" y="0"/>
                    </a:cubicBezTo>
                    <a:cubicBezTo>
                      <a:pt x="32" y="0"/>
                      <a:pt x="32" y="0"/>
                      <a:pt x="32" y="0"/>
                    </a:cubicBezTo>
                    <a:cubicBezTo>
                      <a:pt x="32" y="7"/>
                      <a:pt x="32" y="7"/>
                      <a:pt x="32" y="7"/>
                    </a:cubicBezTo>
                    <a:cubicBezTo>
                      <a:pt x="34" y="9"/>
                      <a:pt x="34" y="11"/>
                      <a:pt x="34" y="13"/>
                    </a:cubicBezTo>
                    <a:cubicBezTo>
                      <a:pt x="34" y="19"/>
                      <a:pt x="30" y="23"/>
                      <a:pt x="25" y="23"/>
                    </a:cubicBezTo>
                    <a:cubicBezTo>
                      <a:pt x="20" y="23"/>
                      <a:pt x="16" y="19"/>
                      <a:pt x="16" y="13"/>
                    </a:cubicBezTo>
                    <a:cubicBezTo>
                      <a:pt x="16" y="11"/>
                      <a:pt x="17" y="9"/>
                      <a:pt x="18" y="7"/>
                    </a:cubicBezTo>
                    <a:cubicBezTo>
                      <a:pt x="18" y="0"/>
                      <a:pt x="18" y="0"/>
                      <a:pt x="18" y="0"/>
                    </a:cubicBezTo>
                    <a:cubicBezTo>
                      <a:pt x="11" y="0"/>
                      <a:pt x="11" y="0"/>
                      <a:pt x="11" y="0"/>
                    </a:cubicBezTo>
                    <a:cubicBezTo>
                      <a:pt x="5" y="0"/>
                      <a:pt x="0" y="5"/>
                      <a:pt x="0" y="11"/>
                    </a:cubicBezTo>
                    <a:cubicBezTo>
                      <a:pt x="0" y="94"/>
                      <a:pt x="0" y="94"/>
                      <a:pt x="0" y="94"/>
                    </a:cubicBezTo>
                    <a:cubicBezTo>
                      <a:pt x="0" y="100"/>
                      <a:pt x="5" y="104"/>
                      <a:pt x="11" y="104"/>
                    </a:cubicBezTo>
                    <a:cubicBezTo>
                      <a:pt x="105" y="104"/>
                      <a:pt x="105" y="104"/>
                      <a:pt x="105" y="104"/>
                    </a:cubicBezTo>
                    <a:cubicBezTo>
                      <a:pt x="111" y="104"/>
                      <a:pt x="116" y="100"/>
                      <a:pt x="116" y="94"/>
                    </a:cubicBezTo>
                    <a:cubicBezTo>
                      <a:pt x="116" y="11"/>
                      <a:pt x="116" y="11"/>
                      <a:pt x="116" y="11"/>
                    </a:cubicBezTo>
                    <a:cubicBezTo>
                      <a:pt x="116" y="5"/>
                      <a:pt x="111" y="0"/>
                      <a:pt x="1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51" name="Freeform 343">
              <a:extLst>
                <a:ext uri="{FF2B5EF4-FFF2-40B4-BE49-F238E27FC236}">
                  <a16:creationId xmlns:a16="http://schemas.microsoft.com/office/drawing/2014/main" id="{9588881F-F983-41DD-ADDD-8AEBD4A1E1DD}"/>
                </a:ext>
              </a:extLst>
            </p:cNvPr>
            <p:cNvSpPr>
              <a:spLocks/>
            </p:cNvSpPr>
            <p:nvPr/>
          </p:nvSpPr>
          <p:spPr bwMode="auto">
            <a:xfrm>
              <a:off x="1498560" y="5465468"/>
              <a:ext cx="341313" cy="225425"/>
            </a:xfrm>
            <a:custGeom>
              <a:avLst/>
              <a:gdLst>
                <a:gd name="T0" fmla="*/ 101 w 101"/>
                <a:gd name="T1" fmla="*/ 56 h 66"/>
                <a:gd name="T2" fmla="*/ 91 w 101"/>
                <a:gd name="T3" fmla="*/ 66 h 66"/>
                <a:gd name="T4" fmla="*/ 10 w 101"/>
                <a:gd name="T5" fmla="*/ 66 h 66"/>
                <a:gd name="T6" fmla="*/ 0 w 101"/>
                <a:gd name="T7" fmla="*/ 56 h 66"/>
                <a:gd name="T8" fmla="*/ 0 w 101"/>
                <a:gd name="T9" fmla="*/ 0 h 66"/>
                <a:gd name="T10" fmla="*/ 101 w 101"/>
                <a:gd name="T11" fmla="*/ 0 h 66"/>
                <a:gd name="T12" fmla="*/ 101 w 101"/>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01" h="66">
                  <a:moveTo>
                    <a:pt x="101" y="56"/>
                  </a:moveTo>
                  <a:cubicBezTo>
                    <a:pt x="101" y="62"/>
                    <a:pt x="96" y="66"/>
                    <a:pt x="91" y="66"/>
                  </a:cubicBezTo>
                  <a:cubicBezTo>
                    <a:pt x="10" y="66"/>
                    <a:pt x="10" y="66"/>
                    <a:pt x="10" y="66"/>
                  </a:cubicBezTo>
                  <a:cubicBezTo>
                    <a:pt x="4" y="66"/>
                    <a:pt x="0" y="62"/>
                    <a:pt x="0" y="56"/>
                  </a:cubicBezTo>
                  <a:cubicBezTo>
                    <a:pt x="0" y="0"/>
                    <a:pt x="0" y="0"/>
                    <a:pt x="0" y="0"/>
                  </a:cubicBezTo>
                  <a:cubicBezTo>
                    <a:pt x="101" y="0"/>
                    <a:pt x="101" y="0"/>
                    <a:pt x="101" y="0"/>
                  </a:cubicBezTo>
                  <a:cubicBezTo>
                    <a:pt x="101" y="56"/>
                    <a:pt x="101" y="56"/>
                    <a:pt x="101" y="56"/>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347">
              <a:extLst>
                <a:ext uri="{FF2B5EF4-FFF2-40B4-BE49-F238E27FC236}">
                  <a16:creationId xmlns:a16="http://schemas.microsoft.com/office/drawing/2014/main" id="{2BE8ACAC-AD5B-4C37-A4FC-BE63C7F522A9}"/>
                </a:ext>
              </a:extLst>
            </p:cNvPr>
            <p:cNvSpPr>
              <a:spLocks noChangeArrowheads="1"/>
            </p:cNvSpPr>
            <p:nvPr/>
          </p:nvSpPr>
          <p:spPr bwMode="auto">
            <a:xfrm>
              <a:off x="1708110" y="5498806"/>
              <a:ext cx="41275"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Rectangle 348">
              <a:extLst>
                <a:ext uri="{FF2B5EF4-FFF2-40B4-BE49-F238E27FC236}">
                  <a16:creationId xmlns:a16="http://schemas.microsoft.com/office/drawing/2014/main" id="{7B85B9A5-50D2-430B-AC83-AD208FD10F3D}"/>
                </a:ext>
              </a:extLst>
            </p:cNvPr>
            <p:cNvSpPr>
              <a:spLocks noChangeArrowheads="1"/>
            </p:cNvSpPr>
            <p:nvPr/>
          </p:nvSpPr>
          <p:spPr bwMode="auto">
            <a:xfrm>
              <a:off x="1768435" y="5498806"/>
              <a:ext cx="38100"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54" name="Group 253">
              <a:extLst>
                <a:ext uri="{FF2B5EF4-FFF2-40B4-BE49-F238E27FC236}">
                  <a16:creationId xmlns:a16="http://schemas.microsoft.com/office/drawing/2014/main" id="{3C6E5127-93B7-4DB4-8C51-02EF52B78A21}"/>
                </a:ext>
              </a:extLst>
            </p:cNvPr>
            <p:cNvGrpSpPr/>
            <p:nvPr/>
          </p:nvGrpSpPr>
          <p:grpSpPr>
            <a:xfrm>
              <a:off x="1528722" y="5557543"/>
              <a:ext cx="277813" cy="101601"/>
              <a:chOff x="1528722" y="5557543"/>
              <a:chExt cx="277813" cy="101601"/>
            </a:xfrm>
          </p:grpSpPr>
          <p:sp>
            <p:nvSpPr>
              <p:cNvPr id="256" name="Rectangle 344">
                <a:extLst>
                  <a:ext uri="{FF2B5EF4-FFF2-40B4-BE49-F238E27FC236}">
                    <a16:creationId xmlns:a16="http://schemas.microsoft.com/office/drawing/2014/main" id="{78614330-BC44-4DCE-88F0-D70B8D4C7F1C}"/>
                  </a:ext>
                </a:extLst>
              </p:cNvPr>
              <p:cNvSpPr>
                <a:spLocks noChangeArrowheads="1"/>
              </p:cNvSpPr>
              <p:nvPr/>
            </p:nvSpPr>
            <p:spPr bwMode="auto">
              <a:xfrm>
                <a:off x="1708110" y="5619456"/>
                <a:ext cx="41275"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Rectangle 345">
                <a:extLst>
                  <a:ext uri="{FF2B5EF4-FFF2-40B4-BE49-F238E27FC236}">
                    <a16:creationId xmlns:a16="http://schemas.microsoft.com/office/drawing/2014/main" id="{BC9200CD-4441-4108-B4FF-3F51371EFB1C}"/>
                  </a:ext>
                </a:extLst>
              </p:cNvPr>
              <p:cNvSpPr>
                <a:spLocks noChangeArrowheads="1"/>
              </p:cNvSpPr>
              <p:nvPr/>
            </p:nvSpPr>
            <p:spPr bwMode="auto">
              <a:xfrm>
                <a:off x="1708110" y="5557543"/>
                <a:ext cx="41275"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Rectangle 346">
                <a:extLst>
                  <a:ext uri="{FF2B5EF4-FFF2-40B4-BE49-F238E27FC236}">
                    <a16:creationId xmlns:a16="http://schemas.microsoft.com/office/drawing/2014/main" id="{A2E2CB73-32A9-473E-AD62-50D7A09ECD03}"/>
                  </a:ext>
                </a:extLst>
              </p:cNvPr>
              <p:cNvSpPr>
                <a:spLocks noChangeArrowheads="1"/>
              </p:cNvSpPr>
              <p:nvPr/>
            </p:nvSpPr>
            <p:spPr bwMode="auto">
              <a:xfrm>
                <a:off x="1768435" y="5557543"/>
                <a:ext cx="38100"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Rectangle 349">
                <a:extLst>
                  <a:ext uri="{FF2B5EF4-FFF2-40B4-BE49-F238E27FC236}">
                    <a16:creationId xmlns:a16="http://schemas.microsoft.com/office/drawing/2014/main" id="{ACA93441-FA64-4649-AD45-9DEB9240C0BF}"/>
                  </a:ext>
                </a:extLst>
              </p:cNvPr>
              <p:cNvSpPr>
                <a:spLocks noChangeArrowheads="1"/>
              </p:cNvSpPr>
              <p:nvPr/>
            </p:nvSpPr>
            <p:spPr bwMode="auto">
              <a:xfrm>
                <a:off x="1528722" y="5619456"/>
                <a:ext cx="41275"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Rectangle 350">
                <a:extLst>
                  <a:ext uri="{FF2B5EF4-FFF2-40B4-BE49-F238E27FC236}">
                    <a16:creationId xmlns:a16="http://schemas.microsoft.com/office/drawing/2014/main" id="{9A064B1C-DEF0-4E75-96A0-AA537B52E305}"/>
                  </a:ext>
                </a:extLst>
              </p:cNvPr>
              <p:cNvSpPr>
                <a:spLocks noChangeArrowheads="1"/>
              </p:cNvSpPr>
              <p:nvPr/>
            </p:nvSpPr>
            <p:spPr bwMode="auto">
              <a:xfrm>
                <a:off x="1528722" y="5557543"/>
                <a:ext cx="41275"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Rectangle 351">
                <a:extLst>
                  <a:ext uri="{FF2B5EF4-FFF2-40B4-BE49-F238E27FC236}">
                    <a16:creationId xmlns:a16="http://schemas.microsoft.com/office/drawing/2014/main" id="{A9AF8877-2D86-4AA1-BA42-5E2833EC0194}"/>
                  </a:ext>
                </a:extLst>
              </p:cNvPr>
              <p:cNvSpPr>
                <a:spLocks noChangeArrowheads="1"/>
              </p:cNvSpPr>
              <p:nvPr/>
            </p:nvSpPr>
            <p:spPr bwMode="auto">
              <a:xfrm>
                <a:off x="1589047" y="5619456"/>
                <a:ext cx="38100"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Rectangle 352">
                <a:extLst>
                  <a:ext uri="{FF2B5EF4-FFF2-40B4-BE49-F238E27FC236}">
                    <a16:creationId xmlns:a16="http://schemas.microsoft.com/office/drawing/2014/main" id="{E09E3B93-610C-4A42-AEB3-6DEDCBA245A5}"/>
                  </a:ext>
                </a:extLst>
              </p:cNvPr>
              <p:cNvSpPr>
                <a:spLocks noChangeArrowheads="1"/>
              </p:cNvSpPr>
              <p:nvPr/>
            </p:nvSpPr>
            <p:spPr bwMode="auto">
              <a:xfrm>
                <a:off x="1589047" y="5557543"/>
                <a:ext cx="38100"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Rectangle 353">
                <a:extLst>
                  <a:ext uri="{FF2B5EF4-FFF2-40B4-BE49-F238E27FC236}">
                    <a16:creationId xmlns:a16="http://schemas.microsoft.com/office/drawing/2014/main" id="{D105E861-A6C4-46F6-86D8-A6A28F98B89A}"/>
                  </a:ext>
                </a:extLst>
              </p:cNvPr>
              <p:cNvSpPr>
                <a:spLocks noChangeArrowheads="1"/>
              </p:cNvSpPr>
              <p:nvPr/>
            </p:nvSpPr>
            <p:spPr bwMode="auto">
              <a:xfrm>
                <a:off x="1647785" y="5557543"/>
                <a:ext cx="39688"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Rectangle 354">
                <a:extLst>
                  <a:ext uri="{FF2B5EF4-FFF2-40B4-BE49-F238E27FC236}">
                    <a16:creationId xmlns:a16="http://schemas.microsoft.com/office/drawing/2014/main" id="{B125DB3B-0045-46E8-A3B5-91BD7BB0A586}"/>
                  </a:ext>
                </a:extLst>
              </p:cNvPr>
              <p:cNvSpPr>
                <a:spLocks noChangeArrowheads="1"/>
              </p:cNvSpPr>
              <p:nvPr/>
            </p:nvSpPr>
            <p:spPr bwMode="auto">
              <a:xfrm>
                <a:off x="1647785" y="5619456"/>
                <a:ext cx="39688"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5" name="Rectangle 355">
              <a:extLst>
                <a:ext uri="{FF2B5EF4-FFF2-40B4-BE49-F238E27FC236}">
                  <a16:creationId xmlns:a16="http://schemas.microsoft.com/office/drawing/2014/main" id="{80E3FFD5-3B32-46BF-A8DD-26C752461534}"/>
                </a:ext>
              </a:extLst>
            </p:cNvPr>
            <p:cNvSpPr>
              <a:spLocks noChangeArrowheads="1"/>
            </p:cNvSpPr>
            <p:nvPr/>
          </p:nvSpPr>
          <p:spPr bwMode="auto">
            <a:xfrm>
              <a:off x="1647785" y="5498806"/>
              <a:ext cx="39688"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0" name="Rectangle 101">
            <a:extLst>
              <a:ext uri="{FF2B5EF4-FFF2-40B4-BE49-F238E27FC236}">
                <a16:creationId xmlns:a16="http://schemas.microsoft.com/office/drawing/2014/main" id="{61DA9452-0DBC-4D9D-AB6D-BC70119A3040}"/>
              </a:ext>
              <a:ext uri="{C183D7F6-B498-43B3-948B-1728B52AA6E4}">
                <adec:decorative xmlns:adec="http://schemas.microsoft.com/office/drawing/2017/decorative" val="1"/>
              </a:ext>
            </a:extLst>
          </p:cNvPr>
          <p:cNvSpPr>
            <a:spLocks noChangeArrowheads="1"/>
          </p:cNvSpPr>
          <p:nvPr/>
        </p:nvSpPr>
        <p:spPr bwMode="auto">
          <a:xfrm>
            <a:off x="8595212" y="4293131"/>
            <a:ext cx="65883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Paint </a:t>
            </a:r>
            <a:r>
              <a:rPr kumimoji="0" lang="fr-FR" altLang="fr-FR" sz="900" b="0" i="0" u="none" strike="noStrike" cap="none" normalizeH="0" baseline="0" err="1">
                <a:ln>
                  <a:noFill/>
                </a:ln>
                <a:solidFill>
                  <a:srgbClr val="000000"/>
                </a:solidFill>
                <a:effectLst/>
                <a:latin typeface="+mj-lt"/>
              </a:rPr>
              <a:t>brush</a:t>
            </a:r>
            <a:endParaRPr kumimoji="0" lang="fr-FR" altLang="fr-FR" sz="900" b="0" i="0" u="none" strike="noStrike" cap="none" normalizeH="0" baseline="0">
              <a:ln>
                <a:noFill/>
              </a:ln>
              <a:solidFill>
                <a:schemeClr val="tx1"/>
              </a:solidFill>
              <a:effectLst/>
              <a:latin typeface="+mj-lt"/>
            </a:endParaRPr>
          </a:p>
        </p:txBody>
      </p:sp>
      <p:sp>
        <p:nvSpPr>
          <p:cNvPr id="271" name="Rectangle 9">
            <a:extLst>
              <a:ext uri="{FF2B5EF4-FFF2-40B4-BE49-F238E27FC236}">
                <a16:creationId xmlns:a16="http://schemas.microsoft.com/office/drawing/2014/main" id="{9BEE71B7-5751-469D-B47A-290FE41A7687}"/>
              </a:ext>
              <a:ext uri="{C183D7F6-B498-43B3-948B-1728B52AA6E4}">
                <adec:decorative xmlns:adec="http://schemas.microsoft.com/office/drawing/2017/decorative" val="1"/>
              </a:ext>
            </a:extLst>
          </p:cNvPr>
          <p:cNvSpPr>
            <a:spLocks noChangeArrowheads="1"/>
          </p:cNvSpPr>
          <p:nvPr/>
        </p:nvSpPr>
        <p:spPr bwMode="auto">
          <a:xfrm>
            <a:off x="6854913" y="4293131"/>
            <a:ext cx="32861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Paper</a:t>
            </a:r>
            <a:endParaRPr kumimoji="0" lang="fr-FR" altLang="fr-FR" sz="900" b="0" i="0" u="none" strike="noStrike" cap="none" normalizeH="0" baseline="0">
              <a:ln>
                <a:noFill/>
              </a:ln>
              <a:solidFill>
                <a:schemeClr val="tx1"/>
              </a:solidFill>
              <a:effectLst/>
              <a:latin typeface="+mj-lt"/>
            </a:endParaRPr>
          </a:p>
        </p:txBody>
      </p:sp>
      <p:sp>
        <p:nvSpPr>
          <p:cNvPr id="272" name="Rectangle 74">
            <a:extLst>
              <a:ext uri="{FF2B5EF4-FFF2-40B4-BE49-F238E27FC236}">
                <a16:creationId xmlns:a16="http://schemas.microsoft.com/office/drawing/2014/main" id="{4A69F90A-2B19-40DB-B323-8992541AB59B}"/>
              </a:ext>
              <a:ext uri="{C183D7F6-B498-43B3-948B-1728B52AA6E4}">
                <adec:decorative xmlns:adec="http://schemas.microsoft.com/office/drawing/2017/decorative" val="1"/>
              </a:ext>
            </a:extLst>
          </p:cNvPr>
          <p:cNvSpPr>
            <a:spLocks noChangeArrowheads="1"/>
          </p:cNvSpPr>
          <p:nvPr/>
        </p:nvSpPr>
        <p:spPr bwMode="auto">
          <a:xfrm>
            <a:off x="7710079" y="4293131"/>
            <a:ext cx="51456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err="1">
                <a:ln>
                  <a:noFill/>
                </a:ln>
                <a:solidFill>
                  <a:srgbClr val="000000"/>
                </a:solidFill>
                <a:effectLst/>
                <a:latin typeface="+mj-lt"/>
              </a:rPr>
              <a:t>Calendar</a:t>
            </a:r>
            <a:endParaRPr kumimoji="0" lang="fr-FR" altLang="fr-FR" sz="900" b="0" i="0" u="none" strike="noStrike" cap="none" normalizeH="0" baseline="0">
              <a:ln>
                <a:noFill/>
              </a:ln>
              <a:solidFill>
                <a:schemeClr val="tx1"/>
              </a:solidFill>
              <a:effectLst/>
              <a:latin typeface="+mj-lt"/>
            </a:endParaRPr>
          </a:p>
        </p:txBody>
      </p:sp>
      <p:sp>
        <p:nvSpPr>
          <p:cNvPr id="273" name="Rectangle 101">
            <a:extLst>
              <a:ext uri="{FF2B5EF4-FFF2-40B4-BE49-F238E27FC236}">
                <a16:creationId xmlns:a16="http://schemas.microsoft.com/office/drawing/2014/main" id="{B89066A7-C61B-49A1-9C38-8EAB616A7576}"/>
              </a:ext>
              <a:ext uri="{C183D7F6-B498-43B3-948B-1728B52AA6E4}">
                <adec:decorative xmlns:adec="http://schemas.microsoft.com/office/drawing/2017/decorative" val="1"/>
              </a:ext>
            </a:extLst>
          </p:cNvPr>
          <p:cNvSpPr>
            <a:spLocks noChangeArrowheads="1"/>
          </p:cNvSpPr>
          <p:nvPr/>
        </p:nvSpPr>
        <p:spPr bwMode="auto">
          <a:xfrm>
            <a:off x="9611443" y="4293131"/>
            <a:ext cx="21159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Pen</a:t>
            </a:r>
            <a:endParaRPr kumimoji="0" lang="fr-FR" altLang="fr-FR" sz="900" b="0" i="0" u="none" strike="noStrike" cap="none" normalizeH="0" baseline="0">
              <a:ln>
                <a:noFill/>
              </a:ln>
              <a:solidFill>
                <a:schemeClr val="tx1"/>
              </a:solidFill>
              <a:effectLst/>
              <a:latin typeface="+mj-lt"/>
            </a:endParaRPr>
          </a:p>
        </p:txBody>
      </p:sp>
      <p:grpSp>
        <p:nvGrpSpPr>
          <p:cNvPr id="275" name="Groupe 585">
            <a:extLst>
              <a:ext uri="{FF2B5EF4-FFF2-40B4-BE49-F238E27FC236}">
                <a16:creationId xmlns:a16="http://schemas.microsoft.com/office/drawing/2014/main" id="{C623B09C-9A04-492D-A48D-6B3D9E27FE7C}"/>
              </a:ext>
              <a:ext uri="{C183D7F6-B498-43B3-948B-1728B52AA6E4}">
                <adec:decorative xmlns:adec="http://schemas.microsoft.com/office/drawing/2017/decorative" val="1"/>
              </a:ext>
            </a:extLst>
          </p:cNvPr>
          <p:cNvGrpSpPr>
            <a:grpSpLocks noChangeAspect="1"/>
          </p:cNvGrpSpPr>
          <p:nvPr/>
        </p:nvGrpSpPr>
        <p:grpSpPr>
          <a:xfrm>
            <a:off x="10237316" y="3556989"/>
            <a:ext cx="770526" cy="720000"/>
            <a:chOff x="9058276" y="2108201"/>
            <a:chExt cx="871538" cy="814388"/>
          </a:xfrm>
        </p:grpSpPr>
        <p:sp>
          <p:nvSpPr>
            <p:cNvPr id="276" name="Freeform 72">
              <a:extLst>
                <a:ext uri="{FF2B5EF4-FFF2-40B4-BE49-F238E27FC236}">
                  <a16:creationId xmlns:a16="http://schemas.microsoft.com/office/drawing/2014/main" id="{0743E503-9E9A-446E-AEB4-FEF7844D0F16}"/>
                </a:ext>
              </a:extLst>
            </p:cNvPr>
            <p:cNvSpPr>
              <a:spLocks/>
            </p:cNvSpPr>
            <p:nvPr/>
          </p:nvSpPr>
          <p:spPr bwMode="auto">
            <a:xfrm>
              <a:off x="9058276" y="2108201"/>
              <a:ext cx="871538" cy="814388"/>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71">
              <a:extLst>
                <a:ext uri="{FF2B5EF4-FFF2-40B4-BE49-F238E27FC236}">
                  <a16:creationId xmlns:a16="http://schemas.microsoft.com/office/drawing/2014/main" id="{30CB4DCA-5846-4CC9-9E6C-052B63349CD9}"/>
                </a:ext>
              </a:extLst>
            </p:cNvPr>
            <p:cNvSpPr>
              <a:spLocks/>
            </p:cNvSpPr>
            <p:nvPr/>
          </p:nvSpPr>
          <p:spPr bwMode="auto">
            <a:xfrm>
              <a:off x="9338373" y="2347352"/>
              <a:ext cx="311344" cy="336086"/>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8" name="Freeform 204">
            <a:extLst>
              <a:ext uri="{FF2B5EF4-FFF2-40B4-BE49-F238E27FC236}">
                <a16:creationId xmlns:a16="http://schemas.microsoft.com/office/drawing/2014/main" id="{A185F8CF-CC42-4041-B2BE-22034D3B02A9}"/>
              </a:ext>
              <a:ext uri="{C183D7F6-B498-43B3-948B-1728B52AA6E4}">
                <adec:decorative xmlns:adec="http://schemas.microsoft.com/office/drawing/2017/decorative" val="1"/>
              </a:ext>
            </a:extLst>
          </p:cNvPr>
          <p:cNvSpPr>
            <a:spLocks/>
          </p:cNvSpPr>
          <p:nvPr/>
        </p:nvSpPr>
        <p:spPr bwMode="auto">
          <a:xfrm>
            <a:off x="10434526" y="1185961"/>
            <a:ext cx="770634" cy="720000"/>
          </a:xfrm>
          <a:custGeom>
            <a:avLst/>
            <a:gdLst>
              <a:gd name="T0" fmla="*/ 42 w 293"/>
              <a:gd name="T1" fmla="*/ 214 h 273"/>
              <a:gd name="T2" fmla="*/ 70 w 293"/>
              <a:gd name="T3" fmla="*/ 41 h 273"/>
              <a:gd name="T4" fmla="*/ 251 w 293"/>
              <a:gd name="T5" fmla="*/ 66 h 273"/>
              <a:gd name="T6" fmla="*/ 218 w 293"/>
              <a:gd name="T7" fmla="*/ 232 h 273"/>
              <a:gd name="T8" fmla="*/ 42 w 293"/>
              <a:gd name="T9" fmla="*/ 214 h 273"/>
            </a:gdLst>
            <a:ahLst/>
            <a:cxnLst>
              <a:cxn ang="0">
                <a:pos x="T0" y="T1"/>
              </a:cxn>
              <a:cxn ang="0">
                <a:pos x="T2" y="T3"/>
              </a:cxn>
              <a:cxn ang="0">
                <a:pos x="T4" y="T5"/>
              </a:cxn>
              <a:cxn ang="0">
                <a:pos x="T6" y="T7"/>
              </a:cxn>
              <a:cxn ang="0">
                <a:pos x="T8" y="T9"/>
              </a:cxn>
            </a:cxnLst>
            <a:rect l="0" t="0" r="r" b="b"/>
            <a:pathLst>
              <a:path w="293" h="273">
                <a:moveTo>
                  <a:pt x="42" y="214"/>
                </a:moveTo>
                <a:cubicBezTo>
                  <a:pt x="0" y="159"/>
                  <a:pt x="12" y="82"/>
                  <a:pt x="70" y="41"/>
                </a:cubicBezTo>
                <a:cubicBezTo>
                  <a:pt x="128" y="0"/>
                  <a:pt x="209" y="12"/>
                  <a:pt x="251" y="66"/>
                </a:cubicBezTo>
                <a:cubicBezTo>
                  <a:pt x="293" y="121"/>
                  <a:pt x="276" y="192"/>
                  <a:pt x="218" y="232"/>
                </a:cubicBezTo>
                <a:cubicBezTo>
                  <a:pt x="160" y="273"/>
                  <a:pt x="84" y="268"/>
                  <a:pt x="42" y="214"/>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205">
            <a:extLst>
              <a:ext uri="{FF2B5EF4-FFF2-40B4-BE49-F238E27FC236}">
                <a16:creationId xmlns:a16="http://schemas.microsoft.com/office/drawing/2014/main" id="{25992870-23BF-4CC5-9FFA-582A3A0A99B4}"/>
              </a:ext>
              <a:ext uri="{C183D7F6-B498-43B3-948B-1728B52AA6E4}">
                <adec:decorative xmlns:adec="http://schemas.microsoft.com/office/drawing/2017/decorative" val="1"/>
              </a:ext>
            </a:extLst>
          </p:cNvPr>
          <p:cNvSpPr>
            <a:spLocks noEditPoints="1"/>
          </p:cNvSpPr>
          <p:nvPr/>
        </p:nvSpPr>
        <p:spPr bwMode="auto">
          <a:xfrm>
            <a:off x="10629654" y="1405172"/>
            <a:ext cx="365557" cy="281578"/>
          </a:xfrm>
          <a:custGeom>
            <a:avLst/>
            <a:gdLst>
              <a:gd name="T0" fmla="*/ 10 w 139"/>
              <a:gd name="T1" fmla="*/ 87 h 107"/>
              <a:gd name="T2" fmla="*/ 10 w 139"/>
              <a:gd name="T3" fmla="*/ 97 h 107"/>
              <a:gd name="T4" fmla="*/ 90 w 139"/>
              <a:gd name="T5" fmla="*/ 97 h 107"/>
              <a:gd name="T6" fmla="*/ 90 w 139"/>
              <a:gd name="T7" fmla="*/ 87 h 107"/>
              <a:gd name="T8" fmla="*/ 10 w 139"/>
              <a:gd name="T9" fmla="*/ 87 h 107"/>
              <a:gd name="T10" fmla="*/ 124 w 139"/>
              <a:gd name="T11" fmla="*/ 85 h 107"/>
              <a:gd name="T12" fmla="*/ 119 w 139"/>
              <a:gd name="T13" fmla="*/ 87 h 107"/>
              <a:gd name="T14" fmla="*/ 117 w 139"/>
              <a:gd name="T15" fmla="*/ 92 h 107"/>
              <a:gd name="T16" fmla="*/ 119 w 139"/>
              <a:gd name="T17" fmla="*/ 97 h 107"/>
              <a:gd name="T18" fmla="*/ 124 w 139"/>
              <a:gd name="T19" fmla="*/ 100 h 107"/>
              <a:gd name="T20" fmla="*/ 130 w 139"/>
              <a:gd name="T21" fmla="*/ 97 h 107"/>
              <a:gd name="T22" fmla="*/ 132 w 139"/>
              <a:gd name="T23" fmla="*/ 92 h 107"/>
              <a:gd name="T24" fmla="*/ 130 w 139"/>
              <a:gd name="T25" fmla="*/ 87 h 107"/>
              <a:gd name="T26" fmla="*/ 124 w 139"/>
              <a:gd name="T27" fmla="*/ 85 h 107"/>
              <a:gd name="T28" fmla="*/ 0 w 139"/>
              <a:gd name="T29" fmla="*/ 78 h 107"/>
              <a:gd name="T30" fmla="*/ 139 w 139"/>
              <a:gd name="T31" fmla="*/ 78 h 107"/>
              <a:gd name="T32" fmla="*/ 139 w 139"/>
              <a:gd name="T33" fmla="*/ 107 h 107"/>
              <a:gd name="T34" fmla="*/ 0 w 139"/>
              <a:gd name="T35" fmla="*/ 107 h 107"/>
              <a:gd name="T36" fmla="*/ 0 w 139"/>
              <a:gd name="T37" fmla="*/ 78 h 107"/>
              <a:gd name="T38" fmla="*/ 10 w 139"/>
              <a:gd name="T39" fmla="*/ 49 h 107"/>
              <a:gd name="T40" fmla="*/ 10 w 139"/>
              <a:gd name="T41" fmla="*/ 58 h 107"/>
              <a:gd name="T42" fmla="*/ 90 w 139"/>
              <a:gd name="T43" fmla="*/ 58 h 107"/>
              <a:gd name="T44" fmla="*/ 90 w 139"/>
              <a:gd name="T45" fmla="*/ 49 h 107"/>
              <a:gd name="T46" fmla="*/ 10 w 139"/>
              <a:gd name="T47" fmla="*/ 49 h 107"/>
              <a:gd name="T48" fmla="*/ 124 w 139"/>
              <a:gd name="T49" fmla="*/ 46 h 107"/>
              <a:gd name="T50" fmla="*/ 119 w 139"/>
              <a:gd name="T51" fmla="*/ 48 h 107"/>
              <a:gd name="T52" fmla="*/ 117 w 139"/>
              <a:gd name="T53" fmla="*/ 53 h 107"/>
              <a:gd name="T54" fmla="*/ 119 w 139"/>
              <a:gd name="T55" fmla="*/ 59 h 107"/>
              <a:gd name="T56" fmla="*/ 124 w 139"/>
              <a:gd name="T57" fmla="*/ 61 h 107"/>
              <a:gd name="T58" fmla="*/ 130 w 139"/>
              <a:gd name="T59" fmla="*/ 59 h 107"/>
              <a:gd name="T60" fmla="*/ 132 w 139"/>
              <a:gd name="T61" fmla="*/ 53 h 107"/>
              <a:gd name="T62" fmla="*/ 130 w 139"/>
              <a:gd name="T63" fmla="*/ 48 h 107"/>
              <a:gd name="T64" fmla="*/ 124 w 139"/>
              <a:gd name="T65" fmla="*/ 46 h 107"/>
              <a:gd name="T66" fmla="*/ 0 w 139"/>
              <a:gd name="T67" fmla="*/ 39 h 107"/>
              <a:gd name="T68" fmla="*/ 139 w 139"/>
              <a:gd name="T69" fmla="*/ 39 h 107"/>
              <a:gd name="T70" fmla="*/ 139 w 139"/>
              <a:gd name="T71" fmla="*/ 68 h 107"/>
              <a:gd name="T72" fmla="*/ 0 w 139"/>
              <a:gd name="T73" fmla="*/ 68 h 107"/>
              <a:gd name="T74" fmla="*/ 0 w 139"/>
              <a:gd name="T75" fmla="*/ 39 h 107"/>
              <a:gd name="T76" fmla="*/ 10 w 139"/>
              <a:gd name="T77" fmla="*/ 10 h 107"/>
              <a:gd name="T78" fmla="*/ 10 w 139"/>
              <a:gd name="T79" fmla="*/ 19 h 107"/>
              <a:gd name="T80" fmla="*/ 90 w 139"/>
              <a:gd name="T81" fmla="*/ 19 h 107"/>
              <a:gd name="T82" fmla="*/ 90 w 139"/>
              <a:gd name="T83" fmla="*/ 10 h 107"/>
              <a:gd name="T84" fmla="*/ 10 w 139"/>
              <a:gd name="T85" fmla="*/ 10 h 107"/>
              <a:gd name="T86" fmla="*/ 124 w 139"/>
              <a:gd name="T87" fmla="*/ 7 h 107"/>
              <a:gd name="T88" fmla="*/ 119 w 139"/>
              <a:gd name="T89" fmla="*/ 9 h 107"/>
              <a:gd name="T90" fmla="*/ 117 w 139"/>
              <a:gd name="T91" fmla="*/ 15 h 107"/>
              <a:gd name="T92" fmla="*/ 119 w 139"/>
              <a:gd name="T93" fmla="*/ 20 h 107"/>
              <a:gd name="T94" fmla="*/ 124 w 139"/>
              <a:gd name="T95" fmla="*/ 22 h 107"/>
              <a:gd name="T96" fmla="*/ 130 w 139"/>
              <a:gd name="T97" fmla="*/ 20 h 107"/>
              <a:gd name="T98" fmla="*/ 132 w 139"/>
              <a:gd name="T99" fmla="*/ 15 h 107"/>
              <a:gd name="T100" fmla="*/ 130 w 139"/>
              <a:gd name="T101" fmla="*/ 9 h 107"/>
              <a:gd name="T102" fmla="*/ 124 w 139"/>
              <a:gd name="T103" fmla="*/ 7 h 107"/>
              <a:gd name="T104" fmla="*/ 0 w 139"/>
              <a:gd name="T105" fmla="*/ 0 h 107"/>
              <a:gd name="T106" fmla="*/ 139 w 139"/>
              <a:gd name="T107" fmla="*/ 0 h 107"/>
              <a:gd name="T108" fmla="*/ 139 w 139"/>
              <a:gd name="T109" fmla="*/ 29 h 107"/>
              <a:gd name="T110" fmla="*/ 0 w 139"/>
              <a:gd name="T111" fmla="*/ 29 h 107"/>
              <a:gd name="T112" fmla="*/ 0 w 139"/>
              <a:gd name="T11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07">
                <a:moveTo>
                  <a:pt x="10" y="87"/>
                </a:moveTo>
                <a:cubicBezTo>
                  <a:pt x="10" y="97"/>
                  <a:pt x="10" y="97"/>
                  <a:pt x="10" y="97"/>
                </a:cubicBezTo>
                <a:cubicBezTo>
                  <a:pt x="90" y="97"/>
                  <a:pt x="90" y="97"/>
                  <a:pt x="90" y="97"/>
                </a:cubicBezTo>
                <a:cubicBezTo>
                  <a:pt x="90" y="87"/>
                  <a:pt x="90" y="87"/>
                  <a:pt x="90" y="87"/>
                </a:cubicBezTo>
                <a:cubicBezTo>
                  <a:pt x="10" y="87"/>
                  <a:pt x="10" y="87"/>
                  <a:pt x="10" y="87"/>
                </a:cubicBezTo>
                <a:close/>
                <a:moveTo>
                  <a:pt x="124" y="85"/>
                </a:moveTo>
                <a:cubicBezTo>
                  <a:pt x="122" y="85"/>
                  <a:pt x="121" y="86"/>
                  <a:pt x="119" y="87"/>
                </a:cubicBezTo>
                <a:cubicBezTo>
                  <a:pt x="118" y="89"/>
                  <a:pt x="117" y="90"/>
                  <a:pt x="117" y="92"/>
                </a:cubicBezTo>
                <a:cubicBezTo>
                  <a:pt x="117" y="94"/>
                  <a:pt x="118" y="96"/>
                  <a:pt x="119" y="97"/>
                </a:cubicBezTo>
                <a:cubicBezTo>
                  <a:pt x="121" y="99"/>
                  <a:pt x="122" y="100"/>
                  <a:pt x="124" y="100"/>
                </a:cubicBezTo>
                <a:cubicBezTo>
                  <a:pt x="127" y="100"/>
                  <a:pt x="128" y="99"/>
                  <a:pt x="130" y="97"/>
                </a:cubicBezTo>
                <a:cubicBezTo>
                  <a:pt x="131" y="96"/>
                  <a:pt x="132" y="94"/>
                  <a:pt x="132" y="92"/>
                </a:cubicBezTo>
                <a:cubicBezTo>
                  <a:pt x="132" y="90"/>
                  <a:pt x="131" y="89"/>
                  <a:pt x="130" y="87"/>
                </a:cubicBezTo>
                <a:cubicBezTo>
                  <a:pt x="128" y="86"/>
                  <a:pt x="127" y="85"/>
                  <a:pt x="124" y="85"/>
                </a:cubicBezTo>
                <a:close/>
                <a:moveTo>
                  <a:pt x="0" y="78"/>
                </a:moveTo>
                <a:cubicBezTo>
                  <a:pt x="139" y="78"/>
                  <a:pt x="139" y="78"/>
                  <a:pt x="139" y="78"/>
                </a:cubicBezTo>
                <a:cubicBezTo>
                  <a:pt x="139" y="107"/>
                  <a:pt x="139" y="107"/>
                  <a:pt x="139" y="107"/>
                </a:cubicBezTo>
                <a:cubicBezTo>
                  <a:pt x="0" y="107"/>
                  <a:pt x="0" y="107"/>
                  <a:pt x="0" y="107"/>
                </a:cubicBezTo>
                <a:cubicBezTo>
                  <a:pt x="0" y="78"/>
                  <a:pt x="0" y="78"/>
                  <a:pt x="0" y="78"/>
                </a:cubicBezTo>
                <a:close/>
                <a:moveTo>
                  <a:pt x="10" y="49"/>
                </a:moveTo>
                <a:cubicBezTo>
                  <a:pt x="10" y="58"/>
                  <a:pt x="10" y="58"/>
                  <a:pt x="10" y="58"/>
                </a:cubicBezTo>
                <a:cubicBezTo>
                  <a:pt x="90" y="58"/>
                  <a:pt x="90" y="58"/>
                  <a:pt x="90" y="58"/>
                </a:cubicBezTo>
                <a:cubicBezTo>
                  <a:pt x="90" y="49"/>
                  <a:pt x="90" y="49"/>
                  <a:pt x="90" y="49"/>
                </a:cubicBezTo>
                <a:cubicBezTo>
                  <a:pt x="10" y="49"/>
                  <a:pt x="10" y="49"/>
                  <a:pt x="10" y="49"/>
                </a:cubicBezTo>
                <a:close/>
                <a:moveTo>
                  <a:pt x="124" y="46"/>
                </a:moveTo>
                <a:cubicBezTo>
                  <a:pt x="122" y="46"/>
                  <a:pt x="121" y="47"/>
                  <a:pt x="119" y="48"/>
                </a:cubicBezTo>
                <a:cubicBezTo>
                  <a:pt x="118" y="50"/>
                  <a:pt x="117" y="51"/>
                  <a:pt x="117" y="53"/>
                </a:cubicBezTo>
                <a:cubicBezTo>
                  <a:pt x="117" y="55"/>
                  <a:pt x="118" y="57"/>
                  <a:pt x="119" y="59"/>
                </a:cubicBezTo>
                <a:cubicBezTo>
                  <a:pt x="121" y="60"/>
                  <a:pt x="122" y="61"/>
                  <a:pt x="124" y="61"/>
                </a:cubicBezTo>
                <a:cubicBezTo>
                  <a:pt x="127" y="61"/>
                  <a:pt x="128" y="60"/>
                  <a:pt x="130" y="59"/>
                </a:cubicBezTo>
                <a:cubicBezTo>
                  <a:pt x="131" y="57"/>
                  <a:pt x="132" y="55"/>
                  <a:pt x="132" y="53"/>
                </a:cubicBezTo>
                <a:cubicBezTo>
                  <a:pt x="132" y="51"/>
                  <a:pt x="131" y="50"/>
                  <a:pt x="130" y="48"/>
                </a:cubicBezTo>
                <a:cubicBezTo>
                  <a:pt x="128" y="47"/>
                  <a:pt x="127" y="46"/>
                  <a:pt x="124" y="46"/>
                </a:cubicBezTo>
                <a:close/>
                <a:moveTo>
                  <a:pt x="0" y="39"/>
                </a:moveTo>
                <a:cubicBezTo>
                  <a:pt x="139" y="39"/>
                  <a:pt x="139" y="39"/>
                  <a:pt x="139" y="39"/>
                </a:cubicBezTo>
                <a:cubicBezTo>
                  <a:pt x="139" y="68"/>
                  <a:pt x="139" y="68"/>
                  <a:pt x="139" y="68"/>
                </a:cubicBezTo>
                <a:cubicBezTo>
                  <a:pt x="0" y="68"/>
                  <a:pt x="0" y="68"/>
                  <a:pt x="0" y="68"/>
                </a:cubicBezTo>
                <a:cubicBezTo>
                  <a:pt x="0" y="39"/>
                  <a:pt x="0" y="39"/>
                  <a:pt x="0" y="39"/>
                </a:cubicBezTo>
                <a:close/>
                <a:moveTo>
                  <a:pt x="10" y="10"/>
                </a:moveTo>
                <a:cubicBezTo>
                  <a:pt x="10" y="19"/>
                  <a:pt x="10" y="19"/>
                  <a:pt x="10" y="19"/>
                </a:cubicBezTo>
                <a:cubicBezTo>
                  <a:pt x="90" y="19"/>
                  <a:pt x="90" y="19"/>
                  <a:pt x="90" y="19"/>
                </a:cubicBezTo>
                <a:cubicBezTo>
                  <a:pt x="90" y="10"/>
                  <a:pt x="90" y="10"/>
                  <a:pt x="90" y="10"/>
                </a:cubicBezTo>
                <a:cubicBezTo>
                  <a:pt x="10" y="10"/>
                  <a:pt x="10" y="10"/>
                  <a:pt x="10" y="10"/>
                </a:cubicBezTo>
                <a:close/>
                <a:moveTo>
                  <a:pt x="124" y="7"/>
                </a:moveTo>
                <a:cubicBezTo>
                  <a:pt x="122" y="7"/>
                  <a:pt x="121" y="8"/>
                  <a:pt x="119" y="9"/>
                </a:cubicBezTo>
                <a:cubicBezTo>
                  <a:pt x="118" y="11"/>
                  <a:pt x="117" y="13"/>
                  <a:pt x="117" y="15"/>
                </a:cubicBezTo>
                <a:cubicBezTo>
                  <a:pt x="117" y="17"/>
                  <a:pt x="118" y="18"/>
                  <a:pt x="119" y="20"/>
                </a:cubicBezTo>
                <a:cubicBezTo>
                  <a:pt x="121" y="21"/>
                  <a:pt x="122" y="22"/>
                  <a:pt x="124" y="22"/>
                </a:cubicBezTo>
                <a:cubicBezTo>
                  <a:pt x="127" y="22"/>
                  <a:pt x="128" y="21"/>
                  <a:pt x="130" y="20"/>
                </a:cubicBezTo>
                <a:cubicBezTo>
                  <a:pt x="131" y="18"/>
                  <a:pt x="132" y="17"/>
                  <a:pt x="132" y="15"/>
                </a:cubicBezTo>
                <a:cubicBezTo>
                  <a:pt x="132" y="13"/>
                  <a:pt x="131" y="11"/>
                  <a:pt x="130" y="9"/>
                </a:cubicBezTo>
                <a:cubicBezTo>
                  <a:pt x="128" y="8"/>
                  <a:pt x="127" y="7"/>
                  <a:pt x="124" y="7"/>
                </a:cubicBezTo>
                <a:close/>
                <a:moveTo>
                  <a:pt x="0" y="0"/>
                </a:moveTo>
                <a:cubicBezTo>
                  <a:pt x="139" y="0"/>
                  <a:pt x="139" y="0"/>
                  <a:pt x="139" y="0"/>
                </a:cubicBezTo>
                <a:cubicBezTo>
                  <a:pt x="139" y="29"/>
                  <a:pt x="139" y="29"/>
                  <a:pt x="139" y="29"/>
                </a:cubicBezTo>
                <a:cubicBezTo>
                  <a:pt x="0" y="29"/>
                  <a:pt x="0" y="29"/>
                  <a:pt x="0" y="29"/>
                </a:cubicBezTo>
                <a:cubicBezTo>
                  <a:pt x="0" y="0"/>
                  <a:pt x="0" y="0"/>
                  <a:pt x="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Rectangle 54">
            <a:extLst>
              <a:ext uri="{FF2B5EF4-FFF2-40B4-BE49-F238E27FC236}">
                <a16:creationId xmlns:a16="http://schemas.microsoft.com/office/drawing/2014/main" id="{274CFD96-B0F8-4946-BBFE-26F33667F556}"/>
              </a:ext>
              <a:ext uri="{C183D7F6-B498-43B3-948B-1728B52AA6E4}">
                <adec:decorative xmlns:adec="http://schemas.microsoft.com/office/drawing/2017/decorative" val="1"/>
              </a:ext>
            </a:extLst>
          </p:cNvPr>
          <p:cNvSpPr>
            <a:spLocks noChangeArrowheads="1"/>
          </p:cNvSpPr>
          <p:nvPr/>
        </p:nvSpPr>
        <p:spPr bwMode="auto">
          <a:xfrm>
            <a:off x="6902684" y="3204173"/>
            <a:ext cx="32220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err="1">
                <a:ln>
                  <a:noFill/>
                </a:ln>
                <a:solidFill>
                  <a:srgbClr val="000000"/>
                </a:solidFill>
                <a:effectLst/>
                <a:latin typeface="+mj-lt"/>
              </a:rPr>
              <a:t>Video</a:t>
            </a:r>
            <a:endParaRPr kumimoji="0" lang="fr-FR" altLang="fr-FR" sz="900" b="0" i="0" u="none" strike="noStrike" cap="none" normalizeH="0" baseline="0">
              <a:ln>
                <a:noFill/>
              </a:ln>
              <a:solidFill>
                <a:schemeClr val="tx1"/>
              </a:solidFill>
              <a:effectLst/>
              <a:latin typeface="+mj-lt"/>
            </a:endParaRPr>
          </a:p>
        </p:txBody>
      </p:sp>
      <p:sp>
        <p:nvSpPr>
          <p:cNvPr id="281" name="Rectangle 22">
            <a:extLst>
              <a:ext uri="{FF2B5EF4-FFF2-40B4-BE49-F238E27FC236}">
                <a16:creationId xmlns:a16="http://schemas.microsoft.com/office/drawing/2014/main" id="{55F37FF8-2A7D-4FB5-A466-DD8CE4530A60}"/>
              </a:ext>
              <a:ext uri="{C183D7F6-B498-43B3-948B-1728B52AA6E4}">
                <adec:decorative xmlns:adec="http://schemas.microsoft.com/office/drawing/2017/decorative" val="1"/>
              </a:ext>
            </a:extLst>
          </p:cNvPr>
          <p:cNvSpPr>
            <a:spLocks noChangeAspect="1" noChangeArrowheads="1"/>
          </p:cNvSpPr>
          <p:nvPr/>
        </p:nvSpPr>
        <p:spPr bwMode="auto">
          <a:xfrm>
            <a:off x="8886709" y="3218908"/>
            <a:ext cx="47609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Speaker</a:t>
            </a:r>
            <a:endParaRPr kumimoji="0" lang="fr-FR" altLang="fr-FR" sz="900" b="0" i="0" u="none" strike="noStrike" cap="none" normalizeH="0" baseline="0">
              <a:ln>
                <a:noFill/>
              </a:ln>
              <a:solidFill>
                <a:schemeClr val="tx1"/>
              </a:solidFill>
              <a:effectLst/>
              <a:latin typeface="+mj-lt"/>
            </a:endParaRPr>
          </a:p>
        </p:txBody>
      </p:sp>
      <p:sp>
        <p:nvSpPr>
          <p:cNvPr id="282" name="Rectangle 70">
            <a:extLst>
              <a:ext uri="{FF2B5EF4-FFF2-40B4-BE49-F238E27FC236}">
                <a16:creationId xmlns:a16="http://schemas.microsoft.com/office/drawing/2014/main" id="{74881A05-79D6-4972-890D-8A0E33D2C499}"/>
              </a:ext>
              <a:ext uri="{C183D7F6-B498-43B3-948B-1728B52AA6E4}">
                <adec:decorative xmlns:adec="http://schemas.microsoft.com/office/drawing/2017/decorative" val="1"/>
              </a:ext>
            </a:extLst>
          </p:cNvPr>
          <p:cNvSpPr>
            <a:spLocks noChangeArrowheads="1"/>
          </p:cNvSpPr>
          <p:nvPr/>
        </p:nvSpPr>
        <p:spPr bwMode="auto">
          <a:xfrm>
            <a:off x="10491242" y="4327187"/>
            <a:ext cx="56586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Paper clip</a:t>
            </a:r>
            <a:endParaRPr kumimoji="0" lang="fr-FR" altLang="fr-FR" sz="900" b="0" i="0" u="none" strike="noStrike" cap="none" normalizeH="0" baseline="0">
              <a:ln>
                <a:noFill/>
              </a:ln>
              <a:solidFill>
                <a:schemeClr val="tx1"/>
              </a:solidFill>
              <a:effectLst/>
              <a:latin typeface="+mj-lt"/>
            </a:endParaRPr>
          </a:p>
        </p:txBody>
      </p:sp>
      <p:grpSp>
        <p:nvGrpSpPr>
          <p:cNvPr id="4" name="Group 3">
            <a:extLst>
              <a:ext uri="{FF2B5EF4-FFF2-40B4-BE49-F238E27FC236}">
                <a16:creationId xmlns:a16="http://schemas.microsoft.com/office/drawing/2014/main" id="{20A495D4-F99B-FA40-8D2C-647CBFAEEC19}"/>
              </a:ext>
              <a:ext uri="{C183D7F6-B498-43B3-948B-1728B52AA6E4}">
                <adec:decorative xmlns:adec="http://schemas.microsoft.com/office/drawing/2017/decorative" val="1"/>
              </a:ext>
            </a:extLst>
          </p:cNvPr>
          <p:cNvGrpSpPr/>
          <p:nvPr/>
        </p:nvGrpSpPr>
        <p:grpSpPr>
          <a:xfrm>
            <a:off x="7756818" y="2431118"/>
            <a:ext cx="766640" cy="720000"/>
            <a:chOff x="7756818" y="2431118"/>
            <a:chExt cx="766640" cy="720000"/>
          </a:xfrm>
        </p:grpSpPr>
        <p:sp>
          <p:nvSpPr>
            <p:cNvPr id="283" name="Freeform 87">
              <a:extLst>
                <a:ext uri="{FF2B5EF4-FFF2-40B4-BE49-F238E27FC236}">
                  <a16:creationId xmlns:a16="http://schemas.microsoft.com/office/drawing/2014/main" id="{2A16B2BF-915F-4A90-A34A-0CD5C306E1A3}"/>
                </a:ext>
                <a:ext uri="{C183D7F6-B498-43B3-948B-1728B52AA6E4}">
                  <adec:decorative xmlns:adec="http://schemas.microsoft.com/office/drawing/2017/decorative" val="1"/>
                </a:ext>
              </a:extLst>
            </p:cNvPr>
            <p:cNvSpPr>
              <a:spLocks/>
            </p:cNvSpPr>
            <p:nvPr/>
          </p:nvSpPr>
          <p:spPr bwMode="auto">
            <a:xfrm>
              <a:off x="7756818" y="2431118"/>
              <a:ext cx="766640" cy="720000"/>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284" name="Group 283">
              <a:extLst>
                <a:ext uri="{FF2B5EF4-FFF2-40B4-BE49-F238E27FC236}">
                  <a16:creationId xmlns:a16="http://schemas.microsoft.com/office/drawing/2014/main" id="{EF25EA42-F0F3-4E91-814D-F474BE345415}"/>
                </a:ext>
                <a:ext uri="{C183D7F6-B498-43B3-948B-1728B52AA6E4}">
                  <adec:decorative xmlns:adec="http://schemas.microsoft.com/office/drawing/2017/decorative" val="1"/>
                </a:ext>
              </a:extLst>
            </p:cNvPr>
            <p:cNvGrpSpPr/>
            <p:nvPr/>
          </p:nvGrpSpPr>
          <p:grpSpPr>
            <a:xfrm>
              <a:off x="7933264" y="2608671"/>
              <a:ext cx="395085" cy="319135"/>
              <a:chOff x="1612085" y="2663788"/>
              <a:chExt cx="395085" cy="319135"/>
            </a:xfrm>
          </p:grpSpPr>
          <p:sp>
            <p:nvSpPr>
              <p:cNvPr id="285" name="Rectangle 92">
                <a:extLst>
                  <a:ext uri="{FF2B5EF4-FFF2-40B4-BE49-F238E27FC236}">
                    <a16:creationId xmlns:a16="http://schemas.microsoft.com/office/drawing/2014/main" id="{E430A0B8-04BB-4112-8DA9-B249A34E3B3E}"/>
                  </a:ext>
                </a:extLst>
              </p:cNvPr>
              <p:cNvSpPr>
                <a:spLocks noChangeArrowheads="1"/>
              </p:cNvSpPr>
              <p:nvPr/>
            </p:nvSpPr>
            <p:spPr bwMode="auto">
              <a:xfrm>
                <a:off x="1612085" y="2663788"/>
                <a:ext cx="395085" cy="31913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286" name="Freeform 93">
                <a:extLst>
                  <a:ext uri="{FF2B5EF4-FFF2-40B4-BE49-F238E27FC236}">
                    <a16:creationId xmlns:a16="http://schemas.microsoft.com/office/drawing/2014/main" id="{422476AA-BA97-433D-99C2-8F7E37E7FCD4}"/>
                  </a:ext>
                </a:extLst>
              </p:cNvPr>
              <p:cNvSpPr>
                <a:spLocks noEditPoints="1"/>
              </p:cNvSpPr>
              <p:nvPr/>
            </p:nvSpPr>
            <p:spPr bwMode="auto">
              <a:xfrm>
                <a:off x="1632964" y="2684125"/>
                <a:ext cx="348509" cy="280025"/>
              </a:xfrm>
              <a:custGeom>
                <a:avLst/>
                <a:gdLst>
                  <a:gd name="T0" fmla="*/ 0 w 217"/>
                  <a:gd name="T1" fmla="*/ 16 h 179"/>
                  <a:gd name="T2" fmla="*/ 21 w 217"/>
                  <a:gd name="T3" fmla="*/ 0 h 179"/>
                  <a:gd name="T4" fmla="*/ 53 w 217"/>
                  <a:gd name="T5" fmla="*/ 0 h 179"/>
                  <a:gd name="T6" fmla="*/ 32 w 217"/>
                  <a:gd name="T7" fmla="*/ 16 h 179"/>
                  <a:gd name="T8" fmla="*/ 53 w 217"/>
                  <a:gd name="T9" fmla="*/ 0 h 179"/>
                  <a:gd name="T10" fmla="*/ 65 w 217"/>
                  <a:gd name="T11" fmla="*/ 0 h 179"/>
                  <a:gd name="T12" fmla="*/ 85 w 217"/>
                  <a:gd name="T13" fmla="*/ 16 h 179"/>
                  <a:gd name="T14" fmla="*/ 119 w 217"/>
                  <a:gd name="T15" fmla="*/ 0 h 179"/>
                  <a:gd name="T16" fmla="*/ 98 w 217"/>
                  <a:gd name="T17" fmla="*/ 16 h 179"/>
                  <a:gd name="T18" fmla="*/ 119 w 217"/>
                  <a:gd name="T19" fmla="*/ 0 h 179"/>
                  <a:gd name="T20" fmla="*/ 130 w 217"/>
                  <a:gd name="T21" fmla="*/ 0 h 179"/>
                  <a:gd name="T22" fmla="*/ 151 w 217"/>
                  <a:gd name="T23" fmla="*/ 16 h 179"/>
                  <a:gd name="T24" fmla="*/ 183 w 217"/>
                  <a:gd name="T25" fmla="*/ 0 h 179"/>
                  <a:gd name="T26" fmla="*/ 163 w 217"/>
                  <a:gd name="T27" fmla="*/ 16 h 179"/>
                  <a:gd name="T28" fmla="*/ 183 w 217"/>
                  <a:gd name="T29" fmla="*/ 0 h 179"/>
                  <a:gd name="T30" fmla="*/ 196 w 217"/>
                  <a:gd name="T31" fmla="*/ 0 h 179"/>
                  <a:gd name="T32" fmla="*/ 217 w 217"/>
                  <a:gd name="T33" fmla="*/ 16 h 179"/>
                  <a:gd name="T34" fmla="*/ 21 w 217"/>
                  <a:gd name="T35" fmla="*/ 162 h 179"/>
                  <a:gd name="T36" fmla="*/ 0 w 217"/>
                  <a:gd name="T37" fmla="*/ 179 h 179"/>
                  <a:gd name="T38" fmla="*/ 21 w 217"/>
                  <a:gd name="T39" fmla="*/ 162 h 179"/>
                  <a:gd name="T40" fmla="*/ 32 w 217"/>
                  <a:gd name="T41" fmla="*/ 162 h 179"/>
                  <a:gd name="T42" fmla="*/ 53 w 217"/>
                  <a:gd name="T43" fmla="*/ 179 h 179"/>
                  <a:gd name="T44" fmla="*/ 85 w 217"/>
                  <a:gd name="T45" fmla="*/ 162 h 179"/>
                  <a:gd name="T46" fmla="*/ 65 w 217"/>
                  <a:gd name="T47" fmla="*/ 179 h 179"/>
                  <a:gd name="T48" fmla="*/ 85 w 217"/>
                  <a:gd name="T49" fmla="*/ 162 h 179"/>
                  <a:gd name="T50" fmla="*/ 98 w 217"/>
                  <a:gd name="T51" fmla="*/ 162 h 179"/>
                  <a:gd name="T52" fmla="*/ 119 w 217"/>
                  <a:gd name="T53" fmla="*/ 179 h 179"/>
                  <a:gd name="T54" fmla="*/ 151 w 217"/>
                  <a:gd name="T55" fmla="*/ 162 h 179"/>
                  <a:gd name="T56" fmla="*/ 130 w 217"/>
                  <a:gd name="T57" fmla="*/ 179 h 179"/>
                  <a:gd name="T58" fmla="*/ 151 w 217"/>
                  <a:gd name="T59" fmla="*/ 162 h 179"/>
                  <a:gd name="T60" fmla="*/ 163 w 217"/>
                  <a:gd name="T61" fmla="*/ 162 h 179"/>
                  <a:gd name="T62" fmla="*/ 183 w 217"/>
                  <a:gd name="T63" fmla="*/ 179 h 179"/>
                  <a:gd name="T64" fmla="*/ 217 w 217"/>
                  <a:gd name="T65" fmla="*/ 162 h 179"/>
                  <a:gd name="T66" fmla="*/ 196 w 217"/>
                  <a:gd name="T67" fmla="*/ 179 h 179"/>
                  <a:gd name="T68" fmla="*/ 217 w 217"/>
                  <a:gd name="T69" fmla="*/ 162 h 179"/>
                  <a:gd name="T70" fmla="*/ 12 w 217"/>
                  <a:gd name="T71" fmla="*/ 28 h 179"/>
                  <a:gd name="T72" fmla="*/ 208 w 217"/>
                  <a:gd name="T73" fmla="*/ 15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7" h="179">
                    <a:moveTo>
                      <a:pt x="21" y="16"/>
                    </a:moveTo>
                    <a:lnTo>
                      <a:pt x="0" y="16"/>
                    </a:lnTo>
                    <a:lnTo>
                      <a:pt x="0" y="0"/>
                    </a:lnTo>
                    <a:lnTo>
                      <a:pt x="21" y="0"/>
                    </a:lnTo>
                    <a:lnTo>
                      <a:pt x="21" y="16"/>
                    </a:lnTo>
                    <a:close/>
                    <a:moveTo>
                      <a:pt x="53" y="0"/>
                    </a:moveTo>
                    <a:lnTo>
                      <a:pt x="32" y="0"/>
                    </a:lnTo>
                    <a:lnTo>
                      <a:pt x="32" y="16"/>
                    </a:lnTo>
                    <a:lnTo>
                      <a:pt x="53" y="16"/>
                    </a:lnTo>
                    <a:lnTo>
                      <a:pt x="53" y="0"/>
                    </a:lnTo>
                    <a:close/>
                    <a:moveTo>
                      <a:pt x="85" y="0"/>
                    </a:moveTo>
                    <a:lnTo>
                      <a:pt x="65" y="0"/>
                    </a:lnTo>
                    <a:lnTo>
                      <a:pt x="65" y="16"/>
                    </a:lnTo>
                    <a:lnTo>
                      <a:pt x="85" y="16"/>
                    </a:lnTo>
                    <a:lnTo>
                      <a:pt x="85" y="0"/>
                    </a:lnTo>
                    <a:close/>
                    <a:moveTo>
                      <a:pt x="119" y="0"/>
                    </a:moveTo>
                    <a:lnTo>
                      <a:pt x="98" y="0"/>
                    </a:lnTo>
                    <a:lnTo>
                      <a:pt x="98" y="16"/>
                    </a:lnTo>
                    <a:lnTo>
                      <a:pt x="119" y="16"/>
                    </a:lnTo>
                    <a:lnTo>
                      <a:pt x="119" y="0"/>
                    </a:lnTo>
                    <a:close/>
                    <a:moveTo>
                      <a:pt x="151" y="0"/>
                    </a:moveTo>
                    <a:lnTo>
                      <a:pt x="130" y="0"/>
                    </a:lnTo>
                    <a:lnTo>
                      <a:pt x="130" y="16"/>
                    </a:lnTo>
                    <a:lnTo>
                      <a:pt x="151" y="16"/>
                    </a:lnTo>
                    <a:lnTo>
                      <a:pt x="151" y="0"/>
                    </a:lnTo>
                    <a:close/>
                    <a:moveTo>
                      <a:pt x="183" y="0"/>
                    </a:moveTo>
                    <a:lnTo>
                      <a:pt x="163" y="0"/>
                    </a:lnTo>
                    <a:lnTo>
                      <a:pt x="163" y="16"/>
                    </a:lnTo>
                    <a:lnTo>
                      <a:pt x="183" y="16"/>
                    </a:lnTo>
                    <a:lnTo>
                      <a:pt x="183" y="0"/>
                    </a:lnTo>
                    <a:close/>
                    <a:moveTo>
                      <a:pt x="217" y="0"/>
                    </a:moveTo>
                    <a:lnTo>
                      <a:pt x="196" y="0"/>
                    </a:lnTo>
                    <a:lnTo>
                      <a:pt x="196" y="16"/>
                    </a:lnTo>
                    <a:lnTo>
                      <a:pt x="217" y="16"/>
                    </a:lnTo>
                    <a:lnTo>
                      <a:pt x="217" y="0"/>
                    </a:lnTo>
                    <a:close/>
                    <a:moveTo>
                      <a:pt x="21" y="162"/>
                    </a:moveTo>
                    <a:lnTo>
                      <a:pt x="0" y="162"/>
                    </a:lnTo>
                    <a:lnTo>
                      <a:pt x="0" y="179"/>
                    </a:lnTo>
                    <a:lnTo>
                      <a:pt x="21" y="179"/>
                    </a:lnTo>
                    <a:lnTo>
                      <a:pt x="21" y="162"/>
                    </a:lnTo>
                    <a:close/>
                    <a:moveTo>
                      <a:pt x="53" y="162"/>
                    </a:moveTo>
                    <a:lnTo>
                      <a:pt x="32" y="162"/>
                    </a:lnTo>
                    <a:lnTo>
                      <a:pt x="32" y="179"/>
                    </a:lnTo>
                    <a:lnTo>
                      <a:pt x="53" y="179"/>
                    </a:lnTo>
                    <a:lnTo>
                      <a:pt x="53" y="162"/>
                    </a:lnTo>
                    <a:close/>
                    <a:moveTo>
                      <a:pt x="85" y="162"/>
                    </a:moveTo>
                    <a:lnTo>
                      <a:pt x="65" y="162"/>
                    </a:lnTo>
                    <a:lnTo>
                      <a:pt x="65" y="179"/>
                    </a:lnTo>
                    <a:lnTo>
                      <a:pt x="85" y="179"/>
                    </a:lnTo>
                    <a:lnTo>
                      <a:pt x="85" y="162"/>
                    </a:lnTo>
                    <a:close/>
                    <a:moveTo>
                      <a:pt x="119" y="162"/>
                    </a:moveTo>
                    <a:lnTo>
                      <a:pt x="98" y="162"/>
                    </a:lnTo>
                    <a:lnTo>
                      <a:pt x="98" y="179"/>
                    </a:lnTo>
                    <a:lnTo>
                      <a:pt x="119" y="179"/>
                    </a:lnTo>
                    <a:lnTo>
                      <a:pt x="119" y="162"/>
                    </a:lnTo>
                    <a:close/>
                    <a:moveTo>
                      <a:pt x="151" y="162"/>
                    </a:moveTo>
                    <a:lnTo>
                      <a:pt x="130" y="162"/>
                    </a:lnTo>
                    <a:lnTo>
                      <a:pt x="130" y="179"/>
                    </a:lnTo>
                    <a:lnTo>
                      <a:pt x="151" y="179"/>
                    </a:lnTo>
                    <a:lnTo>
                      <a:pt x="151" y="162"/>
                    </a:lnTo>
                    <a:close/>
                    <a:moveTo>
                      <a:pt x="183" y="162"/>
                    </a:moveTo>
                    <a:lnTo>
                      <a:pt x="163" y="162"/>
                    </a:lnTo>
                    <a:lnTo>
                      <a:pt x="163" y="179"/>
                    </a:lnTo>
                    <a:lnTo>
                      <a:pt x="183" y="179"/>
                    </a:lnTo>
                    <a:lnTo>
                      <a:pt x="183" y="162"/>
                    </a:lnTo>
                    <a:close/>
                    <a:moveTo>
                      <a:pt x="217" y="162"/>
                    </a:moveTo>
                    <a:lnTo>
                      <a:pt x="196" y="162"/>
                    </a:lnTo>
                    <a:lnTo>
                      <a:pt x="196" y="179"/>
                    </a:lnTo>
                    <a:lnTo>
                      <a:pt x="217" y="179"/>
                    </a:lnTo>
                    <a:lnTo>
                      <a:pt x="217" y="162"/>
                    </a:lnTo>
                    <a:close/>
                    <a:moveTo>
                      <a:pt x="208" y="28"/>
                    </a:moveTo>
                    <a:lnTo>
                      <a:pt x="12" y="28"/>
                    </a:lnTo>
                    <a:lnTo>
                      <a:pt x="12" y="151"/>
                    </a:lnTo>
                    <a:lnTo>
                      <a:pt x="208" y="151"/>
                    </a:lnTo>
                    <a:lnTo>
                      <a:pt x="208" y="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87" name="Freeform 94">
                <a:extLst>
                  <a:ext uri="{FF2B5EF4-FFF2-40B4-BE49-F238E27FC236}">
                    <a16:creationId xmlns:a16="http://schemas.microsoft.com/office/drawing/2014/main" id="{DBB9ECF0-FC48-4504-956F-D6CDA45EFCD0}"/>
                  </a:ext>
                </a:extLst>
              </p:cNvPr>
              <p:cNvSpPr>
                <a:spLocks/>
              </p:cNvSpPr>
              <p:nvPr/>
            </p:nvSpPr>
            <p:spPr bwMode="auto">
              <a:xfrm>
                <a:off x="1769477" y="2765473"/>
                <a:ext cx="91544" cy="115765"/>
              </a:xfrm>
              <a:custGeom>
                <a:avLst/>
                <a:gdLst>
                  <a:gd name="T0" fmla="*/ 0 w 57"/>
                  <a:gd name="T1" fmla="*/ 74 h 74"/>
                  <a:gd name="T2" fmla="*/ 0 w 57"/>
                  <a:gd name="T3" fmla="*/ 0 h 74"/>
                  <a:gd name="T4" fmla="*/ 57 w 57"/>
                  <a:gd name="T5" fmla="*/ 37 h 74"/>
                  <a:gd name="T6" fmla="*/ 0 w 57"/>
                  <a:gd name="T7" fmla="*/ 74 h 74"/>
                </a:gdLst>
                <a:ahLst/>
                <a:cxnLst>
                  <a:cxn ang="0">
                    <a:pos x="T0" y="T1"/>
                  </a:cxn>
                  <a:cxn ang="0">
                    <a:pos x="T2" y="T3"/>
                  </a:cxn>
                  <a:cxn ang="0">
                    <a:pos x="T4" y="T5"/>
                  </a:cxn>
                  <a:cxn ang="0">
                    <a:pos x="T6" y="T7"/>
                  </a:cxn>
                </a:cxnLst>
                <a:rect l="0" t="0" r="r" b="b"/>
                <a:pathLst>
                  <a:path w="57" h="74">
                    <a:moveTo>
                      <a:pt x="0" y="74"/>
                    </a:moveTo>
                    <a:lnTo>
                      <a:pt x="0" y="0"/>
                    </a:lnTo>
                    <a:lnTo>
                      <a:pt x="57" y="37"/>
                    </a:lnTo>
                    <a:lnTo>
                      <a:pt x="0" y="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288" name="Graphic 109">
            <a:extLst>
              <a:ext uri="{FF2B5EF4-FFF2-40B4-BE49-F238E27FC236}">
                <a16:creationId xmlns:a16="http://schemas.microsoft.com/office/drawing/2014/main" id="{0ECB5ADD-8022-4F61-8FEF-86C80080A6C0}"/>
              </a:ext>
              <a:ext uri="{C183D7F6-B498-43B3-948B-1728B52AA6E4}">
                <adec:decorative xmlns:adec="http://schemas.microsoft.com/office/drawing/2017/decorative" val="1"/>
              </a:ext>
            </a:extLst>
          </p:cNvPr>
          <p:cNvGrpSpPr>
            <a:grpSpLocks noChangeAspect="1"/>
          </p:cNvGrpSpPr>
          <p:nvPr/>
        </p:nvGrpSpPr>
        <p:grpSpPr>
          <a:xfrm>
            <a:off x="6772853" y="1229161"/>
            <a:ext cx="665280" cy="633600"/>
            <a:chOff x="5759384" y="3117850"/>
            <a:chExt cx="671893" cy="625163"/>
          </a:xfrm>
        </p:grpSpPr>
        <p:sp>
          <p:nvSpPr>
            <p:cNvPr id="289" name="Freeform 88">
              <a:extLst>
                <a:ext uri="{FF2B5EF4-FFF2-40B4-BE49-F238E27FC236}">
                  <a16:creationId xmlns:a16="http://schemas.microsoft.com/office/drawing/2014/main" id="{C1AFC427-A4E0-406A-AAFC-B84304D9B9A2}"/>
                </a:ext>
              </a:extLst>
            </p:cNvPr>
            <p:cNvSpPr/>
            <p:nvPr/>
          </p:nvSpPr>
          <p:spPr>
            <a:xfrm>
              <a:off x="5759384" y="3117850"/>
              <a:ext cx="671893" cy="625163"/>
            </a:xfrm>
            <a:custGeom>
              <a:avLst/>
              <a:gdLst>
                <a:gd name="connsiteX0" fmla="*/ 22723 w 671893"/>
                <a:gd name="connsiteY0" fmla="*/ 432121 h 625163"/>
                <a:gd name="connsiteX1" fmla="*/ 215173 w 671893"/>
                <a:gd name="connsiteY1" fmla="*/ 19894 h 625163"/>
                <a:gd name="connsiteX2" fmla="*/ 650128 w 671893"/>
                <a:gd name="connsiteY2" fmla="*/ 209979 h 625163"/>
                <a:gd name="connsiteX3" fmla="*/ 450473 w 671893"/>
                <a:gd name="connsiteY3" fmla="*/ 602499 h 625163"/>
                <a:gd name="connsiteX4" fmla="*/ 22723 w 671893"/>
                <a:gd name="connsiteY4" fmla="*/ 432121 h 625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893" h="625163">
                  <a:moveTo>
                    <a:pt x="22723" y="432121"/>
                  </a:moveTo>
                  <a:cubicBezTo>
                    <a:pt x="-44208" y="265797"/>
                    <a:pt x="41684" y="81182"/>
                    <a:pt x="215173" y="19894"/>
                  </a:cubicBezTo>
                  <a:cubicBezTo>
                    <a:pt x="388662" y="-41393"/>
                    <a:pt x="583197" y="43655"/>
                    <a:pt x="650128" y="209979"/>
                  </a:cubicBezTo>
                  <a:cubicBezTo>
                    <a:pt x="717059" y="376303"/>
                    <a:pt x="623773" y="541118"/>
                    <a:pt x="450473" y="602499"/>
                  </a:cubicBezTo>
                  <a:cubicBezTo>
                    <a:pt x="277174" y="663881"/>
                    <a:pt x="89654" y="598445"/>
                    <a:pt x="22723" y="432121"/>
                  </a:cubicBezTo>
                </a:path>
              </a:pathLst>
            </a:custGeom>
            <a:solidFill>
              <a:schemeClr val="accent4"/>
            </a:solidFill>
            <a:ln w="9391" cap="flat">
              <a:noFill/>
              <a:prstDash val="solid"/>
              <a:miter/>
            </a:ln>
          </p:spPr>
          <p:txBody>
            <a:bodyPr rtlCol="0" anchor="ctr"/>
            <a:lstStyle/>
            <a:p>
              <a:endParaRPr lang="fr-FR"/>
            </a:p>
          </p:txBody>
        </p:sp>
        <p:sp>
          <p:nvSpPr>
            <p:cNvPr id="290" name="Freeform 89">
              <a:extLst>
                <a:ext uri="{FF2B5EF4-FFF2-40B4-BE49-F238E27FC236}">
                  <a16:creationId xmlns:a16="http://schemas.microsoft.com/office/drawing/2014/main" id="{E5E86651-EA44-4088-AB96-40BD205E1823}"/>
                </a:ext>
              </a:extLst>
            </p:cNvPr>
            <p:cNvSpPr/>
            <p:nvPr/>
          </p:nvSpPr>
          <p:spPr>
            <a:xfrm>
              <a:off x="5930095" y="3279836"/>
              <a:ext cx="352476" cy="224028"/>
            </a:xfrm>
            <a:custGeom>
              <a:avLst/>
              <a:gdLst>
                <a:gd name="connsiteX0" fmla="*/ 13462 w 352476"/>
                <a:gd name="connsiteY0" fmla="*/ 224028 h 224028"/>
                <a:gd name="connsiteX1" fmla="*/ 339110 w 352476"/>
                <a:gd name="connsiteY1" fmla="*/ 224028 h 224028"/>
                <a:gd name="connsiteX2" fmla="*/ 352477 w 352476"/>
                <a:gd name="connsiteY2" fmla="*/ 210734 h 224028"/>
                <a:gd name="connsiteX3" fmla="*/ 352477 w 352476"/>
                <a:gd name="connsiteY3" fmla="*/ 13295 h 224028"/>
                <a:gd name="connsiteX4" fmla="*/ 339110 w 352476"/>
                <a:gd name="connsiteY4" fmla="*/ 0 h 224028"/>
                <a:gd name="connsiteX5" fmla="*/ 13462 w 352476"/>
                <a:gd name="connsiteY5" fmla="*/ 0 h 224028"/>
                <a:gd name="connsiteX6" fmla="*/ 0 w 352476"/>
                <a:gd name="connsiteY6" fmla="*/ 13200 h 224028"/>
                <a:gd name="connsiteX7" fmla="*/ 0 w 352476"/>
                <a:gd name="connsiteY7" fmla="*/ 13295 h 224028"/>
                <a:gd name="connsiteX8" fmla="*/ 0 w 352476"/>
                <a:gd name="connsiteY8" fmla="*/ 210734 h 224028"/>
                <a:gd name="connsiteX9" fmla="*/ 13367 w 352476"/>
                <a:gd name="connsiteY9" fmla="*/ 224029 h 224028"/>
                <a:gd name="connsiteX10" fmla="*/ 13462 w 352476"/>
                <a:gd name="connsiteY10" fmla="*/ 224028 h 224028"/>
                <a:gd name="connsiteX11" fmla="*/ 18961 w 352476"/>
                <a:gd name="connsiteY11" fmla="*/ 24515 h 224028"/>
                <a:gd name="connsiteX12" fmla="*/ 333232 w 352476"/>
                <a:gd name="connsiteY12" fmla="*/ 24515 h 224028"/>
                <a:gd name="connsiteX13" fmla="*/ 330957 w 352476"/>
                <a:gd name="connsiteY13" fmla="*/ 200362 h 224028"/>
                <a:gd name="connsiteX14" fmla="*/ 21520 w 352476"/>
                <a:gd name="connsiteY14" fmla="*/ 198759 h 22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2476" h="224028">
                  <a:moveTo>
                    <a:pt x="13462" y="224028"/>
                  </a:moveTo>
                  <a:lnTo>
                    <a:pt x="339110" y="224028"/>
                  </a:lnTo>
                  <a:cubicBezTo>
                    <a:pt x="346492" y="224028"/>
                    <a:pt x="352477" y="218076"/>
                    <a:pt x="352477" y="210734"/>
                  </a:cubicBezTo>
                  <a:lnTo>
                    <a:pt x="352477" y="13295"/>
                  </a:lnTo>
                  <a:cubicBezTo>
                    <a:pt x="352477" y="5953"/>
                    <a:pt x="346492" y="0"/>
                    <a:pt x="339110" y="0"/>
                  </a:cubicBezTo>
                  <a:lnTo>
                    <a:pt x="13462" y="0"/>
                  </a:lnTo>
                  <a:cubicBezTo>
                    <a:pt x="6080" y="-52"/>
                    <a:pt x="53" y="5858"/>
                    <a:pt x="0" y="13200"/>
                  </a:cubicBezTo>
                  <a:cubicBezTo>
                    <a:pt x="0" y="13232"/>
                    <a:pt x="0" y="13263"/>
                    <a:pt x="0" y="13295"/>
                  </a:cubicBezTo>
                  <a:lnTo>
                    <a:pt x="0" y="210734"/>
                  </a:lnTo>
                  <a:cubicBezTo>
                    <a:pt x="0" y="218076"/>
                    <a:pt x="5984" y="224028"/>
                    <a:pt x="13367" y="224029"/>
                  </a:cubicBezTo>
                  <a:cubicBezTo>
                    <a:pt x="13399" y="224029"/>
                    <a:pt x="13430" y="224029"/>
                    <a:pt x="13462" y="224028"/>
                  </a:cubicBezTo>
                  <a:close/>
                  <a:moveTo>
                    <a:pt x="18961" y="24515"/>
                  </a:moveTo>
                  <a:lnTo>
                    <a:pt x="333232" y="24515"/>
                  </a:lnTo>
                  <a:lnTo>
                    <a:pt x="330957" y="200362"/>
                  </a:lnTo>
                  <a:lnTo>
                    <a:pt x="21520" y="198759"/>
                  </a:lnTo>
                  <a:close/>
                </a:path>
              </a:pathLst>
            </a:custGeom>
            <a:solidFill>
              <a:schemeClr val="bg1"/>
            </a:solidFill>
            <a:ln w="9391" cap="flat">
              <a:noFill/>
              <a:prstDash val="solid"/>
              <a:miter/>
            </a:ln>
          </p:spPr>
          <p:txBody>
            <a:bodyPr rtlCol="0" anchor="ctr"/>
            <a:lstStyle/>
            <a:p>
              <a:endParaRPr lang="fr-FR"/>
            </a:p>
          </p:txBody>
        </p:sp>
        <p:sp>
          <p:nvSpPr>
            <p:cNvPr id="291" name="Freeform 90">
              <a:extLst>
                <a:ext uri="{FF2B5EF4-FFF2-40B4-BE49-F238E27FC236}">
                  <a16:creationId xmlns:a16="http://schemas.microsoft.com/office/drawing/2014/main" id="{FE956393-E04D-47B2-A56C-17B068205801}"/>
                </a:ext>
              </a:extLst>
            </p:cNvPr>
            <p:cNvSpPr/>
            <p:nvPr/>
          </p:nvSpPr>
          <p:spPr>
            <a:xfrm>
              <a:off x="5875773" y="3556571"/>
              <a:ext cx="461120" cy="17348"/>
            </a:xfrm>
            <a:custGeom>
              <a:avLst/>
              <a:gdLst>
                <a:gd name="connsiteX0" fmla="*/ 0 w 461120"/>
                <a:gd name="connsiteY0" fmla="*/ 0 h 17348"/>
                <a:gd name="connsiteX1" fmla="*/ 21236 w 461120"/>
                <a:gd name="connsiteY1" fmla="*/ 17349 h 17348"/>
                <a:gd name="connsiteX2" fmla="*/ 439885 w 461120"/>
                <a:gd name="connsiteY2" fmla="*/ 17349 h 17348"/>
                <a:gd name="connsiteX3" fmla="*/ 461121 w 461120"/>
                <a:gd name="connsiteY3" fmla="*/ 0 h 17348"/>
              </a:gdLst>
              <a:ahLst/>
              <a:cxnLst>
                <a:cxn ang="0">
                  <a:pos x="connsiteX0" y="connsiteY0"/>
                </a:cxn>
                <a:cxn ang="0">
                  <a:pos x="connsiteX1" y="connsiteY1"/>
                </a:cxn>
                <a:cxn ang="0">
                  <a:pos x="connsiteX2" y="connsiteY2"/>
                </a:cxn>
                <a:cxn ang="0">
                  <a:pos x="connsiteX3" y="connsiteY3"/>
                </a:cxn>
              </a:cxnLst>
              <a:rect l="l" t="t" r="r" b="b"/>
              <a:pathLst>
                <a:path w="461120" h="17348">
                  <a:moveTo>
                    <a:pt x="0" y="0"/>
                  </a:moveTo>
                  <a:cubicBezTo>
                    <a:pt x="2029" y="10070"/>
                    <a:pt x="10909" y="17325"/>
                    <a:pt x="21236" y="17349"/>
                  </a:cubicBezTo>
                  <a:lnTo>
                    <a:pt x="439885" y="17349"/>
                  </a:lnTo>
                  <a:cubicBezTo>
                    <a:pt x="450211" y="17325"/>
                    <a:pt x="459092" y="10070"/>
                    <a:pt x="461121" y="0"/>
                  </a:cubicBezTo>
                  <a:close/>
                </a:path>
              </a:pathLst>
            </a:custGeom>
            <a:solidFill>
              <a:schemeClr val="bg1"/>
            </a:solidFill>
            <a:ln w="9391" cap="flat">
              <a:noFill/>
              <a:prstDash val="solid"/>
              <a:miter/>
            </a:ln>
          </p:spPr>
          <p:txBody>
            <a:bodyPr rtlCol="0" anchor="ctr"/>
            <a:lstStyle/>
            <a:p>
              <a:endParaRPr lang="fr-FR"/>
            </a:p>
          </p:txBody>
        </p:sp>
        <p:sp>
          <p:nvSpPr>
            <p:cNvPr id="292" name="Freeform 91">
              <a:extLst>
                <a:ext uri="{FF2B5EF4-FFF2-40B4-BE49-F238E27FC236}">
                  <a16:creationId xmlns:a16="http://schemas.microsoft.com/office/drawing/2014/main" id="{A6BF5821-0842-485D-87B4-F18B7DC7D871}"/>
                </a:ext>
              </a:extLst>
            </p:cNvPr>
            <p:cNvSpPr/>
            <p:nvPr/>
          </p:nvSpPr>
          <p:spPr>
            <a:xfrm>
              <a:off x="5876436" y="3510276"/>
              <a:ext cx="459224" cy="46201"/>
            </a:xfrm>
            <a:custGeom>
              <a:avLst/>
              <a:gdLst>
                <a:gd name="connsiteX0" fmla="*/ 408316 w 459224"/>
                <a:gd name="connsiteY0" fmla="*/ 0 h 46201"/>
                <a:gd name="connsiteX1" fmla="*/ 52900 w 459224"/>
                <a:gd name="connsiteY1" fmla="*/ 0 h 46201"/>
                <a:gd name="connsiteX2" fmla="*/ 0 w 459224"/>
                <a:gd name="connsiteY2" fmla="*/ 46201 h 46201"/>
                <a:gd name="connsiteX3" fmla="*/ 459225 w 459224"/>
                <a:gd name="connsiteY3" fmla="*/ 46201 h 46201"/>
                <a:gd name="connsiteX4" fmla="*/ 408316 w 459224"/>
                <a:gd name="connsiteY4" fmla="*/ 0 h 46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224" h="46201">
                  <a:moveTo>
                    <a:pt x="408316" y="0"/>
                  </a:moveTo>
                  <a:lnTo>
                    <a:pt x="52900" y="0"/>
                  </a:lnTo>
                  <a:lnTo>
                    <a:pt x="0" y="46201"/>
                  </a:lnTo>
                  <a:lnTo>
                    <a:pt x="459225" y="46201"/>
                  </a:lnTo>
                  <a:lnTo>
                    <a:pt x="408316" y="0"/>
                  </a:lnTo>
                  <a:close/>
                </a:path>
              </a:pathLst>
            </a:custGeom>
            <a:solidFill>
              <a:schemeClr val="bg1"/>
            </a:solidFill>
            <a:ln w="9391" cap="flat">
              <a:noFill/>
              <a:prstDash val="solid"/>
              <a:miter/>
            </a:ln>
          </p:spPr>
          <p:txBody>
            <a:bodyPr rtlCol="0" anchor="ctr"/>
            <a:lstStyle/>
            <a:p>
              <a:endParaRPr lang="fr-FR"/>
            </a:p>
          </p:txBody>
        </p:sp>
        <p:sp>
          <p:nvSpPr>
            <p:cNvPr id="293" name="Freeform 92">
              <a:extLst>
                <a:ext uri="{FF2B5EF4-FFF2-40B4-BE49-F238E27FC236}">
                  <a16:creationId xmlns:a16="http://schemas.microsoft.com/office/drawing/2014/main" id="{057FCF62-A652-4103-A9DA-B397DE294ACA}"/>
                </a:ext>
              </a:extLst>
            </p:cNvPr>
            <p:cNvSpPr/>
            <p:nvPr/>
          </p:nvSpPr>
          <p:spPr>
            <a:xfrm>
              <a:off x="6050873" y="3543654"/>
              <a:ext cx="111014" cy="14143"/>
            </a:xfrm>
            <a:custGeom>
              <a:avLst/>
              <a:gdLst>
                <a:gd name="connsiteX0" fmla="*/ 0 w 111014"/>
                <a:gd name="connsiteY0" fmla="*/ 14143 h 14143"/>
                <a:gd name="connsiteX1" fmla="*/ 12798 w 111014"/>
                <a:gd name="connsiteY1" fmla="*/ 0 h 14143"/>
                <a:gd name="connsiteX2" fmla="*/ 98690 w 111014"/>
                <a:gd name="connsiteY2" fmla="*/ 0 h 14143"/>
                <a:gd name="connsiteX3" fmla="*/ 111014 w 111014"/>
                <a:gd name="connsiteY3" fmla="*/ 14143 h 14143"/>
                <a:gd name="connsiteX4" fmla="*/ 0 w 111014"/>
                <a:gd name="connsiteY4" fmla="*/ 14143 h 1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14" h="14143">
                  <a:moveTo>
                    <a:pt x="0" y="14143"/>
                  </a:moveTo>
                  <a:lnTo>
                    <a:pt x="12798" y="0"/>
                  </a:lnTo>
                  <a:lnTo>
                    <a:pt x="98690" y="0"/>
                  </a:lnTo>
                  <a:lnTo>
                    <a:pt x="111014" y="14143"/>
                  </a:lnTo>
                  <a:lnTo>
                    <a:pt x="0" y="14143"/>
                  </a:lnTo>
                  <a:close/>
                </a:path>
              </a:pathLst>
            </a:custGeom>
            <a:solidFill>
              <a:schemeClr val="accent4"/>
            </a:solidFill>
            <a:ln w="9391" cap="flat">
              <a:noFill/>
              <a:prstDash val="solid"/>
              <a:miter/>
            </a:ln>
          </p:spPr>
          <p:txBody>
            <a:bodyPr rtlCol="0" anchor="ctr"/>
            <a:lstStyle/>
            <a:p>
              <a:endParaRPr lang="fr-FR"/>
            </a:p>
          </p:txBody>
        </p:sp>
        <p:sp>
          <p:nvSpPr>
            <p:cNvPr id="294" name="Freeform 93">
              <a:extLst>
                <a:ext uri="{FF2B5EF4-FFF2-40B4-BE49-F238E27FC236}">
                  <a16:creationId xmlns:a16="http://schemas.microsoft.com/office/drawing/2014/main" id="{F9AE33FD-11CA-46BF-A132-67132174BF5D}"/>
                </a:ext>
              </a:extLst>
            </p:cNvPr>
            <p:cNvSpPr/>
            <p:nvPr/>
          </p:nvSpPr>
          <p:spPr>
            <a:xfrm>
              <a:off x="5950477" y="3304351"/>
              <a:ext cx="311616" cy="175092"/>
            </a:xfrm>
            <a:custGeom>
              <a:avLst/>
              <a:gdLst>
                <a:gd name="connsiteX0" fmla="*/ 0 w 311616"/>
                <a:gd name="connsiteY0" fmla="*/ 0 h 175092"/>
                <a:gd name="connsiteX1" fmla="*/ 311617 w 311616"/>
                <a:gd name="connsiteY1" fmla="*/ 0 h 175092"/>
                <a:gd name="connsiteX2" fmla="*/ 311617 w 311616"/>
                <a:gd name="connsiteY2" fmla="*/ 175093 h 175092"/>
                <a:gd name="connsiteX3" fmla="*/ 0 w 311616"/>
                <a:gd name="connsiteY3" fmla="*/ 175093 h 175092"/>
              </a:gdLst>
              <a:ahLst/>
              <a:cxnLst>
                <a:cxn ang="0">
                  <a:pos x="connsiteX0" y="connsiteY0"/>
                </a:cxn>
                <a:cxn ang="0">
                  <a:pos x="connsiteX1" y="connsiteY1"/>
                </a:cxn>
                <a:cxn ang="0">
                  <a:pos x="connsiteX2" y="connsiteY2"/>
                </a:cxn>
                <a:cxn ang="0">
                  <a:pos x="connsiteX3" y="connsiteY3"/>
                </a:cxn>
              </a:cxnLst>
              <a:rect l="l" t="t" r="r" b="b"/>
              <a:pathLst>
                <a:path w="311616" h="175092">
                  <a:moveTo>
                    <a:pt x="0" y="0"/>
                  </a:moveTo>
                  <a:lnTo>
                    <a:pt x="311617" y="0"/>
                  </a:lnTo>
                  <a:lnTo>
                    <a:pt x="311617" y="175093"/>
                  </a:lnTo>
                  <a:lnTo>
                    <a:pt x="0" y="175093"/>
                  </a:lnTo>
                  <a:close/>
                </a:path>
              </a:pathLst>
            </a:custGeom>
            <a:solidFill>
              <a:schemeClr val="accent4"/>
            </a:solidFill>
            <a:ln w="9391" cap="flat">
              <a:noFill/>
              <a:prstDash val="solid"/>
              <a:miter/>
            </a:ln>
          </p:spPr>
          <p:txBody>
            <a:bodyPr rtlCol="0" anchor="ctr"/>
            <a:lstStyle/>
            <a:p>
              <a:endParaRPr lang="fr-FR"/>
            </a:p>
          </p:txBody>
        </p:sp>
      </p:grpSp>
      <p:grpSp>
        <p:nvGrpSpPr>
          <p:cNvPr id="295" name="Groupe 311">
            <a:extLst>
              <a:ext uri="{FF2B5EF4-FFF2-40B4-BE49-F238E27FC236}">
                <a16:creationId xmlns:a16="http://schemas.microsoft.com/office/drawing/2014/main" id="{9A9EB4CA-65A9-4AD0-82CD-67974F420E22}"/>
              </a:ext>
              <a:ext uri="{C183D7F6-B498-43B3-948B-1728B52AA6E4}">
                <adec:decorative xmlns:adec="http://schemas.microsoft.com/office/drawing/2017/decorative" val="1"/>
              </a:ext>
            </a:extLst>
          </p:cNvPr>
          <p:cNvGrpSpPr>
            <a:grpSpLocks noChangeAspect="1"/>
          </p:cNvGrpSpPr>
          <p:nvPr/>
        </p:nvGrpSpPr>
        <p:grpSpPr>
          <a:xfrm>
            <a:off x="8579842" y="3600189"/>
            <a:ext cx="676745" cy="633600"/>
            <a:chOff x="10333039" y="2103437"/>
            <a:chExt cx="871538" cy="815975"/>
          </a:xfrm>
        </p:grpSpPr>
        <p:sp>
          <p:nvSpPr>
            <p:cNvPr id="318" name="Freeform 102">
              <a:extLst>
                <a:ext uri="{FF2B5EF4-FFF2-40B4-BE49-F238E27FC236}">
                  <a16:creationId xmlns:a16="http://schemas.microsoft.com/office/drawing/2014/main" id="{A8282DBA-4D7D-4ECA-A9D0-37E50CE208E3}"/>
                </a:ext>
              </a:extLst>
            </p:cNvPr>
            <p:cNvSpPr>
              <a:spLocks/>
            </p:cNvSpPr>
            <p:nvPr/>
          </p:nvSpPr>
          <p:spPr bwMode="auto">
            <a:xfrm>
              <a:off x="10333039" y="2103437"/>
              <a:ext cx="871538" cy="815975"/>
            </a:xfrm>
            <a:custGeom>
              <a:avLst/>
              <a:gdLst>
                <a:gd name="T0" fmla="*/ 33 w 232"/>
                <a:gd name="T1" fmla="*/ 170 h 217"/>
                <a:gd name="T2" fmla="*/ 56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3"/>
                  </a:cubicBezTo>
                  <a:cubicBezTo>
                    <a:pt x="101" y="0"/>
                    <a:pt x="166" y="9"/>
                    <a:pt x="199" y="53"/>
                  </a:cubicBezTo>
                  <a:cubicBezTo>
                    <a:pt x="232" y="96"/>
                    <a:pt x="219" y="152"/>
                    <a:pt x="173" y="185"/>
                  </a:cubicBezTo>
                  <a:cubicBezTo>
                    <a:pt x="127" y="217"/>
                    <a:pt x="67" y="213"/>
                    <a:pt x="33"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9" name="Groupe 313">
              <a:extLst>
                <a:ext uri="{FF2B5EF4-FFF2-40B4-BE49-F238E27FC236}">
                  <a16:creationId xmlns:a16="http://schemas.microsoft.com/office/drawing/2014/main" id="{5A394006-0EF4-49FD-B4A1-2603DA4110E8}"/>
                </a:ext>
              </a:extLst>
            </p:cNvPr>
            <p:cNvGrpSpPr/>
            <p:nvPr/>
          </p:nvGrpSpPr>
          <p:grpSpPr>
            <a:xfrm>
              <a:off x="10566401" y="2306638"/>
              <a:ext cx="438150" cy="425450"/>
              <a:chOff x="10566401" y="2306638"/>
              <a:chExt cx="438150" cy="425450"/>
            </a:xfrm>
          </p:grpSpPr>
          <p:sp>
            <p:nvSpPr>
              <p:cNvPr id="320" name="Freeform 276">
                <a:extLst>
                  <a:ext uri="{FF2B5EF4-FFF2-40B4-BE49-F238E27FC236}">
                    <a16:creationId xmlns:a16="http://schemas.microsoft.com/office/drawing/2014/main" id="{5257BE04-307C-436F-97AA-DD729387402C}"/>
                  </a:ext>
                </a:extLst>
              </p:cNvPr>
              <p:cNvSpPr>
                <a:spLocks/>
              </p:cNvSpPr>
              <p:nvPr/>
            </p:nvSpPr>
            <p:spPr bwMode="auto">
              <a:xfrm>
                <a:off x="10712451" y="2306638"/>
                <a:ext cx="292100" cy="288925"/>
              </a:xfrm>
              <a:custGeom>
                <a:avLst/>
                <a:gdLst>
                  <a:gd name="T0" fmla="*/ 6 w 78"/>
                  <a:gd name="T1" fmla="*/ 58 h 77"/>
                  <a:gd name="T2" fmla="*/ 0 w 78"/>
                  <a:gd name="T3" fmla="*/ 67 h 77"/>
                  <a:gd name="T4" fmla="*/ 8 w 78"/>
                  <a:gd name="T5" fmla="*/ 77 h 77"/>
                  <a:gd name="T6" fmla="*/ 18 w 78"/>
                  <a:gd name="T7" fmla="*/ 71 h 77"/>
                  <a:gd name="T8" fmla="*/ 77 w 78"/>
                  <a:gd name="T9" fmla="*/ 2 h 77"/>
                  <a:gd name="T10" fmla="*/ 6 w 78"/>
                  <a:gd name="T11" fmla="*/ 58 h 77"/>
                </a:gdLst>
                <a:ahLst/>
                <a:cxnLst>
                  <a:cxn ang="0">
                    <a:pos x="T0" y="T1"/>
                  </a:cxn>
                  <a:cxn ang="0">
                    <a:pos x="T2" y="T3"/>
                  </a:cxn>
                  <a:cxn ang="0">
                    <a:pos x="T4" y="T5"/>
                  </a:cxn>
                  <a:cxn ang="0">
                    <a:pos x="T6" y="T7"/>
                  </a:cxn>
                  <a:cxn ang="0">
                    <a:pos x="T8" y="T9"/>
                  </a:cxn>
                  <a:cxn ang="0">
                    <a:pos x="T10" y="T11"/>
                  </a:cxn>
                </a:cxnLst>
                <a:rect l="0" t="0" r="r" b="b"/>
                <a:pathLst>
                  <a:path w="78" h="77">
                    <a:moveTo>
                      <a:pt x="6" y="58"/>
                    </a:moveTo>
                    <a:cubicBezTo>
                      <a:pt x="3" y="61"/>
                      <a:pt x="3" y="62"/>
                      <a:pt x="0" y="67"/>
                    </a:cubicBezTo>
                    <a:cubicBezTo>
                      <a:pt x="2" y="68"/>
                      <a:pt x="5" y="71"/>
                      <a:pt x="8" y="77"/>
                    </a:cubicBezTo>
                    <a:cubicBezTo>
                      <a:pt x="13" y="74"/>
                      <a:pt x="15" y="73"/>
                      <a:pt x="18" y="71"/>
                    </a:cubicBezTo>
                    <a:cubicBezTo>
                      <a:pt x="35" y="56"/>
                      <a:pt x="78" y="4"/>
                      <a:pt x="77" y="2"/>
                    </a:cubicBezTo>
                    <a:cubicBezTo>
                      <a:pt x="75" y="0"/>
                      <a:pt x="21" y="41"/>
                      <a:pt x="6" y="5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77">
                <a:extLst>
                  <a:ext uri="{FF2B5EF4-FFF2-40B4-BE49-F238E27FC236}">
                    <a16:creationId xmlns:a16="http://schemas.microsoft.com/office/drawing/2014/main" id="{334A1890-1D58-463D-8B23-3988A05A84C1}"/>
                  </a:ext>
                </a:extLst>
              </p:cNvPr>
              <p:cNvSpPr>
                <a:spLocks/>
              </p:cNvSpPr>
              <p:nvPr/>
            </p:nvSpPr>
            <p:spPr bwMode="auto">
              <a:xfrm>
                <a:off x="10566401" y="2559050"/>
                <a:ext cx="168275" cy="173038"/>
              </a:xfrm>
              <a:custGeom>
                <a:avLst/>
                <a:gdLst>
                  <a:gd name="T0" fmla="*/ 36 w 45"/>
                  <a:gd name="T1" fmla="*/ 2 h 46"/>
                  <a:gd name="T2" fmla="*/ 16 w 45"/>
                  <a:gd name="T3" fmla="*/ 17 h 46"/>
                  <a:gd name="T4" fmla="*/ 0 w 45"/>
                  <a:gd name="T5" fmla="*/ 34 h 46"/>
                  <a:gd name="T6" fmla="*/ 45 w 45"/>
                  <a:gd name="T7" fmla="*/ 13 h 46"/>
                  <a:gd name="T8" fmla="*/ 36 w 45"/>
                  <a:gd name="T9" fmla="*/ 2 h 46"/>
                </a:gdLst>
                <a:ahLst/>
                <a:cxnLst>
                  <a:cxn ang="0">
                    <a:pos x="T0" y="T1"/>
                  </a:cxn>
                  <a:cxn ang="0">
                    <a:pos x="T2" y="T3"/>
                  </a:cxn>
                  <a:cxn ang="0">
                    <a:pos x="T4" y="T5"/>
                  </a:cxn>
                  <a:cxn ang="0">
                    <a:pos x="T6" y="T7"/>
                  </a:cxn>
                  <a:cxn ang="0">
                    <a:pos x="T8" y="T9"/>
                  </a:cxn>
                </a:cxnLst>
                <a:rect l="0" t="0" r="r" b="b"/>
                <a:pathLst>
                  <a:path w="45" h="46">
                    <a:moveTo>
                      <a:pt x="36" y="2"/>
                    </a:moveTo>
                    <a:cubicBezTo>
                      <a:pt x="28" y="0"/>
                      <a:pt x="21" y="5"/>
                      <a:pt x="16" y="17"/>
                    </a:cubicBezTo>
                    <a:cubicBezTo>
                      <a:pt x="11" y="29"/>
                      <a:pt x="2" y="34"/>
                      <a:pt x="0" y="34"/>
                    </a:cubicBezTo>
                    <a:cubicBezTo>
                      <a:pt x="9" y="37"/>
                      <a:pt x="38" y="46"/>
                      <a:pt x="45" y="13"/>
                    </a:cubicBezTo>
                    <a:cubicBezTo>
                      <a:pt x="42" y="5"/>
                      <a:pt x="36" y="2"/>
                      <a:pt x="3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Line 346">
                <a:extLst>
                  <a:ext uri="{FF2B5EF4-FFF2-40B4-BE49-F238E27FC236}">
                    <a16:creationId xmlns:a16="http://schemas.microsoft.com/office/drawing/2014/main" id="{DED3D117-A631-43ED-B40E-AF048FF75A5C}"/>
                  </a:ext>
                </a:extLst>
              </p:cNvPr>
              <p:cNvSpPr>
                <a:spLocks noChangeShapeType="1"/>
              </p:cNvSpPr>
              <p:nvPr/>
            </p:nvSpPr>
            <p:spPr bwMode="auto">
              <a:xfrm>
                <a:off x="10674351" y="2589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Line 347">
                <a:extLst>
                  <a:ext uri="{FF2B5EF4-FFF2-40B4-BE49-F238E27FC236}">
                    <a16:creationId xmlns:a16="http://schemas.microsoft.com/office/drawing/2014/main" id="{676A582D-A8C1-40DD-9BA3-BAB0592BD947}"/>
                  </a:ext>
                </a:extLst>
              </p:cNvPr>
              <p:cNvSpPr>
                <a:spLocks noChangeShapeType="1"/>
              </p:cNvSpPr>
              <p:nvPr/>
            </p:nvSpPr>
            <p:spPr bwMode="auto">
              <a:xfrm>
                <a:off x="10674351" y="2589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29" name="Group 328">
            <a:extLst>
              <a:ext uri="{FF2B5EF4-FFF2-40B4-BE49-F238E27FC236}">
                <a16:creationId xmlns:a16="http://schemas.microsoft.com/office/drawing/2014/main" id="{7043348E-9C80-4102-84DD-ECEEADF9317C}"/>
              </a:ext>
              <a:ext uri="{C183D7F6-B498-43B3-948B-1728B52AA6E4}">
                <adec:decorative xmlns:adec="http://schemas.microsoft.com/office/drawing/2017/decorative" val="1"/>
              </a:ext>
            </a:extLst>
          </p:cNvPr>
          <p:cNvGrpSpPr>
            <a:grpSpLocks noChangeAspect="1"/>
          </p:cNvGrpSpPr>
          <p:nvPr/>
        </p:nvGrpSpPr>
        <p:grpSpPr>
          <a:xfrm>
            <a:off x="9373617" y="3600189"/>
            <a:ext cx="665982" cy="633600"/>
            <a:chOff x="8061641" y="3817087"/>
            <a:chExt cx="756798" cy="720000"/>
          </a:xfrm>
        </p:grpSpPr>
        <p:sp>
          <p:nvSpPr>
            <p:cNvPr id="330" name="Freeform 113">
              <a:extLst>
                <a:ext uri="{FF2B5EF4-FFF2-40B4-BE49-F238E27FC236}">
                  <a16:creationId xmlns:a16="http://schemas.microsoft.com/office/drawing/2014/main" id="{F8851A79-2082-4344-8312-EE76BC3B31A5}"/>
                </a:ext>
              </a:extLst>
            </p:cNvPr>
            <p:cNvSpPr>
              <a:spLocks/>
            </p:cNvSpPr>
            <p:nvPr/>
          </p:nvSpPr>
          <p:spPr bwMode="auto">
            <a:xfrm>
              <a:off x="8061641" y="3817087"/>
              <a:ext cx="756798" cy="720000"/>
            </a:xfrm>
            <a:custGeom>
              <a:avLst/>
              <a:gdLst>
                <a:gd name="T0" fmla="*/ 42 w 290"/>
                <a:gd name="T1" fmla="*/ 212 h 272"/>
                <a:gd name="T2" fmla="*/ 70 w 290"/>
                <a:gd name="T3" fmla="*/ 41 h 272"/>
                <a:gd name="T4" fmla="*/ 249 w 290"/>
                <a:gd name="T5" fmla="*/ 66 h 272"/>
                <a:gd name="T6" fmla="*/ 216 w 290"/>
                <a:gd name="T7" fmla="*/ 231 h 272"/>
                <a:gd name="T8" fmla="*/ 42 w 290"/>
                <a:gd name="T9" fmla="*/ 212 h 272"/>
              </a:gdLst>
              <a:ahLst/>
              <a:cxnLst>
                <a:cxn ang="0">
                  <a:pos x="T0" y="T1"/>
                </a:cxn>
                <a:cxn ang="0">
                  <a:pos x="T2" y="T3"/>
                </a:cxn>
                <a:cxn ang="0">
                  <a:pos x="T4" y="T5"/>
                </a:cxn>
                <a:cxn ang="0">
                  <a:pos x="T6" y="T7"/>
                </a:cxn>
                <a:cxn ang="0">
                  <a:pos x="T8" y="T9"/>
                </a:cxn>
              </a:cxnLst>
              <a:rect l="0" t="0" r="r" b="b"/>
              <a:pathLst>
                <a:path w="290" h="272">
                  <a:moveTo>
                    <a:pt x="42" y="212"/>
                  </a:moveTo>
                  <a:cubicBezTo>
                    <a:pt x="0" y="158"/>
                    <a:pt x="12" y="81"/>
                    <a:pt x="70" y="41"/>
                  </a:cubicBezTo>
                  <a:cubicBezTo>
                    <a:pt x="127" y="0"/>
                    <a:pt x="207" y="11"/>
                    <a:pt x="249" y="66"/>
                  </a:cubicBezTo>
                  <a:cubicBezTo>
                    <a:pt x="290" y="120"/>
                    <a:pt x="273" y="191"/>
                    <a:pt x="216" y="231"/>
                  </a:cubicBezTo>
                  <a:cubicBezTo>
                    <a:pt x="159" y="272"/>
                    <a:pt x="83" y="267"/>
                    <a:pt x="42" y="21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31" name="Groupe 495">
              <a:extLst>
                <a:ext uri="{FF2B5EF4-FFF2-40B4-BE49-F238E27FC236}">
                  <a16:creationId xmlns:a16="http://schemas.microsoft.com/office/drawing/2014/main" id="{DFDDAEF1-753B-4171-A9E7-ED4658BB19DD}"/>
                </a:ext>
              </a:extLst>
            </p:cNvPr>
            <p:cNvGrpSpPr/>
            <p:nvPr/>
          </p:nvGrpSpPr>
          <p:grpSpPr>
            <a:xfrm>
              <a:off x="8244390" y="4004753"/>
              <a:ext cx="363372" cy="370426"/>
              <a:chOff x="9178925" y="1682750"/>
              <a:chExt cx="470296" cy="479425"/>
            </a:xfrm>
            <a:solidFill>
              <a:schemeClr val="bg1"/>
            </a:solidFill>
          </p:grpSpPr>
          <p:sp>
            <p:nvSpPr>
              <p:cNvPr id="332" name="Freeform 114">
                <a:extLst>
                  <a:ext uri="{FF2B5EF4-FFF2-40B4-BE49-F238E27FC236}">
                    <a16:creationId xmlns:a16="http://schemas.microsoft.com/office/drawing/2014/main" id="{CBF1DEB5-5720-4B4B-842B-1881751BE0BF}"/>
                  </a:ext>
                </a:extLst>
              </p:cNvPr>
              <p:cNvSpPr>
                <a:spLocks/>
              </p:cNvSpPr>
              <p:nvPr/>
            </p:nvSpPr>
            <p:spPr bwMode="auto">
              <a:xfrm>
                <a:off x="9490470" y="1682750"/>
                <a:ext cx="158751" cy="150812"/>
              </a:xfrm>
              <a:custGeom>
                <a:avLst/>
                <a:gdLst>
                  <a:gd name="T0" fmla="*/ 24 w 47"/>
                  <a:gd name="T1" fmla="*/ 0 h 44"/>
                  <a:gd name="T2" fmla="*/ 43 w 47"/>
                  <a:gd name="T3" fmla="*/ 17 h 44"/>
                  <a:gd name="T4" fmla="*/ 42 w 47"/>
                  <a:gd name="T5" fmla="*/ 31 h 44"/>
                  <a:gd name="T6" fmla="*/ 29 w 47"/>
                  <a:gd name="T7" fmla="*/ 44 h 44"/>
                  <a:gd name="T8" fmla="*/ 2 w 47"/>
                  <a:gd name="T9" fmla="*/ 18 h 44"/>
                  <a:gd name="T10" fmla="*/ 2 w 47"/>
                  <a:gd name="T11" fmla="*/ 14 h 44"/>
                  <a:gd name="T12" fmla="*/ 19 w 47"/>
                  <a:gd name="T13" fmla="*/ 0 h 44"/>
                  <a:gd name="T14" fmla="*/ 24 w 47"/>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4">
                    <a:moveTo>
                      <a:pt x="24" y="0"/>
                    </a:moveTo>
                    <a:cubicBezTo>
                      <a:pt x="32" y="4"/>
                      <a:pt x="37" y="11"/>
                      <a:pt x="43" y="17"/>
                    </a:cubicBezTo>
                    <a:cubicBezTo>
                      <a:pt x="47" y="21"/>
                      <a:pt x="46" y="26"/>
                      <a:pt x="42" y="31"/>
                    </a:cubicBezTo>
                    <a:cubicBezTo>
                      <a:pt x="38" y="35"/>
                      <a:pt x="33" y="40"/>
                      <a:pt x="29" y="44"/>
                    </a:cubicBezTo>
                    <a:cubicBezTo>
                      <a:pt x="20" y="35"/>
                      <a:pt x="11" y="27"/>
                      <a:pt x="2" y="18"/>
                    </a:cubicBezTo>
                    <a:cubicBezTo>
                      <a:pt x="1" y="17"/>
                      <a:pt x="0" y="16"/>
                      <a:pt x="2" y="14"/>
                    </a:cubicBezTo>
                    <a:cubicBezTo>
                      <a:pt x="7" y="9"/>
                      <a:pt x="12" y="3"/>
                      <a:pt x="19"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15">
                <a:extLst>
                  <a:ext uri="{FF2B5EF4-FFF2-40B4-BE49-F238E27FC236}">
                    <a16:creationId xmlns:a16="http://schemas.microsoft.com/office/drawing/2014/main" id="{5579650D-D0E9-48A5-A623-F02E88221981}"/>
                  </a:ext>
                </a:extLst>
              </p:cNvPr>
              <p:cNvSpPr>
                <a:spLocks/>
              </p:cNvSpPr>
              <p:nvPr/>
            </p:nvSpPr>
            <p:spPr bwMode="auto">
              <a:xfrm>
                <a:off x="9178925" y="2038350"/>
                <a:ext cx="122238" cy="123825"/>
              </a:xfrm>
              <a:custGeom>
                <a:avLst/>
                <a:gdLst>
                  <a:gd name="T0" fmla="*/ 2 w 36"/>
                  <a:gd name="T1" fmla="*/ 26 h 36"/>
                  <a:gd name="T2" fmla="*/ 9 w 36"/>
                  <a:gd name="T3" fmla="*/ 0 h 36"/>
                  <a:gd name="T4" fmla="*/ 36 w 36"/>
                  <a:gd name="T5" fmla="*/ 26 h 36"/>
                  <a:gd name="T6" fmla="*/ 8 w 36"/>
                  <a:gd name="T7" fmla="*/ 34 h 36"/>
                  <a:gd name="T8" fmla="*/ 2 w 36"/>
                  <a:gd name="T9" fmla="*/ 26 h 36"/>
                </a:gdLst>
                <a:ahLst/>
                <a:cxnLst>
                  <a:cxn ang="0">
                    <a:pos x="T0" y="T1"/>
                  </a:cxn>
                  <a:cxn ang="0">
                    <a:pos x="T2" y="T3"/>
                  </a:cxn>
                  <a:cxn ang="0">
                    <a:pos x="T4" y="T5"/>
                  </a:cxn>
                  <a:cxn ang="0">
                    <a:pos x="T6" y="T7"/>
                  </a:cxn>
                  <a:cxn ang="0">
                    <a:pos x="T8" y="T9"/>
                  </a:cxn>
                </a:cxnLst>
                <a:rect l="0" t="0" r="r" b="b"/>
                <a:pathLst>
                  <a:path w="36" h="36">
                    <a:moveTo>
                      <a:pt x="2" y="26"/>
                    </a:moveTo>
                    <a:cubicBezTo>
                      <a:pt x="6" y="18"/>
                      <a:pt x="6" y="8"/>
                      <a:pt x="9" y="0"/>
                    </a:cubicBezTo>
                    <a:cubicBezTo>
                      <a:pt x="18" y="8"/>
                      <a:pt x="27" y="17"/>
                      <a:pt x="36" y="26"/>
                    </a:cubicBezTo>
                    <a:cubicBezTo>
                      <a:pt x="27" y="29"/>
                      <a:pt x="17" y="30"/>
                      <a:pt x="8" y="34"/>
                    </a:cubicBezTo>
                    <a:cubicBezTo>
                      <a:pt x="0" y="36"/>
                      <a:pt x="3" y="30"/>
                      <a:pt x="2"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16">
                <a:extLst>
                  <a:ext uri="{FF2B5EF4-FFF2-40B4-BE49-F238E27FC236}">
                    <a16:creationId xmlns:a16="http://schemas.microsoft.com/office/drawing/2014/main" id="{929EBBE6-021A-48AE-9D37-D3C18957DC05}"/>
                  </a:ext>
                </a:extLst>
              </p:cNvPr>
              <p:cNvSpPr>
                <a:spLocks/>
              </p:cNvSpPr>
              <p:nvPr/>
            </p:nvSpPr>
            <p:spPr bwMode="auto">
              <a:xfrm>
                <a:off x="9236075" y="1762125"/>
                <a:ext cx="334963" cy="338137"/>
              </a:xfrm>
              <a:custGeom>
                <a:avLst/>
                <a:gdLst>
                  <a:gd name="T0" fmla="*/ 99 w 99"/>
                  <a:gd name="T1" fmla="*/ 28 h 99"/>
                  <a:gd name="T2" fmla="*/ 97 w 99"/>
                  <a:gd name="T3" fmla="*/ 31 h 99"/>
                  <a:gd name="T4" fmla="*/ 31 w 99"/>
                  <a:gd name="T5" fmla="*/ 97 h 99"/>
                  <a:gd name="T6" fmla="*/ 26 w 99"/>
                  <a:gd name="T7" fmla="*/ 97 h 99"/>
                  <a:gd name="T8" fmla="*/ 2 w 99"/>
                  <a:gd name="T9" fmla="*/ 74 h 99"/>
                  <a:gd name="T10" fmla="*/ 2 w 99"/>
                  <a:gd name="T11" fmla="*/ 69 h 99"/>
                  <a:gd name="T12" fmla="*/ 69 w 99"/>
                  <a:gd name="T13" fmla="*/ 3 h 99"/>
                  <a:gd name="T14" fmla="*/ 73 w 99"/>
                  <a:gd name="T15" fmla="*/ 2 h 99"/>
                  <a:gd name="T16" fmla="*/ 98 w 99"/>
                  <a:gd name="T17" fmla="*/ 27 h 99"/>
                  <a:gd name="T18" fmla="*/ 99 w 99"/>
                  <a:gd name="T1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99" y="28"/>
                    </a:moveTo>
                    <a:cubicBezTo>
                      <a:pt x="98" y="29"/>
                      <a:pt x="98" y="30"/>
                      <a:pt x="97" y="31"/>
                    </a:cubicBezTo>
                    <a:cubicBezTo>
                      <a:pt x="75" y="53"/>
                      <a:pt x="53" y="75"/>
                      <a:pt x="31" y="97"/>
                    </a:cubicBezTo>
                    <a:cubicBezTo>
                      <a:pt x="29" y="99"/>
                      <a:pt x="28" y="99"/>
                      <a:pt x="26" y="97"/>
                    </a:cubicBezTo>
                    <a:cubicBezTo>
                      <a:pt x="18" y="89"/>
                      <a:pt x="10" y="82"/>
                      <a:pt x="2" y="74"/>
                    </a:cubicBezTo>
                    <a:cubicBezTo>
                      <a:pt x="1" y="72"/>
                      <a:pt x="0" y="71"/>
                      <a:pt x="2" y="69"/>
                    </a:cubicBezTo>
                    <a:cubicBezTo>
                      <a:pt x="25" y="47"/>
                      <a:pt x="47" y="25"/>
                      <a:pt x="69" y="3"/>
                    </a:cubicBezTo>
                    <a:cubicBezTo>
                      <a:pt x="70" y="1"/>
                      <a:pt x="71" y="0"/>
                      <a:pt x="73" y="2"/>
                    </a:cubicBezTo>
                    <a:cubicBezTo>
                      <a:pt x="81" y="10"/>
                      <a:pt x="89" y="18"/>
                      <a:pt x="98" y="27"/>
                    </a:cubicBezTo>
                    <a:cubicBezTo>
                      <a:pt x="98" y="27"/>
                      <a:pt x="99" y="28"/>
                      <a:pt x="99"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90" name="Freeform: Shape 689">
            <a:extLst>
              <a:ext uri="{FF2B5EF4-FFF2-40B4-BE49-F238E27FC236}">
                <a16:creationId xmlns:a16="http://schemas.microsoft.com/office/drawing/2014/main" id="{FF5C99FA-23ED-49AC-8BD4-E2E36BCBBC52}"/>
              </a:ext>
              <a:ext uri="{C183D7F6-B498-43B3-948B-1728B52AA6E4}">
                <adec:decorative xmlns:adec="http://schemas.microsoft.com/office/drawing/2017/decorative" val="1"/>
              </a:ext>
            </a:extLst>
          </p:cNvPr>
          <p:cNvSpPr>
            <a:spLocks noChangeAspect="1"/>
          </p:cNvSpPr>
          <p:nvPr/>
        </p:nvSpPr>
        <p:spPr>
          <a:xfrm>
            <a:off x="287940" y="3710380"/>
            <a:ext cx="666431" cy="633600"/>
          </a:xfrm>
          <a:custGeom>
            <a:avLst/>
            <a:gdLst>
              <a:gd name="connsiteX0" fmla="*/ 59491 w 616760"/>
              <a:gd name="connsiteY0" fmla="*/ 475902 h 586376"/>
              <a:gd name="connsiteX1" fmla="*/ 127785 w 616760"/>
              <a:gd name="connsiteY1" fmla="*/ 57945 h 586376"/>
              <a:gd name="connsiteX2" fmla="*/ 560506 w 616760"/>
              <a:gd name="connsiteY2" fmla="*/ 119572 h 586376"/>
              <a:gd name="connsiteX3" fmla="*/ 481353 w 616760"/>
              <a:gd name="connsiteY3" fmla="*/ 521050 h 586376"/>
              <a:gd name="connsiteX4" fmla="*/ 59491 w 616760"/>
              <a:gd name="connsiteY4" fmla="*/ 475902 h 586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760" h="586376">
                <a:moveTo>
                  <a:pt x="59491" y="475902"/>
                </a:moveTo>
                <a:cubicBezTo>
                  <a:pt x="-41474" y="342552"/>
                  <a:pt x="-11471" y="156624"/>
                  <a:pt x="127785" y="57945"/>
                </a:cubicBezTo>
                <a:cubicBezTo>
                  <a:pt x="265612" y="-39305"/>
                  <a:pt x="459445" y="-11969"/>
                  <a:pt x="560506" y="119572"/>
                </a:cubicBezTo>
                <a:cubicBezTo>
                  <a:pt x="661566" y="251112"/>
                  <a:pt x="620513" y="422466"/>
                  <a:pt x="481353" y="521050"/>
                </a:cubicBezTo>
                <a:cubicBezTo>
                  <a:pt x="342193" y="619634"/>
                  <a:pt x="160551" y="607442"/>
                  <a:pt x="59491" y="475902"/>
                </a:cubicBezTo>
              </a:path>
            </a:pathLst>
          </a:custGeom>
          <a:solidFill>
            <a:schemeClr val="accent1"/>
          </a:solidFill>
          <a:ln w="9525" cap="flat">
            <a:noFill/>
            <a:prstDash val="solid"/>
            <a:miter/>
          </a:ln>
        </p:spPr>
        <p:txBody>
          <a:bodyPr rtlCol="0" anchor="ctr"/>
          <a:lstStyle/>
          <a:p>
            <a:endParaRPr lang="en-US"/>
          </a:p>
        </p:txBody>
      </p:sp>
      <p:grpSp>
        <p:nvGrpSpPr>
          <p:cNvPr id="691" name="Graphic 687">
            <a:extLst>
              <a:ext uri="{FF2B5EF4-FFF2-40B4-BE49-F238E27FC236}">
                <a16:creationId xmlns:a16="http://schemas.microsoft.com/office/drawing/2014/main" id="{6F520708-08ED-4045-8A40-C14117602297}"/>
              </a:ext>
              <a:ext uri="{C183D7F6-B498-43B3-948B-1728B52AA6E4}">
                <adec:decorative xmlns:adec="http://schemas.microsoft.com/office/drawing/2017/decorative" val="1"/>
              </a:ext>
            </a:extLst>
          </p:cNvPr>
          <p:cNvGrpSpPr>
            <a:grpSpLocks noChangeAspect="1"/>
          </p:cNvGrpSpPr>
          <p:nvPr/>
        </p:nvGrpSpPr>
        <p:grpSpPr>
          <a:xfrm>
            <a:off x="382401" y="3706356"/>
            <a:ext cx="396000" cy="421266"/>
            <a:chOff x="418978" y="3823537"/>
            <a:chExt cx="355555" cy="378240"/>
          </a:xfrm>
          <a:solidFill>
            <a:schemeClr val="accent1"/>
          </a:solidFill>
        </p:grpSpPr>
        <p:sp>
          <p:nvSpPr>
            <p:cNvPr id="699" name="Freeform: Shape 698">
              <a:extLst>
                <a:ext uri="{FF2B5EF4-FFF2-40B4-BE49-F238E27FC236}">
                  <a16:creationId xmlns:a16="http://schemas.microsoft.com/office/drawing/2014/main" id="{F9E3E440-64B7-4E11-8C74-40B0F314B12D}"/>
                </a:ext>
              </a:extLst>
            </p:cNvPr>
            <p:cNvSpPr/>
            <p:nvPr/>
          </p:nvSpPr>
          <p:spPr>
            <a:xfrm>
              <a:off x="418978" y="3823537"/>
              <a:ext cx="193735" cy="378240"/>
            </a:xfrm>
            <a:custGeom>
              <a:avLst/>
              <a:gdLst>
                <a:gd name="connsiteX0" fmla="*/ 192581 w 193735"/>
                <a:gd name="connsiteY0" fmla="*/ 51753 h 378240"/>
                <a:gd name="connsiteX1" fmla="*/ 148099 w 193735"/>
                <a:gd name="connsiteY1" fmla="*/ -253 h 378240"/>
                <a:gd name="connsiteX2" fmla="*/ 78471 w 193735"/>
                <a:gd name="connsiteY2" fmla="*/ 60611 h 378240"/>
                <a:gd name="connsiteX3" fmla="*/ 28656 w 193735"/>
                <a:gd name="connsiteY3" fmla="*/ 124810 h 378240"/>
                <a:gd name="connsiteX4" fmla="*/ 18464 w 193735"/>
                <a:gd name="connsiteY4" fmla="*/ 237014 h 378240"/>
                <a:gd name="connsiteX5" fmla="*/ 88758 w 193735"/>
                <a:gd name="connsiteY5" fmla="*/ 321501 h 378240"/>
                <a:gd name="connsiteX6" fmla="*/ 193533 w 193735"/>
                <a:gd name="connsiteY6" fmla="*/ 338360 h 378240"/>
                <a:gd name="connsiteX7" fmla="*/ 193533 w 193735"/>
                <a:gd name="connsiteY7" fmla="*/ 295117 h 37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735" h="378240">
                  <a:moveTo>
                    <a:pt x="192581" y="51753"/>
                  </a:moveTo>
                  <a:cubicBezTo>
                    <a:pt x="192581" y="34227"/>
                    <a:pt x="193914" y="-920"/>
                    <a:pt x="148099" y="-253"/>
                  </a:cubicBezTo>
                  <a:cubicBezTo>
                    <a:pt x="111999" y="-253"/>
                    <a:pt x="79138" y="38323"/>
                    <a:pt x="78471" y="60611"/>
                  </a:cubicBezTo>
                  <a:cubicBezTo>
                    <a:pt x="47623" y="65675"/>
                    <a:pt x="25899" y="93671"/>
                    <a:pt x="28656" y="124810"/>
                  </a:cubicBezTo>
                  <a:cubicBezTo>
                    <a:pt x="2748" y="137669"/>
                    <a:pt x="-15731" y="205201"/>
                    <a:pt x="18464" y="237014"/>
                  </a:cubicBezTo>
                  <a:cubicBezTo>
                    <a:pt x="13035" y="264065"/>
                    <a:pt x="32085" y="326930"/>
                    <a:pt x="88758" y="321501"/>
                  </a:cubicBezTo>
                  <a:cubicBezTo>
                    <a:pt x="102379" y="395129"/>
                    <a:pt x="194581" y="392462"/>
                    <a:pt x="193533" y="338360"/>
                  </a:cubicBezTo>
                  <a:lnTo>
                    <a:pt x="193533" y="295117"/>
                  </a:lnTo>
                  <a:close/>
                </a:path>
              </a:pathLst>
            </a:custGeom>
            <a:grpFill/>
            <a:ln w="19050" cap="flat">
              <a:solidFill>
                <a:schemeClr val="bg1"/>
              </a:solid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E702CB4-6C39-4559-A2F9-3ED3D969BBD4}"/>
                </a:ext>
              </a:extLst>
            </p:cNvPr>
            <p:cNvSpPr/>
            <p:nvPr/>
          </p:nvSpPr>
          <p:spPr>
            <a:xfrm>
              <a:off x="489165" y="3875553"/>
              <a:ext cx="79247" cy="69722"/>
            </a:xfrm>
            <a:custGeom>
              <a:avLst/>
              <a:gdLst>
                <a:gd name="connsiteX0" fmla="*/ 70197 w 79247"/>
                <a:gd name="connsiteY0" fmla="*/ 69460 h 69722"/>
                <a:gd name="connsiteX1" fmla="*/ -193 w 79247"/>
                <a:gd name="connsiteY1" fmla="*/ 8595 h 69722"/>
                <a:gd name="connsiteX2" fmla="*/ 8665 w 79247"/>
                <a:gd name="connsiteY2" fmla="*/ -263 h 69722"/>
                <a:gd name="connsiteX3" fmla="*/ 17523 w 79247"/>
                <a:gd name="connsiteY3" fmla="*/ 8595 h 69722"/>
                <a:gd name="connsiteX4" fmla="*/ 70197 w 79247"/>
                <a:gd name="connsiteY4" fmla="*/ 51744 h 69722"/>
                <a:gd name="connsiteX5" fmla="*/ 79055 w 79247"/>
                <a:gd name="connsiteY5" fmla="*/ 60602 h 69722"/>
                <a:gd name="connsiteX6" fmla="*/ 70197 w 79247"/>
                <a:gd name="connsiteY6" fmla="*/ 69460 h 69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47" h="69722">
                  <a:moveTo>
                    <a:pt x="70197" y="69460"/>
                  </a:moveTo>
                  <a:cubicBezTo>
                    <a:pt x="47337" y="69460"/>
                    <a:pt x="-193" y="69460"/>
                    <a:pt x="-193" y="8595"/>
                  </a:cubicBezTo>
                  <a:cubicBezTo>
                    <a:pt x="-193" y="3703"/>
                    <a:pt x="3773" y="-263"/>
                    <a:pt x="8665" y="-263"/>
                  </a:cubicBezTo>
                  <a:cubicBezTo>
                    <a:pt x="13557" y="-263"/>
                    <a:pt x="17523" y="3703"/>
                    <a:pt x="17523" y="8595"/>
                  </a:cubicBezTo>
                  <a:cubicBezTo>
                    <a:pt x="17524" y="45076"/>
                    <a:pt x="35240" y="51744"/>
                    <a:pt x="70197" y="51744"/>
                  </a:cubicBezTo>
                  <a:cubicBezTo>
                    <a:pt x="75089" y="51744"/>
                    <a:pt x="79055" y="55710"/>
                    <a:pt x="79055" y="60602"/>
                  </a:cubicBezTo>
                  <a:cubicBezTo>
                    <a:pt x="79055" y="65494"/>
                    <a:pt x="75089" y="69460"/>
                    <a:pt x="70197" y="69460"/>
                  </a:cubicBezTo>
                  <a:close/>
                </a:path>
              </a:pathLst>
            </a:custGeom>
            <a:grpFill/>
            <a:ln w="9525" cap="flat">
              <a:solidFill>
                <a:schemeClr val="bg1"/>
              </a:solid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2DD1671-524B-43BE-B470-718155283BA6}"/>
                </a:ext>
              </a:extLst>
            </p:cNvPr>
            <p:cNvSpPr/>
            <p:nvPr/>
          </p:nvSpPr>
          <p:spPr>
            <a:xfrm>
              <a:off x="492681" y="3952610"/>
              <a:ext cx="243085" cy="57920"/>
            </a:xfrm>
            <a:custGeom>
              <a:avLst/>
              <a:gdLst>
                <a:gd name="connsiteX0" fmla="*/ 28390 w 243085"/>
                <a:gd name="connsiteY0" fmla="*/ 57649 h 57920"/>
                <a:gd name="connsiteX1" fmla="*/ 3911 w 243085"/>
                <a:gd name="connsiteY1" fmla="*/ 51172 h 57920"/>
                <a:gd name="connsiteX2" fmla="*/ 1196 w 243085"/>
                <a:gd name="connsiteY2" fmla="*/ 38932 h 57920"/>
                <a:gd name="connsiteX3" fmla="*/ 13436 w 243085"/>
                <a:gd name="connsiteY3" fmla="*/ 36218 h 57920"/>
                <a:gd name="connsiteX4" fmla="*/ 55536 w 243085"/>
                <a:gd name="connsiteY4" fmla="*/ 29455 h 57920"/>
                <a:gd name="connsiteX5" fmla="*/ 62204 w 243085"/>
                <a:gd name="connsiteY5" fmla="*/ 21930 h 57920"/>
                <a:gd name="connsiteX6" fmla="*/ 93636 w 243085"/>
                <a:gd name="connsiteY6" fmla="*/ 1071 h 57920"/>
                <a:gd name="connsiteX7" fmla="*/ 119735 w 243085"/>
                <a:gd name="connsiteY7" fmla="*/ 404 h 57920"/>
                <a:gd name="connsiteX8" fmla="*/ 234035 w 243085"/>
                <a:gd name="connsiteY8" fmla="*/ -263 h 57920"/>
                <a:gd name="connsiteX9" fmla="*/ 234035 w 243085"/>
                <a:gd name="connsiteY9" fmla="*/ -263 h 57920"/>
                <a:gd name="connsiteX10" fmla="*/ 242893 w 243085"/>
                <a:gd name="connsiteY10" fmla="*/ 8595 h 57920"/>
                <a:gd name="connsiteX11" fmla="*/ 234035 w 243085"/>
                <a:gd name="connsiteY11" fmla="*/ 17454 h 57920"/>
                <a:gd name="connsiteX12" fmla="*/ 119735 w 243085"/>
                <a:gd name="connsiteY12" fmla="*/ 18120 h 57920"/>
                <a:gd name="connsiteX13" fmla="*/ 93255 w 243085"/>
                <a:gd name="connsiteY13" fmla="*/ 18787 h 57920"/>
                <a:gd name="connsiteX14" fmla="*/ 92017 w 243085"/>
                <a:gd name="connsiteY14" fmla="*/ 18787 h 57920"/>
                <a:gd name="connsiteX15" fmla="*/ 75348 w 243085"/>
                <a:gd name="connsiteY15" fmla="*/ 33455 h 57920"/>
                <a:gd name="connsiteX16" fmla="*/ 68109 w 243085"/>
                <a:gd name="connsiteY16" fmla="*/ 41742 h 57920"/>
                <a:gd name="connsiteX17" fmla="*/ 28390 w 243085"/>
                <a:gd name="connsiteY17" fmla="*/ 57649 h 5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3085" h="57920">
                  <a:moveTo>
                    <a:pt x="28390" y="57649"/>
                  </a:moveTo>
                  <a:cubicBezTo>
                    <a:pt x="19786" y="57817"/>
                    <a:pt x="11306" y="55574"/>
                    <a:pt x="3911" y="51172"/>
                  </a:cubicBezTo>
                  <a:cubicBezTo>
                    <a:pt x="-219" y="48542"/>
                    <a:pt x="-1434" y="43062"/>
                    <a:pt x="1196" y="38932"/>
                  </a:cubicBezTo>
                  <a:cubicBezTo>
                    <a:pt x="3826" y="34803"/>
                    <a:pt x="9306" y="33587"/>
                    <a:pt x="13436" y="36218"/>
                  </a:cubicBezTo>
                  <a:cubicBezTo>
                    <a:pt x="27511" y="42929"/>
                    <a:pt x="44271" y="40237"/>
                    <a:pt x="55536" y="29455"/>
                  </a:cubicBezTo>
                  <a:cubicBezTo>
                    <a:pt x="57727" y="27169"/>
                    <a:pt x="60013" y="24597"/>
                    <a:pt x="62204" y="21930"/>
                  </a:cubicBezTo>
                  <a:cubicBezTo>
                    <a:pt x="70967" y="11643"/>
                    <a:pt x="81254" y="23"/>
                    <a:pt x="93636" y="1071"/>
                  </a:cubicBezTo>
                  <a:lnTo>
                    <a:pt x="119735" y="404"/>
                  </a:lnTo>
                  <a:lnTo>
                    <a:pt x="234035" y="-263"/>
                  </a:lnTo>
                  <a:lnTo>
                    <a:pt x="234035" y="-263"/>
                  </a:lnTo>
                  <a:cubicBezTo>
                    <a:pt x="238927" y="-263"/>
                    <a:pt x="242893" y="3703"/>
                    <a:pt x="242893" y="8595"/>
                  </a:cubicBezTo>
                  <a:cubicBezTo>
                    <a:pt x="242893" y="13488"/>
                    <a:pt x="238927" y="17454"/>
                    <a:pt x="234035" y="17454"/>
                  </a:cubicBezTo>
                  <a:lnTo>
                    <a:pt x="119735" y="18120"/>
                  </a:lnTo>
                  <a:lnTo>
                    <a:pt x="93255" y="18787"/>
                  </a:lnTo>
                  <a:lnTo>
                    <a:pt x="92017" y="18787"/>
                  </a:lnTo>
                  <a:cubicBezTo>
                    <a:pt x="88207" y="18787"/>
                    <a:pt x="80206" y="27836"/>
                    <a:pt x="75348" y="33455"/>
                  </a:cubicBezTo>
                  <a:cubicBezTo>
                    <a:pt x="72967" y="36313"/>
                    <a:pt x="70490" y="39171"/>
                    <a:pt x="68109" y="41742"/>
                  </a:cubicBezTo>
                  <a:cubicBezTo>
                    <a:pt x="57485" y="52074"/>
                    <a:pt x="43209" y="57792"/>
                    <a:pt x="28390" y="57649"/>
                  </a:cubicBezTo>
                  <a:close/>
                </a:path>
              </a:pathLst>
            </a:custGeom>
            <a:grpFill/>
            <a:ln w="9525" cap="flat">
              <a:solidFill>
                <a:schemeClr val="bg1"/>
              </a:solid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65EA94A8-D8D9-411C-B18D-CE7D4D09B1A0}"/>
                </a:ext>
              </a:extLst>
            </p:cNvPr>
            <p:cNvSpPr/>
            <p:nvPr/>
          </p:nvSpPr>
          <p:spPr>
            <a:xfrm>
              <a:off x="560932" y="4091866"/>
              <a:ext cx="175596" cy="37242"/>
            </a:xfrm>
            <a:custGeom>
              <a:avLst/>
              <a:gdLst>
                <a:gd name="connsiteX0" fmla="*/ 8621 w 175596"/>
                <a:gd name="connsiteY0" fmla="*/ 36980 h 37242"/>
                <a:gd name="connsiteX1" fmla="*/ 5287 w 175596"/>
                <a:gd name="connsiteY1" fmla="*/ 36313 h 37242"/>
                <a:gd name="connsiteX2" fmla="*/ 429 w 175596"/>
                <a:gd name="connsiteY2" fmla="*/ 24788 h 37242"/>
                <a:gd name="connsiteX3" fmla="*/ 52340 w 175596"/>
                <a:gd name="connsiteY3" fmla="*/ 404 h 37242"/>
                <a:gd name="connsiteX4" fmla="*/ 166640 w 175596"/>
                <a:gd name="connsiteY4" fmla="*/ -263 h 37242"/>
                <a:gd name="connsiteX5" fmla="*/ 166640 w 175596"/>
                <a:gd name="connsiteY5" fmla="*/ -263 h 37242"/>
                <a:gd name="connsiteX6" fmla="*/ 175403 w 175596"/>
                <a:gd name="connsiteY6" fmla="*/ 8500 h 37242"/>
                <a:gd name="connsiteX7" fmla="*/ 166641 w 175596"/>
                <a:gd name="connsiteY7" fmla="*/ 17454 h 37242"/>
                <a:gd name="connsiteX8" fmla="*/ 166640 w 175596"/>
                <a:gd name="connsiteY8" fmla="*/ 17454 h 37242"/>
                <a:gd name="connsiteX9" fmla="*/ 52340 w 175596"/>
                <a:gd name="connsiteY9" fmla="*/ 18120 h 37242"/>
                <a:gd name="connsiteX10" fmla="*/ 16812 w 175596"/>
                <a:gd name="connsiteY10" fmla="*/ 31551 h 37242"/>
                <a:gd name="connsiteX11" fmla="*/ 8621 w 175596"/>
                <a:gd name="connsiteY11" fmla="*/ 36980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596" h="37242">
                  <a:moveTo>
                    <a:pt x="8621" y="36980"/>
                  </a:moveTo>
                  <a:cubicBezTo>
                    <a:pt x="7476" y="36980"/>
                    <a:pt x="6343" y="36753"/>
                    <a:pt x="5287" y="36313"/>
                  </a:cubicBezTo>
                  <a:cubicBezTo>
                    <a:pt x="808" y="34427"/>
                    <a:pt x="-1348" y="29311"/>
                    <a:pt x="429" y="24788"/>
                  </a:cubicBezTo>
                  <a:cubicBezTo>
                    <a:pt x="9383" y="3166"/>
                    <a:pt x="32814" y="404"/>
                    <a:pt x="52340" y="404"/>
                  </a:cubicBezTo>
                  <a:lnTo>
                    <a:pt x="166640" y="-263"/>
                  </a:lnTo>
                  <a:lnTo>
                    <a:pt x="166640" y="-263"/>
                  </a:lnTo>
                  <a:cubicBezTo>
                    <a:pt x="171480" y="-263"/>
                    <a:pt x="175403" y="3661"/>
                    <a:pt x="175403" y="8500"/>
                  </a:cubicBezTo>
                  <a:cubicBezTo>
                    <a:pt x="175456" y="13392"/>
                    <a:pt x="171533" y="17401"/>
                    <a:pt x="166641" y="17454"/>
                  </a:cubicBezTo>
                  <a:cubicBezTo>
                    <a:pt x="166641" y="17454"/>
                    <a:pt x="166641" y="17454"/>
                    <a:pt x="166640" y="17454"/>
                  </a:cubicBezTo>
                  <a:lnTo>
                    <a:pt x="52340" y="18120"/>
                  </a:lnTo>
                  <a:cubicBezTo>
                    <a:pt x="25956" y="18120"/>
                    <a:pt x="19670" y="24502"/>
                    <a:pt x="16812" y="31551"/>
                  </a:cubicBezTo>
                  <a:cubicBezTo>
                    <a:pt x="15408" y="34831"/>
                    <a:pt x="12189" y="36964"/>
                    <a:pt x="8621" y="36980"/>
                  </a:cubicBezTo>
                  <a:close/>
                </a:path>
              </a:pathLst>
            </a:custGeom>
            <a:grpFill/>
            <a:ln w="9525" cap="flat">
              <a:solidFill>
                <a:schemeClr val="bg1"/>
              </a:solid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20615E5-B474-497D-8996-809A01F65A30}"/>
                </a:ext>
              </a:extLst>
            </p:cNvPr>
            <p:cNvSpPr/>
            <p:nvPr/>
          </p:nvSpPr>
          <p:spPr>
            <a:xfrm>
              <a:off x="483735" y="4060243"/>
              <a:ext cx="45749" cy="45243"/>
            </a:xfrm>
            <a:custGeom>
              <a:avLst/>
              <a:gdLst>
                <a:gd name="connsiteX0" fmla="*/ 36669 w 45749"/>
                <a:gd name="connsiteY0" fmla="*/ 44981 h 45243"/>
                <a:gd name="connsiteX1" fmla="*/ 35145 w 45749"/>
                <a:gd name="connsiteY1" fmla="*/ 44981 h 45243"/>
                <a:gd name="connsiteX2" fmla="*/ -193 w 45749"/>
                <a:gd name="connsiteY2" fmla="*/ 8595 h 45243"/>
                <a:gd name="connsiteX3" fmla="*/ 8665 w 45749"/>
                <a:gd name="connsiteY3" fmla="*/ -263 h 45243"/>
                <a:gd name="connsiteX4" fmla="*/ 17523 w 45749"/>
                <a:gd name="connsiteY4" fmla="*/ 8595 h 45243"/>
                <a:gd name="connsiteX5" fmla="*/ 38288 w 45749"/>
                <a:gd name="connsiteY5" fmla="*/ 27645 h 45243"/>
                <a:gd name="connsiteX6" fmla="*/ 45432 w 45749"/>
                <a:gd name="connsiteY6" fmla="*/ 37837 h 45243"/>
                <a:gd name="connsiteX7" fmla="*/ 36669 w 45749"/>
                <a:gd name="connsiteY7" fmla="*/ 44981 h 4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49" h="45243">
                  <a:moveTo>
                    <a:pt x="36669" y="44981"/>
                  </a:moveTo>
                  <a:lnTo>
                    <a:pt x="35145" y="44981"/>
                  </a:lnTo>
                  <a:cubicBezTo>
                    <a:pt x="16095" y="41647"/>
                    <a:pt x="-193" y="24693"/>
                    <a:pt x="-193" y="8595"/>
                  </a:cubicBezTo>
                  <a:cubicBezTo>
                    <a:pt x="-193" y="3703"/>
                    <a:pt x="3773" y="-263"/>
                    <a:pt x="8665" y="-263"/>
                  </a:cubicBezTo>
                  <a:cubicBezTo>
                    <a:pt x="13557" y="-263"/>
                    <a:pt x="17523" y="3703"/>
                    <a:pt x="17523" y="8595"/>
                  </a:cubicBezTo>
                  <a:cubicBezTo>
                    <a:pt x="19950" y="18564"/>
                    <a:pt x="28148" y="26085"/>
                    <a:pt x="38288" y="27645"/>
                  </a:cubicBezTo>
                  <a:cubicBezTo>
                    <a:pt x="43057" y="28516"/>
                    <a:pt x="46240" y="33058"/>
                    <a:pt x="45432" y="37837"/>
                  </a:cubicBezTo>
                  <a:cubicBezTo>
                    <a:pt x="44573" y="41995"/>
                    <a:pt x="40914" y="44978"/>
                    <a:pt x="36669" y="44981"/>
                  </a:cubicBezTo>
                  <a:close/>
                </a:path>
              </a:pathLst>
            </a:custGeom>
            <a:grpFill/>
            <a:ln w="9525" cap="flat">
              <a:solidFill>
                <a:schemeClr val="bg1"/>
              </a:solid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26F672DE-036C-48CA-8447-F2C01DFAE200}"/>
                </a:ext>
              </a:extLst>
            </p:cNvPr>
            <p:cNvSpPr/>
            <p:nvPr/>
          </p:nvSpPr>
          <p:spPr>
            <a:xfrm>
              <a:off x="499406" y="4059381"/>
              <a:ext cx="85198" cy="94779"/>
            </a:xfrm>
            <a:custGeom>
              <a:avLst/>
              <a:gdLst>
                <a:gd name="connsiteX0" fmla="*/ 8711 w 85198"/>
                <a:gd name="connsiteY0" fmla="*/ 94516 h 94779"/>
                <a:gd name="connsiteX1" fmla="*/ -148 w 85198"/>
                <a:gd name="connsiteY1" fmla="*/ 85849 h 94779"/>
                <a:gd name="connsiteX2" fmla="*/ -148 w 85198"/>
                <a:gd name="connsiteY2" fmla="*/ 85848 h 94779"/>
                <a:gd name="connsiteX3" fmla="*/ 23570 w 85198"/>
                <a:gd name="connsiteY3" fmla="*/ 21554 h 94779"/>
                <a:gd name="connsiteX4" fmla="*/ 76148 w 85198"/>
                <a:gd name="connsiteY4" fmla="*/ -258 h 94779"/>
                <a:gd name="connsiteX5" fmla="*/ 76148 w 85198"/>
                <a:gd name="connsiteY5" fmla="*/ -258 h 94779"/>
                <a:gd name="connsiteX6" fmla="*/ 85006 w 85198"/>
                <a:gd name="connsiteY6" fmla="*/ 8600 h 94779"/>
                <a:gd name="connsiteX7" fmla="*/ 76148 w 85198"/>
                <a:gd name="connsiteY7" fmla="*/ 17458 h 94779"/>
                <a:gd name="connsiteX8" fmla="*/ 35952 w 85198"/>
                <a:gd name="connsiteY8" fmla="*/ 33651 h 94779"/>
                <a:gd name="connsiteX9" fmla="*/ 16902 w 85198"/>
                <a:gd name="connsiteY9" fmla="*/ 85277 h 94779"/>
                <a:gd name="connsiteX10" fmla="*/ 8238 w 85198"/>
                <a:gd name="connsiteY10" fmla="*/ 94325 h 94779"/>
                <a:gd name="connsiteX11" fmla="*/ 8234 w 85198"/>
                <a:gd name="connsiteY11" fmla="*/ 94325 h 9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98" h="94779">
                  <a:moveTo>
                    <a:pt x="8711" y="94516"/>
                  </a:moveTo>
                  <a:cubicBezTo>
                    <a:pt x="3871" y="94569"/>
                    <a:pt x="-95" y="90688"/>
                    <a:pt x="-148" y="85849"/>
                  </a:cubicBezTo>
                  <a:cubicBezTo>
                    <a:pt x="-148" y="85849"/>
                    <a:pt x="-148" y="85849"/>
                    <a:pt x="-148" y="85848"/>
                  </a:cubicBezTo>
                  <a:cubicBezTo>
                    <a:pt x="-895" y="62149"/>
                    <a:pt x="7611" y="39090"/>
                    <a:pt x="23570" y="21554"/>
                  </a:cubicBezTo>
                  <a:cubicBezTo>
                    <a:pt x="37375" y="7399"/>
                    <a:pt x="56376" y="-483"/>
                    <a:pt x="76148" y="-258"/>
                  </a:cubicBezTo>
                  <a:lnTo>
                    <a:pt x="76148" y="-258"/>
                  </a:lnTo>
                  <a:cubicBezTo>
                    <a:pt x="81040" y="-258"/>
                    <a:pt x="85006" y="3708"/>
                    <a:pt x="85006" y="8600"/>
                  </a:cubicBezTo>
                  <a:cubicBezTo>
                    <a:pt x="85006" y="13492"/>
                    <a:pt x="81040" y="17458"/>
                    <a:pt x="76148" y="17458"/>
                  </a:cubicBezTo>
                  <a:cubicBezTo>
                    <a:pt x="61087" y="17066"/>
                    <a:pt x="46535" y="22928"/>
                    <a:pt x="35952" y="33651"/>
                  </a:cubicBezTo>
                  <a:cubicBezTo>
                    <a:pt x="23228" y="47787"/>
                    <a:pt x="16410" y="66264"/>
                    <a:pt x="16902" y="85277"/>
                  </a:cubicBezTo>
                  <a:cubicBezTo>
                    <a:pt x="17008" y="90167"/>
                    <a:pt x="13130" y="94219"/>
                    <a:pt x="8238" y="94325"/>
                  </a:cubicBezTo>
                  <a:cubicBezTo>
                    <a:pt x="8237" y="94325"/>
                    <a:pt x="8236" y="94325"/>
                    <a:pt x="8234" y="94325"/>
                  </a:cubicBezTo>
                  <a:close/>
                </a:path>
              </a:pathLst>
            </a:custGeom>
            <a:grpFill/>
            <a:ln w="9525" cap="flat">
              <a:solidFill>
                <a:schemeClr val="bg1"/>
              </a:solid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8720CEC3-DD15-4984-98C8-D0835E48ECB8}"/>
                </a:ext>
              </a:extLst>
            </p:cNvPr>
            <p:cNvSpPr/>
            <p:nvPr/>
          </p:nvSpPr>
          <p:spPr>
            <a:xfrm>
              <a:off x="464781" y="3962395"/>
              <a:ext cx="45624" cy="70867"/>
            </a:xfrm>
            <a:custGeom>
              <a:avLst/>
              <a:gdLst>
                <a:gd name="connsiteX0" fmla="*/ 18095 w 45624"/>
                <a:gd name="connsiteY0" fmla="*/ 70534 h 70867"/>
                <a:gd name="connsiteX1" fmla="*/ 9224 w 45624"/>
                <a:gd name="connsiteY1" fmla="*/ 61689 h 70867"/>
                <a:gd name="connsiteX2" fmla="*/ 14952 w 45624"/>
                <a:gd name="connsiteY2" fmla="*/ 53389 h 70867"/>
                <a:gd name="connsiteX3" fmla="*/ 27715 w 45624"/>
                <a:gd name="connsiteY3" fmla="*/ 34339 h 70867"/>
                <a:gd name="connsiteX4" fmla="*/ 9600 w 45624"/>
                <a:gd name="connsiteY4" fmla="*/ 17423 h 70867"/>
                <a:gd name="connsiteX5" fmla="*/ 8665 w 45624"/>
                <a:gd name="connsiteY5" fmla="*/ 17480 h 70867"/>
                <a:gd name="connsiteX6" fmla="*/ -193 w 45624"/>
                <a:gd name="connsiteY6" fmla="*/ 8621 h 70867"/>
                <a:gd name="connsiteX7" fmla="*/ 8665 w 45624"/>
                <a:gd name="connsiteY7" fmla="*/ -237 h 70867"/>
                <a:gd name="connsiteX8" fmla="*/ 45416 w 45624"/>
                <a:gd name="connsiteY8" fmla="*/ 33827 h 70867"/>
                <a:gd name="connsiteX9" fmla="*/ 45432 w 45624"/>
                <a:gd name="connsiteY9" fmla="*/ 34339 h 70867"/>
                <a:gd name="connsiteX10" fmla="*/ 21238 w 45624"/>
                <a:gd name="connsiteY10" fmla="*/ 70343 h 70867"/>
                <a:gd name="connsiteX11" fmla="*/ 18095 w 45624"/>
                <a:gd name="connsiteY11" fmla="*/ 70534 h 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24" h="70867">
                  <a:moveTo>
                    <a:pt x="18095" y="70534"/>
                  </a:moveTo>
                  <a:cubicBezTo>
                    <a:pt x="13203" y="70541"/>
                    <a:pt x="9231" y="66581"/>
                    <a:pt x="9224" y="61689"/>
                  </a:cubicBezTo>
                  <a:cubicBezTo>
                    <a:pt x="9218" y="57999"/>
                    <a:pt x="11500" y="54693"/>
                    <a:pt x="14952" y="53389"/>
                  </a:cubicBezTo>
                  <a:cubicBezTo>
                    <a:pt x="22595" y="50117"/>
                    <a:pt x="27596" y="42652"/>
                    <a:pt x="27715" y="34339"/>
                  </a:cubicBezTo>
                  <a:cubicBezTo>
                    <a:pt x="27384" y="24665"/>
                    <a:pt x="19274" y="17091"/>
                    <a:pt x="9600" y="17423"/>
                  </a:cubicBezTo>
                  <a:cubicBezTo>
                    <a:pt x="9288" y="17433"/>
                    <a:pt x="8976" y="17452"/>
                    <a:pt x="8665" y="17480"/>
                  </a:cubicBezTo>
                  <a:cubicBezTo>
                    <a:pt x="3773" y="17480"/>
                    <a:pt x="-193" y="13513"/>
                    <a:pt x="-193" y="8621"/>
                  </a:cubicBezTo>
                  <a:cubicBezTo>
                    <a:pt x="-193" y="3729"/>
                    <a:pt x="3773" y="-237"/>
                    <a:pt x="8665" y="-237"/>
                  </a:cubicBezTo>
                  <a:cubicBezTo>
                    <a:pt x="28220" y="-979"/>
                    <a:pt x="44674" y="14272"/>
                    <a:pt x="45416" y="33827"/>
                  </a:cubicBezTo>
                  <a:cubicBezTo>
                    <a:pt x="45422" y="33998"/>
                    <a:pt x="45428" y="34168"/>
                    <a:pt x="45432" y="34339"/>
                  </a:cubicBezTo>
                  <a:cubicBezTo>
                    <a:pt x="45465" y="50151"/>
                    <a:pt x="35891" y="64399"/>
                    <a:pt x="21238" y="70343"/>
                  </a:cubicBezTo>
                  <a:cubicBezTo>
                    <a:pt x="20212" y="70607"/>
                    <a:pt x="19145" y="70672"/>
                    <a:pt x="18095" y="70534"/>
                  </a:cubicBezTo>
                  <a:close/>
                </a:path>
              </a:pathLst>
            </a:custGeom>
            <a:grpFill/>
            <a:ln w="9525" cap="flat">
              <a:solidFill>
                <a:schemeClr val="bg1"/>
              </a:solid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3A263FFB-5C03-4BF9-BBE1-3AD2559426A2}"/>
                </a:ext>
              </a:extLst>
            </p:cNvPr>
            <p:cNvSpPr/>
            <p:nvPr/>
          </p:nvSpPr>
          <p:spPr>
            <a:xfrm>
              <a:off x="547421" y="3860805"/>
              <a:ext cx="125957" cy="40655"/>
            </a:xfrm>
            <a:custGeom>
              <a:avLst/>
              <a:gdLst>
                <a:gd name="connsiteX0" fmla="*/ 58328 w 125957"/>
                <a:gd name="connsiteY0" fmla="*/ 40393 h 40655"/>
                <a:gd name="connsiteX1" fmla="*/ 416 w 125957"/>
                <a:gd name="connsiteY1" fmla="*/ 11818 h 40655"/>
                <a:gd name="connsiteX2" fmla="*/ 5447 w 125957"/>
                <a:gd name="connsiteY2" fmla="*/ 345 h 40655"/>
                <a:gd name="connsiteX3" fmla="*/ 16513 w 125957"/>
                <a:gd name="connsiteY3" fmla="*/ 4484 h 40655"/>
                <a:gd name="connsiteX4" fmla="*/ 64138 w 125957"/>
                <a:gd name="connsiteY4" fmla="*/ 22295 h 40655"/>
                <a:gd name="connsiteX5" fmla="*/ 116906 w 125957"/>
                <a:gd name="connsiteY5" fmla="*/ 22295 h 40655"/>
                <a:gd name="connsiteX6" fmla="*/ 125765 w 125957"/>
                <a:gd name="connsiteY6" fmla="*/ 31154 h 40655"/>
                <a:gd name="connsiteX7" fmla="*/ 116906 w 125957"/>
                <a:gd name="connsiteY7" fmla="*/ 40012 h 40655"/>
                <a:gd name="connsiteX8" fmla="*/ 58233 w 125957"/>
                <a:gd name="connsiteY8" fmla="*/ 40012 h 40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57" h="40655">
                  <a:moveTo>
                    <a:pt x="58328" y="40393"/>
                  </a:moveTo>
                  <a:cubicBezTo>
                    <a:pt x="42421" y="40393"/>
                    <a:pt x="12131" y="37821"/>
                    <a:pt x="416" y="11818"/>
                  </a:cubicBezTo>
                  <a:cubicBezTo>
                    <a:pt x="-1363" y="7261"/>
                    <a:pt x="889" y="2124"/>
                    <a:pt x="5447" y="345"/>
                  </a:cubicBezTo>
                  <a:cubicBezTo>
                    <a:pt x="9651" y="-1296"/>
                    <a:pt x="14417" y="486"/>
                    <a:pt x="16513" y="4484"/>
                  </a:cubicBezTo>
                  <a:cubicBezTo>
                    <a:pt x="22418" y="17438"/>
                    <a:pt x="37468" y="23058"/>
                    <a:pt x="64138" y="22295"/>
                  </a:cubicBezTo>
                  <a:lnTo>
                    <a:pt x="116906" y="22295"/>
                  </a:lnTo>
                  <a:cubicBezTo>
                    <a:pt x="121799" y="22295"/>
                    <a:pt x="125765" y="26261"/>
                    <a:pt x="125765" y="31154"/>
                  </a:cubicBezTo>
                  <a:cubicBezTo>
                    <a:pt x="125765" y="36046"/>
                    <a:pt x="121799" y="40012"/>
                    <a:pt x="116906" y="40012"/>
                  </a:cubicBezTo>
                  <a:lnTo>
                    <a:pt x="58233" y="40012"/>
                  </a:lnTo>
                  <a:close/>
                </a:path>
              </a:pathLst>
            </a:custGeom>
            <a:grpFill/>
            <a:ln w="9525" cap="flat">
              <a:solidFill>
                <a:schemeClr val="bg1"/>
              </a:solid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A4B9BCB4-724E-45F1-A308-036D1929C192}"/>
                </a:ext>
              </a:extLst>
            </p:cNvPr>
            <p:cNvSpPr/>
            <p:nvPr/>
          </p:nvSpPr>
          <p:spPr>
            <a:xfrm>
              <a:off x="603274" y="3901175"/>
              <a:ext cx="18193" cy="69818"/>
            </a:xfrm>
            <a:custGeom>
              <a:avLst/>
              <a:gdLst>
                <a:gd name="connsiteX0" fmla="*/ 9333 w 18193"/>
                <a:gd name="connsiteY0" fmla="*/ 69556 h 69818"/>
                <a:gd name="connsiteX1" fmla="*/ 474 w 18193"/>
                <a:gd name="connsiteY1" fmla="*/ 60792 h 69818"/>
                <a:gd name="connsiteX2" fmla="*/ -192 w 18193"/>
                <a:gd name="connsiteY2" fmla="*/ 8691 h 69818"/>
                <a:gd name="connsiteX3" fmla="*/ 8475 w 18193"/>
                <a:gd name="connsiteY3" fmla="*/ -263 h 69818"/>
                <a:gd name="connsiteX4" fmla="*/ 8475 w 18193"/>
                <a:gd name="connsiteY4" fmla="*/ -263 h 69818"/>
                <a:gd name="connsiteX5" fmla="*/ 17238 w 18193"/>
                <a:gd name="connsiteY5" fmla="*/ 8500 h 69818"/>
                <a:gd name="connsiteX6" fmla="*/ 18000 w 18193"/>
                <a:gd name="connsiteY6" fmla="*/ 60602 h 69818"/>
                <a:gd name="connsiteX7" fmla="*/ 9237 w 18193"/>
                <a:gd name="connsiteY7" fmla="*/ 69556 h 6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93" h="69818">
                  <a:moveTo>
                    <a:pt x="9333" y="69556"/>
                  </a:moveTo>
                  <a:cubicBezTo>
                    <a:pt x="4477" y="69556"/>
                    <a:pt x="527" y="65648"/>
                    <a:pt x="474" y="60792"/>
                  </a:cubicBezTo>
                  <a:lnTo>
                    <a:pt x="-192" y="8691"/>
                  </a:lnTo>
                  <a:cubicBezTo>
                    <a:pt x="-246" y="3835"/>
                    <a:pt x="3620" y="-159"/>
                    <a:pt x="8475" y="-263"/>
                  </a:cubicBezTo>
                  <a:lnTo>
                    <a:pt x="8475" y="-263"/>
                  </a:lnTo>
                  <a:cubicBezTo>
                    <a:pt x="13315" y="-263"/>
                    <a:pt x="17238" y="3661"/>
                    <a:pt x="17238" y="8500"/>
                  </a:cubicBezTo>
                  <a:lnTo>
                    <a:pt x="18000" y="60602"/>
                  </a:lnTo>
                  <a:cubicBezTo>
                    <a:pt x="18001" y="65474"/>
                    <a:pt x="14108" y="69452"/>
                    <a:pt x="9237" y="69556"/>
                  </a:cubicBezTo>
                  <a:close/>
                </a:path>
              </a:pathLst>
            </a:custGeom>
            <a:grpFill/>
            <a:ln w="9525" cap="flat">
              <a:solidFill>
                <a:schemeClr val="bg1"/>
              </a:solid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23495C3C-4152-4846-9E9A-F4E7907FD6A7}"/>
                </a:ext>
              </a:extLst>
            </p:cNvPr>
            <p:cNvSpPr/>
            <p:nvPr/>
          </p:nvSpPr>
          <p:spPr>
            <a:xfrm>
              <a:off x="603941" y="3979656"/>
              <a:ext cx="18383" cy="113638"/>
            </a:xfrm>
            <a:custGeom>
              <a:avLst/>
              <a:gdLst>
                <a:gd name="connsiteX0" fmla="*/ 9332 w 18383"/>
                <a:gd name="connsiteY0" fmla="*/ 113375 h 113638"/>
                <a:gd name="connsiteX1" fmla="*/ 474 w 18383"/>
                <a:gd name="connsiteY1" fmla="*/ 104612 h 113638"/>
                <a:gd name="connsiteX2" fmla="*/ -193 w 18383"/>
                <a:gd name="connsiteY2" fmla="*/ 8600 h 113638"/>
                <a:gd name="connsiteX3" fmla="*/ 8570 w 18383"/>
                <a:gd name="connsiteY3" fmla="*/ -258 h 113638"/>
                <a:gd name="connsiteX4" fmla="*/ 17519 w 18383"/>
                <a:gd name="connsiteY4" fmla="*/ 8119 h 113638"/>
                <a:gd name="connsiteX5" fmla="*/ 17524 w 18383"/>
                <a:gd name="connsiteY5" fmla="*/ 8505 h 113638"/>
                <a:gd name="connsiteX6" fmla="*/ 18190 w 18383"/>
                <a:gd name="connsiteY6" fmla="*/ 104517 h 113638"/>
                <a:gd name="connsiteX7" fmla="*/ 9332 w 18383"/>
                <a:gd name="connsiteY7" fmla="*/ 113375 h 11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83" h="113638">
                  <a:moveTo>
                    <a:pt x="9332" y="113375"/>
                  </a:moveTo>
                  <a:cubicBezTo>
                    <a:pt x="4477" y="113375"/>
                    <a:pt x="526" y="109467"/>
                    <a:pt x="474" y="104612"/>
                  </a:cubicBezTo>
                  <a:lnTo>
                    <a:pt x="-193" y="8600"/>
                  </a:lnTo>
                  <a:cubicBezTo>
                    <a:pt x="-193" y="3745"/>
                    <a:pt x="3715" y="-206"/>
                    <a:pt x="8570" y="-258"/>
                  </a:cubicBezTo>
                  <a:cubicBezTo>
                    <a:pt x="13354" y="-416"/>
                    <a:pt x="17361" y="3334"/>
                    <a:pt x="17519" y="8119"/>
                  </a:cubicBezTo>
                  <a:cubicBezTo>
                    <a:pt x="17524" y="8248"/>
                    <a:pt x="17525" y="8376"/>
                    <a:pt x="17524" y="8505"/>
                  </a:cubicBezTo>
                  <a:lnTo>
                    <a:pt x="18190" y="104517"/>
                  </a:lnTo>
                  <a:cubicBezTo>
                    <a:pt x="18190" y="109409"/>
                    <a:pt x="14224" y="113375"/>
                    <a:pt x="9332" y="113375"/>
                  </a:cubicBezTo>
                  <a:close/>
                </a:path>
              </a:pathLst>
            </a:custGeom>
            <a:grpFill/>
            <a:ln w="9525" cap="flat">
              <a:solidFill>
                <a:schemeClr val="bg1"/>
              </a:solid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7F24F844-AD5F-4428-9515-1B3EC21AD0FF}"/>
                </a:ext>
              </a:extLst>
            </p:cNvPr>
            <p:cNvSpPr/>
            <p:nvPr/>
          </p:nvSpPr>
          <p:spPr>
            <a:xfrm>
              <a:off x="603023" y="4022856"/>
              <a:ext cx="72035" cy="17717"/>
            </a:xfrm>
            <a:custGeom>
              <a:avLst/>
              <a:gdLst>
                <a:gd name="connsiteX0" fmla="*/ 62066 w 72035"/>
                <a:gd name="connsiteY0" fmla="*/ 17407 h 17717"/>
                <a:gd name="connsiteX1" fmla="*/ 9583 w 72035"/>
                <a:gd name="connsiteY1" fmla="*/ 17407 h 17717"/>
                <a:gd name="connsiteX2" fmla="*/ -145 w 72035"/>
                <a:gd name="connsiteY2" fmla="*/ 9513 h 17717"/>
                <a:gd name="connsiteX3" fmla="*/ 7749 w 72035"/>
                <a:gd name="connsiteY3" fmla="*/ -214 h 17717"/>
                <a:gd name="connsiteX4" fmla="*/ 9583 w 72035"/>
                <a:gd name="connsiteY4" fmla="*/ -214 h 17717"/>
                <a:gd name="connsiteX5" fmla="*/ 62066 w 72035"/>
                <a:gd name="connsiteY5" fmla="*/ -214 h 17717"/>
                <a:gd name="connsiteX6" fmla="*/ 71794 w 72035"/>
                <a:gd name="connsiteY6" fmla="*/ 7679 h 17717"/>
                <a:gd name="connsiteX7" fmla="*/ 63901 w 72035"/>
                <a:gd name="connsiteY7" fmla="*/ 17407 h 17717"/>
                <a:gd name="connsiteX8" fmla="*/ 62066 w 72035"/>
                <a:gd name="connsiteY8" fmla="*/ 17407 h 1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35" h="17717">
                  <a:moveTo>
                    <a:pt x="62066" y="17407"/>
                  </a:moveTo>
                  <a:lnTo>
                    <a:pt x="9583" y="17407"/>
                  </a:lnTo>
                  <a:cubicBezTo>
                    <a:pt x="4717" y="17913"/>
                    <a:pt x="362" y="14379"/>
                    <a:pt x="-145" y="9513"/>
                  </a:cubicBezTo>
                  <a:cubicBezTo>
                    <a:pt x="-651" y="4647"/>
                    <a:pt x="2883" y="292"/>
                    <a:pt x="7749" y="-214"/>
                  </a:cubicBezTo>
                  <a:cubicBezTo>
                    <a:pt x="8358" y="-278"/>
                    <a:pt x="8973" y="-278"/>
                    <a:pt x="9583" y="-214"/>
                  </a:cubicBezTo>
                  <a:lnTo>
                    <a:pt x="62066" y="-214"/>
                  </a:lnTo>
                  <a:cubicBezTo>
                    <a:pt x="66932" y="-721"/>
                    <a:pt x="71287" y="2813"/>
                    <a:pt x="71794" y="7679"/>
                  </a:cubicBezTo>
                  <a:cubicBezTo>
                    <a:pt x="72300" y="12545"/>
                    <a:pt x="68767" y="16900"/>
                    <a:pt x="63901" y="17407"/>
                  </a:cubicBezTo>
                  <a:cubicBezTo>
                    <a:pt x="63291" y="17470"/>
                    <a:pt x="62676" y="17470"/>
                    <a:pt x="62066" y="17407"/>
                  </a:cubicBezTo>
                  <a:close/>
                </a:path>
              </a:pathLst>
            </a:custGeom>
            <a:grpFill/>
            <a:ln w="9525" cap="flat">
              <a:solidFill>
                <a:schemeClr val="bg1"/>
              </a:solid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2C245BAB-FF11-4022-814D-20189AC8DE97}"/>
                </a:ext>
              </a:extLst>
            </p:cNvPr>
            <p:cNvSpPr/>
            <p:nvPr/>
          </p:nvSpPr>
          <p:spPr>
            <a:xfrm>
              <a:off x="621943" y="4162160"/>
              <a:ext cx="52482" cy="17716"/>
            </a:xfrm>
            <a:custGeom>
              <a:avLst/>
              <a:gdLst>
                <a:gd name="connsiteX0" fmla="*/ 43812 w 52482"/>
                <a:gd name="connsiteY0" fmla="*/ 17454 h 17716"/>
                <a:gd name="connsiteX1" fmla="*/ 8665 w 52482"/>
                <a:gd name="connsiteY1" fmla="*/ 17454 h 17716"/>
                <a:gd name="connsiteX2" fmla="*/ -193 w 52482"/>
                <a:gd name="connsiteY2" fmla="*/ 8595 h 17716"/>
                <a:gd name="connsiteX3" fmla="*/ 8665 w 52482"/>
                <a:gd name="connsiteY3" fmla="*/ -263 h 17716"/>
                <a:gd name="connsiteX4" fmla="*/ 43431 w 52482"/>
                <a:gd name="connsiteY4" fmla="*/ -263 h 17716"/>
                <a:gd name="connsiteX5" fmla="*/ 52290 w 52482"/>
                <a:gd name="connsiteY5" fmla="*/ 8595 h 17716"/>
                <a:gd name="connsiteX6" fmla="*/ 43431 w 52482"/>
                <a:gd name="connsiteY6" fmla="*/ 17454 h 17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482" h="17716">
                  <a:moveTo>
                    <a:pt x="43812" y="17454"/>
                  </a:moveTo>
                  <a:lnTo>
                    <a:pt x="8665" y="17454"/>
                  </a:lnTo>
                  <a:cubicBezTo>
                    <a:pt x="3773" y="17454"/>
                    <a:pt x="-193" y="13488"/>
                    <a:pt x="-193" y="8595"/>
                  </a:cubicBezTo>
                  <a:cubicBezTo>
                    <a:pt x="-193" y="3703"/>
                    <a:pt x="3773" y="-263"/>
                    <a:pt x="8665" y="-263"/>
                  </a:cubicBezTo>
                  <a:lnTo>
                    <a:pt x="43431" y="-263"/>
                  </a:lnTo>
                  <a:cubicBezTo>
                    <a:pt x="48324" y="-263"/>
                    <a:pt x="52290" y="3703"/>
                    <a:pt x="52290" y="8595"/>
                  </a:cubicBezTo>
                  <a:cubicBezTo>
                    <a:pt x="52290" y="13488"/>
                    <a:pt x="48324" y="17454"/>
                    <a:pt x="43431" y="17454"/>
                  </a:cubicBezTo>
                  <a:close/>
                </a:path>
              </a:pathLst>
            </a:custGeom>
            <a:grpFill/>
            <a:ln w="9525" cap="flat">
              <a:solidFill>
                <a:schemeClr val="bg1"/>
              </a:solid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47B56EF9-325D-4DDB-83D7-FF85A16DFCC9}"/>
                </a:ext>
              </a:extLst>
            </p:cNvPr>
            <p:cNvSpPr/>
            <p:nvPr/>
          </p:nvSpPr>
          <p:spPr>
            <a:xfrm>
              <a:off x="721334" y="3935729"/>
              <a:ext cx="52342" cy="52030"/>
            </a:xfrm>
            <a:custGeom>
              <a:avLst/>
              <a:gdLst>
                <a:gd name="connsiteX0" fmla="*/ 52149 w 52342"/>
                <a:gd name="connsiteY0" fmla="*/ 25477 h 52030"/>
                <a:gd name="connsiteX1" fmla="*/ 26146 w 52342"/>
                <a:gd name="connsiteY1" fmla="*/ 51766 h 52030"/>
                <a:gd name="connsiteX2" fmla="*/ -191 w 52342"/>
                <a:gd name="connsiteY2" fmla="*/ 26096 h 52030"/>
                <a:gd name="connsiteX3" fmla="*/ 25479 w 52342"/>
                <a:gd name="connsiteY3" fmla="*/ -241 h 52030"/>
                <a:gd name="connsiteX4" fmla="*/ 52128 w 52342"/>
                <a:gd name="connsiteY4" fmla="*/ 24312 h 52030"/>
                <a:gd name="connsiteX5" fmla="*/ 52149 w 52342"/>
                <a:gd name="connsiteY5" fmla="*/ 25477 h 5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42" h="52030">
                  <a:moveTo>
                    <a:pt x="52149" y="25477"/>
                  </a:moveTo>
                  <a:cubicBezTo>
                    <a:pt x="52099" y="39864"/>
                    <a:pt x="40531" y="51558"/>
                    <a:pt x="26146" y="51766"/>
                  </a:cubicBezTo>
                  <a:cubicBezTo>
                    <a:pt x="11785" y="51950"/>
                    <a:pt x="-7" y="40457"/>
                    <a:pt x="-191" y="26096"/>
                  </a:cubicBezTo>
                  <a:cubicBezTo>
                    <a:pt x="-375" y="11734"/>
                    <a:pt x="11118" y="-57"/>
                    <a:pt x="25479" y="-241"/>
                  </a:cubicBezTo>
                  <a:cubicBezTo>
                    <a:pt x="39618" y="-820"/>
                    <a:pt x="51549" y="10173"/>
                    <a:pt x="52128" y="24312"/>
                  </a:cubicBezTo>
                  <a:cubicBezTo>
                    <a:pt x="52144" y="24700"/>
                    <a:pt x="52151" y="25088"/>
                    <a:pt x="52149" y="25477"/>
                  </a:cubicBezTo>
                  <a:close/>
                </a:path>
              </a:pathLst>
            </a:custGeom>
            <a:grpFill/>
            <a:ln w="9525" cap="flat">
              <a:solidFill>
                <a:schemeClr val="bg1"/>
              </a:solid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6F355631-5B18-4FCB-BD79-19B82B222555}"/>
                </a:ext>
              </a:extLst>
            </p:cNvPr>
            <p:cNvSpPr/>
            <p:nvPr/>
          </p:nvSpPr>
          <p:spPr>
            <a:xfrm>
              <a:off x="659092" y="3866123"/>
              <a:ext cx="53339" cy="53339"/>
            </a:xfrm>
            <a:custGeom>
              <a:avLst/>
              <a:gdLst>
                <a:gd name="connsiteX0" fmla="*/ 53145 w 53339"/>
                <a:gd name="connsiteY0" fmla="*/ 26121 h 53339"/>
                <a:gd name="connsiteX1" fmla="*/ 26763 w 53339"/>
                <a:gd name="connsiteY1" fmla="*/ 53076 h 53339"/>
                <a:gd name="connsiteX2" fmla="*/ -191 w 53339"/>
                <a:gd name="connsiteY2" fmla="*/ 26693 h 53339"/>
                <a:gd name="connsiteX3" fmla="*/ 26191 w 53339"/>
                <a:gd name="connsiteY3" fmla="*/ -261 h 53339"/>
                <a:gd name="connsiteX4" fmla="*/ 26476 w 53339"/>
                <a:gd name="connsiteY4" fmla="*/ -263 h 53339"/>
                <a:gd name="connsiteX5" fmla="*/ 53146 w 53339"/>
                <a:gd name="connsiteY5" fmla="*/ 26121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39" h="53339">
                  <a:moveTo>
                    <a:pt x="53145" y="26121"/>
                  </a:moveTo>
                  <a:cubicBezTo>
                    <a:pt x="53303" y="40850"/>
                    <a:pt x="41491" y="52918"/>
                    <a:pt x="26763" y="53076"/>
                  </a:cubicBezTo>
                  <a:cubicBezTo>
                    <a:pt x="12034" y="53233"/>
                    <a:pt x="-34" y="41421"/>
                    <a:pt x="-191" y="26693"/>
                  </a:cubicBezTo>
                  <a:cubicBezTo>
                    <a:pt x="-349" y="11964"/>
                    <a:pt x="11463" y="-104"/>
                    <a:pt x="26191" y="-261"/>
                  </a:cubicBezTo>
                  <a:cubicBezTo>
                    <a:pt x="26286" y="-262"/>
                    <a:pt x="26381" y="-263"/>
                    <a:pt x="26476" y="-263"/>
                  </a:cubicBezTo>
                  <a:cubicBezTo>
                    <a:pt x="41031" y="-112"/>
                    <a:pt x="52838" y="11568"/>
                    <a:pt x="53146" y="26121"/>
                  </a:cubicBezTo>
                  <a:close/>
                </a:path>
              </a:pathLst>
            </a:custGeom>
            <a:grpFill/>
            <a:ln w="9525" cap="flat">
              <a:solidFill>
                <a:schemeClr val="bg1"/>
              </a:solid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56AB206E-97CA-43CB-BA0C-2223DCC1EDFF}"/>
                </a:ext>
              </a:extLst>
            </p:cNvPr>
            <p:cNvSpPr/>
            <p:nvPr/>
          </p:nvSpPr>
          <p:spPr>
            <a:xfrm>
              <a:off x="659853" y="4005379"/>
              <a:ext cx="53246" cy="52108"/>
            </a:xfrm>
            <a:custGeom>
              <a:avLst/>
              <a:gdLst>
                <a:gd name="connsiteX0" fmla="*/ 53052 w 53246"/>
                <a:gd name="connsiteY0" fmla="*/ 25455 h 52108"/>
                <a:gd name="connsiteX1" fmla="*/ 27247 w 53246"/>
                <a:gd name="connsiteY1" fmla="*/ 51844 h 52108"/>
                <a:gd name="connsiteX2" fmla="*/ 26382 w 53246"/>
                <a:gd name="connsiteY2" fmla="*/ 51839 h 52108"/>
                <a:gd name="connsiteX3" fmla="*/ -193 w 53246"/>
                <a:gd name="connsiteY3" fmla="*/ 26121 h 52108"/>
                <a:gd name="connsiteX4" fmla="*/ 26382 w 53246"/>
                <a:gd name="connsiteY4" fmla="*/ -263 h 52108"/>
                <a:gd name="connsiteX5" fmla="*/ 53052 w 53246"/>
                <a:gd name="connsiteY5" fmla="*/ 25455 h 5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46" h="52108">
                  <a:moveTo>
                    <a:pt x="53052" y="25455"/>
                  </a:moveTo>
                  <a:cubicBezTo>
                    <a:pt x="53213" y="39868"/>
                    <a:pt x="41660" y="51683"/>
                    <a:pt x="27247" y="51844"/>
                  </a:cubicBezTo>
                  <a:cubicBezTo>
                    <a:pt x="26959" y="51847"/>
                    <a:pt x="26670" y="51845"/>
                    <a:pt x="26382" y="51839"/>
                  </a:cubicBezTo>
                  <a:cubicBezTo>
                    <a:pt x="12093" y="51700"/>
                    <a:pt x="414" y="40398"/>
                    <a:pt x="-193" y="26121"/>
                  </a:cubicBezTo>
                  <a:cubicBezTo>
                    <a:pt x="-88" y="11519"/>
                    <a:pt x="11779" y="-263"/>
                    <a:pt x="26382" y="-263"/>
                  </a:cubicBezTo>
                  <a:cubicBezTo>
                    <a:pt x="40707" y="-174"/>
                    <a:pt x="52442" y="11142"/>
                    <a:pt x="53052" y="25455"/>
                  </a:cubicBezTo>
                  <a:close/>
                </a:path>
              </a:pathLst>
            </a:custGeom>
            <a:grpFill/>
            <a:ln w="9525" cap="flat">
              <a:solidFill>
                <a:schemeClr val="bg1"/>
              </a:solid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9369A803-C34A-416F-9DD1-3EAFE4523898}"/>
                </a:ext>
              </a:extLst>
            </p:cNvPr>
            <p:cNvSpPr/>
            <p:nvPr/>
          </p:nvSpPr>
          <p:spPr>
            <a:xfrm>
              <a:off x="660520" y="4145572"/>
              <a:ext cx="53246" cy="51074"/>
            </a:xfrm>
            <a:custGeom>
              <a:avLst/>
              <a:gdLst>
                <a:gd name="connsiteX0" fmla="*/ 53052 w 53246"/>
                <a:gd name="connsiteY0" fmla="*/ 24517 h 51074"/>
                <a:gd name="connsiteX1" fmla="*/ 27342 w 53246"/>
                <a:gd name="connsiteY1" fmla="*/ 50810 h 51074"/>
                <a:gd name="connsiteX2" fmla="*/ 26477 w 53246"/>
                <a:gd name="connsiteY2" fmla="*/ 50806 h 51074"/>
                <a:gd name="connsiteX3" fmla="*/ -193 w 53246"/>
                <a:gd name="connsiteY3" fmla="*/ 25183 h 51074"/>
                <a:gd name="connsiteX4" fmla="*/ 27673 w 53246"/>
                <a:gd name="connsiteY4" fmla="*/ -234 h 51074"/>
                <a:gd name="connsiteX5" fmla="*/ 53052 w 53246"/>
                <a:gd name="connsiteY5" fmla="*/ 24517 h 5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46" h="51074">
                  <a:moveTo>
                    <a:pt x="53052" y="24517"/>
                  </a:moveTo>
                  <a:cubicBezTo>
                    <a:pt x="53213" y="38877"/>
                    <a:pt x="41702" y="50649"/>
                    <a:pt x="27342" y="50810"/>
                  </a:cubicBezTo>
                  <a:cubicBezTo>
                    <a:pt x="27054" y="50814"/>
                    <a:pt x="26765" y="50812"/>
                    <a:pt x="26477" y="50806"/>
                  </a:cubicBezTo>
                  <a:cubicBezTo>
                    <a:pt x="12186" y="50720"/>
                    <a:pt x="466" y="39459"/>
                    <a:pt x="-193" y="25183"/>
                  </a:cubicBezTo>
                  <a:cubicBezTo>
                    <a:pt x="483" y="10470"/>
                    <a:pt x="12959" y="-910"/>
                    <a:pt x="27673" y="-234"/>
                  </a:cubicBezTo>
                  <a:cubicBezTo>
                    <a:pt x="41185" y="387"/>
                    <a:pt x="52093" y="11024"/>
                    <a:pt x="53052" y="24517"/>
                  </a:cubicBezTo>
                  <a:close/>
                </a:path>
              </a:pathLst>
            </a:custGeom>
            <a:grpFill/>
            <a:ln w="9525" cap="flat">
              <a:solidFill>
                <a:schemeClr val="bg1"/>
              </a:solid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D464088F-3815-437E-9214-001B22CEA2D3}"/>
                </a:ext>
              </a:extLst>
            </p:cNvPr>
            <p:cNvSpPr/>
            <p:nvPr/>
          </p:nvSpPr>
          <p:spPr>
            <a:xfrm>
              <a:off x="721956" y="4074435"/>
              <a:ext cx="52577" cy="52578"/>
            </a:xfrm>
            <a:custGeom>
              <a:avLst/>
              <a:gdLst>
                <a:gd name="connsiteX0" fmla="*/ 52385 w 52577"/>
                <a:gd name="connsiteY0" fmla="*/ 26026 h 52578"/>
                <a:gd name="connsiteX1" fmla="*/ 26096 w 52577"/>
                <a:gd name="connsiteY1" fmla="*/ 52315 h 52578"/>
                <a:gd name="connsiteX2" fmla="*/ -193 w 52577"/>
                <a:gd name="connsiteY2" fmla="*/ 26026 h 52578"/>
                <a:gd name="connsiteX3" fmla="*/ 26096 w 52577"/>
                <a:gd name="connsiteY3" fmla="*/ -263 h 52578"/>
                <a:gd name="connsiteX4" fmla="*/ 52385 w 52577"/>
                <a:gd name="connsiteY4" fmla="*/ 26026 h 5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77" h="52578">
                  <a:moveTo>
                    <a:pt x="52385" y="26026"/>
                  </a:moveTo>
                  <a:cubicBezTo>
                    <a:pt x="52385" y="40545"/>
                    <a:pt x="40615" y="52315"/>
                    <a:pt x="26096" y="52315"/>
                  </a:cubicBezTo>
                  <a:cubicBezTo>
                    <a:pt x="11577" y="52315"/>
                    <a:pt x="-193" y="40545"/>
                    <a:pt x="-193" y="26026"/>
                  </a:cubicBezTo>
                  <a:cubicBezTo>
                    <a:pt x="-193" y="11507"/>
                    <a:pt x="11577" y="-263"/>
                    <a:pt x="26096" y="-263"/>
                  </a:cubicBezTo>
                  <a:cubicBezTo>
                    <a:pt x="40615" y="-263"/>
                    <a:pt x="52385" y="11507"/>
                    <a:pt x="52385" y="26026"/>
                  </a:cubicBezTo>
                  <a:close/>
                </a:path>
              </a:pathLst>
            </a:custGeom>
            <a:grpFill/>
            <a:ln w="9525" cap="flat">
              <a:solidFill>
                <a:schemeClr val="bg1"/>
              </a:solidFill>
              <a:prstDash val="solid"/>
              <a:miter/>
            </a:ln>
          </p:spPr>
          <p:txBody>
            <a:bodyPr rtlCol="0" anchor="ctr"/>
            <a:lstStyle/>
            <a:p>
              <a:endParaRPr lang="en-US"/>
            </a:p>
          </p:txBody>
        </p:sp>
      </p:grpSp>
      <p:grpSp>
        <p:nvGrpSpPr>
          <p:cNvPr id="92" name="Group 91">
            <a:extLst>
              <a:ext uri="{FF2B5EF4-FFF2-40B4-BE49-F238E27FC236}">
                <a16:creationId xmlns:a16="http://schemas.microsoft.com/office/drawing/2014/main" id="{D50F410A-E795-43FC-BEE2-F2BA5F20A249}"/>
              </a:ext>
              <a:ext uri="{C183D7F6-B498-43B3-948B-1728B52AA6E4}">
                <adec:decorative xmlns:adec="http://schemas.microsoft.com/office/drawing/2017/decorative" val="1"/>
              </a:ext>
            </a:extLst>
          </p:cNvPr>
          <p:cNvGrpSpPr>
            <a:grpSpLocks noChangeAspect="1"/>
          </p:cNvGrpSpPr>
          <p:nvPr/>
        </p:nvGrpSpPr>
        <p:grpSpPr>
          <a:xfrm>
            <a:off x="1208962" y="3600189"/>
            <a:ext cx="679180" cy="633600"/>
            <a:chOff x="2750827" y="3849663"/>
            <a:chExt cx="586924" cy="547535"/>
          </a:xfrm>
        </p:grpSpPr>
        <p:sp>
          <p:nvSpPr>
            <p:cNvPr id="338" name="Freeform: Shape 337">
              <a:extLst>
                <a:ext uri="{FF2B5EF4-FFF2-40B4-BE49-F238E27FC236}">
                  <a16:creationId xmlns:a16="http://schemas.microsoft.com/office/drawing/2014/main" id="{25D02D2D-45A0-42E8-85E1-AA59632FCCF4}"/>
                </a:ext>
              </a:extLst>
            </p:cNvPr>
            <p:cNvSpPr/>
            <p:nvPr/>
          </p:nvSpPr>
          <p:spPr>
            <a:xfrm>
              <a:off x="2750827" y="3849663"/>
              <a:ext cx="586924" cy="547535"/>
            </a:xfrm>
            <a:custGeom>
              <a:avLst/>
              <a:gdLst>
                <a:gd name="connsiteX0" fmla="*/ 55498 w 586924"/>
                <a:gd name="connsiteY0" fmla="*/ 443517 h 547535"/>
                <a:gd name="connsiteX1" fmla="*/ 121411 w 586924"/>
                <a:gd name="connsiteY1" fmla="*/ 54326 h 547535"/>
                <a:gd name="connsiteX2" fmla="*/ 532510 w 586924"/>
                <a:gd name="connsiteY2" fmla="*/ 112428 h 547535"/>
                <a:gd name="connsiteX3" fmla="*/ 457548 w 586924"/>
                <a:gd name="connsiteY3" fmla="*/ 485999 h 547535"/>
                <a:gd name="connsiteX4" fmla="*/ 55498 w 586924"/>
                <a:gd name="connsiteY4" fmla="*/ 443517 h 547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24" h="547535">
                  <a:moveTo>
                    <a:pt x="55498" y="443517"/>
                  </a:moveTo>
                  <a:cubicBezTo>
                    <a:pt x="-39752" y="320454"/>
                    <a:pt x="-10320" y="146051"/>
                    <a:pt x="121411" y="54326"/>
                  </a:cubicBezTo>
                  <a:cubicBezTo>
                    <a:pt x="253142" y="-37400"/>
                    <a:pt x="437070" y="-10539"/>
                    <a:pt x="532510" y="112428"/>
                  </a:cubicBezTo>
                  <a:cubicBezTo>
                    <a:pt x="630141" y="235491"/>
                    <a:pt x="589660" y="394273"/>
                    <a:pt x="457548" y="485999"/>
                  </a:cubicBezTo>
                  <a:cubicBezTo>
                    <a:pt x="325437" y="577724"/>
                    <a:pt x="152748" y="568771"/>
                    <a:pt x="55498" y="443517"/>
                  </a:cubicBezTo>
                </a:path>
              </a:pathLst>
            </a:custGeom>
            <a:solidFill>
              <a:schemeClr val="accent1"/>
            </a:solidFill>
            <a:ln w="9525" cap="flat">
              <a:noFill/>
              <a:prstDash val="solid"/>
              <a:miter/>
            </a:ln>
          </p:spPr>
          <p:txBody>
            <a:bodyPr rtlCol="0" anchor="ctr"/>
            <a:lstStyle/>
            <a:p>
              <a:endParaRPr lang="en-US"/>
            </a:p>
          </p:txBody>
        </p:sp>
        <p:pic>
          <p:nvPicPr>
            <p:cNvPr id="91" name="Graphic 90">
              <a:extLst>
                <a:ext uri="{FF2B5EF4-FFF2-40B4-BE49-F238E27FC236}">
                  <a16:creationId xmlns:a16="http://schemas.microsoft.com/office/drawing/2014/main" id="{9AD704C6-874E-4659-BA68-CD518CC6E5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73114" y="3972176"/>
              <a:ext cx="323850" cy="323850"/>
            </a:xfrm>
            <a:prstGeom prst="rect">
              <a:avLst/>
            </a:prstGeom>
          </p:spPr>
        </p:pic>
      </p:grpSp>
      <p:grpSp>
        <p:nvGrpSpPr>
          <p:cNvPr id="342" name="Group 341">
            <a:extLst>
              <a:ext uri="{FF2B5EF4-FFF2-40B4-BE49-F238E27FC236}">
                <a16:creationId xmlns:a16="http://schemas.microsoft.com/office/drawing/2014/main" id="{A0826728-528F-4FB7-BDB1-1A0E504894D3}"/>
              </a:ext>
              <a:ext uri="{C183D7F6-B498-43B3-948B-1728B52AA6E4}">
                <adec:decorative xmlns:adec="http://schemas.microsoft.com/office/drawing/2017/decorative" val="1"/>
              </a:ext>
            </a:extLst>
          </p:cNvPr>
          <p:cNvGrpSpPr>
            <a:grpSpLocks noChangeAspect="1"/>
          </p:cNvGrpSpPr>
          <p:nvPr/>
        </p:nvGrpSpPr>
        <p:grpSpPr>
          <a:xfrm>
            <a:off x="5096885" y="2451438"/>
            <a:ext cx="676800" cy="633600"/>
            <a:chOff x="9810217" y="1111848"/>
            <a:chExt cx="676800" cy="633600"/>
          </a:xfrm>
        </p:grpSpPr>
        <p:sp>
          <p:nvSpPr>
            <p:cNvPr id="343" name="Freeform 520">
              <a:extLst>
                <a:ext uri="{FF2B5EF4-FFF2-40B4-BE49-F238E27FC236}">
                  <a16:creationId xmlns:a16="http://schemas.microsoft.com/office/drawing/2014/main" id="{DD598056-B891-4380-BFA3-EBC34362F66F}"/>
                </a:ext>
              </a:extLst>
            </p:cNvPr>
            <p:cNvSpPr>
              <a:spLocks/>
            </p:cNvSpPr>
            <p:nvPr/>
          </p:nvSpPr>
          <p:spPr bwMode="auto">
            <a:xfrm>
              <a:off x="9810217" y="1111848"/>
              <a:ext cx="676800" cy="63360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nvGrpSpPr>
            <p:cNvPr id="344" name="Group 343">
              <a:extLst>
                <a:ext uri="{FF2B5EF4-FFF2-40B4-BE49-F238E27FC236}">
                  <a16:creationId xmlns:a16="http://schemas.microsoft.com/office/drawing/2014/main" id="{482DDC1C-49E8-4305-832B-5AB692397AD4}"/>
                </a:ext>
              </a:extLst>
            </p:cNvPr>
            <p:cNvGrpSpPr>
              <a:grpSpLocks noChangeAspect="1"/>
            </p:cNvGrpSpPr>
            <p:nvPr/>
          </p:nvGrpSpPr>
          <p:grpSpPr>
            <a:xfrm>
              <a:off x="9913998" y="1250848"/>
              <a:ext cx="402766" cy="360000"/>
              <a:chOff x="6099093" y="-457767"/>
              <a:chExt cx="731378" cy="653717"/>
            </a:xfrm>
          </p:grpSpPr>
          <p:sp>
            <p:nvSpPr>
              <p:cNvPr id="345" name="Freeform 274">
                <a:extLst>
                  <a:ext uri="{FF2B5EF4-FFF2-40B4-BE49-F238E27FC236}">
                    <a16:creationId xmlns:a16="http://schemas.microsoft.com/office/drawing/2014/main" id="{5A53D849-9F7D-4480-BDD5-D25C41CA04B1}"/>
                  </a:ext>
                </a:extLst>
              </p:cNvPr>
              <p:cNvSpPr/>
              <p:nvPr/>
            </p:nvSpPr>
            <p:spPr>
              <a:xfrm>
                <a:off x="6176352" y="-457767"/>
                <a:ext cx="654119" cy="653717"/>
              </a:xfrm>
              <a:custGeom>
                <a:avLst/>
                <a:gdLst>
                  <a:gd name="connsiteX0" fmla="*/ 127036 w 225915"/>
                  <a:gd name="connsiteY0" fmla="*/ 202916 h 224524"/>
                  <a:gd name="connsiteX1" fmla="*/ 129690 w 225915"/>
                  <a:gd name="connsiteY1" fmla="*/ 202063 h 224524"/>
                  <a:gd name="connsiteX2" fmla="*/ 130733 w 225915"/>
                  <a:gd name="connsiteY2" fmla="*/ 199504 h 224524"/>
                  <a:gd name="connsiteX3" fmla="*/ 139455 w 225915"/>
                  <a:gd name="connsiteY3" fmla="*/ 94587 h 224524"/>
                  <a:gd name="connsiteX4" fmla="*/ 196515 w 225915"/>
                  <a:gd name="connsiteY4" fmla="*/ 113340 h 224524"/>
                  <a:gd name="connsiteX5" fmla="*/ 204110 w 225915"/>
                  <a:gd name="connsiteY5" fmla="*/ 108424 h 224524"/>
                  <a:gd name="connsiteX6" fmla="*/ 211600 w 225915"/>
                  <a:gd name="connsiteY6" fmla="*/ 199504 h 224524"/>
                  <a:gd name="connsiteX7" fmla="*/ 215582 w 225915"/>
                  <a:gd name="connsiteY7" fmla="*/ 202916 h 224524"/>
                  <a:gd name="connsiteX8" fmla="*/ 222313 w 225915"/>
                  <a:gd name="connsiteY8" fmla="*/ 209645 h 224524"/>
                  <a:gd name="connsiteX9" fmla="*/ 225915 w 225915"/>
                  <a:gd name="connsiteY9" fmla="*/ 224525 h 224524"/>
                  <a:gd name="connsiteX10" fmla="*/ 116892 w 225915"/>
                  <a:gd name="connsiteY10" fmla="*/ 224525 h 224524"/>
                  <a:gd name="connsiteX11" fmla="*/ 120305 w 225915"/>
                  <a:gd name="connsiteY11" fmla="*/ 209834 h 224524"/>
                  <a:gd name="connsiteX12" fmla="*/ 127036 w 225915"/>
                  <a:gd name="connsiteY12" fmla="*/ 203105 h 224524"/>
                  <a:gd name="connsiteX13" fmla="*/ 97363 w 225915"/>
                  <a:gd name="connsiteY13" fmla="*/ 190 h 224524"/>
                  <a:gd name="connsiteX14" fmla="*/ 168465 w 225915"/>
                  <a:gd name="connsiteY14" fmla="*/ 33930 h 224524"/>
                  <a:gd name="connsiteX15" fmla="*/ 135568 w 225915"/>
                  <a:gd name="connsiteY15" fmla="*/ 70608 h 224524"/>
                  <a:gd name="connsiteX16" fmla="*/ 82573 w 225915"/>
                  <a:gd name="connsiteY16" fmla="*/ 45303 h 224524"/>
                  <a:gd name="connsiteX17" fmla="*/ 106634 w 225915"/>
                  <a:gd name="connsiteY17" fmla="*/ 17729 h 224524"/>
                  <a:gd name="connsiteX18" fmla="*/ 97837 w 225915"/>
                  <a:gd name="connsiteY18" fmla="*/ 0 h 224524"/>
                  <a:gd name="connsiteX19" fmla="*/ 28441 w 225915"/>
                  <a:gd name="connsiteY19" fmla="*/ 39143 h 224524"/>
                  <a:gd name="connsiteX20" fmla="*/ 28441 w 225915"/>
                  <a:gd name="connsiteY20" fmla="*/ 46061 h 224524"/>
                  <a:gd name="connsiteX21" fmla="*/ 17349 w 225915"/>
                  <a:gd name="connsiteY21" fmla="*/ 52980 h 224524"/>
                  <a:gd name="connsiteX22" fmla="*/ 26829 w 225915"/>
                  <a:gd name="connsiteY22" fmla="*/ 67575 h 224524"/>
                  <a:gd name="connsiteX23" fmla="*/ 37826 w 225915"/>
                  <a:gd name="connsiteY23" fmla="*/ 60467 h 224524"/>
                  <a:gd name="connsiteX24" fmla="*/ 43989 w 225915"/>
                  <a:gd name="connsiteY24" fmla="*/ 63500 h 224524"/>
                  <a:gd name="connsiteX25" fmla="*/ 73377 w 225915"/>
                  <a:gd name="connsiteY25" fmla="*/ 44545 h 224524"/>
                  <a:gd name="connsiteX26" fmla="*/ 54417 w 225915"/>
                  <a:gd name="connsiteY26" fmla="*/ 22272 h 224524"/>
                  <a:gd name="connsiteX27" fmla="*/ 0 w 225915"/>
                  <a:gd name="connsiteY27" fmla="*/ 70798 h 224524"/>
                  <a:gd name="connsiteX28" fmla="*/ 17539 w 225915"/>
                  <a:gd name="connsiteY28" fmla="*/ 59425 h 224524"/>
                  <a:gd name="connsiteX29" fmla="*/ 21520 w 225915"/>
                  <a:gd name="connsiteY29" fmla="*/ 65490 h 224524"/>
                  <a:gd name="connsiteX30" fmla="*/ 4077 w 225915"/>
                  <a:gd name="connsiteY30" fmla="*/ 76769 h 2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5915" h="224524">
                    <a:moveTo>
                      <a:pt x="127036" y="202916"/>
                    </a:moveTo>
                    <a:cubicBezTo>
                      <a:pt x="128001" y="203010"/>
                      <a:pt x="128961" y="202701"/>
                      <a:pt x="129690" y="202063"/>
                    </a:cubicBezTo>
                    <a:cubicBezTo>
                      <a:pt x="130356" y="201377"/>
                      <a:pt x="130729" y="200459"/>
                      <a:pt x="130733" y="199504"/>
                    </a:cubicBezTo>
                    <a:lnTo>
                      <a:pt x="139455" y="94587"/>
                    </a:lnTo>
                    <a:cubicBezTo>
                      <a:pt x="150032" y="115517"/>
                      <a:pt x="175578" y="123913"/>
                      <a:pt x="196515" y="113340"/>
                    </a:cubicBezTo>
                    <a:cubicBezTo>
                      <a:pt x="199214" y="111976"/>
                      <a:pt x="201761" y="110328"/>
                      <a:pt x="204110" y="108424"/>
                    </a:cubicBezTo>
                    <a:cubicBezTo>
                      <a:pt x="206575" y="138373"/>
                      <a:pt x="209135" y="169649"/>
                      <a:pt x="211600" y="199504"/>
                    </a:cubicBezTo>
                    <a:cubicBezTo>
                      <a:pt x="211600" y="202821"/>
                      <a:pt x="213306" y="202821"/>
                      <a:pt x="215582" y="202916"/>
                    </a:cubicBezTo>
                    <a:cubicBezTo>
                      <a:pt x="219279" y="202916"/>
                      <a:pt x="221554" y="206043"/>
                      <a:pt x="222313" y="209645"/>
                    </a:cubicBezTo>
                    <a:lnTo>
                      <a:pt x="225915" y="224525"/>
                    </a:lnTo>
                    <a:lnTo>
                      <a:pt x="116892" y="224525"/>
                    </a:lnTo>
                    <a:lnTo>
                      <a:pt x="120305" y="209834"/>
                    </a:lnTo>
                    <a:cubicBezTo>
                      <a:pt x="121063" y="206233"/>
                      <a:pt x="123338" y="203105"/>
                      <a:pt x="127036" y="203105"/>
                    </a:cubicBezTo>
                    <a:close/>
                    <a:moveTo>
                      <a:pt x="97363" y="190"/>
                    </a:moveTo>
                    <a:lnTo>
                      <a:pt x="168465" y="33930"/>
                    </a:lnTo>
                    <a:cubicBezTo>
                      <a:pt x="150800" y="37897"/>
                      <a:pt x="137593" y="52622"/>
                      <a:pt x="135568" y="70608"/>
                    </a:cubicBezTo>
                    <a:lnTo>
                      <a:pt x="82573" y="45303"/>
                    </a:lnTo>
                    <a:cubicBezTo>
                      <a:pt x="96834" y="44331"/>
                      <a:pt x="107606" y="31986"/>
                      <a:pt x="106634" y="17729"/>
                    </a:cubicBezTo>
                    <a:cubicBezTo>
                      <a:pt x="106168" y="10887"/>
                      <a:pt x="103003" y="4511"/>
                      <a:pt x="97837" y="0"/>
                    </a:cubicBezTo>
                    <a:close/>
                    <a:moveTo>
                      <a:pt x="28441" y="39143"/>
                    </a:moveTo>
                    <a:lnTo>
                      <a:pt x="28441" y="46061"/>
                    </a:lnTo>
                    <a:lnTo>
                      <a:pt x="17349" y="52980"/>
                    </a:lnTo>
                    <a:lnTo>
                      <a:pt x="26829" y="67575"/>
                    </a:lnTo>
                    <a:lnTo>
                      <a:pt x="37826" y="60467"/>
                    </a:lnTo>
                    <a:lnTo>
                      <a:pt x="43989" y="63500"/>
                    </a:lnTo>
                    <a:lnTo>
                      <a:pt x="73377" y="44545"/>
                    </a:lnTo>
                    <a:cubicBezTo>
                      <a:pt x="63108" y="41676"/>
                      <a:pt x="55607" y="32865"/>
                      <a:pt x="54417" y="22272"/>
                    </a:cubicBezTo>
                    <a:close/>
                    <a:moveTo>
                      <a:pt x="0" y="70798"/>
                    </a:moveTo>
                    <a:lnTo>
                      <a:pt x="17539" y="59425"/>
                    </a:lnTo>
                    <a:lnTo>
                      <a:pt x="21520" y="65490"/>
                    </a:lnTo>
                    <a:lnTo>
                      <a:pt x="4077" y="76769"/>
                    </a:lnTo>
                    <a:close/>
                  </a:path>
                </a:pathLst>
              </a:custGeom>
              <a:solidFill>
                <a:schemeClr val="bg1"/>
              </a:solidFill>
              <a:ln w="9391" cap="flat">
                <a:noFill/>
                <a:prstDash val="solid"/>
                <a:miter/>
              </a:ln>
            </p:spPr>
            <p:txBody>
              <a:bodyPr rtlCol="0" anchor="ctr"/>
              <a:lstStyle/>
              <a:p>
                <a:endParaRPr lang="fr-FR" dirty="0"/>
              </a:p>
            </p:txBody>
          </p:sp>
          <p:sp>
            <p:nvSpPr>
              <p:cNvPr id="346" name="Freeform 282">
                <a:extLst>
                  <a:ext uri="{FF2B5EF4-FFF2-40B4-BE49-F238E27FC236}">
                    <a16:creationId xmlns:a16="http://schemas.microsoft.com/office/drawing/2014/main" id="{01D7BBF2-385E-4A32-8D49-C432BF03B517}"/>
                  </a:ext>
                </a:extLst>
              </p:cNvPr>
              <p:cNvSpPr/>
              <p:nvPr/>
            </p:nvSpPr>
            <p:spPr>
              <a:xfrm rot="19455000">
                <a:off x="6136896" y="-331996"/>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347" name="Freeform 283">
                <a:extLst>
                  <a:ext uri="{FF2B5EF4-FFF2-40B4-BE49-F238E27FC236}">
                    <a16:creationId xmlns:a16="http://schemas.microsoft.com/office/drawing/2014/main" id="{D018F4BA-3AA3-48C1-B59D-1B492415025B}"/>
                  </a:ext>
                </a:extLst>
              </p:cNvPr>
              <p:cNvSpPr/>
              <p:nvPr/>
            </p:nvSpPr>
            <p:spPr>
              <a:xfrm>
                <a:off x="6102788" y="-269569"/>
                <a:ext cx="46938" cy="27870"/>
              </a:xfrm>
              <a:custGeom>
                <a:avLst/>
                <a:gdLst>
                  <a:gd name="connsiteX0" fmla="*/ 14884 w 16211"/>
                  <a:gd name="connsiteY0" fmla="*/ 9572 h 9572"/>
                  <a:gd name="connsiteX1" fmla="*/ 16211 w 16211"/>
                  <a:gd name="connsiteY1" fmla="*/ 2938 h 9572"/>
                  <a:gd name="connsiteX2" fmla="*/ 1232 w 16211"/>
                  <a:gd name="connsiteY2" fmla="*/ 0 h 9572"/>
                  <a:gd name="connsiteX3" fmla="*/ 0 w 16211"/>
                  <a:gd name="connsiteY3" fmla="*/ 6729 h 9572"/>
                  <a:gd name="connsiteX4" fmla="*/ 14884 w 16211"/>
                  <a:gd name="connsiteY4" fmla="*/ 9572 h 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1" h="9572">
                    <a:moveTo>
                      <a:pt x="14884" y="9572"/>
                    </a:moveTo>
                    <a:lnTo>
                      <a:pt x="16211" y="2938"/>
                    </a:lnTo>
                    <a:lnTo>
                      <a:pt x="1232" y="0"/>
                    </a:lnTo>
                    <a:lnTo>
                      <a:pt x="0" y="6729"/>
                    </a:lnTo>
                    <a:lnTo>
                      <a:pt x="14884" y="9572"/>
                    </a:lnTo>
                    <a:close/>
                  </a:path>
                </a:pathLst>
              </a:custGeom>
              <a:solidFill>
                <a:srgbClr val="FFFFFF"/>
              </a:solidFill>
              <a:ln w="9391" cap="flat">
                <a:noFill/>
                <a:prstDash val="solid"/>
                <a:miter/>
              </a:ln>
            </p:spPr>
            <p:txBody>
              <a:bodyPr rtlCol="0" anchor="ctr"/>
              <a:lstStyle/>
              <a:p>
                <a:endParaRPr lang="fr-FR"/>
              </a:p>
            </p:txBody>
          </p:sp>
          <p:sp>
            <p:nvSpPr>
              <p:cNvPr id="348" name="Freeform 284">
                <a:extLst>
                  <a:ext uri="{FF2B5EF4-FFF2-40B4-BE49-F238E27FC236}">
                    <a16:creationId xmlns:a16="http://schemas.microsoft.com/office/drawing/2014/main" id="{312FD96B-BF77-4D5E-B526-EA8B0A1A571E}"/>
                  </a:ext>
                </a:extLst>
              </p:cNvPr>
              <p:cNvSpPr/>
              <p:nvPr/>
            </p:nvSpPr>
            <p:spPr>
              <a:xfrm rot="19559551">
                <a:off x="6099093" y="-221121"/>
                <a:ext cx="64860" cy="19615"/>
              </a:xfrm>
              <a:custGeom>
                <a:avLst/>
                <a:gdLst>
                  <a:gd name="connsiteX0" fmla="*/ 0 w 22401"/>
                  <a:gd name="connsiteY0" fmla="*/ 0 h 6737"/>
                  <a:gd name="connsiteX1" fmla="*/ 22401 w 22401"/>
                  <a:gd name="connsiteY1" fmla="*/ 0 h 6737"/>
                  <a:gd name="connsiteX2" fmla="*/ 22401 w 22401"/>
                  <a:gd name="connsiteY2" fmla="*/ 6737 h 6737"/>
                  <a:gd name="connsiteX3" fmla="*/ 0 w 22401"/>
                  <a:gd name="connsiteY3" fmla="*/ 6737 h 6737"/>
                </a:gdLst>
                <a:ahLst/>
                <a:cxnLst>
                  <a:cxn ang="0">
                    <a:pos x="connsiteX0" y="connsiteY0"/>
                  </a:cxn>
                  <a:cxn ang="0">
                    <a:pos x="connsiteX1" y="connsiteY1"/>
                  </a:cxn>
                  <a:cxn ang="0">
                    <a:pos x="connsiteX2" y="connsiteY2"/>
                  </a:cxn>
                  <a:cxn ang="0">
                    <a:pos x="connsiteX3" y="connsiteY3"/>
                  </a:cxn>
                </a:cxnLst>
                <a:rect l="l" t="t" r="r" b="b"/>
                <a:pathLst>
                  <a:path w="22401" h="6737">
                    <a:moveTo>
                      <a:pt x="0" y="0"/>
                    </a:moveTo>
                    <a:lnTo>
                      <a:pt x="22401" y="0"/>
                    </a:lnTo>
                    <a:lnTo>
                      <a:pt x="22401" y="6737"/>
                    </a:lnTo>
                    <a:lnTo>
                      <a:pt x="0" y="6737"/>
                    </a:lnTo>
                    <a:close/>
                  </a:path>
                </a:pathLst>
              </a:custGeom>
              <a:solidFill>
                <a:srgbClr val="FFFFFF"/>
              </a:solidFill>
              <a:ln w="9403" cap="flat">
                <a:noFill/>
                <a:prstDash val="solid"/>
                <a:miter/>
              </a:ln>
            </p:spPr>
            <p:txBody>
              <a:bodyPr rtlCol="0" anchor="ctr"/>
              <a:lstStyle/>
              <a:p>
                <a:endParaRPr lang="fr-FR"/>
              </a:p>
            </p:txBody>
          </p:sp>
          <p:sp>
            <p:nvSpPr>
              <p:cNvPr id="349" name="Freeform 285">
                <a:extLst>
                  <a:ext uri="{FF2B5EF4-FFF2-40B4-BE49-F238E27FC236}">
                    <a16:creationId xmlns:a16="http://schemas.microsoft.com/office/drawing/2014/main" id="{967A60D9-6857-4CAF-94CB-55801FAB3563}"/>
                  </a:ext>
                </a:extLst>
              </p:cNvPr>
              <p:cNvSpPr/>
              <p:nvPr/>
            </p:nvSpPr>
            <p:spPr>
              <a:xfrm>
                <a:off x="6170590" y="-209966"/>
                <a:ext cx="19761" cy="44425"/>
              </a:xfrm>
              <a:custGeom>
                <a:avLst/>
                <a:gdLst>
                  <a:gd name="connsiteX0" fmla="*/ 6731 w 6825"/>
                  <a:gd name="connsiteY0" fmla="*/ 0 h 15258"/>
                  <a:gd name="connsiteX1" fmla="*/ 6826 w 6825"/>
                  <a:gd name="connsiteY1" fmla="*/ 15259 h 15258"/>
                  <a:gd name="connsiteX2" fmla="*/ 95 w 6825"/>
                  <a:gd name="connsiteY2" fmla="*/ 15259 h 15258"/>
                  <a:gd name="connsiteX3" fmla="*/ 0 w 6825"/>
                  <a:gd name="connsiteY3" fmla="*/ 0 h 15258"/>
                  <a:gd name="connsiteX4" fmla="*/ 6731 w 6825"/>
                  <a:gd name="connsiteY4" fmla="*/ 0 h 15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5" h="15258">
                    <a:moveTo>
                      <a:pt x="6731" y="0"/>
                    </a:moveTo>
                    <a:lnTo>
                      <a:pt x="6826" y="15259"/>
                    </a:lnTo>
                    <a:lnTo>
                      <a:pt x="95" y="15259"/>
                    </a:lnTo>
                    <a:lnTo>
                      <a:pt x="0" y="0"/>
                    </a:lnTo>
                    <a:lnTo>
                      <a:pt x="6731" y="0"/>
                    </a:lnTo>
                    <a:close/>
                  </a:path>
                </a:pathLst>
              </a:custGeom>
              <a:solidFill>
                <a:srgbClr val="FFFFFF"/>
              </a:solidFill>
              <a:ln w="9391" cap="flat">
                <a:noFill/>
                <a:prstDash val="solid"/>
                <a:miter/>
              </a:ln>
            </p:spPr>
            <p:txBody>
              <a:bodyPr rtlCol="0" anchor="ctr"/>
              <a:lstStyle/>
              <a:p>
                <a:endParaRPr lang="fr-FR"/>
              </a:p>
            </p:txBody>
          </p:sp>
          <p:sp>
            <p:nvSpPr>
              <p:cNvPr id="350" name="Freeform 286">
                <a:extLst>
                  <a:ext uri="{FF2B5EF4-FFF2-40B4-BE49-F238E27FC236}">
                    <a16:creationId xmlns:a16="http://schemas.microsoft.com/office/drawing/2014/main" id="{30D196BC-8487-43FC-A3F0-E3156393FB17}"/>
                  </a:ext>
                </a:extLst>
              </p:cNvPr>
              <p:cNvSpPr/>
              <p:nvPr/>
            </p:nvSpPr>
            <p:spPr>
              <a:xfrm rot="19455000">
                <a:off x="6216176" y="-224419"/>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351" name="Freeform 287">
                <a:extLst>
                  <a:ext uri="{FF2B5EF4-FFF2-40B4-BE49-F238E27FC236}">
                    <a16:creationId xmlns:a16="http://schemas.microsoft.com/office/drawing/2014/main" id="{4B93EEFF-9C9D-4B31-8A81-1F3ADEA915CB}"/>
                  </a:ext>
                </a:extLst>
              </p:cNvPr>
              <p:cNvSpPr/>
              <p:nvPr/>
            </p:nvSpPr>
            <p:spPr>
              <a:xfrm>
                <a:off x="6596877" y="-332485"/>
                <a:ext cx="186106" cy="187092"/>
              </a:xfrm>
              <a:custGeom>
                <a:avLst/>
                <a:gdLst>
                  <a:gd name="connsiteX0" fmla="*/ 64276 w 64276"/>
                  <a:gd name="connsiteY0" fmla="*/ 32129 h 64258"/>
                  <a:gd name="connsiteX1" fmla="*/ 32138 w 64276"/>
                  <a:gd name="connsiteY1" fmla="*/ 64258 h 64258"/>
                  <a:gd name="connsiteX2" fmla="*/ 0 w 64276"/>
                  <a:gd name="connsiteY2" fmla="*/ 32129 h 64258"/>
                  <a:gd name="connsiteX3" fmla="*/ 32138 w 64276"/>
                  <a:gd name="connsiteY3" fmla="*/ 0 h 64258"/>
                  <a:gd name="connsiteX4" fmla="*/ 64276 w 64276"/>
                  <a:gd name="connsiteY4" fmla="*/ 32129 h 64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76" h="64258">
                    <a:moveTo>
                      <a:pt x="64276" y="32129"/>
                    </a:moveTo>
                    <a:cubicBezTo>
                      <a:pt x="64276" y="49874"/>
                      <a:pt x="49888" y="64258"/>
                      <a:pt x="32138" y="64258"/>
                    </a:cubicBezTo>
                    <a:cubicBezTo>
                      <a:pt x="14389" y="64258"/>
                      <a:pt x="0" y="49874"/>
                      <a:pt x="0" y="32129"/>
                    </a:cubicBezTo>
                    <a:cubicBezTo>
                      <a:pt x="0" y="14385"/>
                      <a:pt x="14389" y="0"/>
                      <a:pt x="32138" y="0"/>
                    </a:cubicBezTo>
                    <a:cubicBezTo>
                      <a:pt x="49888" y="0"/>
                      <a:pt x="64276" y="14385"/>
                      <a:pt x="64276" y="32129"/>
                    </a:cubicBezTo>
                    <a:close/>
                  </a:path>
                </a:pathLst>
              </a:custGeom>
              <a:solidFill>
                <a:srgbClr val="FFFFFF"/>
              </a:solidFill>
              <a:ln w="9391" cap="flat">
                <a:noFill/>
                <a:prstDash val="solid"/>
                <a:miter/>
              </a:ln>
            </p:spPr>
            <p:txBody>
              <a:bodyPr rtlCol="0" anchor="ctr"/>
              <a:lstStyle/>
              <a:p>
                <a:endParaRPr lang="fr-FR"/>
              </a:p>
            </p:txBody>
          </p:sp>
          <p:sp>
            <p:nvSpPr>
              <p:cNvPr id="352" name="Freeform 288">
                <a:extLst>
                  <a:ext uri="{FF2B5EF4-FFF2-40B4-BE49-F238E27FC236}">
                    <a16:creationId xmlns:a16="http://schemas.microsoft.com/office/drawing/2014/main" id="{4E48416F-B517-4E73-A98B-C4052F1B31D6}"/>
                  </a:ext>
                </a:extLst>
              </p:cNvPr>
              <p:cNvSpPr/>
              <p:nvPr/>
            </p:nvSpPr>
            <p:spPr>
              <a:xfrm>
                <a:off x="6362736" y="-446176"/>
                <a:ext cx="92778" cy="93269"/>
              </a:xfrm>
              <a:custGeom>
                <a:avLst/>
                <a:gdLst>
                  <a:gd name="connsiteX0" fmla="*/ 32043 w 32043"/>
                  <a:gd name="connsiteY0" fmla="*/ 16017 h 32034"/>
                  <a:gd name="connsiteX1" fmla="*/ 16022 w 32043"/>
                  <a:gd name="connsiteY1" fmla="*/ 32034 h 32034"/>
                  <a:gd name="connsiteX2" fmla="*/ 0 w 32043"/>
                  <a:gd name="connsiteY2" fmla="*/ 16017 h 32034"/>
                  <a:gd name="connsiteX3" fmla="*/ 16022 w 32043"/>
                  <a:gd name="connsiteY3" fmla="*/ 0 h 32034"/>
                  <a:gd name="connsiteX4" fmla="*/ 32043 w 32043"/>
                  <a:gd name="connsiteY4" fmla="*/ 16017 h 32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43" h="32034">
                    <a:moveTo>
                      <a:pt x="32043" y="16017"/>
                    </a:moveTo>
                    <a:cubicBezTo>
                      <a:pt x="32043" y="24863"/>
                      <a:pt x="24870" y="32034"/>
                      <a:pt x="16022" y="32034"/>
                    </a:cubicBezTo>
                    <a:cubicBezTo>
                      <a:pt x="7173" y="32034"/>
                      <a:pt x="0" y="24863"/>
                      <a:pt x="0" y="16017"/>
                    </a:cubicBezTo>
                    <a:cubicBezTo>
                      <a:pt x="0" y="7171"/>
                      <a:pt x="7173" y="0"/>
                      <a:pt x="16022" y="0"/>
                    </a:cubicBezTo>
                    <a:cubicBezTo>
                      <a:pt x="24870" y="0"/>
                      <a:pt x="32043" y="7171"/>
                      <a:pt x="32043" y="16017"/>
                    </a:cubicBezTo>
                    <a:close/>
                  </a:path>
                </a:pathLst>
              </a:custGeom>
              <a:solidFill>
                <a:srgbClr val="FFFFFF"/>
              </a:solidFill>
              <a:ln w="9391" cap="flat">
                <a:noFill/>
                <a:prstDash val="solid"/>
                <a:miter/>
              </a:ln>
            </p:spPr>
            <p:txBody>
              <a:bodyPr rtlCol="0" anchor="ctr"/>
              <a:lstStyle/>
              <a:p>
                <a:endParaRPr lang="fr-FR"/>
              </a:p>
            </p:txBody>
          </p:sp>
        </p:grpSp>
      </p:grpSp>
      <p:sp>
        <p:nvSpPr>
          <p:cNvPr id="2" name="Title 1">
            <a:extLst>
              <a:ext uri="{FF2B5EF4-FFF2-40B4-BE49-F238E27FC236}">
                <a16:creationId xmlns:a16="http://schemas.microsoft.com/office/drawing/2014/main" id="{0DEC8B7A-CAA4-45E6-B937-935A05A2D1E7}"/>
              </a:ext>
            </a:extLst>
          </p:cNvPr>
          <p:cNvSpPr>
            <a:spLocks noGrp="1"/>
          </p:cNvSpPr>
          <p:nvPr>
            <p:ph type="title"/>
          </p:nvPr>
        </p:nvSpPr>
        <p:spPr>
          <a:xfrm>
            <a:off x="404813" y="0"/>
            <a:ext cx="10947772" cy="360000"/>
          </a:xfrm>
        </p:spPr>
        <p:txBody>
          <a:bodyPr/>
          <a:lstStyle/>
          <a:p>
            <a:r>
              <a:rPr lang="en-GB" sz="1400">
                <a:solidFill>
                  <a:schemeClr val="accent1"/>
                </a:solidFill>
              </a:rPr>
              <a:t>ICONS 5/5</a:t>
            </a:r>
          </a:p>
        </p:txBody>
      </p:sp>
      <p:sp>
        <p:nvSpPr>
          <p:cNvPr id="306" name="Rectangle 305">
            <a:extLst>
              <a:ext uri="{FF2B5EF4-FFF2-40B4-BE49-F238E27FC236}">
                <a16:creationId xmlns:a16="http://schemas.microsoft.com/office/drawing/2014/main" id="{C8DBFDA9-76D2-324F-8BC1-0CA6C8C1796B}"/>
              </a:ext>
              <a:ext uri="{C183D7F6-B498-43B3-948B-1728B52AA6E4}">
                <adec:decorative xmlns:adec="http://schemas.microsoft.com/office/drawing/2017/decorative" val="1"/>
              </a:ext>
            </a:extLst>
          </p:cNvPr>
          <p:cNvSpPr/>
          <p:nvPr/>
        </p:nvSpPr>
        <p:spPr>
          <a:xfrm>
            <a:off x="404813" y="504000"/>
            <a:ext cx="2051844"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TECHNOLOGY</a:t>
            </a:r>
          </a:p>
        </p:txBody>
      </p:sp>
      <p:sp>
        <p:nvSpPr>
          <p:cNvPr id="307" name="Rectangle 306">
            <a:extLst>
              <a:ext uri="{FF2B5EF4-FFF2-40B4-BE49-F238E27FC236}">
                <a16:creationId xmlns:a16="http://schemas.microsoft.com/office/drawing/2014/main" id="{FA3DA12F-4CE0-6541-BA6B-35543652FD4E}"/>
              </a:ext>
              <a:ext uri="{C183D7F6-B498-43B3-948B-1728B52AA6E4}">
                <adec:decorative xmlns:adec="http://schemas.microsoft.com/office/drawing/2017/decorative" val="1"/>
              </a:ext>
            </a:extLst>
          </p:cNvPr>
          <p:cNvSpPr/>
          <p:nvPr/>
        </p:nvSpPr>
        <p:spPr>
          <a:xfrm>
            <a:off x="6734967" y="504000"/>
            <a:ext cx="2678618"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MATERIAL/OFFICE</a:t>
            </a:r>
          </a:p>
        </p:txBody>
      </p:sp>
    </p:spTree>
    <p:extLst>
      <p:ext uri="{BB962C8B-B14F-4D97-AF65-F5344CB8AC3E}">
        <p14:creationId xmlns:p14="http://schemas.microsoft.com/office/powerpoint/2010/main" val="27275403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16B299-1BD0-8F41-B3B6-1EC6FB65DC9B}"/>
              </a:ext>
            </a:extLst>
          </p:cNvPr>
          <p:cNvSpPr>
            <a:spLocks noGrp="1"/>
          </p:cNvSpPr>
          <p:nvPr>
            <p:ph type="title" idx="4294967295"/>
          </p:nvPr>
        </p:nvSpPr>
        <p:spPr/>
        <p:txBody>
          <a:bodyPr/>
          <a:lstStyle/>
          <a:p>
            <a:r>
              <a:rPr lang="en-US"/>
              <a:t>Grid</a:t>
            </a:r>
          </a:p>
        </p:txBody>
      </p:sp>
      <p:graphicFrame>
        <p:nvGraphicFramePr>
          <p:cNvPr id="10" name="Table 3">
            <a:extLst>
              <a:ext uri="{FF2B5EF4-FFF2-40B4-BE49-F238E27FC236}">
                <a16:creationId xmlns:a16="http://schemas.microsoft.com/office/drawing/2014/main" id="{E0253388-B8D2-4037-898E-21EA06FA7EE5}"/>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2644102547"/>
              </p:ext>
            </p:extLst>
          </p:nvPr>
        </p:nvGraphicFramePr>
        <p:xfrm>
          <a:off x="0" y="0"/>
          <a:ext cx="12192000" cy="685800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4174112451"/>
                    </a:ext>
                  </a:extLst>
                </a:gridCol>
                <a:gridCol w="2438400">
                  <a:extLst>
                    <a:ext uri="{9D8B030D-6E8A-4147-A177-3AD203B41FA5}">
                      <a16:colId xmlns:a16="http://schemas.microsoft.com/office/drawing/2014/main" val="3735628474"/>
                    </a:ext>
                  </a:extLst>
                </a:gridCol>
                <a:gridCol w="2438400">
                  <a:extLst>
                    <a:ext uri="{9D8B030D-6E8A-4147-A177-3AD203B41FA5}">
                      <a16:colId xmlns:a16="http://schemas.microsoft.com/office/drawing/2014/main" val="1731711012"/>
                    </a:ext>
                  </a:extLst>
                </a:gridCol>
                <a:gridCol w="2438400">
                  <a:extLst>
                    <a:ext uri="{9D8B030D-6E8A-4147-A177-3AD203B41FA5}">
                      <a16:colId xmlns:a16="http://schemas.microsoft.com/office/drawing/2014/main" val="3362983216"/>
                    </a:ext>
                  </a:extLst>
                </a:gridCol>
                <a:gridCol w="2438400">
                  <a:extLst>
                    <a:ext uri="{9D8B030D-6E8A-4147-A177-3AD203B41FA5}">
                      <a16:colId xmlns:a16="http://schemas.microsoft.com/office/drawing/2014/main" val="2537935829"/>
                    </a:ext>
                  </a:extLst>
                </a:gridCol>
              </a:tblGrid>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2582589675"/>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1016742241"/>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984055194"/>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4094896334"/>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1236099691"/>
                  </a:ext>
                </a:extLst>
              </a:tr>
            </a:tbl>
          </a:graphicData>
        </a:graphic>
      </p:graphicFrame>
      <p:sp>
        <p:nvSpPr>
          <p:cNvPr id="2" name="Rectangle 1">
            <a:extLst>
              <a:ext uri="{FF2B5EF4-FFF2-40B4-BE49-F238E27FC236}">
                <a16:creationId xmlns:a16="http://schemas.microsoft.com/office/drawing/2014/main" id="{A54BCC49-9157-4FC2-A706-A7BB0C15F43C}"/>
              </a:ext>
            </a:extLst>
          </p:cNvPr>
          <p:cNvSpPr/>
          <p:nvPr/>
        </p:nvSpPr>
        <p:spPr>
          <a:xfrm>
            <a:off x="1160585" y="2967335"/>
            <a:ext cx="9870830" cy="923330"/>
          </a:xfrm>
          <a:prstGeom prst="rect">
            <a:avLst/>
          </a:prstGeom>
        </p:spPr>
        <p:txBody>
          <a:bodyPr wrap="square">
            <a:spAutoFit/>
          </a:bodyPr>
          <a:lstStyle/>
          <a:p>
            <a:pPr algn="ctr"/>
            <a:r>
              <a:rPr lang="en-GB">
                <a:solidFill>
                  <a:srgbClr val="FF0000"/>
                </a:solidFill>
                <a:latin typeface="Ubuntu" panose="020B0504030602030204" pitchFamily="34" charset="0"/>
                <a:ea typeface="Calibri" panose="020F0502020204030204" pitchFamily="34" charset="0"/>
              </a:rPr>
              <a:t>This complementary gridline can be copy-pasted as and when necessary.</a:t>
            </a:r>
          </a:p>
          <a:p>
            <a:pPr algn="ctr"/>
            <a:r>
              <a:rPr lang="en-GB">
                <a:solidFill>
                  <a:srgbClr val="FF0000"/>
                </a:solidFill>
                <a:latin typeface="Ubuntu" panose="020B0504030602030204" pitchFamily="34" charset="0"/>
                <a:ea typeface="Calibri" panose="020F0502020204030204" pitchFamily="34" charset="0"/>
              </a:rPr>
              <a:t>It can help position the different graphic elements on a page</a:t>
            </a:r>
          </a:p>
          <a:p>
            <a:pPr algn="ctr"/>
            <a:r>
              <a:rPr lang="en-GB">
                <a:solidFill>
                  <a:srgbClr val="FF0000"/>
                </a:solidFill>
                <a:latin typeface="Ubuntu" panose="020B0504030602030204" pitchFamily="34" charset="0"/>
                <a:ea typeface="Calibri" panose="020F0502020204030204" pitchFamily="34" charset="0"/>
              </a:rPr>
              <a:t>(photography, content, etc.)</a:t>
            </a:r>
            <a:endParaRPr lang="en-GB">
              <a:latin typeface="Ubuntu" panose="020B0504030602030204" pitchFamily="34" charset="0"/>
              <a:ea typeface="Calibri" panose="020F0502020204030204" pitchFamily="34" charset="0"/>
            </a:endParaRPr>
          </a:p>
        </p:txBody>
      </p:sp>
    </p:spTree>
    <p:extLst>
      <p:ext uri="{BB962C8B-B14F-4D97-AF65-F5344CB8AC3E}">
        <p14:creationId xmlns:p14="http://schemas.microsoft.com/office/powerpoint/2010/main" val="55117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p:txBody>
          <a:bodyPr/>
          <a:lstStyle/>
          <a:p>
            <a:r>
              <a:rPr lang="en-GB" dirty="0"/>
              <a:t>Date</a:t>
            </a:r>
          </a:p>
        </p:txBody>
      </p:sp>
      <p:pic>
        <p:nvPicPr>
          <p:cNvPr id="14" name="Picture Placeholder 13">
            <a:extLst>
              <a:ext uri="{FF2B5EF4-FFF2-40B4-BE49-F238E27FC236}">
                <a16:creationId xmlns:a16="http://schemas.microsoft.com/office/drawing/2014/main" id="{82975911-0F1F-4100-BAF7-ED06AC556CAB}"/>
              </a:ext>
              <a:ext uri="{C183D7F6-B498-43B3-948B-1728B52AA6E4}">
                <adec:decorative xmlns:adec="http://schemas.microsoft.com/office/drawing/2017/decorative" val="1"/>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1897" r="11897"/>
          <a:stretch/>
        </p:blipFill>
        <p:spPr/>
      </p:pic>
      <p:sp>
        <p:nvSpPr>
          <p:cNvPr id="5" name="Graphic 13">
            <a:extLst>
              <a:ext uri="{FF2B5EF4-FFF2-40B4-BE49-F238E27FC236}">
                <a16:creationId xmlns:a16="http://schemas.microsoft.com/office/drawing/2014/main" id="{BA954015-4FD7-4CEB-88CD-98A0783905C3}"/>
              </a:ext>
              <a:ext uri="{C183D7F6-B498-43B3-948B-1728B52AA6E4}">
                <adec:decorative xmlns:adec="http://schemas.microsoft.com/office/drawing/2017/decorative" val="1"/>
              </a:ext>
            </a:extLst>
          </p:cNvPr>
          <p:cNvSpPr>
            <a:spLocks noChangeAspect="1"/>
          </p:cNvSpPr>
          <p:nvPr/>
        </p:nvSpPr>
        <p:spPr>
          <a:xfrm>
            <a:off x="2627878" y="24492"/>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p:txBody>
          <a:bodyPr anchor="t"/>
          <a:lstStyle/>
          <a:p>
            <a:r>
              <a:rPr lang="en-GB" b="0" dirty="0">
                <a:latin typeface="+mj-lt"/>
              </a:rPr>
              <a:t>RWC 2023</a:t>
            </a:r>
            <a:br>
              <a:rPr lang="en-GB" b="0" dirty="0">
                <a:latin typeface="+mj-lt"/>
              </a:rPr>
            </a:br>
            <a:r>
              <a:rPr lang="en-GB" sz="7200" b="0" dirty="0"/>
              <a:t>Cover option</a:t>
            </a:r>
            <a:endParaRPr lang="en-GB" b="0" dirty="0"/>
          </a:p>
        </p:txBody>
      </p:sp>
    </p:spTree>
    <p:extLst>
      <p:ext uri="{BB962C8B-B14F-4D97-AF65-F5344CB8AC3E}">
        <p14:creationId xmlns:p14="http://schemas.microsoft.com/office/powerpoint/2010/main" val="38563055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33940544-1F8D-47E0-8BF8-BEED038F26D9}"/>
              </a:ext>
            </a:extLst>
          </p:cNvPr>
          <p:cNvSpPr>
            <a:spLocks noGrp="1"/>
          </p:cNvSpPr>
          <p:nvPr>
            <p:ph type="ctrTitle"/>
          </p:nvPr>
        </p:nvSpPr>
        <p:spPr/>
        <p:txBody>
          <a:bodyPr/>
          <a:lstStyle/>
          <a:p>
            <a:r>
              <a:rPr lang="en-GB" dirty="0"/>
              <a:t>Title </a:t>
            </a:r>
            <a:br>
              <a:rPr lang="en-GB" dirty="0"/>
            </a:br>
            <a:r>
              <a:rPr lang="en-GB" dirty="0"/>
              <a:t>       of the</a:t>
            </a:r>
            <a:br>
              <a:rPr lang="en-GB" dirty="0"/>
            </a:br>
            <a:r>
              <a:rPr lang="en-GB" dirty="0"/>
              <a:t>presentation</a:t>
            </a:r>
          </a:p>
        </p:txBody>
      </p:sp>
      <p:sp>
        <p:nvSpPr>
          <p:cNvPr id="7" name="Subtitle 6">
            <a:extLst>
              <a:ext uri="{FF2B5EF4-FFF2-40B4-BE49-F238E27FC236}">
                <a16:creationId xmlns:a16="http://schemas.microsoft.com/office/drawing/2014/main" id="{AECB22F9-0509-4B01-871A-AF9659BF1FD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000070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433B3DD-FE86-4824-ADDF-720BCB764B8B}"/>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t="7831" b="7831"/>
          <a:stretch/>
        </p:blipFill>
        <p:spPr>
          <a:xfrm>
            <a:off x="428" y="0"/>
            <a:ext cx="12191144" cy="6858001"/>
          </a:xfrm>
          <a:prstGeom prst="rect">
            <a:avLst/>
          </a:prstGeom>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sp>
        <p:nvSpPr>
          <p:cNvPr id="11" name="object 5">
            <a:extLst>
              <a:ext uri="{FF2B5EF4-FFF2-40B4-BE49-F238E27FC236}">
                <a16:creationId xmlns:a16="http://schemas.microsoft.com/office/drawing/2014/main" id="{14918BB1-58F4-42AC-859A-E60DF368D314}"/>
              </a:ext>
            </a:extLst>
          </p:cNvPr>
          <p:cNvSpPr txBox="1">
            <a:spLocks/>
          </p:cNvSpPr>
          <p:nvPr/>
        </p:nvSpPr>
        <p:spPr>
          <a:xfrm>
            <a:off x="2168342" y="3092375"/>
            <a:ext cx="3684694" cy="594969"/>
          </a:xfrm>
          <a:prstGeom prst="rect">
            <a:avLst/>
          </a:prstGeom>
        </p:spPr>
        <p:txBody>
          <a:bodyPr vert="horz" wrap="square" lIns="0" tIns="90105" rIns="0" bIns="0" rtlCol="0" anchor="b">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a:lnSpc>
                <a:spcPct val="100000"/>
              </a:lnSpc>
              <a:spcBef>
                <a:spcPts val="0"/>
              </a:spcBef>
            </a:pPr>
            <a:r>
              <a:rPr lang="en-US" sz="3275" spc="-6" dirty="0">
                <a:latin typeface="+mj-lt"/>
              </a:rPr>
              <a:t>SECTION TITLE</a:t>
            </a:r>
            <a:endParaRPr lang="en-US" sz="3275" dirty="0">
              <a:solidFill>
                <a:schemeClr val="accent2"/>
              </a:solidFill>
              <a:latin typeface="+mj-lt"/>
            </a:endParaRPr>
          </a:p>
        </p:txBody>
      </p:sp>
      <p:sp>
        <p:nvSpPr>
          <p:cNvPr id="2" name="Title 1">
            <a:extLst>
              <a:ext uri="{FF2B5EF4-FFF2-40B4-BE49-F238E27FC236}">
                <a16:creationId xmlns:a16="http://schemas.microsoft.com/office/drawing/2014/main" id="{9AF10C5A-D255-41D5-971B-5A78A1708E4C}"/>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779514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21A34FC1-D627-4971-AEEC-E01EDBA70A46}"/>
              </a:ext>
              <a:ext uri="{C183D7F6-B498-43B3-948B-1728B52AA6E4}">
                <adec:decorative xmlns:adec="http://schemas.microsoft.com/office/drawing/2017/decorative" val="1"/>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31254" b="31254"/>
          <a:stretch/>
        </p:blipFill>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a:solidFill>
                <a:schemeClr val="tx1"/>
              </a:solidFill>
              <a:latin typeface="+mj-lt"/>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2008055" y="3132138"/>
            <a:ext cx="3797300" cy="593725"/>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l" defTabSz="1507846" rtl="0" eaLnBrk="1" fontAlgn="auto" latinLnBrk="0" hangingPunct="1">
              <a:lnSpc>
                <a:spcPct val="100000"/>
              </a:lnSpc>
              <a:spcBef>
                <a:spcPts val="0"/>
              </a:spcBef>
              <a:spcAft>
                <a:spcPts val="0"/>
              </a:spcAft>
              <a:buClrTx/>
              <a:buSzTx/>
              <a:buFontTx/>
              <a:buNone/>
              <a:tabLst/>
              <a:defRPr/>
            </a:pPr>
            <a:r>
              <a:rPr kumimoji="0" lang="en-US" sz="3275" b="0" i="0" u="none" strike="noStrike" kern="1200" cap="all" spc="-6" normalizeH="0" baseline="0" noProof="0" dirty="0">
                <a:ln>
                  <a:noFill/>
                </a:ln>
                <a:solidFill>
                  <a:schemeClr val="bg1"/>
                </a:solidFill>
                <a:effectLst/>
                <a:uLnTx/>
                <a:uFillTx/>
                <a:latin typeface="Ubuntu Light"/>
                <a:ea typeface="+mj-ea"/>
                <a:cs typeface="Ubuntu Light"/>
              </a:rPr>
              <a:t>SECTION TITLE</a:t>
            </a:r>
            <a:endParaRPr kumimoji="0" lang="en-US" sz="3275" b="0" i="0" u="none" strike="noStrike" kern="1200" cap="all" spc="0" normalizeH="0" baseline="0" noProof="0" dirty="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16258732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65403A7-3E52-40D1-8862-A25F9A0ADEF7}"/>
              </a:ext>
            </a:extLst>
          </p:cNvPr>
          <p:cNvSpPr>
            <a:spLocks noGrp="1"/>
          </p:cNvSpPr>
          <p:nvPr>
            <p:ph type="title"/>
          </p:nvPr>
        </p:nvSpPr>
        <p:spPr>
          <a:xfrm>
            <a:off x="5951983" y="1161430"/>
            <a:ext cx="5756468" cy="1115442"/>
          </a:xfrm>
        </p:spPr>
        <p:txBody>
          <a:bodyPr/>
          <a:lstStyle/>
          <a:p>
            <a:endParaRPr lang="en-US" dirty="0"/>
          </a:p>
        </p:txBody>
      </p:sp>
      <p:sp>
        <p:nvSpPr>
          <p:cNvPr id="12" name="Text Placeholder 11">
            <a:extLst>
              <a:ext uri="{FF2B5EF4-FFF2-40B4-BE49-F238E27FC236}">
                <a16:creationId xmlns:a16="http://schemas.microsoft.com/office/drawing/2014/main" id="{5B2E85D1-20D2-44A8-BFB4-6070EE51690E}"/>
              </a:ext>
            </a:extLst>
          </p:cNvPr>
          <p:cNvSpPr>
            <a:spLocks noGrp="1"/>
          </p:cNvSpPr>
          <p:nvPr>
            <p:ph type="body" sz="quarter" idx="11"/>
          </p:nvPr>
        </p:nvSpPr>
        <p:spPr>
          <a:xfrm>
            <a:off x="5934039" y="2492374"/>
            <a:ext cx="5774412" cy="3600922"/>
          </a:xfrm>
        </p:spPr>
        <p:txBody>
          <a:bodyPr/>
          <a:lstStyle/>
          <a:p>
            <a:endParaRPr lang="en-US"/>
          </a:p>
        </p:txBody>
      </p:sp>
      <p:pic>
        <p:nvPicPr>
          <p:cNvPr id="7" name="Picture Placeholder 6">
            <a:extLst>
              <a:ext uri="{FF2B5EF4-FFF2-40B4-BE49-F238E27FC236}">
                <a16:creationId xmlns:a16="http://schemas.microsoft.com/office/drawing/2014/main" id="{BD6BFFA2-5C7F-48EE-8AE1-24EB187D14AE}"/>
              </a:ext>
              <a:ext uri="{C183D7F6-B498-43B3-948B-1728B52AA6E4}">
                <adec:decorative xmlns:adec="http://schemas.microsoft.com/office/drawing/2017/decorative" val="1"/>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 t="22830" r="44922"/>
          <a:stretch/>
        </p:blipFill>
        <p:spPr>
          <a:xfrm>
            <a:off x="-1968896" y="0"/>
            <a:ext cx="7344816" cy="6858000"/>
          </a:xfrm>
          <a:prstGeom prst="rect">
            <a:avLst/>
          </a:prstGeom>
        </p:spPr>
      </p:pic>
      <p:sp>
        <p:nvSpPr>
          <p:cNvPr id="16" name="Graphic 1">
            <a:extLst>
              <a:ext uri="{FF2B5EF4-FFF2-40B4-BE49-F238E27FC236}">
                <a16:creationId xmlns:a16="http://schemas.microsoft.com/office/drawing/2014/main" id="{21B2CF7E-E8F6-4A2F-9828-4F9A39B0864F}"/>
              </a:ext>
              <a:ext uri="{C183D7F6-B498-43B3-948B-1728B52AA6E4}">
                <adec:decorative xmlns:adec="http://schemas.microsoft.com/office/drawing/2017/decorative" val="1"/>
              </a:ext>
            </a:extLst>
          </p:cNvPr>
          <p:cNvSpPr/>
          <p:nvPr/>
        </p:nvSpPr>
        <p:spPr>
          <a:xfrm rot="282033">
            <a:off x="-206574" y="208666"/>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299035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E9CF4-3C32-4C37-B18B-E636F778BE9F}"/>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77E6C473-01A0-4BEB-891F-13DECE01D047}"/>
              </a:ext>
            </a:extLst>
          </p:cNvPr>
          <p:cNvSpPr>
            <a:spLocks noGrp="1"/>
          </p:cNvSpPr>
          <p:nvPr>
            <p:ph type="body" sz="quarter" idx="35"/>
          </p:nvPr>
        </p:nvSpPr>
        <p:spPr/>
        <p:txBody>
          <a:bodyPr/>
          <a:lstStyle/>
          <a:p>
            <a:endParaRPr lang="en-US"/>
          </a:p>
        </p:txBody>
      </p:sp>
      <p:sp>
        <p:nvSpPr>
          <p:cNvPr id="4" name="Text Placeholder 3">
            <a:extLst>
              <a:ext uri="{FF2B5EF4-FFF2-40B4-BE49-F238E27FC236}">
                <a16:creationId xmlns:a16="http://schemas.microsoft.com/office/drawing/2014/main" id="{E58C5A31-D149-4A77-B1FA-AEF081F2C19C}"/>
              </a:ext>
            </a:extLst>
          </p:cNvPr>
          <p:cNvSpPr>
            <a:spLocks noGrp="1"/>
          </p:cNvSpPr>
          <p:nvPr>
            <p:ph type="body" sz="quarter" idx="29"/>
          </p:nvPr>
        </p:nvSpPr>
        <p:spPr/>
        <p:txBody>
          <a:bodyPr/>
          <a:lstStyle/>
          <a:p>
            <a:endParaRPr lang="en-US"/>
          </a:p>
        </p:txBody>
      </p:sp>
      <p:sp>
        <p:nvSpPr>
          <p:cNvPr id="5" name="Text Placeholder 4">
            <a:extLst>
              <a:ext uri="{FF2B5EF4-FFF2-40B4-BE49-F238E27FC236}">
                <a16:creationId xmlns:a16="http://schemas.microsoft.com/office/drawing/2014/main" id="{B0334DF6-04AF-4BE3-A35B-8DCFE1BE493B}"/>
              </a:ext>
            </a:extLst>
          </p:cNvPr>
          <p:cNvSpPr>
            <a:spLocks noGrp="1"/>
          </p:cNvSpPr>
          <p:nvPr>
            <p:ph type="body" sz="quarter" idx="30"/>
          </p:nvPr>
        </p:nvSpPr>
        <p:spPr/>
        <p:txBody>
          <a:bodyPr/>
          <a:lstStyle/>
          <a:p>
            <a:endParaRPr lang="en-US"/>
          </a:p>
        </p:txBody>
      </p:sp>
      <p:sp>
        <p:nvSpPr>
          <p:cNvPr id="6" name="Text Placeholder 5">
            <a:extLst>
              <a:ext uri="{FF2B5EF4-FFF2-40B4-BE49-F238E27FC236}">
                <a16:creationId xmlns:a16="http://schemas.microsoft.com/office/drawing/2014/main" id="{BE962306-4FAD-41B1-8F31-A4380ABFA013}"/>
              </a:ext>
            </a:extLst>
          </p:cNvPr>
          <p:cNvSpPr>
            <a:spLocks noGrp="1"/>
          </p:cNvSpPr>
          <p:nvPr>
            <p:ph type="body" sz="quarter" idx="36"/>
          </p:nvPr>
        </p:nvSpPr>
        <p:spPr/>
        <p:txBody>
          <a:bodyPr/>
          <a:lstStyle/>
          <a:p>
            <a:endParaRPr lang="en-US"/>
          </a:p>
        </p:txBody>
      </p:sp>
      <p:sp>
        <p:nvSpPr>
          <p:cNvPr id="7" name="Text Placeholder 6">
            <a:extLst>
              <a:ext uri="{FF2B5EF4-FFF2-40B4-BE49-F238E27FC236}">
                <a16:creationId xmlns:a16="http://schemas.microsoft.com/office/drawing/2014/main" id="{AC0330D6-72DD-4B5F-AA36-9744C4C0CAAA}"/>
              </a:ext>
            </a:extLst>
          </p:cNvPr>
          <p:cNvSpPr>
            <a:spLocks noGrp="1"/>
          </p:cNvSpPr>
          <p:nvPr>
            <p:ph type="body" sz="quarter" idx="33"/>
          </p:nvPr>
        </p:nvSpPr>
        <p:spPr/>
        <p:txBody>
          <a:bodyPr/>
          <a:lstStyle/>
          <a:p>
            <a:endParaRPr lang="en-US"/>
          </a:p>
        </p:txBody>
      </p:sp>
      <p:sp>
        <p:nvSpPr>
          <p:cNvPr id="8" name="Text Placeholder 7">
            <a:extLst>
              <a:ext uri="{FF2B5EF4-FFF2-40B4-BE49-F238E27FC236}">
                <a16:creationId xmlns:a16="http://schemas.microsoft.com/office/drawing/2014/main" id="{451207CF-CD0B-48DB-8560-064A477A3453}"/>
              </a:ext>
            </a:extLst>
          </p:cNvPr>
          <p:cNvSpPr>
            <a:spLocks noGrp="1"/>
          </p:cNvSpPr>
          <p:nvPr>
            <p:ph type="body" sz="quarter" idx="34"/>
          </p:nvPr>
        </p:nvSpPr>
        <p:spPr/>
        <p:txBody>
          <a:bodyPr/>
          <a:lstStyle/>
          <a:p>
            <a:endParaRPr lang="en-US"/>
          </a:p>
        </p:txBody>
      </p:sp>
      <p:sp>
        <p:nvSpPr>
          <p:cNvPr id="9" name="Text Placeholder 8">
            <a:extLst>
              <a:ext uri="{FF2B5EF4-FFF2-40B4-BE49-F238E27FC236}">
                <a16:creationId xmlns:a16="http://schemas.microsoft.com/office/drawing/2014/main" id="{E0DA6444-7759-4508-8551-914249CF851F}"/>
              </a:ext>
            </a:extLst>
          </p:cNvPr>
          <p:cNvSpPr>
            <a:spLocks noGrp="1"/>
          </p:cNvSpPr>
          <p:nvPr>
            <p:ph type="body" sz="quarter" idx="37"/>
          </p:nvPr>
        </p:nvSpPr>
        <p:spPr/>
        <p:txBody>
          <a:bodyPr/>
          <a:lstStyle/>
          <a:p>
            <a:endParaRPr lang="en-US"/>
          </a:p>
        </p:txBody>
      </p:sp>
      <p:sp>
        <p:nvSpPr>
          <p:cNvPr id="10" name="Text Placeholder 9">
            <a:extLst>
              <a:ext uri="{FF2B5EF4-FFF2-40B4-BE49-F238E27FC236}">
                <a16:creationId xmlns:a16="http://schemas.microsoft.com/office/drawing/2014/main" id="{A0EE0FC3-D6FE-4D17-A476-DC93EAD57518}"/>
              </a:ext>
            </a:extLst>
          </p:cNvPr>
          <p:cNvSpPr>
            <a:spLocks noGrp="1"/>
          </p:cNvSpPr>
          <p:nvPr>
            <p:ph type="body" sz="quarter" idx="31"/>
          </p:nvPr>
        </p:nvSpPr>
        <p:spPr/>
        <p:txBody>
          <a:bodyPr/>
          <a:lstStyle/>
          <a:p>
            <a:endParaRPr lang="en-US"/>
          </a:p>
        </p:txBody>
      </p:sp>
      <p:sp>
        <p:nvSpPr>
          <p:cNvPr id="11" name="Text Placeholder 10">
            <a:extLst>
              <a:ext uri="{FF2B5EF4-FFF2-40B4-BE49-F238E27FC236}">
                <a16:creationId xmlns:a16="http://schemas.microsoft.com/office/drawing/2014/main" id="{78DB8EF7-0253-4615-9921-1F992CA317CF}"/>
              </a:ext>
            </a:extLst>
          </p:cNvPr>
          <p:cNvSpPr>
            <a:spLocks noGrp="1"/>
          </p:cNvSpPr>
          <p:nvPr>
            <p:ph type="body" sz="quarter" idx="32"/>
          </p:nvPr>
        </p:nvSpPr>
        <p:spPr/>
        <p:txBody>
          <a:bodyPr/>
          <a:lstStyle/>
          <a:p>
            <a:endParaRPr lang="en-US"/>
          </a:p>
        </p:txBody>
      </p:sp>
    </p:spTree>
    <p:extLst>
      <p:ext uri="{BB962C8B-B14F-4D97-AF65-F5344CB8AC3E}">
        <p14:creationId xmlns:p14="http://schemas.microsoft.com/office/powerpoint/2010/main" val="36414872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p:txBody>
          <a:bodyPr/>
          <a:lstStyle/>
          <a:p>
            <a:r>
              <a:rPr lang="en-GB" dirty="0"/>
              <a:t>SECTION TITLE</a:t>
            </a:r>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p:txBody>
          <a:bodyPr/>
          <a:lstStyle/>
          <a:p>
            <a:pPr lvl="0"/>
            <a:r>
              <a:rPr lang="en-GB" dirty="0"/>
              <a:t>Short chapter description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a:t>
            </a:r>
            <a:r>
              <a:rPr lang="en-GB" dirty="0"/>
              <a:t>.</a:t>
            </a:r>
          </a:p>
        </p:txBody>
      </p:sp>
      <p:sp>
        <p:nvSpPr>
          <p:cNvPr id="9" name="Text Placeholder 8">
            <a:extLst>
              <a:ext uri="{FF2B5EF4-FFF2-40B4-BE49-F238E27FC236}">
                <a16:creationId xmlns:a16="http://schemas.microsoft.com/office/drawing/2014/main" id="{FD8DB46D-24B3-4C2D-B6BA-51EE035F499B}"/>
              </a:ext>
            </a:extLst>
          </p:cNvPr>
          <p:cNvSpPr>
            <a:spLocks noGrp="1"/>
          </p:cNvSpPr>
          <p:nvPr>
            <p:ph type="body" sz="quarter" idx="10"/>
          </p:nvPr>
        </p:nvSpPr>
        <p:spPr/>
        <p:txBody>
          <a:bodyPr/>
          <a:lstStyle/>
          <a:p>
            <a:r>
              <a:rPr lang="en-US" dirty="0"/>
              <a:t>SUB-TITLE</a:t>
            </a:r>
          </a:p>
        </p:txBody>
      </p:sp>
    </p:spTree>
    <p:extLst>
      <p:ext uri="{BB962C8B-B14F-4D97-AF65-F5344CB8AC3E}">
        <p14:creationId xmlns:p14="http://schemas.microsoft.com/office/powerpoint/2010/main" val="1805741369"/>
      </p:ext>
    </p:extLst>
  </p:cSld>
  <p:clrMapOvr>
    <a:masterClrMapping/>
  </p:clrMapOvr>
  <p:transition spd="slow">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77A9EF75-81EC-4B12-8225-97BB186E3155}"/>
              </a:ext>
              <a:ext uri="{C183D7F6-B498-43B3-948B-1728B52AA6E4}">
                <adec:decorative xmlns:adec="http://schemas.microsoft.com/office/drawing/2017/decorative" val="1"/>
              </a:ext>
            </a:extLst>
          </p:cNvPr>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rcRect t="8942" b="8942"/>
          <a:stretch/>
        </p:blipFill>
        <p:spPr>
          <a:xfrm>
            <a:off x="0" y="-7185"/>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p:spPr>
      </p:pic>
      <p:sp>
        <p:nvSpPr>
          <p:cNvPr id="10" name="Graphic 1">
            <a:extLst>
              <a:ext uri="{FF2B5EF4-FFF2-40B4-BE49-F238E27FC236}">
                <a16:creationId xmlns:a16="http://schemas.microsoft.com/office/drawing/2014/main" id="{51F26A1E-B972-4E1E-8F40-2AEF4E906C2B}"/>
              </a:ext>
              <a:ext uri="{C183D7F6-B498-43B3-948B-1728B52AA6E4}">
                <adec:decorative xmlns:adec="http://schemas.microsoft.com/office/drawing/2017/decorative" val="1"/>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8" name="Title 3">
            <a:extLst>
              <a:ext uri="{FF2B5EF4-FFF2-40B4-BE49-F238E27FC236}">
                <a16:creationId xmlns:a16="http://schemas.microsoft.com/office/drawing/2014/main" id="{41A2EA20-9ECC-49E3-9F6F-A1C8AFEF2D29}"/>
              </a:ext>
            </a:extLst>
          </p:cNvPr>
          <p:cNvSpPr txBox="1">
            <a:spLocks/>
          </p:cNvSpPr>
          <p:nvPr/>
        </p:nvSpPr>
        <p:spPr>
          <a:xfrm flipH="1">
            <a:off x="-1" y="899060"/>
            <a:ext cx="12191999" cy="2215991"/>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8000" b="1" dirty="0">
                <a:solidFill>
                  <a:schemeClr val="bg1"/>
                </a:solidFill>
                <a:latin typeface="Ubuntu" panose="020B0504030602030204" pitchFamily="34" charset="0"/>
              </a:rPr>
              <a:t> HEADLINE</a:t>
            </a:r>
            <a:br>
              <a:rPr lang="en-GB" sz="8000" b="1" dirty="0">
                <a:solidFill>
                  <a:schemeClr val="bg1"/>
                </a:solidFill>
                <a:latin typeface="Ubuntu" panose="020B0504030602030204" pitchFamily="34" charset="0"/>
              </a:rPr>
            </a:br>
            <a:r>
              <a:rPr lang="en-GB" sz="8000" b="1" dirty="0">
                <a:solidFill>
                  <a:schemeClr val="bg1"/>
                </a:solidFill>
                <a:latin typeface="Ubuntu" panose="020B0504030602030204" pitchFamily="34" charset="0"/>
              </a:rPr>
              <a:t>UBUNTU BOLD</a:t>
            </a:r>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dirty="0">
                <a:solidFill>
                  <a:schemeClr val="bg1"/>
                </a:solidFill>
                <a:latin typeface="Ubuntu" panose="020B0504030602030204" pitchFamily="34" charset="0"/>
              </a:rPr>
              <a:t>Short chapter description lorem ipsum </a:t>
            </a:r>
            <a:r>
              <a:rPr lang="en-GB" sz="2000" dirty="0" err="1">
                <a:solidFill>
                  <a:schemeClr val="bg1"/>
                </a:solidFill>
                <a:latin typeface="Ubuntu" panose="020B0504030602030204" pitchFamily="34" charset="0"/>
              </a:rPr>
              <a:t>dolor</a:t>
            </a:r>
            <a:r>
              <a:rPr lang="en-GB" sz="2000" dirty="0">
                <a:solidFill>
                  <a:schemeClr val="bg1"/>
                </a:solidFill>
                <a:latin typeface="Ubuntu" panose="020B0504030602030204" pitchFamily="34" charset="0"/>
              </a:rPr>
              <a:t> sit </a:t>
            </a:r>
            <a:r>
              <a:rPr lang="en-GB" sz="2000" dirty="0" err="1">
                <a:solidFill>
                  <a:schemeClr val="bg1"/>
                </a:solidFill>
                <a:latin typeface="Ubuntu" panose="020B0504030602030204" pitchFamily="34" charset="0"/>
              </a:rPr>
              <a:t>ame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consectetur</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adipiscing</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eli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sed</a:t>
            </a:r>
            <a:r>
              <a:rPr lang="en-GB" sz="2000" dirty="0">
                <a:solidFill>
                  <a:schemeClr val="bg1"/>
                </a:solidFill>
                <a:latin typeface="Ubuntu" panose="020B0504030602030204" pitchFamily="34" charset="0"/>
              </a:rPr>
              <a:t> do </a:t>
            </a:r>
            <a:r>
              <a:rPr lang="en-GB" sz="2000" dirty="0" err="1">
                <a:solidFill>
                  <a:schemeClr val="bg1"/>
                </a:solidFill>
                <a:latin typeface="Ubuntu" panose="020B0504030602030204" pitchFamily="34" charset="0"/>
              </a:rPr>
              <a:t>eiusmod</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tempor</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incididun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u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labore</a:t>
            </a:r>
            <a:r>
              <a:rPr lang="en-GB" sz="2000" dirty="0">
                <a:solidFill>
                  <a:schemeClr val="bg1"/>
                </a:solidFill>
                <a:latin typeface="Ubuntu" panose="020B0504030602030204" pitchFamily="34" charset="0"/>
              </a:rPr>
              <a:t> et dolore magna </a:t>
            </a:r>
            <a:r>
              <a:rPr lang="en-GB" sz="2000" dirty="0" err="1">
                <a:solidFill>
                  <a:schemeClr val="bg1"/>
                </a:solidFill>
                <a:latin typeface="Ubuntu" panose="020B0504030602030204" pitchFamily="34" charset="0"/>
              </a:rPr>
              <a:t>aliqua</a:t>
            </a:r>
            <a:r>
              <a:rPr lang="en-GB" sz="2000" dirty="0">
                <a:solidFill>
                  <a:schemeClr val="bg1"/>
                </a:solidFill>
                <a:latin typeface="Ubuntu" panose="020B0504030602030204" pitchFamily="34" charset="0"/>
              </a:rPr>
              <a:t>.</a:t>
            </a:r>
          </a:p>
        </p:txBody>
      </p:sp>
    </p:spTree>
    <p:extLst>
      <p:ext uri="{BB962C8B-B14F-4D97-AF65-F5344CB8AC3E}">
        <p14:creationId xmlns:p14="http://schemas.microsoft.com/office/powerpoint/2010/main" val="117059514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51ED51-0830-47E3-B625-60D38FF57CC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t="10531" r="-25" b="4946"/>
          <a:stretch/>
        </p:blipFill>
        <p:spPr>
          <a:xfrm>
            <a:off x="2904" y="-14000"/>
            <a:ext cx="12189096" cy="6872000"/>
          </a:xfrm>
          <a:prstGeom prst="rect">
            <a:avLst/>
          </a:prstGeom>
        </p:spPr>
      </p:pic>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6040" y="3212976"/>
            <a:ext cx="8816231" cy="4210732"/>
          </a:xfrm>
          <a:prstGeom prst="rect">
            <a:avLst/>
          </a:prstGeom>
        </p:spPr>
      </p:pic>
      <p:sp>
        <p:nvSpPr>
          <p:cNvPr id="12" name="Subtitle 11">
            <a:extLst>
              <a:ext uri="{FF2B5EF4-FFF2-40B4-BE49-F238E27FC236}">
                <a16:creationId xmlns:a16="http://schemas.microsoft.com/office/drawing/2014/main" id="{D6FB26B8-F14B-4E9A-8E4A-83A5389E8665}"/>
              </a:ext>
            </a:extLst>
          </p:cNvPr>
          <p:cNvSpPr>
            <a:spLocks noGrp="1"/>
          </p:cNvSpPr>
          <p:nvPr>
            <p:ph type="subTitle" idx="4294967295"/>
          </p:nvPr>
        </p:nvSpPr>
        <p:spPr>
          <a:xfrm>
            <a:off x="10389048" y="6296025"/>
            <a:ext cx="1728192" cy="555625"/>
          </a:xfrm>
        </p:spPr>
        <p:txBody>
          <a:bodyPr/>
          <a:lstStyle/>
          <a:p>
            <a:pPr algn="r"/>
            <a:r>
              <a:rPr lang="en-GB" dirty="0">
                <a:solidFill>
                  <a:schemeClr val="bg1"/>
                </a:solidFill>
              </a:rPr>
              <a:t>capgemini.com</a:t>
            </a:r>
          </a:p>
        </p:txBody>
      </p:sp>
    </p:spTree>
    <p:extLst>
      <p:ext uri="{BB962C8B-B14F-4D97-AF65-F5344CB8AC3E}">
        <p14:creationId xmlns:p14="http://schemas.microsoft.com/office/powerpoint/2010/main" val="116139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DB4EEE-86F7-4D2F-B034-49A933722398}"/>
              </a:ext>
            </a:extLst>
          </p:cNvPr>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2" name="Rectangle 1">
            <a:extLst>
              <a:ext uri="{FF2B5EF4-FFF2-40B4-BE49-F238E27FC236}">
                <a16:creationId xmlns:a16="http://schemas.microsoft.com/office/drawing/2014/main" id="{B45BD135-4570-4D32-B9C6-7B33F0A6381F}"/>
              </a:ext>
            </a:extLst>
          </p:cNvPr>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 name="Rectangle 3">
            <a:extLst>
              <a:ext uri="{FF2B5EF4-FFF2-40B4-BE49-F238E27FC236}">
                <a16:creationId xmlns:a16="http://schemas.microsoft.com/office/drawing/2014/main" id="{AA4E526E-455B-4BFD-8B74-B3A9273B6E15}"/>
              </a:ext>
            </a:extLst>
          </p:cNvPr>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10444162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D2FABB-32BD-4175-9E3A-F3B07F8EAAE5}"/>
              </a:ext>
            </a:extLst>
          </p:cNvPr>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2" name="Rectangle 1">
            <a:extLst>
              <a:ext uri="{FF2B5EF4-FFF2-40B4-BE49-F238E27FC236}">
                <a16:creationId xmlns:a16="http://schemas.microsoft.com/office/drawing/2014/main" id="{458F65B2-649B-4F2B-A227-F6B9617DA8A0}"/>
              </a:ext>
            </a:extLst>
          </p:cNvPr>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US" sz="900" dirty="0" err="1">
                <a:solidFill>
                  <a:schemeClr val="bg1"/>
                </a:solidFill>
                <a:effectLst/>
                <a:latin typeface="Ubuntu" panose="020B0504030602030204" pitchFamily="34" charset="0"/>
              </a:rPr>
              <a:t>fuelled</a:t>
            </a:r>
            <a:r>
              <a:rPr lang="en-US" sz="900" dirty="0">
                <a:solidFill>
                  <a:schemeClr val="bg1"/>
                </a:solidFill>
                <a:effectLst/>
                <a:latin typeface="Ubuntu" panose="020B0504030602030204" pitchFamily="34" charset="0"/>
              </a:rPr>
              <a:t> by the fast evolving and innovative world of cloud, data, AI, connectivity, software, digital engineering and platforms. The Group reported in 2020 global revenues of €16 billion.</a:t>
            </a:r>
          </a:p>
        </p:txBody>
      </p:sp>
      <p:sp>
        <p:nvSpPr>
          <p:cNvPr id="9" name="Rectangle 8">
            <a:extLst>
              <a:ext uri="{FF2B5EF4-FFF2-40B4-BE49-F238E27FC236}">
                <a16:creationId xmlns:a16="http://schemas.microsoft.com/office/drawing/2014/main" id="{42299688-02E1-4A84-B2DC-A0B9C73B66CF}"/>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
        <p:nvSpPr>
          <p:cNvPr id="4" name="Rectangle 3">
            <a:extLst>
              <a:ext uri="{FF2B5EF4-FFF2-40B4-BE49-F238E27FC236}">
                <a16:creationId xmlns:a16="http://schemas.microsoft.com/office/drawing/2014/main" id="{39657103-2682-4FEE-A6A3-80F86E56C52E}"/>
              </a:ext>
            </a:extLst>
          </p:cNvPr>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5" name="Rectangle 4">
            <a:extLst>
              <a:ext uri="{FF2B5EF4-FFF2-40B4-BE49-F238E27FC236}">
                <a16:creationId xmlns:a16="http://schemas.microsoft.com/office/drawing/2014/main" id="{219D88EC-974E-432C-B653-2832B1584016}"/>
              </a:ext>
            </a:extLst>
          </p:cNvPr>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 name="Rectangle 5">
            <a:extLst>
              <a:ext uri="{FF2B5EF4-FFF2-40B4-BE49-F238E27FC236}">
                <a16:creationId xmlns:a16="http://schemas.microsoft.com/office/drawing/2014/main" id="{8DA1B48E-5B9B-45DC-9357-26426A7F3B54}"/>
              </a:ext>
            </a:extLst>
          </p:cNvPr>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7" name="Rectangle 6">
            <a:extLst>
              <a:ext uri="{FF2B5EF4-FFF2-40B4-BE49-F238E27FC236}">
                <a16:creationId xmlns:a16="http://schemas.microsoft.com/office/drawing/2014/main" id="{2C1154CD-16B3-47B3-8A7E-83E99EB596EE}"/>
              </a:ext>
            </a:extLst>
          </p:cNvPr>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8" name="Straight Connector 7">
            <a:extLst>
              <a:ext uri="{FF2B5EF4-FFF2-40B4-BE49-F238E27FC236}">
                <a16:creationId xmlns:a16="http://schemas.microsoft.com/office/drawing/2014/main" id="{4B4842BF-87CD-4DFC-AE0E-02495D8586A8}"/>
              </a:ext>
              <a:ext uri="{C183D7F6-B498-43B3-948B-1728B52AA6E4}">
                <adec:decorative xmlns:adec="http://schemas.microsoft.com/office/drawing/2017/decorative" val="1"/>
              </a:ext>
            </a:extLst>
          </p:cNvPr>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23476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p:txBody>
          <a:bodyPr/>
          <a:lstStyle/>
          <a:p>
            <a:r>
              <a:rPr lang="en-GB" dirty="0"/>
              <a:t>SECTION TITLE</a:t>
            </a: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p:txBody>
          <a:bodyPr/>
          <a:lstStyle/>
          <a:p>
            <a:r>
              <a:rPr lang="en-GB" dirty="0">
                <a:solidFill>
                  <a:srgbClr val="00E6E3"/>
                </a:solidFill>
              </a:rPr>
              <a:t>SECTION </a:t>
            </a:r>
            <a:r>
              <a:rPr lang="en-GB" dirty="0" err="1">
                <a:solidFill>
                  <a:srgbClr val="00E6E3"/>
                </a:solidFill>
              </a:rPr>
              <a:t>SubTITLE</a:t>
            </a:r>
            <a:endParaRPr lang="en-GB" dirty="0">
              <a:solidFill>
                <a:srgbClr val="00E6E3"/>
              </a:solidFill>
            </a:endParaRPr>
          </a:p>
          <a:p>
            <a:endParaRPr lang="en-GB" dirty="0">
              <a:solidFill>
                <a:schemeClr val="accent3"/>
              </a:solidFill>
            </a:endParaRPr>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p:txBody>
          <a:bodyPr/>
          <a:lstStyle/>
          <a:p>
            <a:pPr lvl="0"/>
            <a:r>
              <a:rPr lang="en-GB" dirty="0"/>
              <a:t>Short chapter description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a:t>
            </a:r>
            <a:r>
              <a:rPr lang="en-GB" dirty="0"/>
              <a:t>.</a:t>
            </a:r>
          </a:p>
        </p:txBody>
      </p:sp>
    </p:spTree>
    <p:extLst>
      <p:ext uri="{BB962C8B-B14F-4D97-AF65-F5344CB8AC3E}">
        <p14:creationId xmlns:p14="http://schemas.microsoft.com/office/powerpoint/2010/main" val="25912999"/>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a:extLst>
              <a:ext uri="{FF2B5EF4-FFF2-40B4-BE49-F238E27FC236}">
                <a16:creationId xmlns:a16="http://schemas.microsoft.com/office/drawing/2014/main" id="{927D999C-7D56-4E36-90CD-528AC36195E8}"/>
              </a:ext>
              <a:ext uri="{C183D7F6-B498-43B3-948B-1728B52AA6E4}">
                <adec:decorative xmlns:adec="http://schemas.microsoft.com/office/drawing/2017/decorative" val="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5658" r="15658"/>
          <a:stretch/>
        </p:blipFill>
        <p:spPr>
          <a:xfrm>
            <a:off x="5128004" y="0"/>
            <a:ext cx="7063996" cy="6858000"/>
          </a:xfrm>
        </p:spPr>
      </p:pic>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dirty="0"/>
              <a:t>TITLE</a:t>
            </a:r>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p:txBody>
      </p:sp>
      <p:sp>
        <p:nvSpPr>
          <p:cNvPr id="17" name="Freeform: Shape 16">
            <a:extLst>
              <a:ext uri="{FF2B5EF4-FFF2-40B4-BE49-F238E27FC236}">
                <a16:creationId xmlns:a16="http://schemas.microsoft.com/office/drawing/2014/main" id="{2F1C5B2A-E6BF-4D5C-8677-0BBA6AC8C4AE}"/>
              </a:ext>
              <a:ext uri="{C183D7F6-B498-43B3-948B-1728B52AA6E4}">
                <adec:decorative xmlns:adec="http://schemas.microsoft.com/office/drawing/2017/decorative" val="1"/>
              </a:ext>
            </a:extLst>
          </p:cNvPr>
          <p:cNvSpPr>
            <a:spLocks/>
          </p:cNvSpPr>
          <p:nvPr/>
        </p:nvSpPr>
        <p:spPr>
          <a:xfrm rot="816094">
            <a:off x="1034282" y="-2514883"/>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endParaRPr lang="de-DE"/>
          </a:p>
        </p:txBody>
      </p:sp>
    </p:spTree>
    <p:extLst>
      <p:ext uri="{BB962C8B-B14F-4D97-AF65-F5344CB8AC3E}">
        <p14:creationId xmlns:p14="http://schemas.microsoft.com/office/powerpoint/2010/main" val="285599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65F6DA-EDFD-4C3F-B2EB-EDE359E124E2}">
  <ds:schemaRefs>
    <ds:schemaRef ds:uri="http://schemas.microsoft.com/office/2006/documentManagement/types"/>
    <ds:schemaRef ds:uri="866c9c41-2c2c-4d95-92e3-745332f54785"/>
    <ds:schemaRef ds:uri="http://purl.org/dc/dcmitype/"/>
    <ds:schemaRef ds:uri="http://purl.org/dc/elements/1.1/"/>
    <ds:schemaRef ds:uri="http://schemas.microsoft.com/office/2006/metadata/properties"/>
    <ds:schemaRef ds:uri="http://schemas.microsoft.com/office/infopath/2007/PartnerControls"/>
    <ds:schemaRef ds:uri="85ebd0df-9687-47ef-b5a5-617eb7dd465e"/>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614</TotalTime>
  <Words>3669</Words>
  <Application>Microsoft Office PowerPoint</Application>
  <PresentationFormat>Widescreen</PresentationFormat>
  <Paragraphs>939</Paragraphs>
  <Slides>76</Slides>
  <Notes>23</Notes>
  <HiddenSlides>2</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6</vt:i4>
      </vt:variant>
    </vt:vector>
  </HeadingPairs>
  <TitlesOfParts>
    <vt:vector size="83" baseType="lpstr">
      <vt:lpstr>Ubuntu Light</vt:lpstr>
      <vt:lpstr>Ubuntu</vt:lpstr>
      <vt:lpstr>Verdana</vt:lpstr>
      <vt:lpstr>Wingdings</vt:lpstr>
      <vt:lpstr>Ubuntu Medium</vt:lpstr>
      <vt:lpstr>Arial</vt:lpstr>
      <vt:lpstr>Capgemini2021</vt:lpstr>
      <vt:lpstr>TIPS Read me and delete ME</vt:lpstr>
      <vt:lpstr> HOW TO UPDATE THE FOOTER Read me and delete ME</vt:lpstr>
      <vt:lpstr>Powerpoint          Template</vt:lpstr>
      <vt:lpstr>Title of presentation</vt:lpstr>
      <vt:lpstr>Title         of the presentation</vt:lpstr>
      <vt:lpstr>SECTION TITLE ALL CAPS, LOREM IPSUM DOLOR AMET.</vt:lpstr>
      <vt:lpstr>SECTION TITLE</vt:lpstr>
      <vt:lpstr>SECTION TITLE</vt:lpstr>
      <vt:lpstr>TITLE</vt:lpstr>
      <vt:lpstr>TITLE</vt:lpstr>
      <vt:lpstr>HEADLINE UBUNTU BOLD</vt:lpstr>
      <vt:lpstr>HEADLINE UBUNTU BOLD</vt:lpstr>
      <vt:lpstr>TITLE UBUNTU CAPS (WORK FOR 1 OR 2 LINES OF TITLE)</vt:lpstr>
      <vt:lpstr>TITLE UBUNTU CAPS (WORK FOR 1 OR 2 LINES OF TITLE)</vt:lpstr>
      <vt:lpstr>Title Ubuntu CAPS (Work for 1 or 2 lines of title)</vt:lpstr>
      <vt:lpstr>TITLE UBUNTU CAPS (WORK FOR 1 OR 2 LINES OF TITLE)</vt:lpstr>
      <vt:lpstr>Agenda </vt:lpstr>
      <vt:lpstr>Agenda </vt:lpstr>
      <vt:lpstr>AGENDA</vt:lpstr>
      <vt:lpstr>98%</vt:lpstr>
      <vt:lpstr>8.000.000</vt:lpstr>
      <vt:lpstr>“This is a VERY           IMPORTANT AND  CLEAR QUOTE”</vt:lpstr>
      <vt:lpstr>Title</vt:lpstr>
      <vt:lpstr>Title (Work for 1 or 2 lines of title)</vt:lpstr>
      <vt:lpstr>Title (Work for 1 or 2 lines of title)</vt:lpstr>
      <vt:lpstr>Title (Work for 1 or 2 lines of title)</vt:lpstr>
      <vt:lpstr>Infographic example</vt:lpstr>
      <vt:lpstr>Four quarters layout </vt:lpstr>
      <vt:lpstr>Heading &amp; text layouT</vt:lpstr>
      <vt:lpstr>Charts MUST stick to one palette per chart</vt:lpstr>
      <vt:lpstr>Charts MUST stick to one palette per chart</vt:lpstr>
      <vt:lpstr>TITLE UBUNTU CAPS</vt:lpstr>
      <vt:lpstr>Infographic content representation</vt:lpstr>
      <vt:lpstr>Infographic content representation</vt:lpstr>
      <vt:lpstr>Cool palette use example</vt:lpstr>
      <vt:lpstr>Warm palette use example</vt:lpstr>
      <vt:lpstr>process</vt:lpstr>
      <vt:lpstr>process</vt:lpstr>
      <vt:lpstr>process</vt:lpstr>
      <vt:lpstr>Title (Work for 1 or 2 lines of title)</vt:lpstr>
      <vt:lpstr>Title (Work for 1 or 2 lines of title)</vt:lpstr>
      <vt:lpstr>Hierarchy</vt:lpstr>
      <vt:lpstr>Hierarchy</vt:lpstr>
      <vt:lpstr>Timeline</vt:lpstr>
      <vt:lpstr>Timeline</vt:lpstr>
      <vt:lpstr>TIMELINE</vt:lpstr>
      <vt:lpstr>TIMELINE</vt:lpstr>
      <vt:lpstr>CV </vt:lpstr>
      <vt:lpstr>CV </vt:lpstr>
      <vt:lpstr>CV </vt:lpstr>
      <vt:lpstr>Contacts </vt:lpstr>
      <vt:lpstr>About Capgemini</vt:lpstr>
      <vt:lpstr>About Capgemini</vt:lpstr>
      <vt:lpstr>GET THE   FUTURE  YOU WANT</vt:lpstr>
      <vt:lpstr>SUPPORTING  GRAPHIC ELEMENT STYLE</vt:lpstr>
      <vt:lpstr>Color palette </vt:lpstr>
      <vt:lpstr>Vibrant Blue PNG </vt:lpstr>
      <vt:lpstr>Capgemini Blue PNG </vt:lpstr>
      <vt:lpstr>ILLUSTRATION STYLE 2-colors only from primary or secondary palette</vt:lpstr>
      <vt:lpstr>ICONS STYLE</vt:lpstr>
      <vt:lpstr>Icons 1/5</vt:lpstr>
      <vt:lpstr>Icons 2/5</vt:lpstr>
      <vt:lpstr>Icons 3/5</vt:lpstr>
      <vt:lpstr>Icons 4/5</vt:lpstr>
      <vt:lpstr>ICONS 5/5</vt:lpstr>
      <vt:lpstr>Grid</vt:lpstr>
      <vt:lpstr>RWC 2023 Cover option</vt:lpstr>
      <vt:lpstr>Title         of the presentation</vt:lpstr>
      <vt:lpstr>PowerPoint Presentation</vt:lpstr>
      <vt:lpstr>PowerPoint Presentation</vt:lpstr>
      <vt:lpstr>PowerPoint Presentation</vt:lpstr>
      <vt:lpstr>SECTION TITLE</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Le Mevel, Veronique</cp:lastModifiedBy>
  <cp:revision>63</cp:revision>
  <dcterms:created xsi:type="dcterms:W3CDTF">2021-06-29T08:37:48Z</dcterms:created>
  <dcterms:modified xsi:type="dcterms:W3CDTF">2021-10-28T13:33:50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